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notesSlides/notesSlide3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5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6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7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8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heme/themeOverride2.xml" ContentType="application/vnd.openxmlformats-officedocument.themeOverr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notesSlides/notesSlide9.xml" ContentType="application/vnd.openxmlformats-officedocument.presentationml.notesSlid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10.xml" ContentType="application/vnd.openxmlformats-officedocument.presentationml.notesSlide+xml"/>
  <Override PartName="/ppt/tags/tag90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91.xml" ContentType="application/vnd.openxmlformats-officedocument.presentationml.tags+xml"/>
  <Override PartName="/ppt/notesSlides/notesSlide13.xml" ContentType="application/vnd.openxmlformats-officedocument.presentationml.notesSlid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14.xml" ContentType="application/vnd.openxmlformats-officedocument.presentationml.notesSlide+xml"/>
  <Override PartName="/ppt/tags/tag100.xml" ContentType="application/vnd.openxmlformats-officedocument.presentationml.tags+xml"/>
  <Override PartName="/ppt/notesSlides/notesSlide15.xml" ContentType="application/vnd.openxmlformats-officedocument.presentationml.notesSlid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notesSlides/notesSlide16.xml" ContentType="application/vnd.openxmlformats-officedocument.presentationml.notesSlid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117.xml" ContentType="application/vnd.openxmlformats-officedocument.presentationml.tags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709" r:id="rId4"/>
  </p:sldMasterIdLst>
  <p:notesMasterIdLst>
    <p:notesMasterId r:id="rId29"/>
  </p:notesMasterIdLst>
  <p:handoutMasterIdLst>
    <p:handoutMasterId r:id="rId30"/>
  </p:handoutMasterIdLst>
  <p:sldIdLst>
    <p:sldId id="541" r:id="rId5"/>
    <p:sldId id="542" r:id="rId6"/>
    <p:sldId id="543" r:id="rId7"/>
    <p:sldId id="544" r:id="rId8"/>
    <p:sldId id="554" r:id="rId9"/>
    <p:sldId id="555" r:id="rId10"/>
    <p:sldId id="504" r:id="rId11"/>
    <p:sldId id="556" r:id="rId12"/>
    <p:sldId id="557" r:id="rId13"/>
    <p:sldId id="558" r:id="rId14"/>
    <p:sldId id="559" r:id="rId15"/>
    <p:sldId id="561" r:id="rId16"/>
    <p:sldId id="562" r:id="rId17"/>
    <p:sldId id="563" r:id="rId18"/>
    <p:sldId id="564" r:id="rId19"/>
    <p:sldId id="494" r:id="rId20"/>
    <p:sldId id="565" r:id="rId21"/>
    <p:sldId id="566" r:id="rId22"/>
    <p:sldId id="567" r:id="rId23"/>
    <p:sldId id="568" r:id="rId24"/>
    <p:sldId id="570" r:id="rId25"/>
    <p:sldId id="571" r:id="rId26"/>
    <p:sldId id="512" r:id="rId27"/>
    <p:sldId id="552" r:id="rId28"/>
  </p:sldIdLst>
  <p:sldSz cx="11522075" cy="6480175"/>
  <p:notesSz cx="6858000" cy="9144000"/>
  <p:custDataLst>
    <p:tags r:id="rId31"/>
  </p:custDataLst>
  <p:defaultTextStyle>
    <a:defPPr>
      <a:defRPr lang="de-DE"/>
    </a:defPPr>
    <a:lvl1pPr marL="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4" orient="horz" pos="204">
          <p15:clr>
            <a:srgbClr val="A4A3A4"/>
          </p15:clr>
        </p15:guide>
        <p15:guide id="8" orient="horz" pos="2041" userDrawn="1">
          <p15:clr>
            <a:srgbClr val="A4A3A4"/>
          </p15:clr>
        </p15:guide>
        <p15:guide id="9" orient="horz" pos="930" userDrawn="1">
          <p15:clr>
            <a:srgbClr val="A4A3A4"/>
          </p15:clr>
        </p15:guide>
        <p15:guide id="10" orient="horz" pos="3266" userDrawn="1">
          <p15:clr>
            <a:srgbClr val="A4A3A4"/>
          </p15:clr>
        </p15:guide>
        <p15:guide id="12" orient="horz" pos="3470" userDrawn="1">
          <p15:clr>
            <a:srgbClr val="A4A3A4"/>
          </p15:clr>
        </p15:guide>
        <p15:guide id="13" orient="horz" pos="3674" userDrawn="1">
          <p15:clr>
            <a:srgbClr val="A4A3A4"/>
          </p15:clr>
        </p15:guide>
        <p15:guide id="14" orient="horz" pos="3878" userDrawn="1">
          <p15:clr>
            <a:srgbClr val="A4A3A4"/>
          </p15:clr>
        </p15:guide>
        <p15:guide id="15" pos="1939" userDrawn="1">
          <p15:clr>
            <a:srgbClr val="A4A3A4"/>
          </p15:clr>
        </p15:guide>
        <p15:guide id="16" pos="1847" userDrawn="1">
          <p15:clr>
            <a:srgbClr val="A4A3A4"/>
          </p15:clr>
        </p15:guide>
        <p15:guide id="17" pos="204" userDrawn="1">
          <p15:clr>
            <a:srgbClr val="A4A3A4"/>
          </p15:clr>
        </p15:guide>
        <p15:guide id="18" pos="7054" userDrawn="1">
          <p15:clr>
            <a:srgbClr val="A4A3A4"/>
          </p15:clr>
        </p15:guide>
        <p15:guide id="19" pos="5421" userDrawn="1">
          <p15:clr>
            <a:srgbClr val="A4A3A4"/>
          </p15:clr>
        </p15:guide>
        <p15:guide id="20" pos="5318" userDrawn="1">
          <p15:clr>
            <a:srgbClr val="A4A3A4"/>
          </p15:clr>
        </p15:guide>
        <p15:guide id="21" pos="3697" userDrawn="1">
          <p15:clr>
            <a:srgbClr val="A4A3A4"/>
          </p15:clr>
        </p15:guide>
        <p15:guide id="22" pos="3584" userDrawn="1">
          <p15:clr>
            <a:srgbClr val="A4A3A4"/>
          </p15:clr>
        </p15:guide>
        <p15:guide id="23" pos="3629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pos="302">
          <p15:clr>
            <a:srgbClr val="A4A3A4"/>
          </p15:clr>
        </p15:guide>
        <p15:guide id="4" pos="401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Szerző" initials="S" lastIdx="0" clrIdx="7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D2A90"/>
    <a:srgbClr val="4B4B4B"/>
    <a:srgbClr val="E20074"/>
    <a:srgbClr val="000000"/>
    <a:srgbClr val="E20000"/>
    <a:srgbClr val="992C99"/>
    <a:srgbClr val="C4C4C4"/>
    <a:srgbClr val="00FFFF"/>
    <a:srgbClr val="66FF66"/>
    <a:srgbClr val="E1E1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397" autoAdjust="0"/>
    <p:restoredTop sz="78219" autoAdjust="0"/>
  </p:normalViewPr>
  <p:slideViewPr>
    <p:cSldViewPr snapToGrid="0" snapToObjects="1">
      <p:cViewPr>
        <p:scale>
          <a:sx n="90" d="100"/>
          <a:sy n="90" d="100"/>
        </p:scale>
        <p:origin x="-126" y="-120"/>
      </p:cViewPr>
      <p:guideLst>
        <p:guide orient="horz" pos="204"/>
        <p:guide orient="horz" pos="2041"/>
        <p:guide orient="horz" pos="930"/>
        <p:guide orient="horz" pos="3266"/>
        <p:guide orient="horz" pos="3470"/>
        <p:guide orient="horz" pos="3674"/>
        <p:guide orient="horz" pos="3878"/>
        <p:guide pos="1939"/>
        <p:guide pos="1847"/>
        <p:guide pos="204"/>
        <p:guide pos="7054"/>
        <p:guide pos="5421"/>
        <p:guide pos="5318"/>
        <p:guide pos="3673"/>
        <p:guide pos="3584"/>
        <p:guide pos="362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45" d="100"/>
          <a:sy n="45" d="100"/>
        </p:scale>
        <p:origin x="-2970" y="-96"/>
      </p:cViewPr>
      <p:guideLst>
        <p:guide orient="horz" pos="2880"/>
        <p:guide pos="2160"/>
        <p:guide pos="302"/>
        <p:guide pos="401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handoutMaster" Target="handoutMasters/handoutMaster1.xml"/><Relationship Id="rId35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lrMapOvr bg1="lt1" tx1="dk1" bg2="lt2" tx2="dk2" accent1="accent1" accent2="accent2" accent3="accent3" accent4="accent4" accent5="accent5" accent6="accent6" hlink="hlink" folHlink="folHlink"/>
  <c:pivotSource>
    <c:name>[Osztálynévsor.xlsx]Sheet2!PivotTable1</c:name>
    <c:fmtId val="6"/>
  </c:pivotSource>
  <c:chart>
    <c:autoTitleDeleted val="1"/>
    <c:pivotFmts>
      <c:pivotFmt>
        <c:idx val="0"/>
        <c:dLbl>
          <c:idx val="0"/>
          <c:delete val="1"/>
        </c:dLbl>
      </c:pivotFmt>
      <c:pivotFmt>
        <c:idx val="1"/>
      </c:pivotFmt>
      <c:pivotFmt>
        <c:idx val="2"/>
      </c:pivotFmt>
    </c:pivotFmts>
    <c:plotArea>
      <c:layout/>
      <c:lineChart>
        <c:grouping val="standard"/>
        <c:varyColors val="0"/>
        <c:ser>
          <c:idx val="0"/>
          <c:order val="0"/>
          <c:tx>
            <c:strRef>
              <c:f>Sheet2!$B$1</c:f>
              <c:strCache>
                <c:ptCount val="1"/>
                <c:pt idx="0">
                  <c:v>Total</c:v>
                </c:pt>
              </c:strCache>
            </c:strRef>
          </c:tx>
          <c:cat>
            <c:strRef>
              <c:f>Sheet2!$A$2:$A$6</c:f>
              <c:strCache>
                <c:ptCount val="4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</c:strCache>
            </c:strRef>
          </c:cat>
          <c:val>
            <c:numRef>
              <c:f>Sheet2!$B$2:$B$6</c:f>
              <c:numCache>
                <c:formatCode>gene\r\a\l</c:formatCode>
                <c:ptCount val="4"/>
                <c:pt idx="0">
                  <c:v>13</c:v>
                </c:pt>
                <c:pt idx="1">
                  <c:v>47</c:v>
                </c:pt>
                <c:pt idx="2">
                  <c:v>14</c:v>
                </c:pt>
                <c:pt idx="3">
                  <c:v>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0933376"/>
        <c:axId val="160934912"/>
      </c:lineChart>
      <c:catAx>
        <c:axId val="160933376"/>
        <c:scaling>
          <c:orientation val="minMax"/>
        </c:scaling>
        <c:delete val="0"/>
        <c:axPos val="b"/>
        <c:majorTickMark val="out"/>
        <c:minorTickMark val="none"/>
        <c:tickLblPos val="nextTo"/>
        <c:crossAx val="160934912"/>
        <c:crosses val="autoZero"/>
        <c:auto val="1"/>
        <c:lblAlgn val="ctr"/>
        <c:lblOffset val="100"/>
        <c:noMultiLvlLbl val="0"/>
      </c:catAx>
      <c:valAx>
        <c:axId val="160934912"/>
        <c:scaling>
          <c:orientation val="minMax"/>
        </c:scaling>
        <c:delete val="0"/>
        <c:axPos val="l"/>
        <c:majorGridlines/>
        <c:numFmt formatCode="gene\r\a\l" sourceLinked="1"/>
        <c:majorTickMark val="out"/>
        <c:minorTickMark val="none"/>
        <c:tickLblPos val="nextTo"/>
        <c:crossAx val="160933376"/>
        <c:crosses val="autoZero"/>
        <c:crossBetween val="between"/>
      </c:valAx>
      <c:dTable>
        <c:showHorzBorder val="1"/>
        <c:showVertBorder val="1"/>
        <c:showOutline val="1"/>
        <c:showKeys val="0"/>
      </c:dTable>
    </c:plotArea>
    <c:plotVisOnly val="1"/>
    <c:dispBlanksAs val="gap"/>
    <c:showDLblsOverMax val="0"/>
  </c:chart>
  <c:externalData r:id="rId2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</c:extLst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Osztálynévsor.xlsx]Sheet5!PivotTable5</c:name>
    <c:fmtId val="14"/>
  </c:pivotSource>
  <c:chart>
    <c:title>
      <c:tx>
        <c:rich>
          <a:bodyPr/>
          <a:lstStyle/>
          <a:p>
            <a:pPr>
              <a:defRPr lang="en-US" noProof="0"/>
            </a:pPr>
            <a:r>
              <a:rPr lang="en-US" noProof="0" dirty="0" smtClean="0"/>
              <a:t>2018 Spring</a:t>
            </a:r>
            <a:endParaRPr lang="en-US" noProof="0" dirty="0"/>
          </a:p>
        </c:rich>
      </c:tx>
      <c:layout/>
      <c:overlay val="0"/>
    </c:title>
    <c:autoTitleDeleted val="0"/>
    <c:pivotFmts>
      <c:pivotFmt>
        <c:idx val="0"/>
      </c:pivotFmt>
      <c:pivotFmt>
        <c:idx val="1"/>
      </c:pivotFmt>
      <c:pivotFmt>
        <c:idx val="2"/>
      </c:pivotFmt>
    </c:pivotFmts>
    <c:plotArea>
      <c:layout/>
      <c:lineChart>
        <c:grouping val="standard"/>
        <c:varyColors val="0"/>
        <c:ser>
          <c:idx val="0"/>
          <c:order val="0"/>
          <c:tx>
            <c:strRef>
              <c:f>Sheet5!$B$3</c:f>
              <c:strCache>
                <c:ptCount val="1"/>
                <c:pt idx="0">
                  <c:v>Total</c:v>
                </c:pt>
              </c:strCache>
            </c:strRef>
          </c:tx>
          <c:cat>
            <c:strRef>
              <c:f>Sheet5!$A$4:$A$9</c:f>
              <c:strCach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strCache>
            </c:strRef>
          </c:cat>
          <c:val>
            <c:numRef>
              <c:f>Sheet5!$B$4:$B$9</c:f>
              <c:numCache>
                <c:formatCode>gene\r\a\l</c:formatCode>
                <c:ptCount val="5"/>
                <c:pt idx="0">
                  <c:v>13</c:v>
                </c:pt>
                <c:pt idx="1">
                  <c:v>2</c:v>
                </c:pt>
                <c:pt idx="2">
                  <c:v>16</c:v>
                </c:pt>
                <c:pt idx="3">
                  <c:v>17</c:v>
                </c:pt>
                <c:pt idx="4">
                  <c:v>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3018624"/>
        <c:axId val="163020160"/>
      </c:lineChart>
      <c:catAx>
        <c:axId val="163018624"/>
        <c:scaling>
          <c:orientation val="minMax"/>
        </c:scaling>
        <c:delete val="0"/>
        <c:axPos val="b"/>
        <c:majorTickMark val="none"/>
        <c:minorTickMark val="none"/>
        <c:tickLblPos val="nextTo"/>
        <c:crossAx val="163020160"/>
        <c:crosses val="autoZero"/>
        <c:auto val="1"/>
        <c:lblAlgn val="ctr"/>
        <c:lblOffset val="100"/>
        <c:noMultiLvlLbl val="0"/>
      </c:catAx>
      <c:valAx>
        <c:axId val="163020160"/>
        <c:scaling>
          <c:orientation val="minMax"/>
        </c:scaling>
        <c:delete val="0"/>
        <c:axPos val="l"/>
        <c:majorGridlines/>
        <c:title>
          <c:layout/>
          <c:overlay val="0"/>
        </c:title>
        <c:numFmt formatCode="gene\r\a\l" sourceLinked="1"/>
        <c:majorTickMark val="none"/>
        <c:minorTickMark val="none"/>
        <c:tickLblPos val="nextTo"/>
        <c:crossAx val="163018624"/>
        <c:crosses val="autoZero"/>
        <c:crossBetween val="between"/>
      </c:valAx>
      <c:dTable>
        <c:showHorzBorder val="1"/>
        <c:showVertBorder val="1"/>
        <c:showOutline val="1"/>
        <c:showKeys val="1"/>
      </c:dTable>
    </c:plotArea>
    <c:plotVisOnly val="1"/>
    <c:dispBlanksAs val="gap"/>
    <c:showDLblsOverMax val="0"/>
  </c:chart>
  <c:externalData r:id="rId1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</c:extLst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844532279314888E-2"/>
          <c:y val="8.8709677419354829E-2"/>
          <c:w val="0.97628458498023696"/>
          <c:h val="0.87903225806451613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ln w="33332">
              <a:solidFill>
                <a:schemeClr val="tx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diamond"/>
              <c:size val="4"/>
              <c:spPr>
                <a:solidFill>
                  <a:srgbClr val="4B4B4B"/>
                </a:solidFill>
                <a:ln>
                  <a:solidFill>
                    <a:srgbClr val="4B4B4B"/>
                  </a:solidFill>
                  <a:prstDash val="solid"/>
                </a:ln>
              </c:spPr>
            </c:marker>
            <c:bubble3D val="0"/>
          </c:dPt>
          <c:cat>
            <c:numRef>
              <c:f>Sheet1!$B$1:$F$1</c:f>
              <c:numCache>
                <c:formatCode>Normál</c:formatCode>
                <c:ptCount val="5"/>
              </c:numCache>
            </c:numRef>
          </c:cat>
          <c:val>
            <c:numRef>
              <c:f>Sheet1!$B$2:$F$2</c:f>
              <c:numCache>
                <c:formatCode>gene\r\a\l</c:formatCode>
                <c:ptCount val="5"/>
                <c:pt idx="0">
                  <c:v>0</c:v>
                </c:pt>
                <c:pt idx="1">
                  <c:v>9.7082631502970731</c:v>
                </c:pt>
                <c:pt idx="2">
                  <c:v>15.708263150297755</c:v>
                </c:pt>
                <c:pt idx="3">
                  <c:v>20.708263150298325</c:v>
                </c:pt>
                <c:pt idx="4">
                  <c:v>25.70826315029889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8383872"/>
        <c:axId val="178385664"/>
      </c:lineChart>
      <c:catAx>
        <c:axId val="178383872"/>
        <c:scaling>
          <c:orientation val="minMax"/>
        </c:scaling>
        <c:delete val="0"/>
        <c:axPos val="b"/>
        <c:numFmt formatCode="gene\r\a\l" sourceLinked="1"/>
        <c:majorTickMark val="none"/>
        <c:minorTickMark val="none"/>
        <c:tickLblPos val="none"/>
        <c:spPr>
          <a:ln w="11111">
            <a:solidFill>
              <a:srgbClr val="4B4B4B"/>
            </a:solidFill>
            <a:prstDash val="solid"/>
          </a:ln>
        </c:spPr>
        <c:crossAx val="178385664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78385664"/>
        <c:scaling>
          <c:orientation val="minMax"/>
          <c:max val="25.70826315029597"/>
          <c:min val="0"/>
        </c:scaling>
        <c:delete val="0"/>
        <c:axPos val="l"/>
        <c:numFmt formatCode="gene\r\a\l" sourceLinked="1"/>
        <c:majorTickMark val="none"/>
        <c:minorTickMark val="none"/>
        <c:tickLblPos val="none"/>
        <c:spPr>
          <a:ln w="22221">
            <a:solidFill>
              <a:srgbClr val="4B4B4B"/>
            </a:solidFill>
            <a:prstDash val="solid"/>
          </a:ln>
        </c:spPr>
        <c:crossAx val="178383872"/>
        <c:crosses val="autoZero"/>
        <c:crossBetween val="midCat"/>
        <c:majorUnit val="10"/>
      </c:valAx>
      <c:spPr>
        <a:noFill/>
        <a:ln w="22221">
          <a:noFill/>
        </a:ln>
      </c:spPr>
    </c:plotArea>
    <c:plotVisOnly val="1"/>
    <c:dispBlanksAs val="gap"/>
    <c:showDLblsOverMax val="0"/>
  </c:chart>
  <c:spPr>
    <a:noFill/>
    <a:ln>
      <a:solidFill>
        <a:schemeClr val="bg1"/>
      </a:solidFill>
    </a:ln>
  </c:spPr>
  <c:txPr>
    <a:bodyPr/>
    <a:lstStyle/>
    <a:p>
      <a:pPr>
        <a:defRPr sz="1050" b="1" i="0" u="none" strike="noStrike" baseline="0">
          <a:ln>
            <a:solidFill>
              <a:srgbClr val="4B4B4B"/>
            </a:solidFill>
          </a:ln>
          <a:solidFill>
            <a:srgbClr val="4B4B4B"/>
          </a:solidFill>
          <a:latin typeface="Cambria"/>
          <a:ea typeface="Cambria"/>
          <a:cs typeface="Cambria"/>
        </a:defRPr>
      </a:pPr>
      <a:endParaRPr lang="hu-H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4.0519484738337525E-2"/>
          <c:y val="0.18488519082561833"/>
          <c:w val="0.91896103052332501"/>
          <c:h val="0.509643388332499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808080"/>
            </a:solidFill>
          </c:spPr>
          <c:invertIfNegative val="0"/>
          <c:dPt>
            <c:idx val="2"/>
            <c:invertIfNegative val="0"/>
            <c:bubble3D val="0"/>
            <c:spPr>
              <a:solidFill>
                <a:srgbClr val="E20074"/>
              </a:solidFill>
            </c:spPr>
          </c:dPt>
          <c:dLbls>
            <c:txPr>
              <a:bodyPr/>
              <a:lstStyle/>
              <a:p>
                <a:pPr>
                  <a:defRPr sz="1400">
                    <a:solidFill>
                      <a:srgbClr val="4B4B4B"/>
                    </a:solidFill>
                    <a:latin typeface="Tele-GroteskFet" pitchFamily="2" charset="0"/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1:$A$3</c:f>
              <c:strCache>
                <c:ptCount val="3"/>
                <c:pt idx="0">
                  <c:v>2013 YE</c:v>
                </c:pt>
                <c:pt idx="1">
                  <c:v>2014 YE</c:v>
                </c:pt>
                <c:pt idx="2">
                  <c:v>2016 March</c:v>
                </c:pt>
              </c:strCache>
            </c:strRef>
          </c:cat>
          <c:val>
            <c:numRef>
              <c:f>Sheet1!$B$1:$B$3</c:f>
              <c:numCache>
                <c:formatCode>gene\r\a\l</c:formatCode>
                <c:ptCount val="3"/>
                <c:pt idx="0">
                  <c:v>6846</c:v>
                </c:pt>
                <c:pt idx="1">
                  <c:v>7488</c:v>
                </c:pt>
                <c:pt idx="2">
                  <c:v>781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79840128"/>
        <c:axId val="179841664"/>
      </c:barChart>
      <c:catAx>
        <c:axId val="179840128"/>
        <c:scaling>
          <c:orientation val="minMax"/>
        </c:scaling>
        <c:delete val="0"/>
        <c:axPos val="b"/>
        <c:numFmt formatCode="gene\r\a\l" sourceLinked="1"/>
        <c:majorTickMark val="none"/>
        <c:minorTickMark val="none"/>
        <c:tickLblPos val="nextTo"/>
        <c:txPr>
          <a:bodyPr/>
          <a:lstStyle/>
          <a:p>
            <a:pPr>
              <a:defRPr sz="1400">
                <a:solidFill>
                  <a:srgbClr val="4B4B4B"/>
                </a:solidFill>
                <a:latin typeface="Tele-GroteskNor" pitchFamily="2" charset="0"/>
              </a:defRPr>
            </a:pPr>
            <a:endParaRPr lang="hu-HU"/>
          </a:p>
        </c:txPr>
        <c:crossAx val="179841664"/>
        <c:crosses val="autoZero"/>
        <c:auto val="1"/>
        <c:lblAlgn val="ctr"/>
        <c:lblOffset val="100"/>
        <c:noMultiLvlLbl val="0"/>
      </c:catAx>
      <c:valAx>
        <c:axId val="179841664"/>
        <c:scaling>
          <c:orientation val="minMax"/>
        </c:scaling>
        <c:delete val="1"/>
        <c:axPos val="l"/>
        <c:numFmt formatCode="gene\r\a\l" sourceLinked="1"/>
        <c:majorTickMark val="out"/>
        <c:minorTickMark val="none"/>
        <c:tickLblPos val="nextTo"/>
        <c:crossAx val="179840128"/>
        <c:crosses val="autoZero"/>
        <c:crossBetween val="between"/>
      </c:valAx>
      <c:spPr>
        <a:noFill/>
      </c:spPr>
    </c:plotArea>
    <c:plotVisOnly val="1"/>
    <c:dispBlanksAs val="gap"/>
    <c:showDLblsOverMax val="0"/>
  </c:chart>
  <c:spPr>
    <a:noFill/>
    <a:ln>
      <a:noFill/>
    </a:ln>
  </c:sp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png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906975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-GroteskNor" pitchFamily="2" charset="0"/>
              </a:rPr>
              <a:pPr/>
              <a:t>‹#›</a:t>
            </a:fld>
            <a:endParaRPr lang="de-DE" dirty="0">
              <a:latin typeface="Tele-GroteskNor" pitchFamily="2" charset="0"/>
            </a:endParaRPr>
          </a:p>
        </p:txBody>
      </p:sp>
      <p:grpSp>
        <p:nvGrpSpPr>
          <p:cNvPr id="6" name="Gruppieren 31"/>
          <p:cNvGrpSpPr>
            <a:grpSpLocks noChangeAspect="1"/>
          </p:cNvGrpSpPr>
          <p:nvPr/>
        </p:nvGrpSpPr>
        <p:grpSpPr bwMode="auto">
          <a:xfrm>
            <a:off x="482600" y="241300"/>
            <a:ext cx="5857875" cy="258763"/>
            <a:chOff x="321317" y="6153149"/>
            <a:chExt cx="8498833" cy="371475"/>
          </a:xfrm>
        </p:grpSpPr>
        <p:sp>
          <p:nvSpPr>
            <p:cNvPr id="7" name="Freeform 9"/>
            <p:cNvSpPr>
              <a:spLocks noChangeAspect="1" noEditPoints="1"/>
            </p:cNvSpPr>
            <p:nvPr userDrawn="1"/>
          </p:nvSpPr>
          <p:spPr bwMode="auto">
            <a:xfrm>
              <a:off x="7309246" y="6310400"/>
              <a:ext cx="1510904" cy="12078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  <p:sp>
          <p:nvSpPr>
            <p:cNvPr id="8" name="Freeform 5"/>
            <p:cNvSpPr>
              <a:spLocks noChangeAspect="1" noEditPoints="1"/>
            </p:cNvSpPr>
            <p:nvPr userDrawn="1"/>
          </p:nvSpPr>
          <p:spPr bwMode="auto">
            <a:xfrm>
              <a:off x="321317" y="6153149"/>
              <a:ext cx="760058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78800" y="371599"/>
            <a:ext cx="5900400" cy="3318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8800" y="3876675"/>
            <a:ext cx="5900400" cy="458152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907600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85725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80975" indent="-95250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266700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88036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161990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76258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41077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353231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977651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714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79425" y="371475"/>
            <a:ext cx="5899150" cy="3319463"/>
          </a:xfrm>
          <a:noFill/>
          <a:ln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5715" name="Notizenplatzhalt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buClrTx/>
              <a:buFont typeface="Arial" charset="0"/>
              <a:buNone/>
            </a:pPr>
            <a:endParaRPr lang="de-DE" dirty="0" smtClean="0">
              <a:solidFill>
                <a:srgbClr val="000000"/>
              </a:solidFill>
            </a:endParaRPr>
          </a:p>
        </p:txBody>
      </p:sp>
      <p:sp>
        <p:nvSpPr>
          <p:cNvPr id="107524" name="Datumsplatzhalter 3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mtClean="0">
                <a:ea typeface="MS PGothic" charset="0"/>
                <a:cs typeface="MS PGothic" charset="0"/>
              </a:rPr>
              <a:t>April 2013</a:t>
            </a:r>
            <a:endParaRPr lang="de-DE">
              <a:ea typeface="MS PGothic" charset="0"/>
              <a:cs typeface="MS PGothic" charset="0"/>
            </a:endParaRPr>
          </a:p>
        </p:txBody>
      </p:sp>
      <p:sp>
        <p:nvSpPr>
          <p:cNvPr id="115717" name="Fußzeilenplatzhalter 4"/>
          <p:cNvSpPr>
            <a:spLocks noGrp="1"/>
          </p:cNvSpPr>
          <p:nvPr>
            <p:ph type="ftr" sz="quarter" idx="4"/>
          </p:nvPr>
        </p:nvSpPr>
        <p:spPr>
          <a:xfrm>
            <a:off x="1" y="8685878"/>
            <a:ext cx="2972004" cy="456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7554" tIns="43777" rIns="87554" bIns="43777" numCol="1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11375" indent="-273606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1094423" indent="-218885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532192" indent="-218885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1969961" indent="-218885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407730" indent="-218885" defTabSz="437769" eaLnBrk="0" fontAlgn="base" hangingPunct="0">
              <a:lnSpc>
                <a:spcPts val="1724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845499" indent="-218885" defTabSz="437769" eaLnBrk="0" fontAlgn="base" hangingPunct="0">
              <a:lnSpc>
                <a:spcPts val="1724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3283268" indent="-218885" defTabSz="437769" eaLnBrk="0" fontAlgn="base" hangingPunct="0">
              <a:lnSpc>
                <a:spcPts val="1724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721037" indent="-218885" defTabSz="437769" eaLnBrk="0" fontAlgn="base" hangingPunct="0">
              <a:lnSpc>
                <a:spcPts val="1724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mtClean="0">
                <a:solidFill>
                  <a:schemeClr val="tx1"/>
                </a:solidFill>
                <a:latin typeface="Tele-GroteskNor" pitchFamily="2" charset="0"/>
                <a:ea typeface="MS PGothic" pitchFamily="34" charset="-128"/>
              </a:rPr>
              <a:t>T-Systems International GmbH</a:t>
            </a:r>
          </a:p>
        </p:txBody>
      </p:sp>
      <p:sp>
        <p:nvSpPr>
          <p:cNvPr id="115718" name="Foliennummernplatzhalter 5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11375" indent="-273606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1094423" indent="-218885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532192" indent="-218885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1969961" indent="-218885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407730" indent="-218885" defTabSz="437769" eaLnBrk="0" fontAlgn="base" hangingPunct="0">
              <a:lnSpc>
                <a:spcPts val="1724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845499" indent="-218885" defTabSz="437769" eaLnBrk="0" fontAlgn="base" hangingPunct="0">
              <a:lnSpc>
                <a:spcPts val="1724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3283268" indent="-218885" defTabSz="437769" eaLnBrk="0" fontAlgn="base" hangingPunct="0">
              <a:lnSpc>
                <a:spcPts val="1724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721037" indent="-218885" defTabSz="437769" eaLnBrk="0" fontAlgn="base" hangingPunct="0">
              <a:lnSpc>
                <a:spcPts val="1724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3C23F1E6-0F40-41B1-A23F-A1FCBBA91C92}" type="slidenum">
              <a:rPr lang="de-DE" smtClean="0">
                <a:solidFill>
                  <a:schemeClr val="tx1"/>
                </a:solidFill>
                <a:latin typeface="Tele-GroteskNor" pitchFamily="2" charset="0"/>
                <a:ea typeface="MS PGothic" pitchFamily="34" charset="-128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lang="de-DE" smtClean="0">
              <a:solidFill>
                <a:schemeClr val="tx1"/>
              </a:solidFill>
              <a:latin typeface="Tele-GroteskNor" pitchFamily="2" charset="0"/>
              <a:ea typeface="MS PGothic" pitchFamily="34" charset="-128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CE0986-9C1A-443C-BB9C-00068736D635}" type="slidenum">
              <a:rPr lang="hu-HU" smtClean="0"/>
              <a:pPr/>
              <a:t>20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88261732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816388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927853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842609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806000" y="8640001"/>
            <a:ext cx="1101600" cy="280800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en-US" smtClean="0"/>
              <a:pPr/>
              <a:t>50</a:t>
            </a:fld>
            <a:endParaRPr lang="en-US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88938" y="687388"/>
            <a:ext cx="6092825" cy="3427412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15526" y="4341522"/>
            <a:ext cx="5026951" cy="4114587"/>
          </a:xfrm>
          <a:noFill/>
        </p:spPr>
        <p:txBody>
          <a:bodyPr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558854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81632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78810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65949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16361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130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79425" y="371475"/>
            <a:ext cx="5899150" cy="3319463"/>
          </a:xfrm>
          <a:noFill/>
          <a:ln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6131" name="Notizenplatzhalt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sz="100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>
          <a:xfrm>
            <a:off x="2" y="8685879"/>
            <a:ext cx="2972004" cy="456704"/>
          </a:xfrm>
          <a:prstGeom prst="rect">
            <a:avLst/>
          </a:prstGeom>
        </p:spPr>
        <p:txBody>
          <a:bodyPr lIns="84402" tIns="42200" rIns="84402" bIns="42200"/>
          <a:lstStyle/>
          <a:p>
            <a:pPr>
              <a:defRPr/>
            </a:pPr>
            <a:r>
              <a:rPr lang="de-DE"/>
              <a:t>T-Systems International GmbH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A16E01-10A3-4AA9-8F5C-53B53ABC47A2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79425" y="371475"/>
            <a:ext cx="5899150" cy="3319463"/>
          </a:xfrm>
          <a:noFill/>
          <a:ln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7155" name="Notizenplatzhalt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109655" lvl="1" indent="-109655"/>
            <a:endParaRPr lang="en-US" dirty="0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>
          <a:xfrm>
            <a:off x="2" y="8685879"/>
            <a:ext cx="2972004" cy="456704"/>
          </a:xfrm>
          <a:prstGeom prst="rect">
            <a:avLst/>
          </a:prstGeom>
        </p:spPr>
        <p:txBody>
          <a:bodyPr lIns="84402" tIns="42200" rIns="84402" bIns="42200"/>
          <a:lstStyle/>
          <a:p>
            <a:pPr>
              <a:defRPr/>
            </a:pPr>
            <a:r>
              <a:rPr lang="de-DE"/>
              <a:t>T-Systems International GmbH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91CECD4-C468-41FE-BBF6-9CFE65A81E2F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CE0986-9C1A-443C-BB9C-00068736D635}" type="slidenum">
              <a:rPr lang="hu-HU" smtClean="0">
                <a:solidFill>
                  <a:prstClr val="black"/>
                </a:solidFill>
              </a:rPr>
              <a:pPr/>
              <a:t>12</a:t>
            </a:fld>
            <a:endParaRPr lang="hu-H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23586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CE0986-9C1A-443C-BB9C-00068736D635}" type="slidenum">
              <a:rPr lang="hu-HU" smtClean="0"/>
              <a:pPr/>
              <a:t>14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9466792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4.xml"/><Relationship Id="rId7" Type="http://schemas.openxmlformats.org/officeDocument/2006/relationships/image" Target="../media/image5.jpeg"/><Relationship Id="rId12" Type="http://schemas.openxmlformats.org/officeDocument/2006/relationships/image" Target="../media/image8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7.emf"/><Relationship Id="rId5" Type="http://schemas.openxmlformats.org/officeDocument/2006/relationships/tags" Target="../tags/tag6.xml"/><Relationship Id="rId10" Type="http://schemas.openxmlformats.org/officeDocument/2006/relationships/image" Target="../media/image6.emf"/><Relationship Id="rId4" Type="http://schemas.openxmlformats.org/officeDocument/2006/relationships/tags" Target="../tags/tag5.xml"/><Relationship Id="rId9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0.emf"/><Relationship Id="rId5" Type="http://schemas.openxmlformats.org/officeDocument/2006/relationships/image" Target="../media/image9.emf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emf"/><Relationship Id="rId2" Type="http://schemas.openxmlformats.org/officeDocument/2006/relationships/tags" Target="../tags/tag1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jpe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1522075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11722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haded boxes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3"/>
          <p:cNvSpPr>
            <a:spLocks/>
          </p:cNvSpPr>
          <p:nvPr userDrawn="1"/>
        </p:nvSpPr>
        <p:spPr bwMode="invGray">
          <a:xfrm>
            <a:off x="324000" y="2948089"/>
            <a:ext cx="10872000" cy="2236686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24000" y="1841960"/>
            <a:ext cx="10416151" cy="3342815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noProof="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24000" y="2153265"/>
            <a:ext cx="9719802" cy="3031510"/>
          </a:xfrm>
          <a:solidFill>
            <a:schemeClr val="tx2"/>
          </a:solidFill>
        </p:spPr>
        <p:txBody>
          <a:bodyPr lIns="144000">
            <a:noAutofit/>
          </a:bodyPr>
          <a:lstStyle>
            <a:lvl1pPr>
              <a:defRPr sz="48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4800" dirty="0"/>
              <a:t>TELEGROTESK Headline ULTRA</a:t>
            </a:r>
            <a:br>
              <a:rPr lang="en-US" sz="4800" dirty="0"/>
            </a:br>
            <a:r>
              <a:rPr lang="en-US" sz="4800" dirty="0">
                <a:latin typeface="TeleGrotesk Headline" pitchFamily="2" charset="0"/>
              </a:rPr>
              <a:t>Maximum of 3 lines</a:t>
            </a:r>
            <a:br>
              <a:rPr lang="en-US" sz="4800" dirty="0">
                <a:latin typeface="TeleGrotesk Headline" pitchFamily="2" charset="0"/>
              </a:rPr>
            </a:br>
            <a:r>
              <a:rPr lang="en-US" sz="4800" dirty="0">
                <a:latin typeface="TeleGrotesk Headline" pitchFamily="2" charset="0"/>
              </a:rPr>
              <a:t>40 (48) 60 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23850" y="4536000"/>
            <a:ext cx="9719951" cy="384080"/>
          </a:xfrm>
        </p:spPr>
        <p:txBody>
          <a:bodyPr wrap="square" lIns="14400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dirty="0"/>
              <a:t>Sub-heading: Tele-</a:t>
            </a:r>
            <a:r>
              <a:rPr lang="en-US" dirty="0" err="1"/>
              <a:t>Grotesk</a:t>
            </a:r>
            <a:r>
              <a:rPr lang="en-US" dirty="0"/>
              <a:t> Normal, 24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45079" name="Gruppieren 45078"/>
          <p:cNvGrpSpPr/>
          <p:nvPr userDrawn="1"/>
        </p:nvGrpSpPr>
        <p:grpSpPr>
          <a:xfrm>
            <a:off x="323850" y="5673725"/>
            <a:ext cx="987425" cy="485775"/>
            <a:chOff x="323850" y="5673725"/>
            <a:chExt cx="987425" cy="485775"/>
          </a:xfrm>
        </p:grpSpPr>
        <p:sp>
          <p:nvSpPr>
            <p:cNvPr id="4" name="Freeform 5"/>
            <p:cNvSpPr>
              <a:spLocks/>
            </p:cNvSpPr>
            <p:nvPr userDrawn="1"/>
          </p:nvSpPr>
          <p:spPr bwMode="auto">
            <a:xfrm>
              <a:off x="323850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3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3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" name="Freeform 6"/>
            <p:cNvSpPr>
              <a:spLocks/>
            </p:cNvSpPr>
            <p:nvPr userDrawn="1"/>
          </p:nvSpPr>
          <p:spPr bwMode="auto">
            <a:xfrm>
              <a:off x="623888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" name="Freeform 7"/>
            <p:cNvSpPr>
              <a:spLocks/>
            </p:cNvSpPr>
            <p:nvPr userDrawn="1"/>
          </p:nvSpPr>
          <p:spPr bwMode="auto">
            <a:xfrm>
              <a:off x="919163" y="5897563"/>
              <a:ext cx="96838" cy="96838"/>
            </a:xfrm>
            <a:custGeom>
              <a:avLst/>
              <a:gdLst>
                <a:gd name="T0" fmla="*/ 0 w 61"/>
                <a:gd name="T1" fmla="*/ 61 h 61"/>
                <a:gd name="T2" fmla="*/ 0 w 61"/>
                <a:gd name="T3" fmla="*/ 0 h 61"/>
                <a:gd name="T4" fmla="*/ 31 w 61"/>
                <a:gd name="T5" fmla="*/ 0 h 61"/>
                <a:gd name="T6" fmla="*/ 61 w 61"/>
                <a:gd name="T7" fmla="*/ 0 h 61"/>
                <a:gd name="T8" fmla="*/ 61 w 61"/>
                <a:gd name="T9" fmla="*/ 61 h 61"/>
                <a:gd name="T10" fmla="*/ 0 w 61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" h="61">
                  <a:moveTo>
                    <a:pt x="0" y="61"/>
                  </a:moveTo>
                  <a:lnTo>
                    <a:pt x="0" y="0"/>
                  </a:lnTo>
                  <a:lnTo>
                    <a:pt x="31" y="0"/>
                  </a:lnTo>
                  <a:lnTo>
                    <a:pt x="61" y="0"/>
                  </a:lnTo>
                  <a:lnTo>
                    <a:pt x="61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" name="Freeform 8"/>
            <p:cNvSpPr>
              <a:spLocks/>
            </p:cNvSpPr>
            <p:nvPr userDrawn="1"/>
          </p:nvSpPr>
          <p:spPr bwMode="auto">
            <a:xfrm>
              <a:off x="1212850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" name="Freeform 9"/>
            <p:cNvSpPr>
              <a:spLocks/>
            </p:cNvSpPr>
            <p:nvPr userDrawn="1"/>
          </p:nvSpPr>
          <p:spPr bwMode="auto">
            <a:xfrm>
              <a:off x="323850" y="5673725"/>
              <a:ext cx="398463" cy="485775"/>
            </a:xfrm>
            <a:custGeom>
              <a:avLst/>
              <a:gdLst>
                <a:gd name="T0" fmla="*/ 402 w 407"/>
                <a:gd name="T1" fmla="*/ 0 h 496"/>
                <a:gd name="T2" fmla="*/ 5 w 407"/>
                <a:gd name="T3" fmla="*/ 0 h 496"/>
                <a:gd name="T4" fmla="*/ 0 w 407"/>
                <a:gd name="T5" fmla="*/ 175 h 496"/>
                <a:gd name="T6" fmla="*/ 26 w 407"/>
                <a:gd name="T7" fmla="*/ 179 h 496"/>
                <a:gd name="T8" fmla="*/ 67 w 407"/>
                <a:gd name="T9" fmla="*/ 64 h 496"/>
                <a:gd name="T10" fmla="*/ 164 w 407"/>
                <a:gd name="T11" fmla="*/ 23 h 496"/>
                <a:gd name="T12" fmla="*/ 164 w 407"/>
                <a:gd name="T13" fmla="*/ 390 h 496"/>
                <a:gd name="T14" fmla="*/ 150 w 407"/>
                <a:gd name="T15" fmla="*/ 452 h 496"/>
                <a:gd name="T16" fmla="*/ 110 w 407"/>
                <a:gd name="T17" fmla="*/ 467 h 496"/>
                <a:gd name="T18" fmla="*/ 81 w 407"/>
                <a:gd name="T19" fmla="*/ 468 h 496"/>
                <a:gd name="T20" fmla="*/ 81 w 407"/>
                <a:gd name="T21" fmla="*/ 496 h 496"/>
                <a:gd name="T22" fmla="*/ 326 w 407"/>
                <a:gd name="T23" fmla="*/ 496 h 496"/>
                <a:gd name="T24" fmla="*/ 326 w 407"/>
                <a:gd name="T25" fmla="*/ 468 h 496"/>
                <a:gd name="T26" fmla="*/ 297 w 407"/>
                <a:gd name="T27" fmla="*/ 467 h 496"/>
                <a:gd name="T28" fmla="*/ 257 w 407"/>
                <a:gd name="T29" fmla="*/ 452 h 496"/>
                <a:gd name="T30" fmla="*/ 243 w 407"/>
                <a:gd name="T31" fmla="*/ 390 h 496"/>
                <a:gd name="T32" fmla="*/ 243 w 407"/>
                <a:gd name="T33" fmla="*/ 23 h 496"/>
                <a:gd name="T34" fmla="*/ 340 w 407"/>
                <a:gd name="T35" fmla="*/ 64 h 496"/>
                <a:gd name="T36" fmla="*/ 381 w 407"/>
                <a:gd name="T37" fmla="*/ 179 h 496"/>
                <a:gd name="T38" fmla="*/ 407 w 407"/>
                <a:gd name="T39" fmla="*/ 175 h 496"/>
                <a:gd name="T40" fmla="*/ 402 w 407"/>
                <a:gd name="T41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7" h="496">
                  <a:moveTo>
                    <a:pt x="402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6" y="179"/>
                    <a:pt x="26" y="179"/>
                    <a:pt x="26" y="179"/>
                  </a:cubicBezTo>
                  <a:cubicBezTo>
                    <a:pt x="31" y="128"/>
                    <a:pt x="45" y="89"/>
                    <a:pt x="67" y="64"/>
                  </a:cubicBezTo>
                  <a:cubicBezTo>
                    <a:pt x="90" y="38"/>
                    <a:pt x="122" y="25"/>
                    <a:pt x="164" y="23"/>
                  </a:cubicBezTo>
                  <a:cubicBezTo>
                    <a:pt x="164" y="390"/>
                    <a:pt x="164" y="390"/>
                    <a:pt x="164" y="390"/>
                  </a:cubicBezTo>
                  <a:cubicBezTo>
                    <a:pt x="164" y="422"/>
                    <a:pt x="159" y="442"/>
                    <a:pt x="150" y="452"/>
                  </a:cubicBezTo>
                  <a:cubicBezTo>
                    <a:pt x="142" y="460"/>
                    <a:pt x="129" y="465"/>
                    <a:pt x="110" y="467"/>
                  </a:cubicBezTo>
                  <a:cubicBezTo>
                    <a:pt x="104" y="467"/>
                    <a:pt x="95" y="468"/>
                    <a:pt x="81" y="468"/>
                  </a:cubicBezTo>
                  <a:cubicBezTo>
                    <a:pt x="81" y="496"/>
                    <a:pt x="81" y="496"/>
                    <a:pt x="81" y="496"/>
                  </a:cubicBezTo>
                  <a:cubicBezTo>
                    <a:pt x="326" y="496"/>
                    <a:pt x="326" y="496"/>
                    <a:pt x="326" y="496"/>
                  </a:cubicBezTo>
                  <a:cubicBezTo>
                    <a:pt x="326" y="468"/>
                    <a:pt x="326" y="468"/>
                    <a:pt x="326" y="468"/>
                  </a:cubicBezTo>
                  <a:cubicBezTo>
                    <a:pt x="312" y="468"/>
                    <a:pt x="303" y="467"/>
                    <a:pt x="297" y="467"/>
                  </a:cubicBezTo>
                  <a:cubicBezTo>
                    <a:pt x="278" y="465"/>
                    <a:pt x="265" y="460"/>
                    <a:pt x="257" y="452"/>
                  </a:cubicBezTo>
                  <a:cubicBezTo>
                    <a:pt x="248" y="442"/>
                    <a:pt x="243" y="422"/>
                    <a:pt x="243" y="390"/>
                  </a:cubicBezTo>
                  <a:cubicBezTo>
                    <a:pt x="243" y="23"/>
                    <a:pt x="243" y="23"/>
                    <a:pt x="243" y="23"/>
                  </a:cubicBezTo>
                  <a:cubicBezTo>
                    <a:pt x="284" y="25"/>
                    <a:pt x="317" y="38"/>
                    <a:pt x="340" y="64"/>
                  </a:cubicBezTo>
                  <a:cubicBezTo>
                    <a:pt x="362" y="89"/>
                    <a:pt x="376" y="128"/>
                    <a:pt x="381" y="179"/>
                  </a:cubicBezTo>
                  <a:cubicBezTo>
                    <a:pt x="407" y="175"/>
                    <a:pt x="407" y="175"/>
                    <a:pt x="407" y="175"/>
                  </a:cubicBezTo>
                  <a:lnTo>
                    <a:pt x="402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45078" name="Gruppieren 45077"/>
          <p:cNvGrpSpPr/>
          <p:nvPr userDrawn="1"/>
        </p:nvGrpSpPr>
        <p:grpSpPr>
          <a:xfrm>
            <a:off x="9517063" y="5881688"/>
            <a:ext cx="1679576" cy="128588"/>
            <a:chOff x="9517063" y="5881688"/>
            <a:chExt cx="1679576" cy="128588"/>
          </a:xfrm>
        </p:grpSpPr>
        <p:sp>
          <p:nvSpPr>
            <p:cNvPr id="45061" name="Freeform 35"/>
            <p:cNvSpPr>
              <a:spLocks/>
            </p:cNvSpPr>
            <p:nvPr userDrawn="1"/>
          </p:nvSpPr>
          <p:spPr bwMode="auto">
            <a:xfrm>
              <a:off x="9517063" y="5884863"/>
              <a:ext cx="76200" cy="122238"/>
            </a:xfrm>
            <a:custGeom>
              <a:avLst/>
              <a:gdLst>
                <a:gd name="T0" fmla="*/ 0 w 48"/>
                <a:gd name="T1" fmla="*/ 77 h 77"/>
                <a:gd name="T2" fmla="*/ 0 w 48"/>
                <a:gd name="T3" fmla="*/ 0 h 77"/>
                <a:gd name="T4" fmla="*/ 17 w 48"/>
                <a:gd name="T5" fmla="*/ 0 h 77"/>
                <a:gd name="T6" fmla="*/ 17 w 48"/>
                <a:gd name="T7" fmla="*/ 63 h 77"/>
                <a:gd name="T8" fmla="*/ 48 w 48"/>
                <a:gd name="T9" fmla="*/ 63 h 77"/>
                <a:gd name="T10" fmla="*/ 48 w 48"/>
                <a:gd name="T11" fmla="*/ 77 h 77"/>
                <a:gd name="T12" fmla="*/ 0 w 48"/>
                <a:gd name="T13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63"/>
                  </a:lnTo>
                  <a:lnTo>
                    <a:pt x="48" y="63"/>
                  </a:lnTo>
                  <a:lnTo>
                    <a:pt x="48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2" name="Freeform 36"/>
            <p:cNvSpPr>
              <a:spLocks/>
            </p:cNvSpPr>
            <p:nvPr userDrawn="1"/>
          </p:nvSpPr>
          <p:spPr bwMode="auto">
            <a:xfrm>
              <a:off x="9609138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3" name="Freeform 37"/>
            <p:cNvSpPr>
              <a:spLocks/>
            </p:cNvSpPr>
            <p:nvPr userDrawn="1"/>
          </p:nvSpPr>
          <p:spPr bwMode="auto">
            <a:xfrm>
              <a:off x="9658351" y="5884863"/>
              <a:ext cx="74613" cy="122238"/>
            </a:xfrm>
            <a:custGeom>
              <a:avLst/>
              <a:gdLst>
                <a:gd name="T0" fmla="*/ 0 w 47"/>
                <a:gd name="T1" fmla="*/ 77 h 77"/>
                <a:gd name="T2" fmla="*/ 0 w 47"/>
                <a:gd name="T3" fmla="*/ 0 h 77"/>
                <a:gd name="T4" fmla="*/ 47 w 47"/>
                <a:gd name="T5" fmla="*/ 0 h 77"/>
                <a:gd name="T6" fmla="*/ 47 w 47"/>
                <a:gd name="T7" fmla="*/ 14 h 77"/>
                <a:gd name="T8" fmla="*/ 17 w 47"/>
                <a:gd name="T9" fmla="*/ 14 h 77"/>
                <a:gd name="T10" fmla="*/ 17 w 47"/>
                <a:gd name="T11" fmla="*/ 32 h 77"/>
                <a:gd name="T12" fmla="*/ 43 w 47"/>
                <a:gd name="T13" fmla="*/ 32 h 77"/>
                <a:gd name="T14" fmla="*/ 43 w 47"/>
                <a:gd name="T15" fmla="*/ 45 h 77"/>
                <a:gd name="T16" fmla="*/ 17 w 47"/>
                <a:gd name="T17" fmla="*/ 45 h 77"/>
                <a:gd name="T18" fmla="*/ 17 w 47"/>
                <a:gd name="T19" fmla="*/ 77 h 77"/>
                <a:gd name="T20" fmla="*/ 0 w 4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77">
                  <a:moveTo>
                    <a:pt x="0" y="77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47" y="14"/>
                  </a:lnTo>
                  <a:lnTo>
                    <a:pt x="17" y="14"/>
                  </a:lnTo>
                  <a:lnTo>
                    <a:pt x="17" y="32"/>
                  </a:lnTo>
                  <a:lnTo>
                    <a:pt x="43" y="32"/>
                  </a:lnTo>
                  <a:lnTo>
                    <a:pt x="43" y="45"/>
                  </a:lnTo>
                  <a:lnTo>
                    <a:pt x="17" y="45"/>
                  </a:lnTo>
                  <a:lnTo>
                    <a:pt x="17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4" name="Freeform 38"/>
            <p:cNvSpPr>
              <a:spLocks/>
            </p:cNvSpPr>
            <p:nvPr userDrawn="1"/>
          </p:nvSpPr>
          <p:spPr bwMode="auto">
            <a:xfrm>
              <a:off x="9748838" y="5884863"/>
              <a:ext cx="79375" cy="122238"/>
            </a:xfrm>
            <a:custGeom>
              <a:avLst/>
              <a:gdLst>
                <a:gd name="T0" fmla="*/ 0 w 50"/>
                <a:gd name="T1" fmla="*/ 77 h 77"/>
                <a:gd name="T2" fmla="*/ 0 w 50"/>
                <a:gd name="T3" fmla="*/ 0 h 77"/>
                <a:gd name="T4" fmla="*/ 50 w 50"/>
                <a:gd name="T5" fmla="*/ 0 h 77"/>
                <a:gd name="T6" fmla="*/ 50 w 50"/>
                <a:gd name="T7" fmla="*/ 14 h 77"/>
                <a:gd name="T8" fmla="*/ 17 w 50"/>
                <a:gd name="T9" fmla="*/ 14 h 77"/>
                <a:gd name="T10" fmla="*/ 17 w 50"/>
                <a:gd name="T11" fmla="*/ 31 h 77"/>
                <a:gd name="T12" fmla="*/ 47 w 50"/>
                <a:gd name="T13" fmla="*/ 31 h 77"/>
                <a:gd name="T14" fmla="*/ 47 w 50"/>
                <a:gd name="T15" fmla="*/ 44 h 77"/>
                <a:gd name="T16" fmla="*/ 17 w 50"/>
                <a:gd name="T17" fmla="*/ 44 h 77"/>
                <a:gd name="T18" fmla="*/ 17 w 50"/>
                <a:gd name="T19" fmla="*/ 63 h 77"/>
                <a:gd name="T20" fmla="*/ 50 w 50"/>
                <a:gd name="T21" fmla="*/ 63 h 77"/>
                <a:gd name="T22" fmla="*/ 50 w 50"/>
                <a:gd name="T23" fmla="*/ 77 h 77"/>
                <a:gd name="T24" fmla="*/ 0 w 50"/>
                <a:gd name="T2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77">
                  <a:moveTo>
                    <a:pt x="0" y="77"/>
                  </a:moveTo>
                  <a:lnTo>
                    <a:pt x="0" y="0"/>
                  </a:lnTo>
                  <a:lnTo>
                    <a:pt x="50" y="0"/>
                  </a:lnTo>
                  <a:lnTo>
                    <a:pt x="50" y="14"/>
                  </a:lnTo>
                  <a:lnTo>
                    <a:pt x="17" y="14"/>
                  </a:lnTo>
                  <a:lnTo>
                    <a:pt x="17" y="31"/>
                  </a:lnTo>
                  <a:lnTo>
                    <a:pt x="47" y="31"/>
                  </a:lnTo>
                  <a:lnTo>
                    <a:pt x="47" y="44"/>
                  </a:lnTo>
                  <a:lnTo>
                    <a:pt x="17" y="44"/>
                  </a:lnTo>
                  <a:lnTo>
                    <a:pt x="17" y="63"/>
                  </a:lnTo>
                  <a:lnTo>
                    <a:pt x="50" y="63"/>
                  </a:lnTo>
                  <a:lnTo>
                    <a:pt x="50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5" name="Freeform 39"/>
            <p:cNvSpPr>
              <a:spLocks/>
            </p:cNvSpPr>
            <p:nvPr userDrawn="1"/>
          </p:nvSpPr>
          <p:spPr bwMode="auto">
            <a:xfrm>
              <a:off x="9894888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6" name="Freeform 40"/>
            <p:cNvSpPr>
              <a:spLocks/>
            </p:cNvSpPr>
            <p:nvPr userDrawn="1"/>
          </p:nvSpPr>
          <p:spPr bwMode="auto">
            <a:xfrm>
              <a:off x="9939338" y="5881688"/>
              <a:ext cx="85725" cy="128588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7" name="Freeform 41"/>
            <p:cNvSpPr>
              <a:spLocks/>
            </p:cNvSpPr>
            <p:nvPr userDrawn="1"/>
          </p:nvSpPr>
          <p:spPr bwMode="auto">
            <a:xfrm>
              <a:off x="10088563" y="5884863"/>
              <a:ext cx="74613" cy="122238"/>
            </a:xfrm>
            <a:custGeom>
              <a:avLst/>
              <a:gdLst>
                <a:gd name="T0" fmla="*/ 0 w 47"/>
                <a:gd name="T1" fmla="*/ 77 h 77"/>
                <a:gd name="T2" fmla="*/ 0 w 47"/>
                <a:gd name="T3" fmla="*/ 0 h 77"/>
                <a:gd name="T4" fmla="*/ 47 w 47"/>
                <a:gd name="T5" fmla="*/ 0 h 77"/>
                <a:gd name="T6" fmla="*/ 47 w 47"/>
                <a:gd name="T7" fmla="*/ 14 h 77"/>
                <a:gd name="T8" fmla="*/ 16 w 47"/>
                <a:gd name="T9" fmla="*/ 14 h 77"/>
                <a:gd name="T10" fmla="*/ 16 w 47"/>
                <a:gd name="T11" fmla="*/ 32 h 77"/>
                <a:gd name="T12" fmla="*/ 43 w 47"/>
                <a:gd name="T13" fmla="*/ 32 h 77"/>
                <a:gd name="T14" fmla="*/ 43 w 47"/>
                <a:gd name="T15" fmla="*/ 45 h 77"/>
                <a:gd name="T16" fmla="*/ 16 w 47"/>
                <a:gd name="T17" fmla="*/ 45 h 77"/>
                <a:gd name="T18" fmla="*/ 16 w 47"/>
                <a:gd name="T19" fmla="*/ 77 h 77"/>
                <a:gd name="T20" fmla="*/ 0 w 4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77">
                  <a:moveTo>
                    <a:pt x="0" y="77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47" y="14"/>
                  </a:lnTo>
                  <a:lnTo>
                    <a:pt x="16" y="14"/>
                  </a:lnTo>
                  <a:lnTo>
                    <a:pt x="16" y="32"/>
                  </a:lnTo>
                  <a:lnTo>
                    <a:pt x="43" y="32"/>
                  </a:lnTo>
                  <a:lnTo>
                    <a:pt x="43" y="45"/>
                  </a:lnTo>
                  <a:lnTo>
                    <a:pt x="16" y="45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8" name="Freeform 42"/>
            <p:cNvSpPr>
              <a:spLocks noEditPoints="1"/>
            </p:cNvSpPr>
            <p:nvPr userDrawn="1"/>
          </p:nvSpPr>
          <p:spPr bwMode="auto">
            <a:xfrm>
              <a:off x="10172701" y="5881688"/>
              <a:ext cx="104775" cy="128588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9" name="Freeform 43"/>
            <p:cNvSpPr>
              <a:spLocks noEditPoints="1"/>
            </p:cNvSpPr>
            <p:nvPr userDrawn="1"/>
          </p:nvSpPr>
          <p:spPr bwMode="auto">
            <a:xfrm>
              <a:off x="10296526" y="5884863"/>
              <a:ext cx="92075" cy="122238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0" name="Freeform 44"/>
            <p:cNvSpPr>
              <a:spLocks/>
            </p:cNvSpPr>
            <p:nvPr userDrawn="1"/>
          </p:nvSpPr>
          <p:spPr bwMode="auto">
            <a:xfrm>
              <a:off x="10448926" y="5881688"/>
              <a:ext cx="85725" cy="128588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1" name="Freeform 45"/>
            <p:cNvSpPr>
              <a:spLocks/>
            </p:cNvSpPr>
            <p:nvPr userDrawn="1"/>
          </p:nvSpPr>
          <p:spPr bwMode="auto">
            <a:xfrm>
              <a:off x="10552113" y="5884863"/>
              <a:ext cx="92075" cy="122238"/>
            </a:xfrm>
            <a:custGeom>
              <a:avLst/>
              <a:gdLst>
                <a:gd name="T0" fmla="*/ 0 w 58"/>
                <a:gd name="T1" fmla="*/ 77 h 77"/>
                <a:gd name="T2" fmla="*/ 0 w 58"/>
                <a:gd name="T3" fmla="*/ 0 h 77"/>
                <a:gd name="T4" fmla="*/ 17 w 58"/>
                <a:gd name="T5" fmla="*/ 0 h 77"/>
                <a:gd name="T6" fmla="*/ 17 w 58"/>
                <a:gd name="T7" fmla="*/ 29 h 77"/>
                <a:gd name="T8" fmla="*/ 41 w 58"/>
                <a:gd name="T9" fmla="*/ 29 h 77"/>
                <a:gd name="T10" fmla="*/ 41 w 58"/>
                <a:gd name="T11" fmla="*/ 0 h 77"/>
                <a:gd name="T12" fmla="*/ 58 w 58"/>
                <a:gd name="T13" fmla="*/ 0 h 77"/>
                <a:gd name="T14" fmla="*/ 58 w 58"/>
                <a:gd name="T15" fmla="*/ 77 h 77"/>
                <a:gd name="T16" fmla="*/ 41 w 58"/>
                <a:gd name="T17" fmla="*/ 77 h 77"/>
                <a:gd name="T18" fmla="*/ 41 w 58"/>
                <a:gd name="T19" fmla="*/ 43 h 77"/>
                <a:gd name="T20" fmla="*/ 17 w 58"/>
                <a:gd name="T21" fmla="*/ 43 h 77"/>
                <a:gd name="T22" fmla="*/ 17 w 58"/>
                <a:gd name="T23" fmla="*/ 77 h 77"/>
                <a:gd name="T24" fmla="*/ 0 w 58"/>
                <a:gd name="T2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8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29"/>
                  </a:lnTo>
                  <a:lnTo>
                    <a:pt x="41" y="29"/>
                  </a:lnTo>
                  <a:lnTo>
                    <a:pt x="41" y="0"/>
                  </a:lnTo>
                  <a:lnTo>
                    <a:pt x="58" y="0"/>
                  </a:lnTo>
                  <a:lnTo>
                    <a:pt x="58" y="77"/>
                  </a:lnTo>
                  <a:lnTo>
                    <a:pt x="41" y="77"/>
                  </a:lnTo>
                  <a:lnTo>
                    <a:pt x="41" y="43"/>
                  </a:lnTo>
                  <a:lnTo>
                    <a:pt x="17" y="43"/>
                  </a:lnTo>
                  <a:lnTo>
                    <a:pt x="17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2" name="Freeform 46"/>
            <p:cNvSpPr>
              <a:spLocks noEditPoints="1"/>
            </p:cNvSpPr>
            <p:nvPr userDrawn="1"/>
          </p:nvSpPr>
          <p:spPr bwMode="auto">
            <a:xfrm>
              <a:off x="10656888" y="5884863"/>
              <a:ext cx="104775" cy="122238"/>
            </a:xfrm>
            <a:custGeom>
              <a:avLst/>
              <a:gdLst>
                <a:gd name="T0" fmla="*/ 25 w 66"/>
                <a:gd name="T1" fmla="*/ 0 h 77"/>
                <a:gd name="T2" fmla="*/ 42 w 66"/>
                <a:gd name="T3" fmla="*/ 0 h 77"/>
                <a:gd name="T4" fmla="*/ 66 w 66"/>
                <a:gd name="T5" fmla="*/ 77 h 77"/>
                <a:gd name="T6" fmla="*/ 49 w 66"/>
                <a:gd name="T7" fmla="*/ 77 h 77"/>
                <a:gd name="T8" fmla="*/ 44 w 66"/>
                <a:gd name="T9" fmla="*/ 60 h 77"/>
                <a:gd name="T10" fmla="*/ 22 w 66"/>
                <a:gd name="T11" fmla="*/ 60 h 77"/>
                <a:gd name="T12" fmla="*/ 18 w 66"/>
                <a:gd name="T13" fmla="*/ 77 h 77"/>
                <a:gd name="T14" fmla="*/ 0 w 66"/>
                <a:gd name="T15" fmla="*/ 77 h 77"/>
                <a:gd name="T16" fmla="*/ 25 w 66"/>
                <a:gd name="T17" fmla="*/ 0 h 77"/>
                <a:gd name="T18" fmla="*/ 26 w 66"/>
                <a:gd name="T19" fmla="*/ 47 h 77"/>
                <a:gd name="T20" fmla="*/ 41 w 66"/>
                <a:gd name="T21" fmla="*/ 47 h 77"/>
                <a:gd name="T22" fmla="*/ 33 w 66"/>
                <a:gd name="T23" fmla="*/ 21 h 77"/>
                <a:gd name="T24" fmla="*/ 26 w 66"/>
                <a:gd name="T25" fmla="*/ 4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77">
                  <a:moveTo>
                    <a:pt x="25" y="0"/>
                  </a:moveTo>
                  <a:lnTo>
                    <a:pt x="42" y="0"/>
                  </a:lnTo>
                  <a:lnTo>
                    <a:pt x="66" y="77"/>
                  </a:lnTo>
                  <a:lnTo>
                    <a:pt x="49" y="77"/>
                  </a:lnTo>
                  <a:lnTo>
                    <a:pt x="44" y="60"/>
                  </a:lnTo>
                  <a:lnTo>
                    <a:pt x="22" y="60"/>
                  </a:lnTo>
                  <a:lnTo>
                    <a:pt x="18" y="77"/>
                  </a:lnTo>
                  <a:lnTo>
                    <a:pt x="0" y="77"/>
                  </a:lnTo>
                  <a:lnTo>
                    <a:pt x="25" y="0"/>
                  </a:lnTo>
                  <a:close/>
                  <a:moveTo>
                    <a:pt x="26" y="47"/>
                  </a:moveTo>
                  <a:lnTo>
                    <a:pt x="41" y="47"/>
                  </a:lnTo>
                  <a:lnTo>
                    <a:pt x="33" y="21"/>
                  </a:lnTo>
                  <a:lnTo>
                    <a:pt x="26" y="4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3" name="Freeform 47"/>
            <p:cNvSpPr>
              <a:spLocks noEditPoints="1"/>
            </p:cNvSpPr>
            <p:nvPr userDrawn="1"/>
          </p:nvSpPr>
          <p:spPr bwMode="auto">
            <a:xfrm>
              <a:off x="10775951" y="5884863"/>
              <a:ext cx="90488" cy="122238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4" name="Freeform 48"/>
            <p:cNvSpPr>
              <a:spLocks/>
            </p:cNvSpPr>
            <p:nvPr userDrawn="1"/>
          </p:nvSpPr>
          <p:spPr bwMode="auto">
            <a:xfrm>
              <a:off x="10887076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5" name="Freeform 49"/>
            <p:cNvSpPr>
              <a:spLocks/>
            </p:cNvSpPr>
            <p:nvPr userDrawn="1"/>
          </p:nvSpPr>
          <p:spPr bwMode="auto">
            <a:xfrm>
              <a:off x="10936288" y="5884863"/>
              <a:ext cx="90488" cy="122238"/>
            </a:xfrm>
            <a:custGeom>
              <a:avLst/>
              <a:gdLst>
                <a:gd name="T0" fmla="*/ 0 w 57"/>
                <a:gd name="T1" fmla="*/ 77 h 77"/>
                <a:gd name="T2" fmla="*/ 0 w 57"/>
                <a:gd name="T3" fmla="*/ 0 h 77"/>
                <a:gd name="T4" fmla="*/ 17 w 57"/>
                <a:gd name="T5" fmla="*/ 0 h 77"/>
                <a:gd name="T6" fmla="*/ 41 w 57"/>
                <a:gd name="T7" fmla="*/ 50 h 77"/>
                <a:gd name="T8" fmla="*/ 41 w 57"/>
                <a:gd name="T9" fmla="*/ 0 h 77"/>
                <a:gd name="T10" fmla="*/ 57 w 57"/>
                <a:gd name="T11" fmla="*/ 0 h 77"/>
                <a:gd name="T12" fmla="*/ 57 w 57"/>
                <a:gd name="T13" fmla="*/ 77 h 77"/>
                <a:gd name="T14" fmla="*/ 41 w 57"/>
                <a:gd name="T15" fmla="*/ 77 h 77"/>
                <a:gd name="T16" fmla="*/ 16 w 57"/>
                <a:gd name="T17" fmla="*/ 27 h 77"/>
                <a:gd name="T18" fmla="*/ 16 w 57"/>
                <a:gd name="T19" fmla="*/ 77 h 77"/>
                <a:gd name="T20" fmla="*/ 0 w 5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41" y="50"/>
                  </a:lnTo>
                  <a:lnTo>
                    <a:pt x="41" y="0"/>
                  </a:lnTo>
                  <a:lnTo>
                    <a:pt x="57" y="0"/>
                  </a:lnTo>
                  <a:lnTo>
                    <a:pt x="57" y="77"/>
                  </a:lnTo>
                  <a:lnTo>
                    <a:pt x="41" y="77"/>
                  </a:lnTo>
                  <a:lnTo>
                    <a:pt x="16" y="27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6" name="Freeform 50"/>
            <p:cNvSpPr>
              <a:spLocks/>
            </p:cNvSpPr>
            <p:nvPr userDrawn="1"/>
          </p:nvSpPr>
          <p:spPr bwMode="auto">
            <a:xfrm>
              <a:off x="11045826" y="5881688"/>
              <a:ext cx="100013" cy="128588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7" name="Freeform 51"/>
            <p:cNvSpPr>
              <a:spLocks/>
            </p:cNvSpPr>
            <p:nvPr userDrawn="1"/>
          </p:nvSpPr>
          <p:spPr bwMode="auto">
            <a:xfrm>
              <a:off x="11169651" y="5981700"/>
              <a:ext cx="26988" cy="25400"/>
            </a:xfrm>
            <a:custGeom>
              <a:avLst/>
              <a:gdLst>
                <a:gd name="T0" fmla="*/ 17 w 17"/>
                <a:gd name="T1" fmla="*/ 0 h 16"/>
                <a:gd name="T2" fmla="*/ 17 w 17"/>
                <a:gd name="T3" fmla="*/ 16 h 16"/>
                <a:gd name="T4" fmla="*/ 0 w 17"/>
                <a:gd name="T5" fmla="*/ 16 h 16"/>
                <a:gd name="T6" fmla="*/ 0 w 17"/>
                <a:gd name="T7" fmla="*/ 0 h 16"/>
                <a:gd name="T8" fmla="*/ 9 w 17"/>
                <a:gd name="T9" fmla="*/ 0 h 16"/>
                <a:gd name="T10" fmla="*/ 17 w 17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6">
                  <a:moveTo>
                    <a:pt x="17" y="0"/>
                  </a:moveTo>
                  <a:lnTo>
                    <a:pt x="17" y="16"/>
                  </a:lnTo>
                  <a:lnTo>
                    <a:pt x="0" y="16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118931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"/>
            <a:ext cx="11522075" cy="6480176"/>
          </a:xfrm>
          <a:prstGeom prst="rect">
            <a:avLst/>
          </a:prstGeom>
        </p:spPr>
      </p:pic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1562241"/>
              </p:ext>
            </p:extLst>
          </p:nvPr>
        </p:nvGraphicFramePr>
        <p:xfrm>
          <a:off x="1591" y="1594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4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4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078" name="Picture 22" hidden="1"/>
          <p:cNvPicPr>
            <a:picLocks noChangeAspect="1" noChangeArrowheads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black">
          <a:xfrm>
            <a:off x="1590" y="1594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5" name="Titel 3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324017" y="4011614"/>
            <a:ext cx="10872957" cy="2144713"/>
          </a:xfrm>
          <a:prstGeom prst="rect">
            <a:avLst/>
          </a:prstGeom>
          <a:solidFill>
            <a:srgbClr val="8D2A90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3854" tIns="71926" rIns="143854" bIns="71926"/>
          <a:lstStyle/>
          <a:p>
            <a:pPr defTabSz="575675" fontAlgn="base">
              <a:lnSpc>
                <a:spcPts val="3999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rgbClr val="E20074"/>
              </a:solidFill>
              <a:latin typeface="TeleGrotesk Headline Ultra" pitchFamily="2" charset="0"/>
              <a:cs typeface="Arial Unicode MS" pitchFamily="34" charset="-128"/>
            </a:endParaRPr>
          </a:p>
        </p:txBody>
      </p:sp>
      <p:sp>
        <p:nvSpPr>
          <p:cNvPr id="16" name="Titel 3"/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324002" y="2949581"/>
            <a:ext cx="10451414" cy="3206750"/>
          </a:xfrm>
          <a:prstGeom prst="rect">
            <a:avLst/>
          </a:prstGeom>
          <a:solidFill>
            <a:srgbClr val="8D2A90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3854" tIns="71926" rIns="143854" bIns="71926"/>
          <a:lstStyle/>
          <a:p>
            <a:pPr defTabSz="575675" fontAlgn="base">
              <a:lnSpc>
                <a:spcPts val="3999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rgbClr val="E20074"/>
              </a:solidFill>
              <a:latin typeface="TeleGrotesk Headline Ultra" pitchFamily="2" charset="0"/>
              <a:cs typeface="Arial Unicode MS" pitchFamily="34" charset="-128"/>
            </a:endParaRPr>
          </a:p>
        </p:txBody>
      </p:sp>
      <p:sp>
        <p:nvSpPr>
          <p:cNvPr id="17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30083" y="3201989"/>
            <a:ext cx="9875846" cy="2954337"/>
          </a:xfrm>
          <a:prstGeom prst="rect">
            <a:avLst/>
          </a:prstGeom>
          <a:solidFill>
            <a:srgbClr val="8D2A90"/>
          </a:solidFill>
          <a:ln w="9525">
            <a:noFill/>
            <a:miter lim="800000"/>
            <a:headEnd/>
            <a:tailEnd/>
          </a:ln>
        </p:spPr>
        <p:txBody>
          <a:bodyPr lIns="143854" tIns="71926" rIns="143854" bIns="71926" anchor="ctr"/>
          <a:lstStyle/>
          <a:p>
            <a:pPr defTabSz="456736" fontAlgn="base">
              <a:lnSpc>
                <a:spcPts val="1799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</a:pPr>
            <a:endParaRPr lang="en-US" sz="1800" dirty="0">
              <a:solidFill>
                <a:srgbClr val="000000"/>
              </a:solidFill>
              <a:latin typeface="Tele-GroteskFet" pitchFamily="2" charset="0"/>
              <a:ea typeface="Arial Unicode MS" panose="020B0604020202020204" pitchFamily="34" charset="-128"/>
              <a:cs typeface="Arial Unicode MS" pitchFamily="34" charset="-128"/>
            </a:endParaRPr>
          </a:p>
        </p:txBody>
      </p:sp>
      <p:sp>
        <p:nvSpPr>
          <p:cNvPr id="18" name="Titelplatzhalter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323851" y="3200403"/>
            <a:ext cx="9886690" cy="1116751"/>
          </a:xfrm>
          <a:prstGeom prst="rect">
            <a:avLst/>
          </a:prstGeom>
          <a:noFill/>
        </p:spPr>
        <p:txBody>
          <a:bodyPr wrap="square" lIns="143845">
            <a:sp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(Ultra)</a:t>
            </a:r>
            <a:br>
              <a:rPr lang="en-US" dirty="0" smtClean="0"/>
            </a:br>
            <a:r>
              <a:rPr kumimoji="0" lang="en-US" sz="4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2 lines, (40) 48 pt </a:t>
            </a:r>
            <a:endParaRPr lang="en-US" dirty="0" smtClean="0"/>
          </a:p>
        </p:txBody>
      </p:sp>
      <p:sp>
        <p:nvSpPr>
          <p:cNvPr id="1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23892" y="4536006"/>
            <a:ext cx="9886689" cy="384080"/>
          </a:xfrm>
          <a:prstGeom prst="rect">
            <a:avLst/>
          </a:prstGeom>
        </p:spPr>
        <p:txBody>
          <a:bodyPr wrap="square" lIns="143845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/>
          </a:p>
        </p:txBody>
      </p:sp>
      <p:pic>
        <p:nvPicPr>
          <p:cNvPr id="21" name="Grafik 38" descr="T_Logo_3c_Slogan_p_INT.emf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1258"/>
          <a:stretch>
            <a:fillRect/>
          </a:stretch>
        </p:blipFill>
        <p:spPr>
          <a:xfrm>
            <a:off x="9053136" y="5482054"/>
            <a:ext cx="1968882" cy="500400"/>
          </a:xfrm>
          <a:prstGeom prst="rect">
            <a:avLst/>
          </a:prstGeom>
        </p:spPr>
      </p:pic>
      <p:pic>
        <p:nvPicPr>
          <p:cNvPr id="7233" name="Picture 65"/>
          <p:cNvPicPr>
            <a:picLocks noChangeAspect="1" noChangeArrowheads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3035" y="5190593"/>
            <a:ext cx="2132274" cy="8287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97329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49" y="1476374"/>
            <a:ext cx="5364787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831850" y="1476374"/>
            <a:ext cx="5364787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6773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50" y="1476374"/>
            <a:ext cx="3528000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Quotations/lead-i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996162" y="1476374"/>
            <a:ext cx="3528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7668475" y="1476374"/>
            <a:ext cx="3528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9962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andou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50" y="1476374"/>
            <a:ext cx="2610000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Quotations/lead-i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078014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831851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8586638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baseline="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9785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069" y="315009"/>
            <a:ext cx="10705928" cy="43501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hu-HU"/>
          </a:p>
        </p:txBody>
      </p:sp>
      <p:sp>
        <p:nvSpPr>
          <p:cNvPr id="3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 smtClean="0"/>
              <a:t>25/04/2017</a:t>
            </a:r>
            <a:endParaRPr lang="en-US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 smtClean="0"/>
              <a:t>– Internal –        Katalin Riedl/Umbrella Audit - Company Intro</a:t>
            </a:r>
            <a:endParaRPr lang="en-US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42E853-FB2E-4C41-9A69-35DEFC1A3513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46289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6" hidden="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1" y="1501"/>
            <a:ext cx="2000" cy="1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5" name="Picture 21" descr="T_Logo_3c_Slogan_n_INT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38"/>
          <a:stretch>
            <a:fillRect/>
          </a:stretch>
        </p:blipFill>
        <p:spPr bwMode="auto">
          <a:xfrm>
            <a:off x="408074" y="5800657"/>
            <a:ext cx="1272229" cy="373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2" descr="T_Logo_3c_Slogan_n_INT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5840"/>
          <a:stretch>
            <a:fillRect/>
          </a:stretch>
        </p:blipFill>
        <p:spPr bwMode="auto">
          <a:xfrm>
            <a:off x="9313677" y="5800657"/>
            <a:ext cx="1810327" cy="373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058" name="Titelplatzhalter 1"/>
          <p:cNvSpPr>
            <a:spLocks noGrp="1"/>
          </p:cNvSpPr>
          <p:nvPr>
            <p:ph type="ctrTitle"/>
          </p:nvPr>
        </p:nvSpPr>
        <p:spPr>
          <a:xfrm>
            <a:off x="384069" y="1675546"/>
            <a:ext cx="10705928" cy="156454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</p:nvPr>
        </p:nvSpPr>
        <p:spPr>
          <a:xfrm>
            <a:off x="384069" y="3474094"/>
            <a:ext cx="10705928" cy="384080"/>
          </a:xfrm>
        </p:spPr>
        <p:txBody>
          <a:bodyPr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496506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 smtClean="0">
                <a:solidFill>
                  <a:srgbClr val="000000"/>
                </a:solidFill>
              </a:rPr>
              <a:t>29/07/2016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– internal -    - ITSH Company Presentation / Klaudia Kovács -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D947EA-C75C-4BD6-A5B3-2D27ECB9666E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4678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lide divider texture 6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1294191"/>
              </p:ext>
            </p:ext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9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– Strictly confidential, Confidential, Internal–     Author /Presentation Topic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smtClean="0"/>
              <a:t>dd.mm.yyyy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hidden">
          <a:xfrm>
            <a:off x="3" y="120"/>
            <a:ext cx="11522069" cy="6478765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91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91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91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2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(Ultra)</a:t>
            </a:r>
            <a:br>
              <a:rPr lang="en-US" smtClean="0"/>
            </a:b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5912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5832475" y="0"/>
            <a:ext cx="5689600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5365600" cy="4032251"/>
          </a:xfrm>
        </p:spPr>
        <p:txBody>
          <a:bodyPr anchor="ctr"/>
          <a:lstStyle>
            <a:lvl1pPr>
              <a:defRPr sz="1800" baseline="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19689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832624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5832625" y="1476374"/>
            <a:ext cx="5365600" cy="4032251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689600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24800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4000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8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999" y="1476374"/>
            <a:ext cx="10872000" cy="40322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1"/>
              </a:buClr>
              <a:defRPr baseline="0"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53656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832475" y="1476374"/>
            <a:ext cx="5364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5"/>
            <a:ext cx="3528000" cy="403225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7668475" y="1476375"/>
            <a:ext cx="3528000" cy="403225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996237" y="1476376"/>
            <a:ext cx="3528000" cy="403225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0616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832316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078158" y="1476375"/>
            <a:ext cx="2610000" cy="40322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8586475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01314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4510852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82" name="think-cell Folie" r:id="rId22" imgW="360" imgH="360" progId="TCLayout.ActiveDocument.1">
                  <p:embed/>
                </p:oleObj>
              </mc:Choice>
              <mc:Fallback>
                <p:oleObj name="think-cell Folie" r:id="rId22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23851" y="252000"/>
            <a:ext cx="10872000" cy="50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4000" y="1476000"/>
            <a:ext cx="10872000" cy="4032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9907200" y="5832001"/>
            <a:ext cx="828000" cy="324000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6000" y="5832001"/>
            <a:ext cx="360000" cy="324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662000" y="5832001"/>
            <a:ext cx="5148000" cy="324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  <p:pic>
        <p:nvPicPr>
          <p:cNvPr id="31" name="Grafik 30" descr="T_Logo_3c_Slogan_p_INT.emf"/>
          <p:cNvPicPr>
            <a:picLocks noChangeAspect="1"/>
          </p:cNvPicPr>
          <p:nvPr userDrawn="1"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001" y="5832000"/>
            <a:ext cx="2170213" cy="324000"/>
          </a:xfrm>
          <a:prstGeom prst="rect">
            <a:avLst/>
          </a:prstGeom>
        </p:spPr>
      </p:pic>
      <p:pic>
        <p:nvPicPr>
          <p:cNvPr id="9" name="Picture 8" descr="cid:image001.png@01D2249A.F7B8E9A0"/>
          <p:cNvPicPr/>
          <p:nvPr userDrawn="1"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93275" y="225604"/>
            <a:ext cx="1581150" cy="533400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1" r:id="rId2"/>
    <p:sldLayoutId id="2147483973" r:id="rId3"/>
    <p:sldLayoutId id="2147483716" r:id="rId4"/>
    <p:sldLayoutId id="2147483718" r:id="rId5"/>
    <p:sldLayoutId id="2147483722" r:id="rId6"/>
    <p:sldLayoutId id="2147483723" r:id="rId7"/>
    <p:sldLayoutId id="2147483969" r:id="rId8"/>
    <p:sldLayoutId id="2147483970" r:id="rId9"/>
    <p:sldLayoutId id="2147483898" r:id="rId10"/>
    <p:sldLayoutId id="2147483991" r:id="rId11"/>
    <p:sldLayoutId id="2147483930" r:id="rId12"/>
    <p:sldLayoutId id="2147483959" r:id="rId13"/>
    <p:sldLayoutId id="2147483960" r:id="rId14"/>
    <p:sldLayoutId id="2147483990" r:id="rId15"/>
    <p:sldLayoutId id="2147484044" r:id="rId16"/>
    <p:sldLayoutId id="2147484045" r:id="rId17"/>
    <p:sldLayoutId id="2147484046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  <p:txStyles>
    <p:titleStyle>
      <a:lvl1pPr marL="0" indent="0" algn="l" defTabSz="457322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3200" kern="1200" dirty="0">
          <a:solidFill>
            <a:srgbClr val="8D2A90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4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041" userDrawn="1">
          <p15:clr>
            <a:srgbClr val="F26B43"/>
          </p15:clr>
        </p15:guide>
        <p15:guide id="2" pos="3629" userDrawn="1">
          <p15:clr>
            <a:srgbClr val="F26B43"/>
          </p15:clr>
        </p15:guide>
        <p15:guide id="3" orient="horz" pos="930" userDrawn="1">
          <p15:clr>
            <a:srgbClr val="F26B43"/>
          </p15:clr>
        </p15:guide>
        <p15:guide id="4" orient="horz" pos="3470" userDrawn="1">
          <p15:clr>
            <a:srgbClr val="F26B43"/>
          </p15:clr>
        </p15:guide>
        <p15:guide id="5" orient="horz" pos="3878" userDrawn="1">
          <p15:clr>
            <a:srgbClr val="F26B43"/>
          </p15:clr>
        </p15:guide>
        <p15:guide id="6" pos="204" userDrawn="1">
          <p15:clr>
            <a:srgbClr val="F26B43"/>
          </p15:clr>
        </p15:guide>
        <p15:guide id="7" pos="7054" userDrawn="1">
          <p15:clr>
            <a:srgbClr val="F26B43"/>
          </p15:clr>
        </p15:guide>
        <p15:guide id="8" orient="horz" pos="3674" userDrawn="1">
          <p15:clr>
            <a:srgbClr val="F26B43"/>
          </p15:clr>
        </p15:guide>
        <p15:guide id="9" orient="horz" pos="3266" userDrawn="1">
          <p15:clr>
            <a:srgbClr val="F26B43"/>
          </p15:clr>
        </p15:guide>
        <p15:guide id="11" orient="horz" pos="204" userDrawn="1">
          <p15:clr>
            <a:srgbClr val="F26B43"/>
          </p15:clr>
        </p15:guide>
        <p15:guide id="12" pos="1848" userDrawn="1">
          <p15:clr>
            <a:srgbClr val="F26B43"/>
          </p15:clr>
        </p15:guide>
        <p15:guide id="13" pos="1939" userDrawn="1">
          <p15:clr>
            <a:srgbClr val="F26B43"/>
          </p15:clr>
        </p15:guide>
        <p15:guide id="14" pos="3674" userDrawn="1">
          <p15:clr>
            <a:srgbClr val="F26B43"/>
          </p15:clr>
        </p15:guide>
        <p15:guide id="15" pos="3584" userDrawn="1">
          <p15:clr>
            <a:srgbClr val="F26B43"/>
          </p15:clr>
        </p15:guide>
        <p15:guide id="16" pos="5410" userDrawn="1">
          <p15:clr>
            <a:srgbClr val="F26B43"/>
          </p15:clr>
        </p15:guide>
        <p15:guide id="17" pos="53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slide" Target="slide10.xml"/><Relationship Id="rId4" Type="http://schemas.openxmlformats.org/officeDocument/2006/relationships/notesSlide" Target="../notesSlides/notesSlide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slide" Target="slide10.xml"/><Relationship Id="rId4" Type="http://schemas.openxmlformats.org/officeDocument/2006/relationships/notesSlide" Target="../notesSlides/notesSlide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tags" Target="../tags/tag48.xml"/><Relationship Id="rId18" Type="http://schemas.openxmlformats.org/officeDocument/2006/relationships/tags" Target="../tags/tag53.xml"/><Relationship Id="rId26" Type="http://schemas.openxmlformats.org/officeDocument/2006/relationships/tags" Target="../tags/tag61.xml"/><Relationship Id="rId3" Type="http://schemas.openxmlformats.org/officeDocument/2006/relationships/tags" Target="../tags/tag38.xml"/><Relationship Id="rId21" Type="http://schemas.openxmlformats.org/officeDocument/2006/relationships/tags" Target="../tags/tag56.xml"/><Relationship Id="rId7" Type="http://schemas.openxmlformats.org/officeDocument/2006/relationships/tags" Target="../tags/tag42.xml"/><Relationship Id="rId12" Type="http://schemas.openxmlformats.org/officeDocument/2006/relationships/tags" Target="../tags/tag47.xml"/><Relationship Id="rId17" Type="http://schemas.openxmlformats.org/officeDocument/2006/relationships/tags" Target="../tags/tag52.xml"/><Relationship Id="rId25" Type="http://schemas.openxmlformats.org/officeDocument/2006/relationships/tags" Target="../tags/tag60.xml"/><Relationship Id="rId33" Type="http://schemas.openxmlformats.org/officeDocument/2006/relationships/chart" Target="../charts/chart4.xml"/><Relationship Id="rId2" Type="http://schemas.openxmlformats.org/officeDocument/2006/relationships/tags" Target="../tags/tag37.xml"/><Relationship Id="rId16" Type="http://schemas.openxmlformats.org/officeDocument/2006/relationships/tags" Target="../tags/tag51.xml"/><Relationship Id="rId20" Type="http://schemas.openxmlformats.org/officeDocument/2006/relationships/tags" Target="../tags/tag55.xml"/><Relationship Id="rId29" Type="http://schemas.openxmlformats.org/officeDocument/2006/relationships/tags" Target="../tags/tag64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11" Type="http://schemas.openxmlformats.org/officeDocument/2006/relationships/tags" Target="../tags/tag46.xml"/><Relationship Id="rId24" Type="http://schemas.openxmlformats.org/officeDocument/2006/relationships/tags" Target="../tags/tag59.xml"/><Relationship Id="rId32" Type="http://schemas.openxmlformats.org/officeDocument/2006/relationships/chart" Target="../charts/chart3.xml"/><Relationship Id="rId5" Type="http://schemas.openxmlformats.org/officeDocument/2006/relationships/tags" Target="../tags/tag40.xml"/><Relationship Id="rId15" Type="http://schemas.openxmlformats.org/officeDocument/2006/relationships/tags" Target="../tags/tag50.xml"/><Relationship Id="rId23" Type="http://schemas.openxmlformats.org/officeDocument/2006/relationships/tags" Target="../tags/tag58.xml"/><Relationship Id="rId28" Type="http://schemas.openxmlformats.org/officeDocument/2006/relationships/tags" Target="../tags/tag63.xml"/><Relationship Id="rId10" Type="http://schemas.openxmlformats.org/officeDocument/2006/relationships/tags" Target="../tags/tag45.xml"/><Relationship Id="rId19" Type="http://schemas.openxmlformats.org/officeDocument/2006/relationships/tags" Target="../tags/tag54.xml"/><Relationship Id="rId31" Type="http://schemas.openxmlformats.org/officeDocument/2006/relationships/notesSlide" Target="../notesSlides/notesSlide8.xml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tags" Target="../tags/tag49.xml"/><Relationship Id="rId22" Type="http://schemas.openxmlformats.org/officeDocument/2006/relationships/tags" Target="../tags/tag57.xml"/><Relationship Id="rId27" Type="http://schemas.openxmlformats.org/officeDocument/2006/relationships/tags" Target="../tags/tag62.xml"/><Relationship Id="rId30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71.xml"/><Relationship Id="rId13" Type="http://schemas.openxmlformats.org/officeDocument/2006/relationships/tags" Target="../tags/tag76.xml"/><Relationship Id="rId18" Type="http://schemas.openxmlformats.org/officeDocument/2006/relationships/tags" Target="../tags/tag81.xml"/><Relationship Id="rId26" Type="http://schemas.openxmlformats.org/officeDocument/2006/relationships/notesSlide" Target="../notesSlides/notesSlide9.xml"/><Relationship Id="rId3" Type="http://schemas.openxmlformats.org/officeDocument/2006/relationships/tags" Target="../tags/tag66.xml"/><Relationship Id="rId21" Type="http://schemas.openxmlformats.org/officeDocument/2006/relationships/tags" Target="../tags/tag84.xml"/><Relationship Id="rId7" Type="http://schemas.openxmlformats.org/officeDocument/2006/relationships/tags" Target="../tags/tag70.xml"/><Relationship Id="rId12" Type="http://schemas.openxmlformats.org/officeDocument/2006/relationships/tags" Target="../tags/tag75.xml"/><Relationship Id="rId17" Type="http://schemas.openxmlformats.org/officeDocument/2006/relationships/tags" Target="../tags/tag80.xml"/><Relationship Id="rId25" Type="http://schemas.openxmlformats.org/officeDocument/2006/relationships/slideLayout" Target="../slideLayouts/slideLayout6.xml"/><Relationship Id="rId2" Type="http://schemas.openxmlformats.org/officeDocument/2006/relationships/tags" Target="../tags/tag65.xml"/><Relationship Id="rId16" Type="http://schemas.openxmlformats.org/officeDocument/2006/relationships/tags" Target="../tags/tag79.xml"/><Relationship Id="rId20" Type="http://schemas.openxmlformats.org/officeDocument/2006/relationships/tags" Target="../tags/tag83.xml"/><Relationship Id="rId29" Type="http://schemas.openxmlformats.org/officeDocument/2006/relationships/image" Target="../media/image23.png"/><Relationship Id="rId1" Type="http://schemas.openxmlformats.org/officeDocument/2006/relationships/vmlDrawing" Target="../drawings/vmlDrawing4.vml"/><Relationship Id="rId6" Type="http://schemas.openxmlformats.org/officeDocument/2006/relationships/tags" Target="../tags/tag69.xml"/><Relationship Id="rId11" Type="http://schemas.openxmlformats.org/officeDocument/2006/relationships/tags" Target="../tags/tag74.xml"/><Relationship Id="rId24" Type="http://schemas.openxmlformats.org/officeDocument/2006/relationships/tags" Target="../tags/tag87.xml"/><Relationship Id="rId5" Type="http://schemas.openxmlformats.org/officeDocument/2006/relationships/tags" Target="../tags/tag68.xml"/><Relationship Id="rId15" Type="http://schemas.openxmlformats.org/officeDocument/2006/relationships/tags" Target="../tags/tag78.xml"/><Relationship Id="rId23" Type="http://schemas.openxmlformats.org/officeDocument/2006/relationships/tags" Target="../tags/tag86.xml"/><Relationship Id="rId28" Type="http://schemas.openxmlformats.org/officeDocument/2006/relationships/oleObject" Target="../embeddings/oleObject4.bin"/><Relationship Id="rId10" Type="http://schemas.openxmlformats.org/officeDocument/2006/relationships/tags" Target="../tags/tag73.xml"/><Relationship Id="rId19" Type="http://schemas.openxmlformats.org/officeDocument/2006/relationships/tags" Target="../tags/tag82.xml"/><Relationship Id="rId4" Type="http://schemas.openxmlformats.org/officeDocument/2006/relationships/tags" Target="../tags/tag67.xml"/><Relationship Id="rId9" Type="http://schemas.openxmlformats.org/officeDocument/2006/relationships/tags" Target="../tags/tag72.xml"/><Relationship Id="rId14" Type="http://schemas.openxmlformats.org/officeDocument/2006/relationships/tags" Target="../tags/tag77.xml"/><Relationship Id="rId22" Type="http://schemas.openxmlformats.org/officeDocument/2006/relationships/tags" Target="../tags/tag85.xml"/><Relationship Id="rId27" Type="http://schemas.openxmlformats.org/officeDocument/2006/relationships/image" Target="../media/image24.png"/><Relationship Id="rId30" Type="http://schemas.openxmlformats.org/officeDocument/2006/relationships/image" Target="../media/image2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27.png"/><Relationship Id="rId5" Type="http://schemas.openxmlformats.org/officeDocument/2006/relationships/image" Target="../media/image26.jpeg"/><Relationship Id="rId4" Type="http://schemas.openxmlformats.org/officeDocument/2006/relationships/notesSlide" Target="../notesSlides/notesSlide10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30.png"/><Relationship Id="rId12" Type="http://schemas.openxmlformats.org/officeDocument/2006/relationships/image" Target="../media/image35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0.xml"/><Relationship Id="rId6" Type="http://schemas.openxmlformats.org/officeDocument/2006/relationships/image" Target="../media/image29.png"/><Relationship Id="rId11" Type="http://schemas.openxmlformats.org/officeDocument/2006/relationships/image" Target="../media/image34.png"/><Relationship Id="rId5" Type="http://schemas.microsoft.com/office/2007/relationships/hdphoto" Target="../media/hdphoto1.wdp"/><Relationship Id="rId10" Type="http://schemas.openxmlformats.org/officeDocument/2006/relationships/image" Target="../media/image33.png"/><Relationship Id="rId4" Type="http://schemas.openxmlformats.org/officeDocument/2006/relationships/image" Target="../media/image28.png"/><Relationship Id="rId9" Type="http://schemas.openxmlformats.org/officeDocument/2006/relationships/image" Target="../media/image3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e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44.jpe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91.xml"/><Relationship Id="rId6" Type="http://schemas.openxmlformats.org/officeDocument/2006/relationships/image" Target="../media/image43.jpeg"/><Relationship Id="rId5" Type="http://schemas.openxmlformats.org/officeDocument/2006/relationships/image" Target="../media/image42.jpeg"/><Relationship Id="rId10" Type="http://schemas.openxmlformats.org/officeDocument/2006/relationships/image" Target="../media/image47.png"/><Relationship Id="rId4" Type="http://schemas.openxmlformats.org/officeDocument/2006/relationships/image" Target="../media/image41.jpeg"/><Relationship Id="rId9" Type="http://schemas.openxmlformats.org/officeDocument/2006/relationships/image" Target="../media/image46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13" Type="http://schemas.openxmlformats.org/officeDocument/2006/relationships/image" Target="../media/image50.png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12" Type="http://schemas.openxmlformats.org/officeDocument/2006/relationships/image" Target="../media/image49.jpeg"/><Relationship Id="rId2" Type="http://schemas.openxmlformats.org/officeDocument/2006/relationships/tags" Target="../tags/tag93.xml"/><Relationship Id="rId16" Type="http://schemas.openxmlformats.org/officeDocument/2006/relationships/image" Target="../media/image52.jpeg"/><Relationship Id="rId1" Type="http://schemas.openxmlformats.org/officeDocument/2006/relationships/tags" Target="../tags/tag92.xml"/><Relationship Id="rId6" Type="http://schemas.openxmlformats.org/officeDocument/2006/relationships/tags" Target="../tags/tag97.xml"/><Relationship Id="rId11" Type="http://schemas.openxmlformats.org/officeDocument/2006/relationships/image" Target="../media/image48.jpeg"/><Relationship Id="rId5" Type="http://schemas.openxmlformats.org/officeDocument/2006/relationships/tags" Target="../tags/tag96.xml"/><Relationship Id="rId15" Type="http://schemas.openxmlformats.org/officeDocument/2006/relationships/slide" Target="slide2.xml"/><Relationship Id="rId10" Type="http://schemas.openxmlformats.org/officeDocument/2006/relationships/notesSlide" Target="../notesSlides/notesSlide14.xml"/><Relationship Id="rId4" Type="http://schemas.openxmlformats.org/officeDocument/2006/relationships/tags" Target="../tags/tag95.xml"/><Relationship Id="rId9" Type="http://schemas.openxmlformats.org/officeDocument/2006/relationships/slideLayout" Target="../slideLayouts/slideLayout4.xml"/><Relationship Id="rId14" Type="http://schemas.openxmlformats.org/officeDocument/2006/relationships/image" Target="../media/image51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7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55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00.xml"/><Relationship Id="rId6" Type="http://schemas.openxmlformats.org/officeDocument/2006/relationships/image" Target="../media/image54.png"/><Relationship Id="rId5" Type="http://schemas.microsoft.com/office/2007/relationships/hdphoto" Target="../media/hdphoto2.wdp"/><Relationship Id="rId4" Type="http://schemas.openxmlformats.org/officeDocument/2006/relationships/image" Target="../media/image53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13" Type="http://schemas.openxmlformats.org/officeDocument/2006/relationships/image" Target="../media/image62.png"/><Relationship Id="rId18" Type="http://schemas.openxmlformats.org/officeDocument/2006/relationships/image" Target="../media/image67.png"/><Relationship Id="rId26" Type="http://schemas.openxmlformats.org/officeDocument/2006/relationships/image" Target="../media/image75.png"/><Relationship Id="rId3" Type="http://schemas.openxmlformats.org/officeDocument/2006/relationships/tags" Target="../tags/tag103.xml"/><Relationship Id="rId21" Type="http://schemas.openxmlformats.org/officeDocument/2006/relationships/image" Target="../media/image70.png"/><Relationship Id="rId34" Type="http://schemas.openxmlformats.org/officeDocument/2006/relationships/image" Target="../media/image83.jpeg"/><Relationship Id="rId7" Type="http://schemas.openxmlformats.org/officeDocument/2006/relationships/notesSlide" Target="../notesSlides/notesSlide16.xml"/><Relationship Id="rId12" Type="http://schemas.openxmlformats.org/officeDocument/2006/relationships/image" Target="../media/image61.png"/><Relationship Id="rId17" Type="http://schemas.openxmlformats.org/officeDocument/2006/relationships/image" Target="../media/image66.png"/><Relationship Id="rId25" Type="http://schemas.openxmlformats.org/officeDocument/2006/relationships/image" Target="../media/image74.png"/><Relationship Id="rId33" Type="http://schemas.openxmlformats.org/officeDocument/2006/relationships/image" Target="../media/image82.jpeg"/><Relationship Id="rId2" Type="http://schemas.openxmlformats.org/officeDocument/2006/relationships/tags" Target="../tags/tag102.xml"/><Relationship Id="rId16" Type="http://schemas.openxmlformats.org/officeDocument/2006/relationships/image" Target="../media/image65.png"/><Relationship Id="rId20" Type="http://schemas.openxmlformats.org/officeDocument/2006/relationships/image" Target="../media/image69.png"/><Relationship Id="rId29" Type="http://schemas.openxmlformats.org/officeDocument/2006/relationships/image" Target="../media/image78.jpeg"/><Relationship Id="rId1" Type="http://schemas.openxmlformats.org/officeDocument/2006/relationships/tags" Target="../tags/tag101.xml"/><Relationship Id="rId6" Type="http://schemas.openxmlformats.org/officeDocument/2006/relationships/slideLayout" Target="../slideLayouts/slideLayout5.xml"/><Relationship Id="rId11" Type="http://schemas.openxmlformats.org/officeDocument/2006/relationships/image" Target="../media/image60.png"/><Relationship Id="rId24" Type="http://schemas.openxmlformats.org/officeDocument/2006/relationships/image" Target="../media/image73.png"/><Relationship Id="rId32" Type="http://schemas.openxmlformats.org/officeDocument/2006/relationships/image" Target="../media/image81.jpeg"/><Relationship Id="rId5" Type="http://schemas.openxmlformats.org/officeDocument/2006/relationships/tags" Target="../tags/tag105.xml"/><Relationship Id="rId15" Type="http://schemas.openxmlformats.org/officeDocument/2006/relationships/image" Target="../media/image64.png"/><Relationship Id="rId23" Type="http://schemas.openxmlformats.org/officeDocument/2006/relationships/image" Target="../media/image72.png"/><Relationship Id="rId28" Type="http://schemas.openxmlformats.org/officeDocument/2006/relationships/image" Target="../media/image77.jpeg"/><Relationship Id="rId36" Type="http://schemas.openxmlformats.org/officeDocument/2006/relationships/image" Target="../media/image85.jpeg"/><Relationship Id="rId10" Type="http://schemas.openxmlformats.org/officeDocument/2006/relationships/image" Target="../media/image59.jpeg"/><Relationship Id="rId19" Type="http://schemas.openxmlformats.org/officeDocument/2006/relationships/image" Target="../media/image68.png"/><Relationship Id="rId31" Type="http://schemas.openxmlformats.org/officeDocument/2006/relationships/image" Target="../media/image80.png"/><Relationship Id="rId4" Type="http://schemas.openxmlformats.org/officeDocument/2006/relationships/tags" Target="../tags/tag104.xml"/><Relationship Id="rId9" Type="http://schemas.openxmlformats.org/officeDocument/2006/relationships/image" Target="../media/image58.png"/><Relationship Id="rId14" Type="http://schemas.openxmlformats.org/officeDocument/2006/relationships/image" Target="../media/image63.png"/><Relationship Id="rId22" Type="http://schemas.openxmlformats.org/officeDocument/2006/relationships/image" Target="../media/image71.png"/><Relationship Id="rId27" Type="http://schemas.openxmlformats.org/officeDocument/2006/relationships/image" Target="../media/image76.png"/><Relationship Id="rId30" Type="http://schemas.openxmlformats.org/officeDocument/2006/relationships/image" Target="../media/image79.jpeg"/><Relationship Id="rId35" Type="http://schemas.openxmlformats.org/officeDocument/2006/relationships/image" Target="../media/image84.jpe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113.xml"/><Relationship Id="rId13" Type="http://schemas.openxmlformats.org/officeDocument/2006/relationships/notesSlide" Target="../notesSlides/notesSlide17.xml"/><Relationship Id="rId18" Type="http://schemas.openxmlformats.org/officeDocument/2006/relationships/image" Target="../media/image90.png"/><Relationship Id="rId3" Type="http://schemas.openxmlformats.org/officeDocument/2006/relationships/tags" Target="../tags/tag108.xml"/><Relationship Id="rId21" Type="http://schemas.openxmlformats.org/officeDocument/2006/relationships/image" Target="../media/image93.png"/><Relationship Id="rId7" Type="http://schemas.openxmlformats.org/officeDocument/2006/relationships/tags" Target="../tags/tag112.xml"/><Relationship Id="rId12" Type="http://schemas.openxmlformats.org/officeDocument/2006/relationships/slideLayout" Target="../slideLayouts/slideLayout4.xml"/><Relationship Id="rId17" Type="http://schemas.openxmlformats.org/officeDocument/2006/relationships/image" Target="../media/image89.png"/><Relationship Id="rId2" Type="http://schemas.openxmlformats.org/officeDocument/2006/relationships/tags" Target="../tags/tag107.xml"/><Relationship Id="rId16" Type="http://schemas.openxmlformats.org/officeDocument/2006/relationships/image" Target="../media/image88.png"/><Relationship Id="rId20" Type="http://schemas.openxmlformats.org/officeDocument/2006/relationships/image" Target="../media/image92.png"/><Relationship Id="rId1" Type="http://schemas.openxmlformats.org/officeDocument/2006/relationships/tags" Target="../tags/tag106.xml"/><Relationship Id="rId6" Type="http://schemas.openxmlformats.org/officeDocument/2006/relationships/tags" Target="../tags/tag111.xml"/><Relationship Id="rId11" Type="http://schemas.openxmlformats.org/officeDocument/2006/relationships/tags" Target="../tags/tag116.xml"/><Relationship Id="rId24" Type="http://schemas.openxmlformats.org/officeDocument/2006/relationships/image" Target="../media/image96.png"/><Relationship Id="rId5" Type="http://schemas.openxmlformats.org/officeDocument/2006/relationships/tags" Target="../tags/tag110.xml"/><Relationship Id="rId15" Type="http://schemas.openxmlformats.org/officeDocument/2006/relationships/image" Target="../media/image87.png"/><Relationship Id="rId23" Type="http://schemas.openxmlformats.org/officeDocument/2006/relationships/image" Target="../media/image95.png"/><Relationship Id="rId10" Type="http://schemas.openxmlformats.org/officeDocument/2006/relationships/tags" Target="../tags/tag115.xml"/><Relationship Id="rId19" Type="http://schemas.openxmlformats.org/officeDocument/2006/relationships/image" Target="../media/image91.png"/><Relationship Id="rId4" Type="http://schemas.openxmlformats.org/officeDocument/2006/relationships/tags" Target="../tags/tag109.xml"/><Relationship Id="rId9" Type="http://schemas.openxmlformats.org/officeDocument/2006/relationships/tags" Target="../tags/tag114.xml"/><Relationship Id="rId14" Type="http://schemas.openxmlformats.org/officeDocument/2006/relationships/image" Target="../media/image86.png"/><Relationship Id="rId22" Type="http://schemas.openxmlformats.org/officeDocument/2006/relationships/image" Target="../media/image94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97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8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Relationship Id="rId4" Type="http://schemas.openxmlformats.org/officeDocument/2006/relationships/chart" Target="../charts/char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21.jpe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notesSlide" Target="../notesSlides/notesSlide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notesSlide" Target="../notesSlides/notesSlide5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12" Type="http://schemas.openxmlformats.org/officeDocument/2006/relationships/slideLayout" Target="../slideLayouts/slideLayout17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5" Type="http://schemas.openxmlformats.org/officeDocument/2006/relationships/tags" Target="../tags/tag25.xml"/><Relationship Id="rId10" Type="http://schemas.openxmlformats.org/officeDocument/2006/relationships/tags" Target="../tags/tag30.xml"/><Relationship Id="rId4" Type="http://schemas.openxmlformats.org/officeDocument/2006/relationships/tags" Target="../tags/tag24.xml"/><Relationship Id="rId9" Type="http://schemas.openxmlformats.org/officeDocument/2006/relationships/tags" Target="../tags/tag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7668" y="1743188"/>
            <a:ext cx="10801945" cy="2478112"/>
          </a:xfrm>
        </p:spPr>
        <p:txBody>
          <a:bodyPr/>
          <a:lstStyle/>
          <a:p>
            <a:pPr eaLnBrk="1" hangingPunct="1"/>
            <a:r>
              <a:rPr lang="en-US" dirty="0" smtClean="0">
                <a:latin typeface="Tele-GroteskEEUlt" pitchFamily="2" charset="0"/>
              </a:rPr>
              <a:t>IT SERVICES HUNGARY</a:t>
            </a:r>
            <a:br>
              <a:rPr lang="en-US" dirty="0" smtClean="0">
                <a:latin typeface="Tele-GroteskEEUlt" pitchFamily="2" charset="0"/>
              </a:rPr>
            </a:br>
            <a:r>
              <a:rPr lang="hu-HU" sz="4800" dirty="0" smtClean="0">
                <a:latin typeface="Tele-GroteskEENor" pitchFamily="2" charset="0"/>
              </a:rPr>
              <a:t>PROJECT MANAGEMENT 1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84069" y="3474094"/>
            <a:ext cx="10705928" cy="412421"/>
          </a:xfrm>
        </p:spPr>
        <p:txBody>
          <a:bodyPr/>
          <a:lstStyle/>
          <a:p>
            <a:pPr eaLnBrk="1" hangingPunct="1">
              <a:lnSpc>
                <a:spcPct val="70000"/>
              </a:lnSpc>
            </a:pPr>
            <a:endParaRPr lang="hu-HU" sz="1200" dirty="0" smtClean="0"/>
          </a:p>
          <a:p>
            <a:pPr eaLnBrk="1" hangingPunct="1">
              <a:lnSpc>
                <a:spcPct val="70000"/>
              </a:lnSpc>
            </a:pPr>
            <a:endParaRPr lang="hu-HU" sz="1200" dirty="0" smtClean="0"/>
          </a:p>
        </p:txBody>
      </p:sp>
    </p:spTree>
    <p:extLst>
      <p:ext uri="{BB962C8B-B14F-4D97-AF65-F5344CB8AC3E}">
        <p14:creationId xmlns:p14="http://schemas.microsoft.com/office/powerpoint/2010/main" val="1486932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Titel 1"/>
          <p:cNvSpPr>
            <a:spLocks noGrp="1"/>
          </p:cNvSpPr>
          <p:nvPr>
            <p:ph type="title"/>
          </p:nvPr>
        </p:nvSpPr>
        <p:spPr>
          <a:xfrm>
            <a:off x="376509" y="244921"/>
            <a:ext cx="10705928" cy="785215"/>
          </a:xfrm>
        </p:spPr>
        <p:txBody>
          <a:bodyPr/>
          <a:lstStyle/>
          <a:p>
            <a:pPr eaLnBrk="1" hangingPunct="1"/>
            <a:r>
              <a:rPr lang="en-US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T-S</a:t>
            </a:r>
            <a:r>
              <a:rPr lang="hu-HU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YSTEMS</a:t>
            </a:r>
            <a:r>
              <a:rPr lang="en-US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 </a:t>
            </a:r>
            <a:r>
              <a:rPr lang="hu-HU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WORLDWIDE</a:t>
            </a:r>
            <a:r>
              <a:rPr lang="en-US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 </a:t>
            </a:r>
            <a:r>
              <a:rPr lang="hu-HU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PRESENCE*</a:t>
            </a:r>
            <a:r>
              <a:rPr lang="en-US" sz="2800" dirty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/>
            </a:r>
            <a:br>
              <a:rPr lang="en-US" sz="2800" dirty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</a:br>
            <a:r>
              <a:rPr lang="en-US" sz="2800" cap="all" dirty="0" smtClean="0">
                <a:latin typeface="+mn-lt"/>
              </a:rPr>
              <a:t>Outside Europe</a:t>
            </a:r>
            <a:r>
              <a:rPr lang="hu-HU" sz="2800" cap="all" dirty="0" smtClean="0">
                <a:latin typeface="+mn-lt"/>
              </a:rPr>
              <a:t> </a:t>
            </a:r>
            <a:endParaRPr lang="en-US" sz="2800" cap="all" dirty="0" smtClean="0">
              <a:latin typeface="+mn-lt"/>
            </a:endParaRPr>
          </a:p>
        </p:txBody>
      </p:sp>
      <p:sp>
        <p:nvSpPr>
          <p:cNvPr id="2" name="Dia számának hely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E6BBBCF-7E96-490B-8A3E-27250659856F}" type="slidenum">
              <a:rPr lang="en-US" smtClean="0">
                <a:solidFill>
                  <a:srgbClr val="4B4B4B"/>
                </a:solidFill>
              </a:rPr>
              <a:pPr>
                <a:defRPr/>
              </a:pPr>
              <a:t>10</a:t>
            </a:fld>
            <a:endParaRPr lang="en-US">
              <a:solidFill>
                <a:srgbClr val="4B4B4B"/>
              </a:solidFill>
            </a:endParaRPr>
          </a:p>
        </p:txBody>
      </p:sp>
      <p:sp>
        <p:nvSpPr>
          <p:cNvPr id="80902" name="Freeform 5"/>
          <p:cNvSpPr>
            <a:spLocks noEditPoints="1"/>
          </p:cNvSpPr>
          <p:nvPr/>
        </p:nvSpPr>
        <p:spPr bwMode="gray">
          <a:xfrm>
            <a:off x="6817228" y="2188560"/>
            <a:ext cx="1218220" cy="421511"/>
          </a:xfrm>
          <a:custGeom>
            <a:avLst/>
            <a:gdLst>
              <a:gd name="T0" fmla="*/ 2147483647 w 603"/>
              <a:gd name="T1" fmla="*/ 2147483647 h 278"/>
              <a:gd name="T2" fmla="*/ 2147483647 w 603"/>
              <a:gd name="T3" fmla="*/ 2147483647 h 278"/>
              <a:gd name="T4" fmla="*/ 2147483647 w 603"/>
              <a:gd name="T5" fmla="*/ 2147483647 h 278"/>
              <a:gd name="T6" fmla="*/ 2147483647 w 603"/>
              <a:gd name="T7" fmla="*/ 2147483647 h 278"/>
              <a:gd name="T8" fmla="*/ 2147483647 w 603"/>
              <a:gd name="T9" fmla="*/ 2147483647 h 278"/>
              <a:gd name="T10" fmla="*/ 2147483647 w 603"/>
              <a:gd name="T11" fmla="*/ 2147483647 h 278"/>
              <a:gd name="T12" fmla="*/ 2147483647 w 603"/>
              <a:gd name="T13" fmla="*/ 2147483647 h 278"/>
              <a:gd name="T14" fmla="*/ 2147483647 w 603"/>
              <a:gd name="T15" fmla="*/ 2147483647 h 278"/>
              <a:gd name="T16" fmla="*/ 2147483647 w 603"/>
              <a:gd name="T17" fmla="*/ 2147483647 h 278"/>
              <a:gd name="T18" fmla="*/ 2147483647 w 603"/>
              <a:gd name="T19" fmla="*/ 2147483647 h 278"/>
              <a:gd name="T20" fmla="*/ 2147483647 w 603"/>
              <a:gd name="T21" fmla="*/ 2147483647 h 278"/>
              <a:gd name="T22" fmla="*/ 2147483647 w 603"/>
              <a:gd name="T23" fmla="*/ 2147483647 h 278"/>
              <a:gd name="T24" fmla="*/ 2147483647 w 603"/>
              <a:gd name="T25" fmla="*/ 2147483647 h 278"/>
              <a:gd name="T26" fmla="*/ 2147483647 w 603"/>
              <a:gd name="T27" fmla="*/ 2147483647 h 278"/>
              <a:gd name="T28" fmla="*/ 2147483647 w 603"/>
              <a:gd name="T29" fmla="*/ 2147483647 h 278"/>
              <a:gd name="T30" fmla="*/ 2147483647 w 603"/>
              <a:gd name="T31" fmla="*/ 2147483647 h 278"/>
              <a:gd name="T32" fmla="*/ 2147483647 w 603"/>
              <a:gd name="T33" fmla="*/ 2147483647 h 278"/>
              <a:gd name="T34" fmla="*/ 2147483647 w 603"/>
              <a:gd name="T35" fmla="*/ 2147483647 h 278"/>
              <a:gd name="T36" fmla="*/ 2147483647 w 603"/>
              <a:gd name="T37" fmla="*/ 2147483647 h 278"/>
              <a:gd name="T38" fmla="*/ 2147483647 w 603"/>
              <a:gd name="T39" fmla="*/ 2147483647 h 278"/>
              <a:gd name="T40" fmla="*/ 2147483647 w 603"/>
              <a:gd name="T41" fmla="*/ 2147483647 h 278"/>
              <a:gd name="T42" fmla="*/ 2147483647 w 603"/>
              <a:gd name="T43" fmla="*/ 2147483647 h 278"/>
              <a:gd name="T44" fmla="*/ 2147483647 w 603"/>
              <a:gd name="T45" fmla="*/ 2147483647 h 278"/>
              <a:gd name="T46" fmla="*/ 2147483647 w 603"/>
              <a:gd name="T47" fmla="*/ 2147483647 h 278"/>
              <a:gd name="T48" fmla="*/ 2147483647 w 603"/>
              <a:gd name="T49" fmla="*/ 2147483647 h 278"/>
              <a:gd name="T50" fmla="*/ 2147483647 w 603"/>
              <a:gd name="T51" fmla="*/ 2147483647 h 278"/>
              <a:gd name="T52" fmla="*/ 2147483647 w 603"/>
              <a:gd name="T53" fmla="*/ 2147483647 h 278"/>
              <a:gd name="T54" fmla="*/ 2147483647 w 603"/>
              <a:gd name="T55" fmla="*/ 2147483647 h 278"/>
              <a:gd name="T56" fmla="*/ 2147483647 w 603"/>
              <a:gd name="T57" fmla="*/ 2147483647 h 278"/>
              <a:gd name="T58" fmla="*/ 2147483647 w 603"/>
              <a:gd name="T59" fmla="*/ 2147483647 h 278"/>
              <a:gd name="T60" fmla="*/ 2147483647 w 603"/>
              <a:gd name="T61" fmla="*/ 2147483647 h 278"/>
              <a:gd name="T62" fmla="*/ 2147483647 w 603"/>
              <a:gd name="T63" fmla="*/ 2147483647 h 278"/>
              <a:gd name="T64" fmla="*/ 2147483647 w 603"/>
              <a:gd name="T65" fmla="*/ 2147483647 h 278"/>
              <a:gd name="T66" fmla="*/ 2147483647 w 603"/>
              <a:gd name="T67" fmla="*/ 2147483647 h 278"/>
              <a:gd name="T68" fmla="*/ 2147483647 w 603"/>
              <a:gd name="T69" fmla="*/ 2147483647 h 278"/>
              <a:gd name="T70" fmla="*/ 2147483647 w 603"/>
              <a:gd name="T71" fmla="*/ 2147483647 h 278"/>
              <a:gd name="T72" fmla="*/ 2147483647 w 603"/>
              <a:gd name="T73" fmla="*/ 2147483647 h 278"/>
              <a:gd name="T74" fmla="*/ 2147483647 w 603"/>
              <a:gd name="T75" fmla="*/ 2147483647 h 278"/>
              <a:gd name="T76" fmla="*/ 2147483647 w 603"/>
              <a:gd name="T77" fmla="*/ 2147483647 h 278"/>
              <a:gd name="T78" fmla="*/ 2147483647 w 603"/>
              <a:gd name="T79" fmla="*/ 2147483647 h 278"/>
              <a:gd name="T80" fmla="*/ 2147483647 w 603"/>
              <a:gd name="T81" fmla="*/ 2147483647 h 278"/>
              <a:gd name="T82" fmla="*/ 2147483647 w 603"/>
              <a:gd name="T83" fmla="*/ 2147483647 h 278"/>
              <a:gd name="T84" fmla="*/ 2147483647 w 603"/>
              <a:gd name="T85" fmla="*/ 2147483647 h 278"/>
              <a:gd name="T86" fmla="*/ 2147483647 w 603"/>
              <a:gd name="T87" fmla="*/ 2147483647 h 278"/>
              <a:gd name="T88" fmla="*/ 2147483647 w 603"/>
              <a:gd name="T89" fmla="*/ 2147483647 h 278"/>
              <a:gd name="T90" fmla="*/ 2147483647 w 603"/>
              <a:gd name="T91" fmla="*/ 2147483647 h 278"/>
              <a:gd name="T92" fmla="*/ 2147483647 w 603"/>
              <a:gd name="T93" fmla="*/ 2147483647 h 278"/>
              <a:gd name="T94" fmla="*/ 2147483647 w 603"/>
              <a:gd name="T95" fmla="*/ 2147483647 h 278"/>
              <a:gd name="T96" fmla="*/ 2147483647 w 603"/>
              <a:gd name="T97" fmla="*/ 2147483647 h 278"/>
              <a:gd name="T98" fmla="*/ 2147483647 w 603"/>
              <a:gd name="T99" fmla="*/ 2147483647 h 278"/>
              <a:gd name="T100" fmla="*/ 2147483647 w 603"/>
              <a:gd name="T101" fmla="*/ 2147483647 h 278"/>
              <a:gd name="T102" fmla="*/ 2147483647 w 603"/>
              <a:gd name="T103" fmla="*/ 2147483647 h 278"/>
              <a:gd name="T104" fmla="*/ 2147483647 w 603"/>
              <a:gd name="T105" fmla="*/ 2147483647 h 278"/>
              <a:gd name="T106" fmla="*/ 2147483647 w 603"/>
              <a:gd name="T107" fmla="*/ 2147483647 h 278"/>
              <a:gd name="T108" fmla="*/ 2147483647 w 603"/>
              <a:gd name="T109" fmla="*/ 2147483647 h 278"/>
              <a:gd name="T110" fmla="*/ 2147483647 w 603"/>
              <a:gd name="T111" fmla="*/ 2147483647 h 278"/>
              <a:gd name="T112" fmla="*/ 2147483647 w 603"/>
              <a:gd name="T113" fmla="*/ 2147483647 h 278"/>
              <a:gd name="T114" fmla="*/ 2147483647 w 603"/>
              <a:gd name="T115" fmla="*/ 2147483647 h 278"/>
              <a:gd name="T116" fmla="*/ 2147483647 w 603"/>
              <a:gd name="T117" fmla="*/ 2147483647 h 278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603"/>
              <a:gd name="T178" fmla="*/ 0 h 278"/>
              <a:gd name="T179" fmla="*/ 603 w 603"/>
              <a:gd name="T180" fmla="*/ 278 h 278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603" h="278">
                <a:moveTo>
                  <a:pt x="600" y="120"/>
                </a:moveTo>
                <a:lnTo>
                  <a:pt x="600" y="120"/>
                </a:lnTo>
                <a:lnTo>
                  <a:pt x="603" y="115"/>
                </a:lnTo>
                <a:lnTo>
                  <a:pt x="597" y="112"/>
                </a:lnTo>
                <a:lnTo>
                  <a:pt x="594" y="106"/>
                </a:lnTo>
                <a:lnTo>
                  <a:pt x="586" y="109"/>
                </a:lnTo>
                <a:lnTo>
                  <a:pt x="571" y="106"/>
                </a:lnTo>
                <a:lnTo>
                  <a:pt x="565" y="103"/>
                </a:lnTo>
                <a:lnTo>
                  <a:pt x="563" y="97"/>
                </a:lnTo>
                <a:lnTo>
                  <a:pt x="560" y="97"/>
                </a:lnTo>
                <a:lnTo>
                  <a:pt x="554" y="94"/>
                </a:lnTo>
                <a:lnTo>
                  <a:pt x="551" y="89"/>
                </a:lnTo>
                <a:lnTo>
                  <a:pt x="542" y="83"/>
                </a:lnTo>
                <a:lnTo>
                  <a:pt x="537" y="83"/>
                </a:lnTo>
                <a:lnTo>
                  <a:pt x="531" y="80"/>
                </a:lnTo>
                <a:lnTo>
                  <a:pt x="520" y="86"/>
                </a:lnTo>
                <a:lnTo>
                  <a:pt x="508" y="86"/>
                </a:lnTo>
                <a:lnTo>
                  <a:pt x="502" y="83"/>
                </a:lnTo>
                <a:lnTo>
                  <a:pt x="499" y="77"/>
                </a:lnTo>
                <a:lnTo>
                  <a:pt x="494" y="74"/>
                </a:lnTo>
                <a:lnTo>
                  <a:pt x="491" y="80"/>
                </a:lnTo>
                <a:lnTo>
                  <a:pt x="491" y="83"/>
                </a:lnTo>
                <a:lnTo>
                  <a:pt x="488" y="83"/>
                </a:lnTo>
                <a:lnTo>
                  <a:pt x="485" y="83"/>
                </a:lnTo>
                <a:lnTo>
                  <a:pt x="476" y="72"/>
                </a:lnTo>
                <a:lnTo>
                  <a:pt x="465" y="63"/>
                </a:lnTo>
                <a:lnTo>
                  <a:pt x="448" y="51"/>
                </a:lnTo>
                <a:lnTo>
                  <a:pt x="433" y="40"/>
                </a:lnTo>
                <a:lnTo>
                  <a:pt x="425" y="31"/>
                </a:lnTo>
                <a:lnTo>
                  <a:pt x="410" y="26"/>
                </a:lnTo>
                <a:lnTo>
                  <a:pt x="408" y="23"/>
                </a:lnTo>
                <a:lnTo>
                  <a:pt x="410" y="17"/>
                </a:lnTo>
                <a:lnTo>
                  <a:pt x="396" y="23"/>
                </a:lnTo>
                <a:lnTo>
                  <a:pt x="390" y="28"/>
                </a:lnTo>
                <a:lnTo>
                  <a:pt x="385" y="34"/>
                </a:lnTo>
                <a:lnTo>
                  <a:pt x="382" y="34"/>
                </a:lnTo>
                <a:lnTo>
                  <a:pt x="376" y="34"/>
                </a:lnTo>
                <a:lnTo>
                  <a:pt x="367" y="37"/>
                </a:lnTo>
                <a:lnTo>
                  <a:pt x="365" y="28"/>
                </a:lnTo>
                <a:lnTo>
                  <a:pt x="370" y="26"/>
                </a:lnTo>
                <a:lnTo>
                  <a:pt x="370" y="23"/>
                </a:lnTo>
                <a:lnTo>
                  <a:pt x="362" y="26"/>
                </a:lnTo>
                <a:lnTo>
                  <a:pt x="359" y="23"/>
                </a:lnTo>
                <a:lnTo>
                  <a:pt x="353" y="26"/>
                </a:lnTo>
                <a:lnTo>
                  <a:pt x="344" y="20"/>
                </a:lnTo>
                <a:lnTo>
                  <a:pt x="339" y="23"/>
                </a:lnTo>
                <a:lnTo>
                  <a:pt x="330" y="20"/>
                </a:lnTo>
                <a:lnTo>
                  <a:pt x="327" y="11"/>
                </a:lnTo>
                <a:lnTo>
                  <a:pt x="324" y="5"/>
                </a:lnTo>
                <a:lnTo>
                  <a:pt x="319" y="0"/>
                </a:lnTo>
                <a:lnTo>
                  <a:pt x="310" y="3"/>
                </a:lnTo>
                <a:lnTo>
                  <a:pt x="290" y="0"/>
                </a:lnTo>
                <a:lnTo>
                  <a:pt x="284" y="0"/>
                </a:lnTo>
                <a:lnTo>
                  <a:pt x="284" y="5"/>
                </a:lnTo>
                <a:lnTo>
                  <a:pt x="270" y="11"/>
                </a:lnTo>
                <a:lnTo>
                  <a:pt x="250" y="11"/>
                </a:lnTo>
                <a:lnTo>
                  <a:pt x="247" y="14"/>
                </a:lnTo>
                <a:lnTo>
                  <a:pt x="244" y="17"/>
                </a:lnTo>
                <a:lnTo>
                  <a:pt x="238" y="17"/>
                </a:lnTo>
                <a:lnTo>
                  <a:pt x="230" y="17"/>
                </a:lnTo>
                <a:lnTo>
                  <a:pt x="224" y="23"/>
                </a:lnTo>
                <a:lnTo>
                  <a:pt x="215" y="23"/>
                </a:lnTo>
                <a:lnTo>
                  <a:pt x="207" y="23"/>
                </a:lnTo>
                <a:lnTo>
                  <a:pt x="201" y="23"/>
                </a:lnTo>
                <a:lnTo>
                  <a:pt x="192" y="23"/>
                </a:lnTo>
                <a:lnTo>
                  <a:pt x="189" y="26"/>
                </a:lnTo>
                <a:lnTo>
                  <a:pt x="189" y="28"/>
                </a:lnTo>
                <a:lnTo>
                  <a:pt x="201" y="31"/>
                </a:lnTo>
                <a:lnTo>
                  <a:pt x="198" y="34"/>
                </a:lnTo>
                <a:lnTo>
                  <a:pt x="195" y="34"/>
                </a:lnTo>
                <a:lnTo>
                  <a:pt x="198" y="34"/>
                </a:lnTo>
                <a:lnTo>
                  <a:pt x="210" y="40"/>
                </a:lnTo>
                <a:lnTo>
                  <a:pt x="210" y="43"/>
                </a:lnTo>
                <a:lnTo>
                  <a:pt x="195" y="43"/>
                </a:lnTo>
                <a:lnTo>
                  <a:pt x="192" y="46"/>
                </a:lnTo>
                <a:lnTo>
                  <a:pt x="198" y="54"/>
                </a:lnTo>
                <a:lnTo>
                  <a:pt x="187" y="63"/>
                </a:lnTo>
                <a:lnTo>
                  <a:pt x="192" y="66"/>
                </a:lnTo>
                <a:lnTo>
                  <a:pt x="195" y="69"/>
                </a:lnTo>
                <a:lnTo>
                  <a:pt x="201" y="72"/>
                </a:lnTo>
                <a:lnTo>
                  <a:pt x="210" y="74"/>
                </a:lnTo>
                <a:lnTo>
                  <a:pt x="212" y="77"/>
                </a:lnTo>
                <a:lnTo>
                  <a:pt x="210" y="83"/>
                </a:lnTo>
                <a:lnTo>
                  <a:pt x="207" y="86"/>
                </a:lnTo>
                <a:lnTo>
                  <a:pt x="204" y="89"/>
                </a:lnTo>
                <a:lnTo>
                  <a:pt x="201" y="89"/>
                </a:lnTo>
                <a:lnTo>
                  <a:pt x="192" y="86"/>
                </a:lnTo>
                <a:lnTo>
                  <a:pt x="189" y="86"/>
                </a:lnTo>
                <a:lnTo>
                  <a:pt x="189" y="89"/>
                </a:lnTo>
                <a:lnTo>
                  <a:pt x="189" y="92"/>
                </a:lnTo>
                <a:lnTo>
                  <a:pt x="175" y="86"/>
                </a:lnTo>
                <a:lnTo>
                  <a:pt x="172" y="86"/>
                </a:lnTo>
                <a:lnTo>
                  <a:pt x="166" y="80"/>
                </a:lnTo>
                <a:lnTo>
                  <a:pt x="164" y="77"/>
                </a:lnTo>
                <a:lnTo>
                  <a:pt x="158" y="80"/>
                </a:lnTo>
                <a:lnTo>
                  <a:pt x="152" y="83"/>
                </a:lnTo>
                <a:lnTo>
                  <a:pt x="143" y="80"/>
                </a:lnTo>
                <a:lnTo>
                  <a:pt x="135" y="83"/>
                </a:lnTo>
                <a:lnTo>
                  <a:pt x="132" y="86"/>
                </a:lnTo>
                <a:lnTo>
                  <a:pt x="126" y="92"/>
                </a:lnTo>
                <a:lnTo>
                  <a:pt x="115" y="86"/>
                </a:lnTo>
                <a:lnTo>
                  <a:pt x="112" y="83"/>
                </a:lnTo>
                <a:lnTo>
                  <a:pt x="115" y="89"/>
                </a:lnTo>
                <a:lnTo>
                  <a:pt x="109" y="92"/>
                </a:lnTo>
                <a:lnTo>
                  <a:pt x="103" y="83"/>
                </a:lnTo>
                <a:lnTo>
                  <a:pt x="98" y="77"/>
                </a:lnTo>
                <a:lnTo>
                  <a:pt x="92" y="74"/>
                </a:lnTo>
                <a:lnTo>
                  <a:pt x="77" y="72"/>
                </a:lnTo>
                <a:lnTo>
                  <a:pt x="72" y="66"/>
                </a:lnTo>
                <a:lnTo>
                  <a:pt x="69" y="66"/>
                </a:lnTo>
                <a:lnTo>
                  <a:pt x="69" y="69"/>
                </a:lnTo>
                <a:lnTo>
                  <a:pt x="63" y="72"/>
                </a:lnTo>
                <a:lnTo>
                  <a:pt x="57" y="72"/>
                </a:lnTo>
                <a:lnTo>
                  <a:pt x="57" y="69"/>
                </a:lnTo>
                <a:lnTo>
                  <a:pt x="54" y="69"/>
                </a:lnTo>
                <a:lnTo>
                  <a:pt x="52" y="66"/>
                </a:lnTo>
                <a:lnTo>
                  <a:pt x="46" y="72"/>
                </a:lnTo>
                <a:lnTo>
                  <a:pt x="43" y="77"/>
                </a:lnTo>
                <a:lnTo>
                  <a:pt x="34" y="77"/>
                </a:lnTo>
                <a:lnTo>
                  <a:pt x="34" y="83"/>
                </a:lnTo>
                <a:lnTo>
                  <a:pt x="29" y="86"/>
                </a:lnTo>
                <a:lnTo>
                  <a:pt x="26" y="86"/>
                </a:lnTo>
                <a:lnTo>
                  <a:pt x="23" y="89"/>
                </a:lnTo>
                <a:lnTo>
                  <a:pt x="29" y="94"/>
                </a:lnTo>
                <a:lnTo>
                  <a:pt x="26" y="103"/>
                </a:lnTo>
                <a:lnTo>
                  <a:pt x="23" y="103"/>
                </a:lnTo>
                <a:lnTo>
                  <a:pt x="17" y="103"/>
                </a:lnTo>
                <a:lnTo>
                  <a:pt x="14" y="100"/>
                </a:lnTo>
                <a:lnTo>
                  <a:pt x="11" y="97"/>
                </a:lnTo>
                <a:lnTo>
                  <a:pt x="9" y="92"/>
                </a:lnTo>
                <a:lnTo>
                  <a:pt x="6" y="92"/>
                </a:lnTo>
                <a:lnTo>
                  <a:pt x="6" y="94"/>
                </a:lnTo>
                <a:lnTo>
                  <a:pt x="6" y="97"/>
                </a:lnTo>
                <a:lnTo>
                  <a:pt x="6" y="100"/>
                </a:lnTo>
                <a:lnTo>
                  <a:pt x="0" y="103"/>
                </a:lnTo>
                <a:lnTo>
                  <a:pt x="0" y="106"/>
                </a:lnTo>
                <a:lnTo>
                  <a:pt x="3" y="109"/>
                </a:lnTo>
                <a:lnTo>
                  <a:pt x="6" y="112"/>
                </a:lnTo>
                <a:lnTo>
                  <a:pt x="6" y="115"/>
                </a:lnTo>
                <a:lnTo>
                  <a:pt x="3" y="117"/>
                </a:lnTo>
                <a:lnTo>
                  <a:pt x="0" y="123"/>
                </a:lnTo>
                <a:lnTo>
                  <a:pt x="0" y="126"/>
                </a:lnTo>
                <a:lnTo>
                  <a:pt x="9" y="132"/>
                </a:lnTo>
                <a:lnTo>
                  <a:pt x="11" y="135"/>
                </a:lnTo>
                <a:lnTo>
                  <a:pt x="11" y="138"/>
                </a:lnTo>
                <a:lnTo>
                  <a:pt x="14" y="140"/>
                </a:lnTo>
                <a:lnTo>
                  <a:pt x="20" y="138"/>
                </a:lnTo>
                <a:lnTo>
                  <a:pt x="32" y="146"/>
                </a:lnTo>
                <a:lnTo>
                  <a:pt x="43" y="161"/>
                </a:lnTo>
                <a:lnTo>
                  <a:pt x="43" y="163"/>
                </a:lnTo>
                <a:lnTo>
                  <a:pt x="37" y="163"/>
                </a:lnTo>
                <a:lnTo>
                  <a:pt x="49" y="169"/>
                </a:lnTo>
                <a:lnTo>
                  <a:pt x="49" y="166"/>
                </a:lnTo>
                <a:lnTo>
                  <a:pt x="52" y="166"/>
                </a:lnTo>
                <a:lnTo>
                  <a:pt x="57" y="166"/>
                </a:lnTo>
                <a:lnTo>
                  <a:pt x="60" y="163"/>
                </a:lnTo>
                <a:lnTo>
                  <a:pt x="63" y="161"/>
                </a:lnTo>
                <a:lnTo>
                  <a:pt x="63" y="158"/>
                </a:lnTo>
                <a:lnTo>
                  <a:pt x="66" y="158"/>
                </a:lnTo>
                <a:lnTo>
                  <a:pt x="69" y="155"/>
                </a:lnTo>
                <a:lnTo>
                  <a:pt x="72" y="155"/>
                </a:lnTo>
                <a:lnTo>
                  <a:pt x="75" y="155"/>
                </a:lnTo>
                <a:lnTo>
                  <a:pt x="86" y="161"/>
                </a:lnTo>
                <a:lnTo>
                  <a:pt x="100" y="158"/>
                </a:lnTo>
                <a:lnTo>
                  <a:pt x="106" y="166"/>
                </a:lnTo>
                <a:lnTo>
                  <a:pt x="109" y="172"/>
                </a:lnTo>
                <a:lnTo>
                  <a:pt x="109" y="178"/>
                </a:lnTo>
                <a:lnTo>
                  <a:pt x="109" y="181"/>
                </a:lnTo>
                <a:lnTo>
                  <a:pt x="112" y="186"/>
                </a:lnTo>
                <a:lnTo>
                  <a:pt x="118" y="186"/>
                </a:lnTo>
                <a:lnTo>
                  <a:pt x="121" y="186"/>
                </a:lnTo>
                <a:lnTo>
                  <a:pt x="126" y="183"/>
                </a:lnTo>
                <a:lnTo>
                  <a:pt x="129" y="192"/>
                </a:lnTo>
                <a:lnTo>
                  <a:pt x="126" y="192"/>
                </a:lnTo>
                <a:lnTo>
                  <a:pt x="123" y="189"/>
                </a:lnTo>
                <a:lnTo>
                  <a:pt x="112" y="189"/>
                </a:lnTo>
                <a:lnTo>
                  <a:pt x="98" y="186"/>
                </a:lnTo>
                <a:lnTo>
                  <a:pt x="86" y="189"/>
                </a:lnTo>
                <a:lnTo>
                  <a:pt x="80" y="198"/>
                </a:lnTo>
                <a:lnTo>
                  <a:pt x="83" y="204"/>
                </a:lnTo>
                <a:lnTo>
                  <a:pt x="77" y="204"/>
                </a:lnTo>
                <a:lnTo>
                  <a:pt x="69" y="204"/>
                </a:lnTo>
                <a:lnTo>
                  <a:pt x="72" y="206"/>
                </a:lnTo>
                <a:lnTo>
                  <a:pt x="80" y="218"/>
                </a:lnTo>
                <a:lnTo>
                  <a:pt x="89" y="227"/>
                </a:lnTo>
                <a:lnTo>
                  <a:pt x="98" y="235"/>
                </a:lnTo>
                <a:lnTo>
                  <a:pt x="106" y="238"/>
                </a:lnTo>
                <a:lnTo>
                  <a:pt x="112" y="241"/>
                </a:lnTo>
                <a:lnTo>
                  <a:pt x="112" y="247"/>
                </a:lnTo>
                <a:lnTo>
                  <a:pt x="112" y="252"/>
                </a:lnTo>
                <a:lnTo>
                  <a:pt x="112" y="255"/>
                </a:lnTo>
                <a:lnTo>
                  <a:pt x="118" y="252"/>
                </a:lnTo>
                <a:lnTo>
                  <a:pt x="129" y="244"/>
                </a:lnTo>
                <a:lnTo>
                  <a:pt x="135" y="241"/>
                </a:lnTo>
                <a:lnTo>
                  <a:pt x="141" y="244"/>
                </a:lnTo>
                <a:lnTo>
                  <a:pt x="146" y="247"/>
                </a:lnTo>
                <a:lnTo>
                  <a:pt x="152" y="252"/>
                </a:lnTo>
                <a:lnTo>
                  <a:pt x="161" y="258"/>
                </a:lnTo>
                <a:lnTo>
                  <a:pt x="161" y="264"/>
                </a:lnTo>
                <a:lnTo>
                  <a:pt x="164" y="264"/>
                </a:lnTo>
                <a:lnTo>
                  <a:pt x="169" y="264"/>
                </a:lnTo>
                <a:lnTo>
                  <a:pt x="152" y="192"/>
                </a:lnTo>
                <a:lnTo>
                  <a:pt x="192" y="181"/>
                </a:lnTo>
                <a:lnTo>
                  <a:pt x="195" y="178"/>
                </a:lnTo>
                <a:lnTo>
                  <a:pt x="201" y="178"/>
                </a:lnTo>
                <a:lnTo>
                  <a:pt x="207" y="181"/>
                </a:lnTo>
                <a:lnTo>
                  <a:pt x="207" y="175"/>
                </a:lnTo>
                <a:lnTo>
                  <a:pt x="207" y="169"/>
                </a:lnTo>
                <a:lnTo>
                  <a:pt x="210" y="166"/>
                </a:lnTo>
                <a:lnTo>
                  <a:pt x="210" y="163"/>
                </a:lnTo>
                <a:lnTo>
                  <a:pt x="218" y="161"/>
                </a:lnTo>
                <a:lnTo>
                  <a:pt x="224" y="166"/>
                </a:lnTo>
                <a:lnTo>
                  <a:pt x="227" y="166"/>
                </a:lnTo>
                <a:lnTo>
                  <a:pt x="232" y="166"/>
                </a:lnTo>
                <a:lnTo>
                  <a:pt x="230" y="169"/>
                </a:lnTo>
                <a:lnTo>
                  <a:pt x="227" y="172"/>
                </a:lnTo>
                <a:lnTo>
                  <a:pt x="224" y="172"/>
                </a:lnTo>
                <a:lnTo>
                  <a:pt x="221" y="169"/>
                </a:lnTo>
                <a:lnTo>
                  <a:pt x="218" y="166"/>
                </a:lnTo>
                <a:lnTo>
                  <a:pt x="212" y="166"/>
                </a:lnTo>
                <a:lnTo>
                  <a:pt x="212" y="172"/>
                </a:lnTo>
                <a:lnTo>
                  <a:pt x="215" y="175"/>
                </a:lnTo>
                <a:lnTo>
                  <a:pt x="221" y="183"/>
                </a:lnTo>
                <a:lnTo>
                  <a:pt x="224" y="192"/>
                </a:lnTo>
                <a:lnTo>
                  <a:pt x="230" y="198"/>
                </a:lnTo>
                <a:lnTo>
                  <a:pt x="238" y="204"/>
                </a:lnTo>
                <a:lnTo>
                  <a:pt x="255" y="221"/>
                </a:lnTo>
                <a:lnTo>
                  <a:pt x="273" y="218"/>
                </a:lnTo>
                <a:lnTo>
                  <a:pt x="293" y="221"/>
                </a:lnTo>
                <a:lnTo>
                  <a:pt x="301" y="215"/>
                </a:lnTo>
                <a:lnTo>
                  <a:pt x="310" y="224"/>
                </a:lnTo>
                <a:lnTo>
                  <a:pt x="316" y="227"/>
                </a:lnTo>
                <a:lnTo>
                  <a:pt x="316" y="229"/>
                </a:lnTo>
                <a:lnTo>
                  <a:pt x="321" y="229"/>
                </a:lnTo>
                <a:lnTo>
                  <a:pt x="327" y="244"/>
                </a:lnTo>
                <a:lnTo>
                  <a:pt x="327" y="247"/>
                </a:lnTo>
                <a:lnTo>
                  <a:pt x="327" y="250"/>
                </a:lnTo>
                <a:lnTo>
                  <a:pt x="330" y="250"/>
                </a:lnTo>
                <a:lnTo>
                  <a:pt x="333" y="250"/>
                </a:lnTo>
                <a:lnTo>
                  <a:pt x="336" y="252"/>
                </a:lnTo>
                <a:lnTo>
                  <a:pt x="336" y="258"/>
                </a:lnTo>
                <a:lnTo>
                  <a:pt x="342" y="264"/>
                </a:lnTo>
                <a:lnTo>
                  <a:pt x="344" y="264"/>
                </a:lnTo>
                <a:lnTo>
                  <a:pt x="350" y="264"/>
                </a:lnTo>
                <a:lnTo>
                  <a:pt x="362" y="264"/>
                </a:lnTo>
                <a:lnTo>
                  <a:pt x="365" y="264"/>
                </a:lnTo>
                <a:lnTo>
                  <a:pt x="365" y="267"/>
                </a:lnTo>
                <a:lnTo>
                  <a:pt x="365" y="272"/>
                </a:lnTo>
                <a:lnTo>
                  <a:pt x="365" y="275"/>
                </a:lnTo>
                <a:lnTo>
                  <a:pt x="370" y="278"/>
                </a:lnTo>
                <a:lnTo>
                  <a:pt x="370" y="270"/>
                </a:lnTo>
                <a:lnTo>
                  <a:pt x="376" y="264"/>
                </a:lnTo>
                <a:lnTo>
                  <a:pt x="379" y="255"/>
                </a:lnTo>
                <a:lnTo>
                  <a:pt x="382" y="255"/>
                </a:lnTo>
                <a:lnTo>
                  <a:pt x="387" y="252"/>
                </a:lnTo>
                <a:lnTo>
                  <a:pt x="390" y="247"/>
                </a:lnTo>
                <a:lnTo>
                  <a:pt x="393" y="247"/>
                </a:lnTo>
                <a:lnTo>
                  <a:pt x="396" y="247"/>
                </a:lnTo>
                <a:lnTo>
                  <a:pt x="399" y="244"/>
                </a:lnTo>
                <a:lnTo>
                  <a:pt x="399" y="241"/>
                </a:lnTo>
                <a:lnTo>
                  <a:pt x="405" y="235"/>
                </a:lnTo>
                <a:lnTo>
                  <a:pt x="413" y="232"/>
                </a:lnTo>
                <a:lnTo>
                  <a:pt x="419" y="235"/>
                </a:lnTo>
                <a:lnTo>
                  <a:pt x="433" y="238"/>
                </a:lnTo>
                <a:lnTo>
                  <a:pt x="439" y="238"/>
                </a:lnTo>
                <a:lnTo>
                  <a:pt x="436" y="232"/>
                </a:lnTo>
                <a:lnTo>
                  <a:pt x="448" y="224"/>
                </a:lnTo>
                <a:lnTo>
                  <a:pt x="451" y="227"/>
                </a:lnTo>
                <a:lnTo>
                  <a:pt x="459" y="229"/>
                </a:lnTo>
                <a:lnTo>
                  <a:pt x="468" y="232"/>
                </a:lnTo>
                <a:lnTo>
                  <a:pt x="471" y="232"/>
                </a:lnTo>
                <a:lnTo>
                  <a:pt x="474" y="227"/>
                </a:lnTo>
                <a:lnTo>
                  <a:pt x="482" y="232"/>
                </a:lnTo>
                <a:lnTo>
                  <a:pt x="494" y="229"/>
                </a:lnTo>
                <a:lnTo>
                  <a:pt x="499" y="232"/>
                </a:lnTo>
                <a:lnTo>
                  <a:pt x="514" y="232"/>
                </a:lnTo>
                <a:lnTo>
                  <a:pt x="528" y="235"/>
                </a:lnTo>
                <a:lnTo>
                  <a:pt x="531" y="235"/>
                </a:lnTo>
                <a:lnTo>
                  <a:pt x="531" y="238"/>
                </a:lnTo>
                <a:lnTo>
                  <a:pt x="531" y="241"/>
                </a:lnTo>
                <a:lnTo>
                  <a:pt x="534" y="241"/>
                </a:lnTo>
                <a:lnTo>
                  <a:pt x="542" y="241"/>
                </a:lnTo>
                <a:lnTo>
                  <a:pt x="545" y="235"/>
                </a:lnTo>
                <a:lnTo>
                  <a:pt x="542" y="229"/>
                </a:lnTo>
                <a:lnTo>
                  <a:pt x="545" y="229"/>
                </a:lnTo>
                <a:lnTo>
                  <a:pt x="548" y="229"/>
                </a:lnTo>
                <a:lnTo>
                  <a:pt x="545" y="221"/>
                </a:lnTo>
                <a:lnTo>
                  <a:pt x="540" y="215"/>
                </a:lnTo>
                <a:lnTo>
                  <a:pt x="534" y="206"/>
                </a:lnTo>
                <a:lnTo>
                  <a:pt x="534" y="201"/>
                </a:lnTo>
                <a:lnTo>
                  <a:pt x="525" y="198"/>
                </a:lnTo>
                <a:lnTo>
                  <a:pt x="525" y="195"/>
                </a:lnTo>
                <a:lnTo>
                  <a:pt x="528" y="192"/>
                </a:lnTo>
                <a:lnTo>
                  <a:pt x="531" y="192"/>
                </a:lnTo>
                <a:lnTo>
                  <a:pt x="540" y="189"/>
                </a:lnTo>
                <a:lnTo>
                  <a:pt x="551" y="186"/>
                </a:lnTo>
                <a:lnTo>
                  <a:pt x="554" y="186"/>
                </a:lnTo>
                <a:lnTo>
                  <a:pt x="554" y="189"/>
                </a:lnTo>
                <a:lnTo>
                  <a:pt x="560" y="189"/>
                </a:lnTo>
                <a:lnTo>
                  <a:pt x="563" y="189"/>
                </a:lnTo>
                <a:lnTo>
                  <a:pt x="563" y="186"/>
                </a:lnTo>
                <a:lnTo>
                  <a:pt x="560" y="186"/>
                </a:lnTo>
                <a:lnTo>
                  <a:pt x="557" y="186"/>
                </a:lnTo>
                <a:lnTo>
                  <a:pt x="557" y="146"/>
                </a:lnTo>
                <a:lnTo>
                  <a:pt x="560" y="149"/>
                </a:lnTo>
                <a:lnTo>
                  <a:pt x="563" y="149"/>
                </a:lnTo>
                <a:lnTo>
                  <a:pt x="574" y="152"/>
                </a:lnTo>
                <a:lnTo>
                  <a:pt x="583" y="152"/>
                </a:lnTo>
                <a:lnTo>
                  <a:pt x="588" y="155"/>
                </a:lnTo>
                <a:lnTo>
                  <a:pt x="591" y="158"/>
                </a:lnTo>
                <a:lnTo>
                  <a:pt x="591" y="155"/>
                </a:lnTo>
                <a:lnTo>
                  <a:pt x="597" y="152"/>
                </a:lnTo>
                <a:lnTo>
                  <a:pt x="597" y="149"/>
                </a:lnTo>
                <a:lnTo>
                  <a:pt x="594" y="146"/>
                </a:lnTo>
                <a:lnTo>
                  <a:pt x="591" y="140"/>
                </a:lnTo>
                <a:lnTo>
                  <a:pt x="588" y="135"/>
                </a:lnTo>
                <a:lnTo>
                  <a:pt x="588" y="132"/>
                </a:lnTo>
                <a:lnTo>
                  <a:pt x="588" y="126"/>
                </a:lnTo>
                <a:lnTo>
                  <a:pt x="594" y="126"/>
                </a:lnTo>
                <a:lnTo>
                  <a:pt x="600" y="126"/>
                </a:lnTo>
                <a:lnTo>
                  <a:pt x="600" y="123"/>
                </a:lnTo>
                <a:lnTo>
                  <a:pt x="600" y="120"/>
                </a:lnTo>
                <a:close/>
                <a:moveTo>
                  <a:pt x="502" y="166"/>
                </a:moveTo>
                <a:lnTo>
                  <a:pt x="494" y="166"/>
                </a:lnTo>
                <a:lnTo>
                  <a:pt x="494" y="169"/>
                </a:lnTo>
                <a:lnTo>
                  <a:pt x="479" y="166"/>
                </a:lnTo>
                <a:lnTo>
                  <a:pt x="474" y="166"/>
                </a:lnTo>
                <a:lnTo>
                  <a:pt x="465" y="163"/>
                </a:lnTo>
                <a:lnTo>
                  <a:pt x="454" y="163"/>
                </a:lnTo>
                <a:lnTo>
                  <a:pt x="445" y="166"/>
                </a:lnTo>
                <a:lnTo>
                  <a:pt x="439" y="169"/>
                </a:lnTo>
                <a:lnTo>
                  <a:pt x="439" y="175"/>
                </a:lnTo>
                <a:lnTo>
                  <a:pt x="433" y="175"/>
                </a:lnTo>
                <a:lnTo>
                  <a:pt x="436" y="181"/>
                </a:lnTo>
                <a:lnTo>
                  <a:pt x="433" y="186"/>
                </a:lnTo>
                <a:lnTo>
                  <a:pt x="436" y="189"/>
                </a:lnTo>
                <a:lnTo>
                  <a:pt x="436" y="195"/>
                </a:lnTo>
                <a:lnTo>
                  <a:pt x="428" y="186"/>
                </a:lnTo>
                <a:lnTo>
                  <a:pt x="419" y="181"/>
                </a:lnTo>
                <a:lnTo>
                  <a:pt x="422" y="175"/>
                </a:lnTo>
                <a:lnTo>
                  <a:pt x="422" y="172"/>
                </a:lnTo>
                <a:lnTo>
                  <a:pt x="425" y="169"/>
                </a:lnTo>
                <a:lnTo>
                  <a:pt x="428" y="166"/>
                </a:lnTo>
                <a:lnTo>
                  <a:pt x="431" y="163"/>
                </a:lnTo>
                <a:lnTo>
                  <a:pt x="436" y="158"/>
                </a:lnTo>
                <a:lnTo>
                  <a:pt x="442" y="161"/>
                </a:lnTo>
                <a:lnTo>
                  <a:pt x="448" y="161"/>
                </a:lnTo>
                <a:lnTo>
                  <a:pt x="451" y="158"/>
                </a:lnTo>
                <a:lnTo>
                  <a:pt x="456" y="161"/>
                </a:lnTo>
                <a:lnTo>
                  <a:pt x="465" y="161"/>
                </a:lnTo>
                <a:lnTo>
                  <a:pt x="468" y="161"/>
                </a:lnTo>
                <a:lnTo>
                  <a:pt x="474" y="163"/>
                </a:lnTo>
                <a:lnTo>
                  <a:pt x="479" y="163"/>
                </a:lnTo>
                <a:lnTo>
                  <a:pt x="482" y="163"/>
                </a:lnTo>
                <a:lnTo>
                  <a:pt x="488" y="163"/>
                </a:lnTo>
                <a:lnTo>
                  <a:pt x="494" y="161"/>
                </a:lnTo>
                <a:lnTo>
                  <a:pt x="497" y="161"/>
                </a:lnTo>
                <a:lnTo>
                  <a:pt x="499" y="161"/>
                </a:lnTo>
                <a:lnTo>
                  <a:pt x="505" y="163"/>
                </a:lnTo>
                <a:lnTo>
                  <a:pt x="502" y="16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03" name="Freeform 6"/>
          <p:cNvSpPr>
            <a:spLocks/>
          </p:cNvSpPr>
          <p:nvPr/>
        </p:nvSpPr>
        <p:spPr bwMode="gray">
          <a:xfrm>
            <a:off x="4060732" y="1854050"/>
            <a:ext cx="78015" cy="21001"/>
          </a:xfrm>
          <a:custGeom>
            <a:avLst/>
            <a:gdLst>
              <a:gd name="T0" fmla="*/ 2147483647 w 38"/>
              <a:gd name="T1" fmla="*/ 2147483647 h 14"/>
              <a:gd name="T2" fmla="*/ 2147483647 w 38"/>
              <a:gd name="T3" fmla="*/ 2147483647 h 14"/>
              <a:gd name="T4" fmla="*/ 2147483647 w 38"/>
              <a:gd name="T5" fmla="*/ 2147483647 h 14"/>
              <a:gd name="T6" fmla="*/ 2147483647 w 38"/>
              <a:gd name="T7" fmla="*/ 2147483647 h 14"/>
              <a:gd name="T8" fmla="*/ 2147483647 w 38"/>
              <a:gd name="T9" fmla="*/ 0 h 14"/>
              <a:gd name="T10" fmla="*/ 2147483647 w 38"/>
              <a:gd name="T11" fmla="*/ 2147483647 h 14"/>
              <a:gd name="T12" fmla="*/ 0 w 38"/>
              <a:gd name="T13" fmla="*/ 2147483647 h 14"/>
              <a:gd name="T14" fmla="*/ 0 w 38"/>
              <a:gd name="T15" fmla="*/ 2147483647 h 14"/>
              <a:gd name="T16" fmla="*/ 0 w 38"/>
              <a:gd name="T17" fmla="*/ 2147483647 h 14"/>
              <a:gd name="T18" fmla="*/ 2147483647 w 38"/>
              <a:gd name="T19" fmla="*/ 2147483647 h 14"/>
              <a:gd name="T20" fmla="*/ 2147483647 w 38"/>
              <a:gd name="T21" fmla="*/ 2147483647 h 1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"/>
              <a:gd name="T34" fmla="*/ 0 h 14"/>
              <a:gd name="T35" fmla="*/ 38 w 38"/>
              <a:gd name="T36" fmla="*/ 14 h 14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" h="14">
                <a:moveTo>
                  <a:pt x="18" y="5"/>
                </a:moveTo>
                <a:lnTo>
                  <a:pt x="26" y="8"/>
                </a:lnTo>
                <a:lnTo>
                  <a:pt x="35" y="8"/>
                </a:lnTo>
                <a:lnTo>
                  <a:pt x="38" y="3"/>
                </a:lnTo>
                <a:lnTo>
                  <a:pt x="18" y="0"/>
                </a:lnTo>
                <a:lnTo>
                  <a:pt x="9" y="3"/>
                </a:lnTo>
                <a:lnTo>
                  <a:pt x="0" y="3"/>
                </a:lnTo>
                <a:lnTo>
                  <a:pt x="0" y="8"/>
                </a:lnTo>
                <a:lnTo>
                  <a:pt x="0" y="14"/>
                </a:lnTo>
                <a:lnTo>
                  <a:pt x="9" y="5"/>
                </a:lnTo>
                <a:lnTo>
                  <a:pt x="18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0904" name="Freeform 7"/>
          <p:cNvSpPr>
            <a:spLocks noEditPoints="1"/>
          </p:cNvSpPr>
          <p:nvPr/>
        </p:nvSpPr>
        <p:spPr bwMode="gray">
          <a:xfrm>
            <a:off x="6265128" y="4650125"/>
            <a:ext cx="88016" cy="66002"/>
          </a:xfrm>
          <a:custGeom>
            <a:avLst/>
            <a:gdLst>
              <a:gd name="T0" fmla="*/ 2147483647 w 43"/>
              <a:gd name="T1" fmla="*/ 0 h 43"/>
              <a:gd name="T2" fmla="*/ 2147483647 w 43"/>
              <a:gd name="T3" fmla="*/ 2147483647 h 43"/>
              <a:gd name="T4" fmla="*/ 2147483647 w 43"/>
              <a:gd name="T5" fmla="*/ 2147483647 h 43"/>
              <a:gd name="T6" fmla="*/ 2147483647 w 43"/>
              <a:gd name="T7" fmla="*/ 2147483647 h 43"/>
              <a:gd name="T8" fmla="*/ 0 w 43"/>
              <a:gd name="T9" fmla="*/ 2147483647 h 43"/>
              <a:gd name="T10" fmla="*/ 2147483647 w 43"/>
              <a:gd name="T11" fmla="*/ 2147483647 h 43"/>
              <a:gd name="T12" fmla="*/ 2147483647 w 43"/>
              <a:gd name="T13" fmla="*/ 2147483647 h 43"/>
              <a:gd name="T14" fmla="*/ 2147483647 w 43"/>
              <a:gd name="T15" fmla="*/ 2147483647 h 43"/>
              <a:gd name="T16" fmla="*/ 2147483647 w 43"/>
              <a:gd name="T17" fmla="*/ 2147483647 h 43"/>
              <a:gd name="T18" fmla="*/ 2147483647 w 43"/>
              <a:gd name="T19" fmla="*/ 2147483647 h 43"/>
              <a:gd name="T20" fmla="*/ 2147483647 w 43"/>
              <a:gd name="T21" fmla="*/ 2147483647 h 43"/>
              <a:gd name="T22" fmla="*/ 2147483647 w 43"/>
              <a:gd name="T23" fmla="*/ 2147483647 h 43"/>
              <a:gd name="T24" fmla="*/ 2147483647 w 43"/>
              <a:gd name="T25" fmla="*/ 2147483647 h 43"/>
              <a:gd name="T26" fmla="*/ 2147483647 w 43"/>
              <a:gd name="T27" fmla="*/ 2147483647 h 43"/>
              <a:gd name="T28" fmla="*/ 2147483647 w 43"/>
              <a:gd name="T29" fmla="*/ 2147483647 h 43"/>
              <a:gd name="T30" fmla="*/ 2147483647 w 43"/>
              <a:gd name="T31" fmla="*/ 0 h 43"/>
              <a:gd name="T32" fmla="*/ 2147483647 w 43"/>
              <a:gd name="T33" fmla="*/ 0 h 43"/>
              <a:gd name="T34" fmla="*/ 2147483647 w 43"/>
              <a:gd name="T35" fmla="*/ 2147483647 h 43"/>
              <a:gd name="T36" fmla="*/ 2147483647 w 43"/>
              <a:gd name="T37" fmla="*/ 2147483647 h 43"/>
              <a:gd name="T38" fmla="*/ 2147483647 w 43"/>
              <a:gd name="T39" fmla="*/ 2147483647 h 43"/>
              <a:gd name="T40" fmla="*/ 2147483647 w 43"/>
              <a:gd name="T41" fmla="*/ 2147483647 h 43"/>
              <a:gd name="T42" fmla="*/ 2147483647 w 43"/>
              <a:gd name="T43" fmla="*/ 2147483647 h 43"/>
              <a:gd name="T44" fmla="*/ 2147483647 w 43"/>
              <a:gd name="T45" fmla="*/ 2147483647 h 43"/>
              <a:gd name="T46" fmla="*/ 2147483647 w 43"/>
              <a:gd name="T47" fmla="*/ 2147483647 h 43"/>
              <a:gd name="T48" fmla="*/ 2147483647 w 43"/>
              <a:gd name="T49" fmla="*/ 2147483647 h 43"/>
              <a:gd name="T50" fmla="*/ 2147483647 w 43"/>
              <a:gd name="T51" fmla="*/ 2147483647 h 43"/>
              <a:gd name="T52" fmla="*/ 2147483647 w 43"/>
              <a:gd name="T53" fmla="*/ 2147483647 h 43"/>
              <a:gd name="T54" fmla="*/ 2147483647 w 43"/>
              <a:gd name="T55" fmla="*/ 2147483647 h 43"/>
              <a:gd name="T56" fmla="*/ 2147483647 w 43"/>
              <a:gd name="T57" fmla="*/ 2147483647 h 43"/>
              <a:gd name="T58" fmla="*/ 2147483647 w 43"/>
              <a:gd name="T59" fmla="*/ 2147483647 h 43"/>
              <a:gd name="T60" fmla="*/ 2147483647 w 43"/>
              <a:gd name="T61" fmla="*/ 2147483647 h 43"/>
              <a:gd name="T62" fmla="*/ 2147483647 w 43"/>
              <a:gd name="T63" fmla="*/ 2147483647 h 43"/>
              <a:gd name="T64" fmla="*/ 2147483647 w 43"/>
              <a:gd name="T65" fmla="*/ 2147483647 h 43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43"/>
              <a:gd name="T100" fmla="*/ 0 h 43"/>
              <a:gd name="T101" fmla="*/ 43 w 43"/>
              <a:gd name="T102" fmla="*/ 43 h 43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43" h="43">
                <a:moveTo>
                  <a:pt x="29" y="0"/>
                </a:moveTo>
                <a:lnTo>
                  <a:pt x="17" y="5"/>
                </a:lnTo>
                <a:lnTo>
                  <a:pt x="9" y="8"/>
                </a:lnTo>
                <a:lnTo>
                  <a:pt x="9" y="17"/>
                </a:lnTo>
                <a:lnTo>
                  <a:pt x="0" y="23"/>
                </a:lnTo>
                <a:lnTo>
                  <a:pt x="3" y="31"/>
                </a:lnTo>
                <a:lnTo>
                  <a:pt x="15" y="40"/>
                </a:lnTo>
                <a:lnTo>
                  <a:pt x="17" y="43"/>
                </a:lnTo>
                <a:lnTo>
                  <a:pt x="20" y="43"/>
                </a:lnTo>
                <a:lnTo>
                  <a:pt x="26" y="31"/>
                </a:lnTo>
                <a:lnTo>
                  <a:pt x="35" y="34"/>
                </a:lnTo>
                <a:lnTo>
                  <a:pt x="43" y="23"/>
                </a:lnTo>
                <a:lnTo>
                  <a:pt x="40" y="14"/>
                </a:lnTo>
                <a:lnTo>
                  <a:pt x="43" y="11"/>
                </a:lnTo>
                <a:lnTo>
                  <a:pt x="29" y="0"/>
                </a:lnTo>
                <a:close/>
                <a:moveTo>
                  <a:pt x="40" y="23"/>
                </a:moveTo>
                <a:lnTo>
                  <a:pt x="32" y="31"/>
                </a:lnTo>
                <a:lnTo>
                  <a:pt x="23" y="28"/>
                </a:lnTo>
                <a:lnTo>
                  <a:pt x="17" y="40"/>
                </a:lnTo>
                <a:lnTo>
                  <a:pt x="15" y="37"/>
                </a:lnTo>
                <a:lnTo>
                  <a:pt x="6" y="31"/>
                </a:lnTo>
                <a:lnTo>
                  <a:pt x="6" y="23"/>
                </a:lnTo>
                <a:lnTo>
                  <a:pt x="9" y="20"/>
                </a:lnTo>
                <a:lnTo>
                  <a:pt x="12" y="20"/>
                </a:lnTo>
                <a:lnTo>
                  <a:pt x="12" y="11"/>
                </a:lnTo>
                <a:lnTo>
                  <a:pt x="17" y="8"/>
                </a:lnTo>
                <a:lnTo>
                  <a:pt x="29" y="3"/>
                </a:lnTo>
                <a:lnTo>
                  <a:pt x="40" y="11"/>
                </a:lnTo>
                <a:lnTo>
                  <a:pt x="38" y="14"/>
                </a:lnTo>
                <a:lnTo>
                  <a:pt x="40" y="2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05" name="Freeform 8"/>
          <p:cNvSpPr>
            <a:spLocks/>
          </p:cNvSpPr>
          <p:nvPr/>
        </p:nvSpPr>
        <p:spPr bwMode="gray">
          <a:xfrm>
            <a:off x="1574285" y="3079584"/>
            <a:ext cx="12002" cy="13500"/>
          </a:xfrm>
          <a:custGeom>
            <a:avLst/>
            <a:gdLst>
              <a:gd name="T0" fmla="*/ 0 w 6"/>
              <a:gd name="T1" fmla="*/ 0 h 9"/>
              <a:gd name="T2" fmla="*/ 2147483647 w 6"/>
              <a:gd name="T3" fmla="*/ 2147483647 h 9"/>
              <a:gd name="T4" fmla="*/ 2147483647 w 6"/>
              <a:gd name="T5" fmla="*/ 2147483647 h 9"/>
              <a:gd name="T6" fmla="*/ 0 w 6"/>
              <a:gd name="T7" fmla="*/ 0 h 9"/>
              <a:gd name="T8" fmla="*/ 0 w 6"/>
              <a:gd name="T9" fmla="*/ 0 h 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9"/>
              <a:gd name="T17" fmla="*/ 6 w 6"/>
              <a:gd name="T18" fmla="*/ 9 h 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9">
                <a:moveTo>
                  <a:pt x="0" y="0"/>
                </a:moveTo>
                <a:lnTo>
                  <a:pt x="6" y="9"/>
                </a:lnTo>
                <a:lnTo>
                  <a:pt x="0" y="0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06" name="Rectangle 9"/>
          <p:cNvSpPr>
            <a:spLocks noChangeArrowheads="1"/>
          </p:cNvSpPr>
          <p:nvPr/>
        </p:nvSpPr>
        <p:spPr bwMode="gray">
          <a:xfrm>
            <a:off x="5751037" y="2089557"/>
            <a:ext cx="2000" cy="1500"/>
          </a:xfrm>
          <a:prstGeom prst="rect">
            <a:avLst/>
          </a:prstGeom>
          <a:solidFill>
            <a:srgbClr val="D9D9D9"/>
          </a:solidFill>
          <a:ln w="11">
            <a:solidFill>
              <a:srgbClr val="FFFFFF"/>
            </a:solidFill>
            <a:miter lim="800000"/>
            <a:headEnd/>
            <a:tailEnd/>
          </a:ln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25" name="Freeform 10"/>
          <p:cNvSpPr>
            <a:spLocks/>
          </p:cNvSpPr>
          <p:nvPr/>
        </p:nvSpPr>
        <p:spPr bwMode="gray">
          <a:xfrm>
            <a:off x="2466445" y="1824049"/>
            <a:ext cx="6000" cy="1501"/>
          </a:xfrm>
          <a:custGeom>
            <a:avLst/>
            <a:gdLst>
              <a:gd name="T0" fmla="*/ 0 w 3"/>
              <a:gd name="T1" fmla="*/ 0 h 1"/>
              <a:gd name="T2" fmla="*/ 0 w 3"/>
              <a:gd name="T3" fmla="*/ 0 h 1"/>
              <a:gd name="T4" fmla="*/ 2147483647 w 3"/>
              <a:gd name="T5" fmla="*/ 0 h 1"/>
              <a:gd name="T6" fmla="*/ 2147483647 w 3"/>
              <a:gd name="T7" fmla="*/ 0 h 1"/>
              <a:gd name="T8" fmla="*/ 0 w 3"/>
              <a:gd name="T9" fmla="*/ 0 h 1"/>
              <a:gd name="T10" fmla="*/ 0 w 3"/>
              <a:gd name="T11" fmla="*/ 0 h 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"/>
              <a:gd name="T19" fmla="*/ 0 h 1"/>
              <a:gd name="T20" fmla="*/ 3 w 3"/>
              <a:gd name="T21" fmla="*/ 1 h 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" h="1">
                <a:moveTo>
                  <a:pt x="0" y="0"/>
                </a:moveTo>
                <a:lnTo>
                  <a:pt x="0" y="0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26" name="Freeform 11"/>
          <p:cNvSpPr>
            <a:spLocks/>
          </p:cNvSpPr>
          <p:nvPr/>
        </p:nvSpPr>
        <p:spPr bwMode="gray">
          <a:xfrm>
            <a:off x="2780501" y="1662045"/>
            <a:ext cx="6002" cy="4501"/>
          </a:xfrm>
          <a:custGeom>
            <a:avLst/>
            <a:gdLst>
              <a:gd name="T0" fmla="*/ 0 w 3"/>
              <a:gd name="T1" fmla="*/ 2147483647 h 3"/>
              <a:gd name="T2" fmla="*/ 2147483647 w 3"/>
              <a:gd name="T3" fmla="*/ 2147483647 h 3"/>
              <a:gd name="T4" fmla="*/ 2147483647 w 3"/>
              <a:gd name="T5" fmla="*/ 2147483647 h 3"/>
              <a:gd name="T6" fmla="*/ 2147483647 w 3"/>
              <a:gd name="T7" fmla="*/ 0 h 3"/>
              <a:gd name="T8" fmla="*/ 0 w 3"/>
              <a:gd name="T9" fmla="*/ 2147483647 h 3"/>
              <a:gd name="T10" fmla="*/ 0 w 3"/>
              <a:gd name="T11" fmla="*/ 2147483647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"/>
              <a:gd name="T19" fmla="*/ 0 h 3"/>
              <a:gd name="T20" fmla="*/ 3 w 3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" h="3">
                <a:moveTo>
                  <a:pt x="0" y="3"/>
                </a:moveTo>
                <a:lnTo>
                  <a:pt x="3" y="3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27" name="Freeform 12"/>
          <p:cNvSpPr>
            <a:spLocks/>
          </p:cNvSpPr>
          <p:nvPr/>
        </p:nvSpPr>
        <p:spPr bwMode="gray">
          <a:xfrm>
            <a:off x="2734493" y="1831551"/>
            <a:ext cx="24004" cy="9000"/>
          </a:xfrm>
          <a:custGeom>
            <a:avLst/>
            <a:gdLst>
              <a:gd name="T0" fmla="*/ 2147483647 w 12"/>
              <a:gd name="T1" fmla="*/ 2147483647 h 6"/>
              <a:gd name="T2" fmla="*/ 2147483647 w 12"/>
              <a:gd name="T3" fmla="*/ 2147483647 h 6"/>
              <a:gd name="T4" fmla="*/ 2147483647 w 12"/>
              <a:gd name="T5" fmla="*/ 0 h 6"/>
              <a:gd name="T6" fmla="*/ 2147483647 w 12"/>
              <a:gd name="T7" fmla="*/ 2147483647 h 6"/>
              <a:gd name="T8" fmla="*/ 0 w 12"/>
              <a:gd name="T9" fmla="*/ 2147483647 h 6"/>
              <a:gd name="T10" fmla="*/ 0 w 12"/>
              <a:gd name="T11" fmla="*/ 2147483647 h 6"/>
              <a:gd name="T12" fmla="*/ 2147483647 w 12"/>
              <a:gd name="T13" fmla="*/ 2147483647 h 6"/>
              <a:gd name="T14" fmla="*/ 2147483647 w 12"/>
              <a:gd name="T15" fmla="*/ 2147483647 h 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2"/>
              <a:gd name="T25" fmla="*/ 0 h 6"/>
              <a:gd name="T26" fmla="*/ 12 w 12"/>
              <a:gd name="T27" fmla="*/ 6 h 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2" h="6">
                <a:moveTo>
                  <a:pt x="12" y="3"/>
                </a:moveTo>
                <a:lnTo>
                  <a:pt x="12" y="3"/>
                </a:lnTo>
                <a:lnTo>
                  <a:pt x="9" y="0"/>
                </a:lnTo>
                <a:lnTo>
                  <a:pt x="3" y="3"/>
                </a:lnTo>
                <a:lnTo>
                  <a:pt x="0" y="6"/>
                </a:lnTo>
                <a:lnTo>
                  <a:pt x="12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28" name="Freeform 13"/>
          <p:cNvSpPr>
            <a:spLocks/>
          </p:cNvSpPr>
          <p:nvPr/>
        </p:nvSpPr>
        <p:spPr bwMode="gray">
          <a:xfrm>
            <a:off x="3232582" y="5350646"/>
            <a:ext cx="34007" cy="9000"/>
          </a:xfrm>
          <a:custGeom>
            <a:avLst/>
            <a:gdLst>
              <a:gd name="T0" fmla="*/ 2147483647 w 17"/>
              <a:gd name="T1" fmla="*/ 0 h 6"/>
              <a:gd name="T2" fmla="*/ 0 w 17"/>
              <a:gd name="T3" fmla="*/ 0 h 6"/>
              <a:gd name="T4" fmla="*/ 2147483647 w 17"/>
              <a:gd name="T5" fmla="*/ 0 h 6"/>
              <a:gd name="T6" fmla="*/ 2147483647 w 17"/>
              <a:gd name="T7" fmla="*/ 2147483647 h 6"/>
              <a:gd name="T8" fmla="*/ 2147483647 w 17"/>
              <a:gd name="T9" fmla="*/ 2147483647 h 6"/>
              <a:gd name="T10" fmla="*/ 2147483647 w 17"/>
              <a:gd name="T11" fmla="*/ 2147483647 h 6"/>
              <a:gd name="T12" fmla="*/ 2147483647 w 17"/>
              <a:gd name="T13" fmla="*/ 0 h 6"/>
              <a:gd name="T14" fmla="*/ 2147483647 w 17"/>
              <a:gd name="T15" fmla="*/ 2147483647 h 6"/>
              <a:gd name="T16" fmla="*/ 2147483647 w 17"/>
              <a:gd name="T17" fmla="*/ 0 h 6"/>
              <a:gd name="T18" fmla="*/ 2147483647 w 17"/>
              <a:gd name="T19" fmla="*/ 0 h 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7"/>
              <a:gd name="T31" fmla="*/ 0 h 6"/>
              <a:gd name="T32" fmla="*/ 17 w 17"/>
              <a:gd name="T33" fmla="*/ 6 h 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7" h="6">
                <a:moveTo>
                  <a:pt x="11" y="0"/>
                </a:moveTo>
                <a:lnTo>
                  <a:pt x="0" y="0"/>
                </a:lnTo>
                <a:lnTo>
                  <a:pt x="3" y="0"/>
                </a:lnTo>
                <a:lnTo>
                  <a:pt x="3" y="3"/>
                </a:lnTo>
                <a:lnTo>
                  <a:pt x="6" y="6"/>
                </a:lnTo>
                <a:lnTo>
                  <a:pt x="6" y="3"/>
                </a:lnTo>
                <a:lnTo>
                  <a:pt x="9" y="0"/>
                </a:lnTo>
                <a:lnTo>
                  <a:pt x="9" y="6"/>
                </a:lnTo>
                <a:lnTo>
                  <a:pt x="17" y="0"/>
                </a:lnTo>
                <a:lnTo>
                  <a:pt x="11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11" name="Freeform 14"/>
          <p:cNvSpPr>
            <a:spLocks/>
          </p:cNvSpPr>
          <p:nvPr/>
        </p:nvSpPr>
        <p:spPr bwMode="gray">
          <a:xfrm>
            <a:off x="2288413" y="2932579"/>
            <a:ext cx="12002" cy="4500"/>
          </a:xfrm>
          <a:custGeom>
            <a:avLst/>
            <a:gdLst>
              <a:gd name="T0" fmla="*/ 0 w 6"/>
              <a:gd name="T1" fmla="*/ 2147483647 h 3"/>
              <a:gd name="T2" fmla="*/ 2147483647 w 6"/>
              <a:gd name="T3" fmla="*/ 2147483647 h 3"/>
              <a:gd name="T4" fmla="*/ 2147483647 w 6"/>
              <a:gd name="T5" fmla="*/ 0 h 3"/>
              <a:gd name="T6" fmla="*/ 2147483647 w 6"/>
              <a:gd name="T7" fmla="*/ 0 h 3"/>
              <a:gd name="T8" fmla="*/ 2147483647 w 6"/>
              <a:gd name="T9" fmla="*/ 0 h 3"/>
              <a:gd name="T10" fmla="*/ 2147483647 w 6"/>
              <a:gd name="T11" fmla="*/ 0 h 3"/>
              <a:gd name="T12" fmla="*/ 0 w 6"/>
              <a:gd name="T13" fmla="*/ 2147483647 h 3"/>
              <a:gd name="T14" fmla="*/ 0 w 6"/>
              <a:gd name="T15" fmla="*/ 2147483647 h 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"/>
              <a:gd name="T25" fmla="*/ 0 h 3"/>
              <a:gd name="T26" fmla="*/ 6 w 6"/>
              <a:gd name="T27" fmla="*/ 3 h 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" h="3">
                <a:moveTo>
                  <a:pt x="0" y="3"/>
                </a:moveTo>
                <a:lnTo>
                  <a:pt x="3" y="3"/>
                </a:ln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30" name="Freeform 15"/>
          <p:cNvSpPr>
            <a:spLocks/>
          </p:cNvSpPr>
          <p:nvPr/>
        </p:nvSpPr>
        <p:spPr bwMode="gray">
          <a:xfrm>
            <a:off x="3332601" y="1771549"/>
            <a:ext cx="6002" cy="1500"/>
          </a:xfrm>
          <a:custGeom>
            <a:avLst/>
            <a:gdLst>
              <a:gd name="T0" fmla="*/ 0 w 3"/>
              <a:gd name="T1" fmla="*/ 0 h 1"/>
              <a:gd name="T2" fmla="*/ 2147483647 w 3"/>
              <a:gd name="T3" fmla="*/ 0 h 1"/>
              <a:gd name="T4" fmla="*/ 2147483647 w 3"/>
              <a:gd name="T5" fmla="*/ 0 h 1"/>
              <a:gd name="T6" fmla="*/ 2147483647 w 3"/>
              <a:gd name="T7" fmla="*/ 0 h 1"/>
              <a:gd name="T8" fmla="*/ 2147483647 w 3"/>
              <a:gd name="T9" fmla="*/ 0 h 1"/>
              <a:gd name="T10" fmla="*/ 0 w 3"/>
              <a:gd name="T11" fmla="*/ 0 h 1"/>
              <a:gd name="T12" fmla="*/ 0 w 3"/>
              <a:gd name="T13" fmla="*/ 0 h 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"/>
              <a:gd name="T22" fmla="*/ 0 h 1"/>
              <a:gd name="T23" fmla="*/ 3 w 3"/>
              <a:gd name="T24" fmla="*/ 1 h 1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" h="1">
                <a:moveTo>
                  <a:pt x="0" y="0"/>
                </a:move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13" name="Freeform 16"/>
          <p:cNvSpPr>
            <a:spLocks/>
          </p:cNvSpPr>
          <p:nvPr/>
        </p:nvSpPr>
        <p:spPr bwMode="gray">
          <a:xfrm>
            <a:off x="5012903" y="1620044"/>
            <a:ext cx="30006" cy="7501"/>
          </a:xfrm>
          <a:custGeom>
            <a:avLst/>
            <a:gdLst>
              <a:gd name="T0" fmla="*/ 2147483647 w 15"/>
              <a:gd name="T1" fmla="*/ 2147483647 h 5"/>
              <a:gd name="T2" fmla="*/ 2147483647 w 15"/>
              <a:gd name="T3" fmla="*/ 2147483647 h 5"/>
              <a:gd name="T4" fmla="*/ 2147483647 w 15"/>
              <a:gd name="T5" fmla="*/ 2147483647 h 5"/>
              <a:gd name="T6" fmla="*/ 2147483647 w 15"/>
              <a:gd name="T7" fmla="*/ 0 h 5"/>
              <a:gd name="T8" fmla="*/ 2147483647 w 15"/>
              <a:gd name="T9" fmla="*/ 0 h 5"/>
              <a:gd name="T10" fmla="*/ 2147483647 w 15"/>
              <a:gd name="T11" fmla="*/ 0 h 5"/>
              <a:gd name="T12" fmla="*/ 0 w 15"/>
              <a:gd name="T13" fmla="*/ 2147483647 h 5"/>
              <a:gd name="T14" fmla="*/ 0 w 15"/>
              <a:gd name="T15" fmla="*/ 2147483647 h 5"/>
              <a:gd name="T16" fmla="*/ 0 w 15"/>
              <a:gd name="T17" fmla="*/ 2147483647 h 5"/>
              <a:gd name="T18" fmla="*/ 2147483647 w 15"/>
              <a:gd name="T19" fmla="*/ 2147483647 h 5"/>
              <a:gd name="T20" fmla="*/ 2147483647 w 15"/>
              <a:gd name="T21" fmla="*/ 2147483647 h 5"/>
              <a:gd name="T22" fmla="*/ 2147483647 w 15"/>
              <a:gd name="T23" fmla="*/ 2147483647 h 5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5"/>
              <a:gd name="T37" fmla="*/ 0 h 5"/>
              <a:gd name="T38" fmla="*/ 15 w 15"/>
              <a:gd name="T39" fmla="*/ 5 h 5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5" h="5">
                <a:moveTo>
                  <a:pt x="15" y="5"/>
                </a:moveTo>
                <a:lnTo>
                  <a:pt x="15" y="5"/>
                </a:ln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lnTo>
                  <a:pt x="0" y="5"/>
                </a:lnTo>
                <a:lnTo>
                  <a:pt x="3" y="5"/>
                </a:lnTo>
                <a:lnTo>
                  <a:pt x="15" y="5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14" name="Freeform 17"/>
          <p:cNvSpPr>
            <a:spLocks/>
          </p:cNvSpPr>
          <p:nvPr/>
        </p:nvSpPr>
        <p:spPr bwMode="gray">
          <a:xfrm>
            <a:off x="4230762" y="2028055"/>
            <a:ext cx="16003" cy="7501"/>
          </a:xfrm>
          <a:custGeom>
            <a:avLst/>
            <a:gdLst>
              <a:gd name="T0" fmla="*/ 0 w 8"/>
              <a:gd name="T1" fmla="*/ 2147483647 h 5"/>
              <a:gd name="T2" fmla="*/ 2147483647 w 8"/>
              <a:gd name="T3" fmla="*/ 0 h 5"/>
              <a:gd name="T4" fmla="*/ 2147483647 w 8"/>
              <a:gd name="T5" fmla="*/ 0 h 5"/>
              <a:gd name="T6" fmla="*/ 0 w 8"/>
              <a:gd name="T7" fmla="*/ 2147483647 h 5"/>
              <a:gd name="T8" fmla="*/ 0 60000 65536"/>
              <a:gd name="T9" fmla="*/ 0 60000 65536"/>
              <a:gd name="T10" fmla="*/ 0 60000 65536"/>
              <a:gd name="T11" fmla="*/ 0 60000 65536"/>
              <a:gd name="T12" fmla="*/ 0 w 8"/>
              <a:gd name="T13" fmla="*/ 0 h 5"/>
              <a:gd name="T14" fmla="*/ 8 w 8"/>
              <a:gd name="T15" fmla="*/ 5 h 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" h="5">
                <a:moveTo>
                  <a:pt x="0" y="5"/>
                </a:moveTo>
                <a:lnTo>
                  <a:pt x="8" y="0"/>
                </a:lnTo>
                <a:lnTo>
                  <a:pt x="3" y="0"/>
                </a:lnTo>
                <a:lnTo>
                  <a:pt x="0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0915" name="Freeform 19"/>
          <p:cNvSpPr>
            <a:spLocks/>
          </p:cNvSpPr>
          <p:nvPr/>
        </p:nvSpPr>
        <p:spPr bwMode="gray">
          <a:xfrm>
            <a:off x="4892882" y="1705547"/>
            <a:ext cx="22005" cy="9000"/>
          </a:xfrm>
          <a:custGeom>
            <a:avLst/>
            <a:gdLst>
              <a:gd name="T0" fmla="*/ 0 w 11"/>
              <a:gd name="T1" fmla="*/ 0 h 6"/>
              <a:gd name="T2" fmla="*/ 2147483647 w 11"/>
              <a:gd name="T3" fmla="*/ 2147483647 h 6"/>
              <a:gd name="T4" fmla="*/ 2147483647 w 11"/>
              <a:gd name="T5" fmla="*/ 2147483647 h 6"/>
              <a:gd name="T6" fmla="*/ 2147483647 w 11"/>
              <a:gd name="T7" fmla="*/ 2147483647 h 6"/>
              <a:gd name="T8" fmla="*/ 2147483647 w 11"/>
              <a:gd name="T9" fmla="*/ 2147483647 h 6"/>
              <a:gd name="T10" fmla="*/ 2147483647 w 11"/>
              <a:gd name="T11" fmla="*/ 2147483647 h 6"/>
              <a:gd name="T12" fmla="*/ 2147483647 w 11"/>
              <a:gd name="T13" fmla="*/ 2147483647 h 6"/>
              <a:gd name="T14" fmla="*/ 0 w 11"/>
              <a:gd name="T15" fmla="*/ 0 h 6"/>
              <a:gd name="T16" fmla="*/ 0 w 11"/>
              <a:gd name="T17" fmla="*/ 0 h 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1"/>
              <a:gd name="T28" fmla="*/ 0 h 6"/>
              <a:gd name="T29" fmla="*/ 11 w 11"/>
              <a:gd name="T30" fmla="*/ 6 h 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1" h="6">
                <a:moveTo>
                  <a:pt x="0" y="0"/>
                </a:moveTo>
                <a:lnTo>
                  <a:pt x="3" y="3"/>
                </a:lnTo>
                <a:lnTo>
                  <a:pt x="11" y="6"/>
                </a:lnTo>
                <a:lnTo>
                  <a:pt x="11" y="3"/>
                </a:lnTo>
                <a:lnTo>
                  <a:pt x="6" y="3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16" name="Freeform 20"/>
          <p:cNvSpPr>
            <a:spLocks/>
          </p:cNvSpPr>
          <p:nvPr/>
        </p:nvSpPr>
        <p:spPr bwMode="gray">
          <a:xfrm>
            <a:off x="4914886" y="1710047"/>
            <a:ext cx="24004" cy="9000"/>
          </a:xfrm>
          <a:custGeom>
            <a:avLst/>
            <a:gdLst>
              <a:gd name="T0" fmla="*/ 0 w 12"/>
              <a:gd name="T1" fmla="*/ 0 h 6"/>
              <a:gd name="T2" fmla="*/ 0 w 12"/>
              <a:gd name="T3" fmla="*/ 2147483647 h 6"/>
              <a:gd name="T4" fmla="*/ 2147483647 w 12"/>
              <a:gd name="T5" fmla="*/ 2147483647 h 6"/>
              <a:gd name="T6" fmla="*/ 2147483647 w 12"/>
              <a:gd name="T7" fmla="*/ 2147483647 h 6"/>
              <a:gd name="T8" fmla="*/ 2147483647 w 12"/>
              <a:gd name="T9" fmla="*/ 2147483647 h 6"/>
              <a:gd name="T10" fmla="*/ 0 w 12"/>
              <a:gd name="T11" fmla="*/ 0 h 6"/>
              <a:gd name="T12" fmla="*/ 0 w 12"/>
              <a:gd name="T13" fmla="*/ 0 h 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2"/>
              <a:gd name="T22" fmla="*/ 0 h 6"/>
              <a:gd name="T23" fmla="*/ 12 w 12"/>
              <a:gd name="T24" fmla="*/ 6 h 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2" h="6">
                <a:moveTo>
                  <a:pt x="0" y="0"/>
                </a:moveTo>
                <a:lnTo>
                  <a:pt x="0" y="3"/>
                </a:lnTo>
                <a:lnTo>
                  <a:pt x="9" y="6"/>
                </a:lnTo>
                <a:lnTo>
                  <a:pt x="12" y="3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35" name="Freeform 21"/>
          <p:cNvSpPr>
            <a:spLocks/>
          </p:cNvSpPr>
          <p:nvPr/>
        </p:nvSpPr>
        <p:spPr bwMode="gray">
          <a:xfrm>
            <a:off x="3586647" y="1549542"/>
            <a:ext cx="18003" cy="4500"/>
          </a:xfrm>
          <a:custGeom>
            <a:avLst/>
            <a:gdLst>
              <a:gd name="T0" fmla="*/ 2147483647 w 9"/>
              <a:gd name="T1" fmla="*/ 2147483647 h 3"/>
              <a:gd name="T2" fmla="*/ 2147483647 w 9"/>
              <a:gd name="T3" fmla="*/ 2147483647 h 3"/>
              <a:gd name="T4" fmla="*/ 2147483647 w 9"/>
              <a:gd name="T5" fmla="*/ 0 h 3"/>
              <a:gd name="T6" fmla="*/ 2147483647 w 9"/>
              <a:gd name="T7" fmla="*/ 0 h 3"/>
              <a:gd name="T8" fmla="*/ 0 w 9"/>
              <a:gd name="T9" fmla="*/ 2147483647 h 3"/>
              <a:gd name="T10" fmla="*/ 0 w 9"/>
              <a:gd name="T11" fmla="*/ 2147483647 h 3"/>
              <a:gd name="T12" fmla="*/ 2147483647 w 9"/>
              <a:gd name="T13" fmla="*/ 2147483647 h 3"/>
              <a:gd name="T14" fmla="*/ 2147483647 w 9"/>
              <a:gd name="T15" fmla="*/ 2147483647 h 3"/>
              <a:gd name="T16" fmla="*/ 2147483647 w 9"/>
              <a:gd name="T17" fmla="*/ 2147483647 h 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9"/>
              <a:gd name="T28" fmla="*/ 0 h 3"/>
              <a:gd name="T29" fmla="*/ 9 w 9"/>
              <a:gd name="T30" fmla="*/ 3 h 3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9" h="3">
                <a:moveTo>
                  <a:pt x="6" y="3"/>
                </a:moveTo>
                <a:lnTo>
                  <a:pt x="6" y="3"/>
                </a:lnTo>
                <a:lnTo>
                  <a:pt x="9" y="0"/>
                </a:lnTo>
                <a:lnTo>
                  <a:pt x="6" y="0"/>
                </a:lnTo>
                <a:lnTo>
                  <a:pt x="0" y="3"/>
                </a:lnTo>
                <a:lnTo>
                  <a:pt x="3" y="3"/>
                </a:lnTo>
                <a:lnTo>
                  <a:pt x="6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36" name="Freeform 22"/>
          <p:cNvSpPr>
            <a:spLocks/>
          </p:cNvSpPr>
          <p:nvPr/>
        </p:nvSpPr>
        <p:spPr bwMode="gray">
          <a:xfrm>
            <a:off x="3528636" y="1596043"/>
            <a:ext cx="98018" cy="31501"/>
          </a:xfrm>
          <a:custGeom>
            <a:avLst/>
            <a:gdLst>
              <a:gd name="T0" fmla="*/ 2147483647 w 49"/>
              <a:gd name="T1" fmla="*/ 2147483647 h 20"/>
              <a:gd name="T2" fmla="*/ 2147483647 w 49"/>
              <a:gd name="T3" fmla="*/ 2147483647 h 20"/>
              <a:gd name="T4" fmla="*/ 2147483647 w 49"/>
              <a:gd name="T5" fmla="*/ 2147483647 h 20"/>
              <a:gd name="T6" fmla="*/ 2147483647 w 49"/>
              <a:gd name="T7" fmla="*/ 2147483647 h 20"/>
              <a:gd name="T8" fmla="*/ 2147483647 w 49"/>
              <a:gd name="T9" fmla="*/ 2147483647 h 20"/>
              <a:gd name="T10" fmla="*/ 2147483647 w 49"/>
              <a:gd name="T11" fmla="*/ 2147483647 h 20"/>
              <a:gd name="T12" fmla="*/ 2147483647 w 49"/>
              <a:gd name="T13" fmla="*/ 2147483647 h 20"/>
              <a:gd name="T14" fmla="*/ 2147483647 w 49"/>
              <a:gd name="T15" fmla="*/ 2147483647 h 20"/>
              <a:gd name="T16" fmla="*/ 2147483647 w 49"/>
              <a:gd name="T17" fmla="*/ 2147483647 h 20"/>
              <a:gd name="T18" fmla="*/ 2147483647 w 49"/>
              <a:gd name="T19" fmla="*/ 2147483647 h 20"/>
              <a:gd name="T20" fmla="*/ 2147483647 w 49"/>
              <a:gd name="T21" fmla="*/ 2147483647 h 20"/>
              <a:gd name="T22" fmla="*/ 2147483647 w 49"/>
              <a:gd name="T23" fmla="*/ 2147483647 h 20"/>
              <a:gd name="T24" fmla="*/ 2147483647 w 49"/>
              <a:gd name="T25" fmla="*/ 2147483647 h 20"/>
              <a:gd name="T26" fmla="*/ 2147483647 w 49"/>
              <a:gd name="T27" fmla="*/ 2147483647 h 20"/>
              <a:gd name="T28" fmla="*/ 2147483647 w 49"/>
              <a:gd name="T29" fmla="*/ 2147483647 h 20"/>
              <a:gd name="T30" fmla="*/ 2147483647 w 49"/>
              <a:gd name="T31" fmla="*/ 2147483647 h 20"/>
              <a:gd name="T32" fmla="*/ 2147483647 w 49"/>
              <a:gd name="T33" fmla="*/ 0 h 20"/>
              <a:gd name="T34" fmla="*/ 2147483647 w 49"/>
              <a:gd name="T35" fmla="*/ 0 h 20"/>
              <a:gd name="T36" fmla="*/ 2147483647 w 49"/>
              <a:gd name="T37" fmla="*/ 2147483647 h 20"/>
              <a:gd name="T38" fmla="*/ 2147483647 w 49"/>
              <a:gd name="T39" fmla="*/ 2147483647 h 20"/>
              <a:gd name="T40" fmla="*/ 2147483647 w 49"/>
              <a:gd name="T41" fmla="*/ 2147483647 h 20"/>
              <a:gd name="T42" fmla="*/ 2147483647 w 49"/>
              <a:gd name="T43" fmla="*/ 2147483647 h 20"/>
              <a:gd name="T44" fmla="*/ 2147483647 w 49"/>
              <a:gd name="T45" fmla="*/ 2147483647 h 20"/>
              <a:gd name="T46" fmla="*/ 2147483647 w 49"/>
              <a:gd name="T47" fmla="*/ 2147483647 h 20"/>
              <a:gd name="T48" fmla="*/ 2147483647 w 49"/>
              <a:gd name="T49" fmla="*/ 2147483647 h 20"/>
              <a:gd name="T50" fmla="*/ 2147483647 w 49"/>
              <a:gd name="T51" fmla="*/ 2147483647 h 20"/>
              <a:gd name="T52" fmla="*/ 2147483647 w 49"/>
              <a:gd name="T53" fmla="*/ 2147483647 h 20"/>
              <a:gd name="T54" fmla="*/ 2147483647 w 49"/>
              <a:gd name="T55" fmla="*/ 2147483647 h 20"/>
              <a:gd name="T56" fmla="*/ 2147483647 w 49"/>
              <a:gd name="T57" fmla="*/ 2147483647 h 20"/>
              <a:gd name="T58" fmla="*/ 2147483647 w 49"/>
              <a:gd name="T59" fmla="*/ 2147483647 h 20"/>
              <a:gd name="T60" fmla="*/ 2147483647 w 49"/>
              <a:gd name="T61" fmla="*/ 2147483647 h 20"/>
              <a:gd name="T62" fmla="*/ 0 w 49"/>
              <a:gd name="T63" fmla="*/ 2147483647 h 20"/>
              <a:gd name="T64" fmla="*/ 0 w 49"/>
              <a:gd name="T65" fmla="*/ 2147483647 h 20"/>
              <a:gd name="T66" fmla="*/ 2147483647 w 49"/>
              <a:gd name="T67" fmla="*/ 2147483647 h 20"/>
              <a:gd name="T68" fmla="*/ 2147483647 w 49"/>
              <a:gd name="T69" fmla="*/ 2147483647 h 20"/>
              <a:gd name="T70" fmla="*/ 2147483647 w 49"/>
              <a:gd name="T71" fmla="*/ 2147483647 h 20"/>
              <a:gd name="T72" fmla="*/ 2147483647 w 49"/>
              <a:gd name="T73" fmla="*/ 2147483647 h 20"/>
              <a:gd name="T74" fmla="*/ 2147483647 w 49"/>
              <a:gd name="T75" fmla="*/ 2147483647 h 20"/>
              <a:gd name="T76" fmla="*/ 2147483647 w 49"/>
              <a:gd name="T77" fmla="*/ 2147483647 h 20"/>
              <a:gd name="T78" fmla="*/ 2147483647 w 49"/>
              <a:gd name="T79" fmla="*/ 2147483647 h 20"/>
              <a:gd name="T80" fmla="*/ 2147483647 w 49"/>
              <a:gd name="T81" fmla="*/ 2147483647 h 20"/>
              <a:gd name="T82" fmla="*/ 2147483647 w 49"/>
              <a:gd name="T83" fmla="*/ 2147483647 h 20"/>
              <a:gd name="T84" fmla="*/ 2147483647 w 49"/>
              <a:gd name="T85" fmla="*/ 2147483647 h 20"/>
              <a:gd name="T86" fmla="*/ 2147483647 w 49"/>
              <a:gd name="T87" fmla="*/ 2147483647 h 20"/>
              <a:gd name="T88" fmla="*/ 2147483647 w 49"/>
              <a:gd name="T89" fmla="*/ 2147483647 h 20"/>
              <a:gd name="T90" fmla="*/ 2147483647 w 49"/>
              <a:gd name="T91" fmla="*/ 2147483647 h 20"/>
              <a:gd name="T92" fmla="*/ 2147483647 w 49"/>
              <a:gd name="T93" fmla="*/ 2147483647 h 20"/>
              <a:gd name="T94" fmla="*/ 2147483647 w 49"/>
              <a:gd name="T95" fmla="*/ 2147483647 h 20"/>
              <a:gd name="T96" fmla="*/ 2147483647 w 49"/>
              <a:gd name="T97" fmla="*/ 2147483647 h 20"/>
              <a:gd name="T98" fmla="*/ 2147483647 w 49"/>
              <a:gd name="T99" fmla="*/ 2147483647 h 20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49"/>
              <a:gd name="T151" fmla="*/ 0 h 20"/>
              <a:gd name="T152" fmla="*/ 49 w 49"/>
              <a:gd name="T153" fmla="*/ 20 h 20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49" h="20">
                <a:moveTo>
                  <a:pt x="46" y="9"/>
                </a:moveTo>
                <a:lnTo>
                  <a:pt x="46" y="9"/>
                </a:lnTo>
                <a:lnTo>
                  <a:pt x="38" y="12"/>
                </a:lnTo>
                <a:lnTo>
                  <a:pt x="26" y="15"/>
                </a:lnTo>
                <a:lnTo>
                  <a:pt x="23" y="15"/>
                </a:lnTo>
                <a:lnTo>
                  <a:pt x="26" y="12"/>
                </a:lnTo>
                <a:lnTo>
                  <a:pt x="32" y="9"/>
                </a:lnTo>
                <a:lnTo>
                  <a:pt x="35" y="6"/>
                </a:lnTo>
                <a:lnTo>
                  <a:pt x="35" y="3"/>
                </a:lnTo>
                <a:lnTo>
                  <a:pt x="38" y="0"/>
                </a:lnTo>
                <a:lnTo>
                  <a:pt x="35" y="0"/>
                </a:lnTo>
                <a:lnTo>
                  <a:pt x="29" y="3"/>
                </a:lnTo>
                <a:lnTo>
                  <a:pt x="18" y="12"/>
                </a:lnTo>
                <a:lnTo>
                  <a:pt x="15" y="12"/>
                </a:lnTo>
                <a:lnTo>
                  <a:pt x="15" y="9"/>
                </a:lnTo>
                <a:lnTo>
                  <a:pt x="18" y="6"/>
                </a:lnTo>
                <a:lnTo>
                  <a:pt x="20" y="3"/>
                </a:lnTo>
                <a:lnTo>
                  <a:pt x="18" y="3"/>
                </a:lnTo>
                <a:lnTo>
                  <a:pt x="3" y="9"/>
                </a:lnTo>
                <a:lnTo>
                  <a:pt x="0" y="12"/>
                </a:lnTo>
                <a:lnTo>
                  <a:pt x="6" y="15"/>
                </a:lnTo>
                <a:lnTo>
                  <a:pt x="9" y="18"/>
                </a:lnTo>
                <a:lnTo>
                  <a:pt x="12" y="20"/>
                </a:lnTo>
                <a:lnTo>
                  <a:pt x="26" y="20"/>
                </a:lnTo>
                <a:lnTo>
                  <a:pt x="32" y="20"/>
                </a:lnTo>
                <a:lnTo>
                  <a:pt x="38" y="18"/>
                </a:lnTo>
                <a:lnTo>
                  <a:pt x="43" y="15"/>
                </a:lnTo>
                <a:lnTo>
                  <a:pt x="49" y="9"/>
                </a:lnTo>
                <a:lnTo>
                  <a:pt x="49" y="6"/>
                </a:lnTo>
                <a:lnTo>
                  <a:pt x="46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19" name="Freeform 23"/>
          <p:cNvSpPr>
            <a:spLocks/>
          </p:cNvSpPr>
          <p:nvPr/>
        </p:nvSpPr>
        <p:spPr bwMode="gray">
          <a:xfrm>
            <a:off x="9317678" y="3667600"/>
            <a:ext cx="18004" cy="16500"/>
          </a:xfrm>
          <a:custGeom>
            <a:avLst/>
            <a:gdLst>
              <a:gd name="T0" fmla="*/ 0 w 9"/>
              <a:gd name="T1" fmla="*/ 2147483647 h 11"/>
              <a:gd name="T2" fmla="*/ 2147483647 w 9"/>
              <a:gd name="T3" fmla="*/ 2147483647 h 11"/>
              <a:gd name="T4" fmla="*/ 2147483647 w 9"/>
              <a:gd name="T5" fmla="*/ 2147483647 h 11"/>
              <a:gd name="T6" fmla="*/ 2147483647 w 9"/>
              <a:gd name="T7" fmla="*/ 2147483647 h 11"/>
              <a:gd name="T8" fmla="*/ 2147483647 w 9"/>
              <a:gd name="T9" fmla="*/ 2147483647 h 11"/>
              <a:gd name="T10" fmla="*/ 2147483647 w 9"/>
              <a:gd name="T11" fmla="*/ 2147483647 h 11"/>
              <a:gd name="T12" fmla="*/ 2147483647 w 9"/>
              <a:gd name="T13" fmla="*/ 2147483647 h 11"/>
              <a:gd name="T14" fmla="*/ 2147483647 w 9"/>
              <a:gd name="T15" fmla="*/ 0 h 11"/>
              <a:gd name="T16" fmla="*/ 2147483647 w 9"/>
              <a:gd name="T17" fmla="*/ 0 h 11"/>
              <a:gd name="T18" fmla="*/ 2147483647 w 9"/>
              <a:gd name="T19" fmla="*/ 0 h 11"/>
              <a:gd name="T20" fmla="*/ 2147483647 w 9"/>
              <a:gd name="T21" fmla="*/ 0 h 11"/>
              <a:gd name="T22" fmla="*/ 0 w 9"/>
              <a:gd name="T23" fmla="*/ 2147483647 h 11"/>
              <a:gd name="T24" fmla="*/ 0 w 9"/>
              <a:gd name="T25" fmla="*/ 2147483647 h 1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9"/>
              <a:gd name="T40" fmla="*/ 0 h 11"/>
              <a:gd name="T41" fmla="*/ 9 w 9"/>
              <a:gd name="T42" fmla="*/ 11 h 11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9" h="11">
                <a:moveTo>
                  <a:pt x="0" y="3"/>
                </a:moveTo>
                <a:lnTo>
                  <a:pt x="3" y="6"/>
                </a:lnTo>
                <a:lnTo>
                  <a:pt x="6" y="11"/>
                </a:lnTo>
                <a:lnTo>
                  <a:pt x="9" y="11"/>
                </a:lnTo>
                <a:lnTo>
                  <a:pt x="9" y="3"/>
                </a:lnTo>
                <a:lnTo>
                  <a:pt x="9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20" name="Freeform 24"/>
          <p:cNvSpPr>
            <a:spLocks/>
          </p:cNvSpPr>
          <p:nvPr/>
        </p:nvSpPr>
        <p:spPr bwMode="gray">
          <a:xfrm>
            <a:off x="9171653" y="3310590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0 h 6"/>
              <a:gd name="T4" fmla="*/ 0 w 6"/>
              <a:gd name="T5" fmla="*/ 2147483647 h 6"/>
              <a:gd name="T6" fmla="*/ 2147483647 w 6"/>
              <a:gd name="T7" fmla="*/ 2147483647 h 6"/>
              <a:gd name="T8" fmla="*/ 2147483647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6" y="3"/>
                </a:moveTo>
                <a:lnTo>
                  <a:pt x="3" y="0"/>
                </a:lnTo>
                <a:lnTo>
                  <a:pt x="0" y="6"/>
                </a:lnTo>
                <a:lnTo>
                  <a:pt x="3" y="6"/>
                </a:lnTo>
                <a:lnTo>
                  <a:pt x="6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21" name="Freeform 25"/>
          <p:cNvSpPr>
            <a:spLocks/>
          </p:cNvSpPr>
          <p:nvPr/>
        </p:nvSpPr>
        <p:spPr bwMode="gray">
          <a:xfrm>
            <a:off x="9703749" y="2910079"/>
            <a:ext cx="20004" cy="4501"/>
          </a:xfrm>
          <a:custGeom>
            <a:avLst/>
            <a:gdLst>
              <a:gd name="T0" fmla="*/ 2147483647 w 9"/>
              <a:gd name="T1" fmla="*/ 2147483647 h 3"/>
              <a:gd name="T2" fmla="*/ 2147483647 w 9"/>
              <a:gd name="T3" fmla="*/ 2147483647 h 3"/>
              <a:gd name="T4" fmla="*/ 2147483647 w 9"/>
              <a:gd name="T5" fmla="*/ 0 h 3"/>
              <a:gd name="T6" fmla="*/ 2147483647 w 9"/>
              <a:gd name="T7" fmla="*/ 0 h 3"/>
              <a:gd name="T8" fmla="*/ 2147483647 w 9"/>
              <a:gd name="T9" fmla="*/ 0 h 3"/>
              <a:gd name="T10" fmla="*/ 2147483647 w 9"/>
              <a:gd name="T11" fmla="*/ 0 h 3"/>
              <a:gd name="T12" fmla="*/ 2147483647 w 9"/>
              <a:gd name="T13" fmla="*/ 0 h 3"/>
              <a:gd name="T14" fmla="*/ 0 w 9"/>
              <a:gd name="T15" fmla="*/ 2147483647 h 3"/>
              <a:gd name="T16" fmla="*/ 2147483647 w 9"/>
              <a:gd name="T17" fmla="*/ 2147483647 h 3"/>
              <a:gd name="T18" fmla="*/ 2147483647 w 9"/>
              <a:gd name="T19" fmla="*/ 2147483647 h 3"/>
              <a:gd name="T20" fmla="*/ 2147483647 w 9"/>
              <a:gd name="T21" fmla="*/ 2147483647 h 3"/>
              <a:gd name="T22" fmla="*/ 2147483647 w 9"/>
              <a:gd name="T23" fmla="*/ 2147483647 h 3"/>
              <a:gd name="T24" fmla="*/ 2147483647 w 9"/>
              <a:gd name="T25" fmla="*/ 2147483647 h 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9"/>
              <a:gd name="T40" fmla="*/ 0 h 3"/>
              <a:gd name="T41" fmla="*/ 9 w 9"/>
              <a:gd name="T42" fmla="*/ 3 h 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9" h="3">
                <a:moveTo>
                  <a:pt x="9" y="3"/>
                </a:moveTo>
                <a:lnTo>
                  <a:pt x="9" y="3"/>
                </a:ln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lnTo>
                  <a:pt x="3" y="3"/>
                </a:lnTo>
                <a:lnTo>
                  <a:pt x="6" y="3"/>
                </a:lnTo>
                <a:lnTo>
                  <a:pt x="9" y="3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22" name="Freeform 26"/>
          <p:cNvSpPr>
            <a:spLocks/>
          </p:cNvSpPr>
          <p:nvPr/>
        </p:nvSpPr>
        <p:spPr bwMode="gray">
          <a:xfrm>
            <a:off x="9653739" y="3493595"/>
            <a:ext cx="6002" cy="4500"/>
          </a:xfrm>
          <a:custGeom>
            <a:avLst/>
            <a:gdLst>
              <a:gd name="T0" fmla="*/ 2147483647 w 3"/>
              <a:gd name="T1" fmla="*/ 0 h 3"/>
              <a:gd name="T2" fmla="*/ 0 w 3"/>
              <a:gd name="T3" fmla="*/ 0 h 3"/>
              <a:gd name="T4" fmla="*/ 0 w 3"/>
              <a:gd name="T5" fmla="*/ 2147483647 h 3"/>
              <a:gd name="T6" fmla="*/ 0 w 3"/>
              <a:gd name="T7" fmla="*/ 0 h 3"/>
              <a:gd name="T8" fmla="*/ 2147483647 w 3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3" y="0"/>
                </a:move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23" name="Freeform 27"/>
          <p:cNvSpPr>
            <a:spLocks/>
          </p:cNvSpPr>
          <p:nvPr/>
        </p:nvSpPr>
        <p:spPr bwMode="gray">
          <a:xfrm>
            <a:off x="9617732" y="3477095"/>
            <a:ext cx="24004" cy="51001"/>
          </a:xfrm>
          <a:custGeom>
            <a:avLst/>
            <a:gdLst>
              <a:gd name="T0" fmla="*/ 2147483647 w 12"/>
              <a:gd name="T1" fmla="*/ 2147483647 h 34"/>
              <a:gd name="T2" fmla="*/ 2147483647 w 12"/>
              <a:gd name="T3" fmla="*/ 2147483647 h 34"/>
              <a:gd name="T4" fmla="*/ 2147483647 w 12"/>
              <a:gd name="T5" fmla="*/ 2147483647 h 34"/>
              <a:gd name="T6" fmla="*/ 2147483647 w 12"/>
              <a:gd name="T7" fmla="*/ 2147483647 h 34"/>
              <a:gd name="T8" fmla="*/ 2147483647 w 12"/>
              <a:gd name="T9" fmla="*/ 2147483647 h 34"/>
              <a:gd name="T10" fmla="*/ 2147483647 w 12"/>
              <a:gd name="T11" fmla="*/ 2147483647 h 34"/>
              <a:gd name="T12" fmla="*/ 2147483647 w 12"/>
              <a:gd name="T13" fmla="*/ 2147483647 h 34"/>
              <a:gd name="T14" fmla="*/ 2147483647 w 12"/>
              <a:gd name="T15" fmla="*/ 2147483647 h 34"/>
              <a:gd name="T16" fmla="*/ 2147483647 w 12"/>
              <a:gd name="T17" fmla="*/ 0 h 34"/>
              <a:gd name="T18" fmla="*/ 2147483647 w 12"/>
              <a:gd name="T19" fmla="*/ 0 h 34"/>
              <a:gd name="T20" fmla="*/ 2147483647 w 12"/>
              <a:gd name="T21" fmla="*/ 2147483647 h 34"/>
              <a:gd name="T22" fmla="*/ 2147483647 w 12"/>
              <a:gd name="T23" fmla="*/ 2147483647 h 34"/>
              <a:gd name="T24" fmla="*/ 2147483647 w 12"/>
              <a:gd name="T25" fmla="*/ 2147483647 h 34"/>
              <a:gd name="T26" fmla="*/ 2147483647 w 12"/>
              <a:gd name="T27" fmla="*/ 2147483647 h 34"/>
              <a:gd name="T28" fmla="*/ 2147483647 w 12"/>
              <a:gd name="T29" fmla="*/ 2147483647 h 34"/>
              <a:gd name="T30" fmla="*/ 2147483647 w 12"/>
              <a:gd name="T31" fmla="*/ 2147483647 h 34"/>
              <a:gd name="T32" fmla="*/ 2147483647 w 12"/>
              <a:gd name="T33" fmla="*/ 2147483647 h 34"/>
              <a:gd name="T34" fmla="*/ 0 w 12"/>
              <a:gd name="T35" fmla="*/ 2147483647 h 34"/>
              <a:gd name="T36" fmla="*/ 2147483647 w 12"/>
              <a:gd name="T37" fmla="*/ 2147483647 h 34"/>
              <a:gd name="T38" fmla="*/ 2147483647 w 12"/>
              <a:gd name="T39" fmla="*/ 2147483647 h 34"/>
              <a:gd name="T40" fmla="*/ 2147483647 w 12"/>
              <a:gd name="T41" fmla="*/ 2147483647 h 34"/>
              <a:gd name="T42" fmla="*/ 2147483647 w 12"/>
              <a:gd name="T43" fmla="*/ 2147483647 h 34"/>
              <a:gd name="T44" fmla="*/ 2147483647 w 12"/>
              <a:gd name="T45" fmla="*/ 2147483647 h 34"/>
              <a:gd name="T46" fmla="*/ 2147483647 w 12"/>
              <a:gd name="T47" fmla="*/ 2147483647 h 34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2"/>
              <a:gd name="T73" fmla="*/ 0 h 34"/>
              <a:gd name="T74" fmla="*/ 12 w 12"/>
              <a:gd name="T75" fmla="*/ 34 h 34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2" h="34">
                <a:moveTo>
                  <a:pt x="6" y="25"/>
                </a:moveTo>
                <a:lnTo>
                  <a:pt x="6" y="25"/>
                </a:lnTo>
                <a:lnTo>
                  <a:pt x="12" y="20"/>
                </a:lnTo>
                <a:lnTo>
                  <a:pt x="12" y="17"/>
                </a:lnTo>
                <a:lnTo>
                  <a:pt x="12" y="11"/>
                </a:lnTo>
                <a:lnTo>
                  <a:pt x="12" y="5"/>
                </a:lnTo>
                <a:lnTo>
                  <a:pt x="12" y="0"/>
                </a:lnTo>
                <a:lnTo>
                  <a:pt x="9" y="2"/>
                </a:lnTo>
                <a:lnTo>
                  <a:pt x="6" y="11"/>
                </a:lnTo>
                <a:lnTo>
                  <a:pt x="6" y="17"/>
                </a:lnTo>
                <a:lnTo>
                  <a:pt x="3" y="25"/>
                </a:lnTo>
                <a:lnTo>
                  <a:pt x="3" y="31"/>
                </a:lnTo>
                <a:lnTo>
                  <a:pt x="0" y="31"/>
                </a:lnTo>
                <a:lnTo>
                  <a:pt x="3" y="34"/>
                </a:lnTo>
                <a:lnTo>
                  <a:pt x="6" y="31"/>
                </a:lnTo>
                <a:lnTo>
                  <a:pt x="6" y="28"/>
                </a:lnTo>
                <a:lnTo>
                  <a:pt x="6" y="2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24" name="Freeform 28"/>
          <p:cNvSpPr>
            <a:spLocks/>
          </p:cNvSpPr>
          <p:nvPr/>
        </p:nvSpPr>
        <p:spPr bwMode="gray">
          <a:xfrm>
            <a:off x="9663742" y="3532596"/>
            <a:ext cx="12002" cy="9000"/>
          </a:xfrm>
          <a:custGeom>
            <a:avLst/>
            <a:gdLst>
              <a:gd name="T0" fmla="*/ 0 w 6"/>
              <a:gd name="T1" fmla="*/ 2147483647 h 6"/>
              <a:gd name="T2" fmla="*/ 2147483647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0" y="3"/>
                </a:moveTo>
                <a:lnTo>
                  <a:pt x="3" y="6"/>
                </a:lnTo>
                <a:lnTo>
                  <a:pt x="6" y="3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25" name="Freeform 29"/>
          <p:cNvSpPr>
            <a:spLocks/>
          </p:cNvSpPr>
          <p:nvPr/>
        </p:nvSpPr>
        <p:spPr bwMode="gray">
          <a:xfrm>
            <a:off x="9635737" y="3507095"/>
            <a:ext cx="28005" cy="16501"/>
          </a:xfrm>
          <a:custGeom>
            <a:avLst/>
            <a:gdLst>
              <a:gd name="T0" fmla="*/ 2147483647 w 14"/>
              <a:gd name="T1" fmla="*/ 2147483647 h 11"/>
              <a:gd name="T2" fmla="*/ 2147483647 w 14"/>
              <a:gd name="T3" fmla="*/ 2147483647 h 11"/>
              <a:gd name="T4" fmla="*/ 2147483647 w 14"/>
              <a:gd name="T5" fmla="*/ 2147483647 h 11"/>
              <a:gd name="T6" fmla="*/ 2147483647 w 14"/>
              <a:gd name="T7" fmla="*/ 2147483647 h 11"/>
              <a:gd name="T8" fmla="*/ 2147483647 w 14"/>
              <a:gd name="T9" fmla="*/ 2147483647 h 11"/>
              <a:gd name="T10" fmla="*/ 2147483647 w 14"/>
              <a:gd name="T11" fmla="*/ 2147483647 h 11"/>
              <a:gd name="T12" fmla="*/ 2147483647 w 14"/>
              <a:gd name="T13" fmla="*/ 2147483647 h 11"/>
              <a:gd name="T14" fmla="*/ 2147483647 w 14"/>
              <a:gd name="T15" fmla="*/ 2147483647 h 11"/>
              <a:gd name="T16" fmla="*/ 2147483647 w 14"/>
              <a:gd name="T17" fmla="*/ 0 h 11"/>
              <a:gd name="T18" fmla="*/ 2147483647 w 14"/>
              <a:gd name="T19" fmla="*/ 0 h 11"/>
              <a:gd name="T20" fmla="*/ 2147483647 w 14"/>
              <a:gd name="T21" fmla="*/ 2147483647 h 11"/>
              <a:gd name="T22" fmla="*/ 2147483647 w 14"/>
              <a:gd name="T23" fmla="*/ 2147483647 h 11"/>
              <a:gd name="T24" fmla="*/ 0 w 14"/>
              <a:gd name="T25" fmla="*/ 2147483647 h 11"/>
              <a:gd name="T26" fmla="*/ 0 w 14"/>
              <a:gd name="T27" fmla="*/ 2147483647 h 11"/>
              <a:gd name="T28" fmla="*/ 0 w 14"/>
              <a:gd name="T29" fmla="*/ 2147483647 h 11"/>
              <a:gd name="T30" fmla="*/ 0 w 14"/>
              <a:gd name="T31" fmla="*/ 2147483647 h 11"/>
              <a:gd name="T32" fmla="*/ 2147483647 w 14"/>
              <a:gd name="T33" fmla="*/ 2147483647 h 11"/>
              <a:gd name="T34" fmla="*/ 2147483647 w 14"/>
              <a:gd name="T35" fmla="*/ 2147483647 h 11"/>
              <a:gd name="T36" fmla="*/ 2147483647 w 14"/>
              <a:gd name="T37" fmla="*/ 2147483647 h 11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4"/>
              <a:gd name="T58" fmla="*/ 0 h 11"/>
              <a:gd name="T59" fmla="*/ 14 w 14"/>
              <a:gd name="T60" fmla="*/ 11 h 11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4" h="11">
                <a:moveTo>
                  <a:pt x="9" y="11"/>
                </a:moveTo>
                <a:lnTo>
                  <a:pt x="9" y="11"/>
                </a:lnTo>
                <a:lnTo>
                  <a:pt x="12" y="11"/>
                </a:lnTo>
                <a:lnTo>
                  <a:pt x="14" y="8"/>
                </a:lnTo>
                <a:lnTo>
                  <a:pt x="14" y="5"/>
                </a:lnTo>
                <a:lnTo>
                  <a:pt x="12" y="3"/>
                </a:lnTo>
                <a:lnTo>
                  <a:pt x="9" y="0"/>
                </a:lnTo>
                <a:lnTo>
                  <a:pt x="3" y="5"/>
                </a:lnTo>
                <a:lnTo>
                  <a:pt x="0" y="8"/>
                </a:lnTo>
                <a:lnTo>
                  <a:pt x="0" y="11"/>
                </a:lnTo>
                <a:lnTo>
                  <a:pt x="3" y="11"/>
                </a:lnTo>
                <a:lnTo>
                  <a:pt x="9" y="1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26" name="Freeform 30"/>
          <p:cNvSpPr>
            <a:spLocks/>
          </p:cNvSpPr>
          <p:nvPr/>
        </p:nvSpPr>
        <p:spPr bwMode="gray">
          <a:xfrm>
            <a:off x="9629735" y="3532596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0 h 6"/>
              <a:gd name="T4" fmla="*/ 0 w 6"/>
              <a:gd name="T5" fmla="*/ 2147483647 h 6"/>
              <a:gd name="T6" fmla="*/ 2147483647 w 6"/>
              <a:gd name="T7" fmla="*/ 2147483647 h 6"/>
              <a:gd name="T8" fmla="*/ 2147483647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6" y="3"/>
                </a:move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lnTo>
                  <a:pt x="6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27" name="Freeform 31"/>
          <p:cNvSpPr>
            <a:spLocks/>
          </p:cNvSpPr>
          <p:nvPr/>
        </p:nvSpPr>
        <p:spPr bwMode="gray">
          <a:xfrm>
            <a:off x="9589727" y="3484595"/>
            <a:ext cx="34007" cy="57002"/>
          </a:xfrm>
          <a:custGeom>
            <a:avLst/>
            <a:gdLst>
              <a:gd name="T0" fmla="*/ 2147483647 w 17"/>
              <a:gd name="T1" fmla="*/ 2147483647 h 38"/>
              <a:gd name="T2" fmla="*/ 2147483647 w 17"/>
              <a:gd name="T3" fmla="*/ 2147483647 h 38"/>
              <a:gd name="T4" fmla="*/ 2147483647 w 17"/>
              <a:gd name="T5" fmla="*/ 2147483647 h 38"/>
              <a:gd name="T6" fmla="*/ 2147483647 w 17"/>
              <a:gd name="T7" fmla="*/ 2147483647 h 38"/>
              <a:gd name="T8" fmla="*/ 2147483647 w 17"/>
              <a:gd name="T9" fmla="*/ 2147483647 h 38"/>
              <a:gd name="T10" fmla="*/ 2147483647 w 17"/>
              <a:gd name="T11" fmla="*/ 2147483647 h 38"/>
              <a:gd name="T12" fmla="*/ 2147483647 w 17"/>
              <a:gd name="T13" fmla="*/ 2147483647 h 38"/>
              <a:gd name="T14" fmla="*/ 2147483647 w 17"/>
              <a:gd name="T15" fmla="*/ 2147483647 h 38"/>
              <a:gd name="T16" fmla="*/ 2147483647 w 17"/>
              <a:gd name="T17" fmla="*/ 2147483647 h 38"/>
              <a:gd name="T18" fmla="*/ 2147483647 w 17"/>
              <a:gd name="T19" fmla="*/ 2147483647 h 38"/>
              <a:gd name="T20" fmla="*/ 2147483647 w 17"/>
              <a:gd name="T21" fmla="*/ 2147483647 h 38"/>
              <a:gd name="T22" fmla="*/ 2147483647 w 17"/>
              <a:gd name="T23" fmla="*/ 0 h 38"/>
              <a:gd name="T24" fmla="*/ 2147483647 w 17"/>
              <a:gd name="T25" fmla="*/ 0 h 38"/>
              <a:gd name="T26" fmla="*/ 2147483647 w 17"/>
              <a:gd name="T27" fmla="*/ 0 h 38"/>
              <a:gd name="T28" fmla="*/ 2147483647 w 17"/>
              <a:gd name="T29" fmla="*/ 0 h 38"/>
              <a:gd name="T30" fmla="*/ 2147483647 w 17"/>
              <a:gd name="T31" fmla="*/ 0 h 38"/>
              <a:gd name="T32" fmla="*/ 2147483647 w 17"/>
              <a:gd name="T33" fmla="*/ 0 h 38"/>
              <a:gd name="T34" fmla="*/ 2147483647 w 17"/>
              <a:gd name="T35" fmla="*/ 2147483647 h 38"/>
              <a:gd name="T36" fmla="*/ 2147483647 w 17"/>
              <a:gd name="T37" fmla="*/ 2147483647 h 38"/>
              <a:gd name="T38" fmla="*/ 2147483647 w 17"/>
              <a:gd name="T39" fmla="*/ 2147483647 h 38"/>
              <a:gd name="T40" fmla="*/ 2147483647 w 17"/>
              <a:gd name="T41" fmla="*/ 2147483647 h 38"/>
              <a:gd name="T42" fmla="*/ 2147483647 w 17"/>
              <a:gd name="T43" fmla="*/ 2147483647 h 38"/>
              <a:gd name="T44" fmla="*/ 2147483647 w 17"/>
              <a:gd name="T45" fmla="*/ 2147483647 h 38"/>
              <a:gd name="T46" fmla="*/ 0 w 17"/>
              <a:gd name="T47" fmla="*/ 2147483647 h 38"/>
              <a:gd name="T48" fmla="*/ 0 w 17"/>
              <a:gd name="T49" fmla="*/ 2147483647 h 38"/>
              <a:gd name="T50" fmla="*/ 0 w 17"/>
              <a:gd name="T51" fmla="*/ 2147483647 h 38"/>
              <a:gd name="T52" fmla="*/ 2147483647 w 17"/>
              <a:gd name="T53" fmla="*/ 2147483647 h 38"/>
              <a:gd name="T54" fmla="*/ 2147483647 w 17"/>
              <a:gd name="T55" fmla="*/ 2147483647 h 38"/>
              <a:gd name="T56" fmla="*/ 2147483647 w 17"/>
              <a:gd name="T57" fmla="*/ 2147483647 h 38"/>
              <a:gd name="T58" fmla="*/ 2147483647 w 17"/>
              <a:gd name="T59" fmla="*/ 2147483647 h 38"/>
              <a:gd name="T60" fmla="*/ 2147483647 w 17"/>
              <a:gd name="T61" fmla="*/ 2147483647 h 38"/>
              <a:gd name="T62" fmla="*/ 2147483647 w 17"/>
              <a:gd name="T63" fmla="*/ 2147483647 h 38"/>
              <a:gd name="T64" fmla="*/ 2147483647 w 17"/>
              <a:gd name="T65" fmla="*/ 2147483647 h 38"/>
              <a:gd name="T66" fmla="*/ 2147483647 w 17"/>
              <a:gd name="T67" fmla="*/ 2147483647 h 38"/>
              <a:gd name="T68" fmla="*/ 2147483647 w 17"/>
              <a:gd name="T69" fmla="*/ 2147483647 h 38"/>
              <a:gd name="T70" fmla="*/ 2147483647 w 17"/>
              <a:gd name="T71" fmla="*/ 2147483647 h 38"/>
              <a:gd name="T72" fmla="*/ 2147483647 w 17"/>
              <a:gd name="T73" fmla="*/ 2147483647 h 38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17"/>
              <a:gd name="T112" fmla="*/ 0 h 38"/>
              <a:gd name="T113" fmla="*/ 17 w 17"/>
              <a:gd name="T114" fmla="*/ 38 h 38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17" h="38">
                <a:moveTo>
                  <a:pt x="12" y="38"/>
                </a:moveTo>
                <a:lnTo>
                  <a:pt x="12" y="38"/>
                </a:lnTo>
                <a:lnTo>
                  <a:pt x="17" y="32"/>
                </a:lnTo>
                <a:lnTo>
                  <a:pt x="14" y="29"/>
                </a:lnTo>
                <a:lnTo>
                  <a:pt x="12" y="26"/>
                </a:lnTo>
                <a:lnTo>
                  <a:pt x="12" y="20"/>
                </a:lnTo>
                <a:lnTo>
                  <a:pt x="17" y="6"/>
                </a:lnTo>
                <a:lnTo>
                  <a:pt x="17" y="0"/>
                </a:lnTo>
                <a:lnTo>
                  <a:pt x="12" y="0"/>
                </a:lnTo>
                <a:lnTo>
                  <a:pt x="9" y="0"/>
                </a:lnTo>
                <a:lnTo>
                  <a:pt x="9" y="6"/>
                </a:lnTo>
                <a:lnTo>
                  <a:pt x="9" y="12"/>
                </a:lnTo>
                <a:lnTo>
                  <a:pt x="6" y="18"/>
                </a:lnTo>
                <a:lnTo>
                  <a:pt x="3" y="18"/>
                </a:lnTo>
                <a:lnTo>
                  <a:pt x="0" y="18"/>
                </a:lnTo>
                <a:lnTo>
                  <a:pt x="0" y="20"/>
                </a:lnTo>
                <a:lnTo>
                  <a:pt x="3" y="29"/>
                </a:lnTo>
                <a:lnTo>
                  <a:pt x="6" y="32"/>
                </a:lnTo>
                <a:lnTo>
                  <a:pt x="9" y="32"/>
                </a:lnTo>
                <a:lnTo>
                  <a:pt x="12" y="35"/>
                </a:lnTo>
                <a:lnTo>
                  <a:pt x="12" y="3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28" name="Freeform 32"/>
          <p:cNvSpPr>
            <a:spLocks/>
          </p:cNvSpPr>
          <p:nvPr/>
        </p:nvSpPr>
        <p:spPr bwMode="gray">
          <a:xfrm>
            <a:off x="9607732" y="3432093"/>
            <a:ext cx="34005" cy="31501"/>
          </a:xfrm>
          <a:custGeom>
            <a:avLst/>
            <a:gdLst>
              <a:gd name="T0" fmla="*/ 2147483647 w 17"/>
              <a:gd name="T1" fmla="*/ 0 h 20"/>
              <a:gd name="T2" fmla="*/ 2147483647 w 17"/>
              <a:gd name="T3" fmla="*/ 0 h 20"/>
              <a:gd name="T4" fmla="*/ 2147483647 w 17"/>
              <a:gd name="T5" fmla="*/ 2147483647 h 20"/>
              <a:gd name="T6" fmla="*/ 2147483647 w 17"/>
              <a:gd name="T7" fmla="*/ 2147483647 h 20"/>
              <a:gd name="T8" fmla="*/ 2147483647 w 17"/>
              <a:gd name="T9" fmla="*/ 2147483647 h 20"/>
              <a:gd name="T10" fmla="*/ 2147483647 w 17"/>
              <a:gd name="T11" fmla="*/ 2147483647 h 20"/>
              <a:gd name="T12" fmla="*/ 0 w 17"/>
              <a:gd name="T13" fmla="*/ 2147483647 h 20"/>
              <a:gd name="T14" fmla="*/ 0 w 17"/>
              <a:gd name="T15" fmla="*/ 2147483647 h 20"/>
              <a:gd name="T16" fmla="*/ 0 w 17"/>
              <a:gd name="T17" fmla="*/ 2147483647 h 20"/>
              <a:gd name="T18" fmla="*/ 0 w 17"/>
              <a:gd name="T19" fmla="*/ 2147483647 h 20"/>
              <a:gd name="T20" fmla="*/ 0 w 17"/>
              <a:gd name="T21" fmla="*/ 2147483647 h 20"/>
              <a:gd name="T22" fmla="*/ 0 w 17"/>
              <a:gd name="T23" fmla="*/ 2147483647 h 20"/>
              <a:gd name="T24" fmla="*/ 0 w 17"/>
              <a:gd name="T25" fmla="*/ 2147483647 h 20"/>
              <a:gd name="T26" fmla="*/ 2147483647 w 17"/>
              <a:gd name="T27" fmla="*/ 2147483647 h 20"/>
              <a:gd name="T28" fmla="*/ 2147483647 w 17"/>
              <a:gd name="T29" fmla="*/ 2147483647 h 20"/>
              <a:gd name="T30" fmla="*/ 2147483647 w 17"/>
              <a:gd name="T31" fmla="*/ 2147483647 h 20"/>
              <a:gd name="T32" fmla="*/ 2147483647 w 17"/>
              <a:gd name="T33" fmla="*/ 2147483647 h 20"/>
              <a:gd name="T34" fmla="*/ 2147483647 w 17"/>
              <a:gd name="T35" fmla="*/ 2147483647 h 20"/>
              <a:gd name="T36" fmla="*/ 2147483647 w 17"/>
              <a:gd name="T37" fmla="*/ 2147483647 h 20"/>
              <a:gd name="T38" fmla="*/ 2147483647 w 17"/>
              <a:gd name="T39" fmla="*/ 2147483647 h 20"/>
              <a:gd name="T40" fmla="*/ 2147483647 w 17"/>
              <a:gd name="T41" fmla="*/ 2147483647 h 20"/>
              <a:gd name="T42" fmla="*/ 2147483647 w 17"/>
              <a:gd name="T43" fmla="*/ 2147483647 h 20"/>
              <a:gd name="T44" fmla="*/ 2147483647 w 17"/>
              <a:gd name="T45" fmla="*/ 2147483647 h 20"/>
              <a:gd name="T46" fmla="*/ 2147483647 w 17"/>
              <a:gd name="T47" fmla="*/ 2147483647 h 20"/>
              <a:gd name="T48" fmla="*/ 2147483647 w 17"/>
              <a:gd name="T49" fmla="*/ 2147483647 h 20"/>
              <a:gd name="T50" fmla="*/ 2147483647 w 17"/>
              <a:gd name="T51" fmla="*/ 2147483647 h 20"/>
              <a:gd name="T52" fmla="*/ 2147483647 w 17"/>
              <a:gd name="T53" fmla="*/ 2147483647 h 20"/>
              <a:gd name="T54" fmla="*/ 2147483647 w 17"/>
              <a:gd name="T55" fmla="*/ 2147483647 h 20"/>
              <a:gd name="T56" fmla="*/ 2147483647 w 17"/>
              <a:gd name="T57" fmla="*/ 2147483647 h 20"/>
              <a:gd name="T58" fmla="*/ 2147483647 w 17"/>
              <a:gd name="T59" fmla="*/ 0 h 20"/>
              <a:gd name="T60" fmla="*/ 2147483647 w 17"/>
              <a:gd name="T61" fmla="*/ 0 h 20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17"/>
              <a:gd name="T94" fmla="*/ 0 h 20"/>
              <a:gd name="T95" fmla="*/ 17 w 17"/>
              <a:gd name="T96" fmla="*/ 20 h 20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17" h="20">
                <a:moveTo>
                  <a:pt x="8" y="0"/>
                </a:moveTo>
                <a:lnTo>
                  <a:pt x="8" y="0"/>
                </a:lnTo>
                <a:lnTo>
                  <a:pt x="5" y="3"/>
                </a:lnTo>
                <a:lnTo>
                  <a:pt x="5" y="6"/>
                </a:lnTo>
                <a:lnTo>
                  <a:pt x="3" y="6"/>
                </a:lnTo>
                <a:lnTo>
                  <a:pt x="0" y="3"/>
                </a:lnTo>
                <a:lnTo>
                  <a:pt x="0" y="11"/>
                </a:lnTo>
                <a:lnTo>
                  <a:pt x="0" y="14"/>
                </a:lnTo>
                <a:lnTo>
                  <a:pt x="0" y="17"/>
                </a:lnTo>
                <a:lnTo>
                  <a:pt x="3" y="14"/>
                </a:lnTo>
                <a:lnTo>
                  <a:pt x="5" y="11"/>
                </a:lnTo>
                <a:lnTo>
                  <a:pt x="8" y="14"/>
                </a:lnTo>
                <a:lnTo>
                  <a:pt x="11" y="17"/>
                </a:lnTo>
                <a:lnTo>
                  <a:pt x="17" y="20"/>
                </a:lnTo>
                <a:lnTo>
                  <a:pt x="17" y="17"/>
                </a:lnTo>
                <a:lnTo>
                  <a:pt x="11" y="8"/>
                </a:lnTo>
                <a:lnTo>
                  <a:pt x="8" y="3"/>
                </a:lnTo>
                <a:lnTo>
                  <a:pt x="8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29" name="Rectangle 33"/>
          <p:cNvSpPr>
            <a:spLocks noChangeArrowheads="1"/>
          </p:cNvSpPr>
          <p:nvPr/>
        </p:nvSpPr>
        <p:spPr bwMode="gray">
          <a:xfrm>
            <a:off x="9623734" y="3477094"/>
            <a:ext cx="6000" cy="3000"/>
          </a:xfrm>
          <a:prstGeom prst="rect">
            <a:avLst/>
          </a:pr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30" name="Rectangle 34"/>
          <p:cNvSpPr>
            <a:spLocks noChangeArrowheads="1"/>
          </p:cNvSpPr>
          <p:nvPr/>
        </p:nvSpPr>
        <p:spPr bwMode="gray">
          <a:xfrm>
            <a:off x="9681744" y="3511596"/>
            <a:ext cx="6002" cy="3000"/>
          </a:xfrm>
          <a:prstGeom prst="rect">
            <a:avLst/>
          </a:pr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31" name="Freeform 35"/>
          <p:cNvSpPr>
            <a:spLocks/>
          </p:cNvSpPr>
          <p:nvPr/>
        </p:nvSpPr>
        <p:spPr bwMode="gray">
          <a:xfrm>
            <a:off x="9489709" y="3445594"/>
            <a:ext cx="20004" cy="18000"/>
          </a:xfrm>
          <a:custGeom>
            <a:avLst/>
            <a:gdLst>
              <a:gd name="T0" fmla="*/ 0 w 9"/>
              <a:gd name="T1" fmla="*/ 2147483647 h 12"/>
              <a:gd name="T2" fmla="*/ 0 w 9"/>
              <a:gd name="T3" fmla="*/ 2147483647 h 12"/>
              <a:gd name="T4" fmla="*/ 2147483647 w 9"/>
              <a:gd name="T5" fmla="*/ 2147483647 h 12"/>
              <a:gd name="T6" fmla="*/ 2147483647 w 9"/>
              <a:gd name="T7" fmla="*/ 2147483647 h 12"/>
              <a:gd name="T8" fmla="*/ 2147483647 w 9"/>
              <a:gd name="T9" fmla="*/ 2147483647 h 12"/>
              <a:gd name="T10" fmla="*/ 2147483647 w 9"/>
              <a:gd name="T11" fmla="*/ 2147483647 h 12"/>
              <a:gd name="T12" fmla="*/ 2147483647 w 9"/>
              <a:gd name="T13" fmla="*/ 0 h 12"/>
              <a:gd name="T14" fmla="*/ 0 w 9"/>
              <a:gd name="T15" fmla="*/ 0 h 12"/>
              <a:gd name="T16" fmla="*/ 0 w 9"/>
              <a:gd name="T17" fmla="*/ 0 h 12"/>
              <a:gd name="T18" fmla="*/ 0 w 9"/>
              <a:gd name="T19" fmla="*/ 0 h 12"/>
              <a:gd name="T20" fmla="*/ 2147483647 w 9"/>
              <a:gd name="T21" fmla="*/ 2147483647 h 12"/>
              <a:gd name="T22" fmla="*/ 2147483647 w 9"/>
              <a:gd name="T23" fmla="*/ 2147483647 h 12"/>
              <a:gd name="T24" fmla="*/ 0 w 9"/>
              <a:gd name="T25" fmla="*/ 2147483647 h 12"/>
              <a:gd name="T26" fmla="*/ 0 w 9"/>
              <a:gd name="T27" fmla="*/ 2147483647 h 12"/>
              <a:gd name="T28" fmla="*/ 0 w 9"/>
              <a:gd name="T29" fmla="*/ 2147483647 h 12"/>
              <a:gd name="T30" fmla="*/ 0 w 9"/>
              <a:gd name="T31" fmla="*/ 2147483647 h 12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9"/>
              <a:gd name="T49" fmla="*/ 0 h 12"/>
              <a:gd name="T50" fmla="*/ 9 w 9"/>
              <a:gd name="T51" fmla="*/ 12 h 12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9" h="12">
                <a:moveTo>
                  <a:pt x="0" y="12"/>
                </a:moveTo>
                <a:lnTo>
                  <a:pt x="0" y="12"/>
                </a:lnTo>
                <a:lnTo>
                  <a:pt x="6" y="12"/>
                </a:lnTo>
                <a:lnTo>
                  <a:pt x="9" y="9"/>
                </a:lnTo>
                <a:lnTo>
                  <a:pt x="9" y="3"/>
                </a:lnTo>
                <a:lnTo>
                  <a:pt x="3" y="0"/>
                </a:lnTo>
                <a:lnTo>
                  <a:pt x="0" y="0"/>
                </a:lnTo>
                <a:lnTo>
                  <a:pt x="3" y="3"/>
                </a:lnTo>
                <a:lnTo>
                  <a:pt x="0" y="9"/>
                </a:lnTo>
                <a:lnTo>
                  <a:pt x="0" y="1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32" name="Freeform 36"/>
          <p:cNvSpPr>
            <a:spLocks/>
          </p:cNvSpPr>
          <p:nvPr/>
        </p:nvSpPr>
        <p:spPr bwMode="gray">
          <a:xfrm>
            <a:off x="9415696" y="3472595"/>
            <a:ext cx="86015" cy="85502"/>
          </a:xfrm>
          <a:custGeom>
            <a:avLst/>
            <a:gdLst>
              <a:gd name="T0" fmla="*/ 2147483647 w 43"/>
              <a:gd name="T1" fmla="*/ 2147483647 h 57"/>
              <a:gd name="T2" fmla="*/ 2147483647 w 43"/>
              <a:gd name="T3" fmla="*/ 2147483647 h 57"/>
              <a:gd name="T4" fmla="*/ 2147483647 w 43"/>
              <a:gd name="T5" fmla="*/ 2147483647 h 57"/>
              <a:gd name="T6" fmla="*/ 2147483647 w 43"/>
              <a:gd name="T7" fmla="*/ 2147483647 h 57"/>
              <a:gd name="T8" fmla="*/ 2147483647 w 43"/>
              <a:gd name="T9" fmla="*/ 2147483647 h 57"/>
              <a:gd name="T10" fmla="*/ 2147483647 w 43"/>
              <a:gd name="T11" fmla="*/ 2147483647 h 57"/>
              <a:gd name="T12" fmla="*/ 2147483647 w 43"/>
              <a:gd name="T13" fmla="*/ 2147483647 h 57"/>
              <a:gd name="T14" fmla="*/ 2147483647 w 43"/>
              <a:gd name="T15" fmla="*/ 2147483647 h 57"/>
              <a:gd name="T16" fmla="*/ 0 w 43"/>
              <a:gd name="T17" fmla="*/ 2147483647 h 57"/>
              <a:gd name="T18" fmla="*/ 0 w 43"/>
              <a:gd name="T19" fmla="*/ 2147483647 h 57"/>
              <a:gd name="T20" fmla="*/ 0 w 43"/>
              <a:gd name="T21" fmla="*/ 2147483647 h 57"/>
              <a:gd name="T22" fmla="*/ 0 w 43"/>
              <a:gd name="T23" fmla="*/ 2147483647 h 57"/>
              <a:gd name="T24" fmla="*/ 2147483647 w 43"/>
              <a:gd name="T25" fmla="*/ 2147483647 h 57"/>
              <a:gd name="T26" fmla="*/ 2147483647 w 43"/>
              <a:gd name="T27" fmla="*/ 2147483647 h 57"/>
              <a:gd name="T28" fmla="*/ 2147483647 w 43"/>
              <a:gd name="T29" fmla="*/ 2147483647 h 57"/>
              <a:gd name="T30" fmla="*/ 2147483647 w 43"/>
              <a:gd name="T31" fmla="*/ 2147483647 h 57"/>
              <a:gd name="T32" fmla="*/ 2147483647 w 43"/>
              <a:gd name="T33" fmla="*/ 2147483647 h 57"/>
              <a:gd name="T34" fmla="*/ 2147483647 w 43"/>
              <a:gd name="T35" fmla="*/ 2147483647 h 57"/>
              <a:gd name="T36" fmla="*/ 2147483647 w 43"/>
              <a:gd name="T37" fmla="*/ 2147483647 h 57"/>
              <a:gd name="T38" fmla="*/ 2147483647 w 43"/>
              <a:gd name="T39" fmla="*/ 2147483647 h 57"/>
              <a:gd name="T40" fmla="*/ 2147483647 w 43"/>
              <a:gd name="T41" fmla="*/ 2147483647 h 57"/>
              <a:gd name="T42" fmla="*/ 2147483647 w 43"/>
              <a:gd name="T43" fmla="*/ 2147483647 h 57"/>
              <a:gd name="T44" fmla="*/ 2147483647 w 43"/>
              <a:gd name="T45" fmla="*/ 2147483647 h 57"/>
              <a:gd name="T46" fmla="*/ 2147483647 w 43"/>
              <a:gd name="T47" fmla="*/ 2147483647 h 57"/>
              <a:gd name="T48" fmla="*/ 2147483647 w 43"/>
              <a:gd name="T49" fmla="*/ 2147483647 h 57"/>
              <a:gd name="T50" fmla="*/ 2147483647 w 43"/>
              <a:gd name="T51" fmla="*/ 2147483647 h 57"/>
              <a:gd name="T52" fmla="*/ 2147483647 w 43"/>
              <a:gd name="T53" fmla="*/ 2147483647 h 57"/>
              <a:gd name="T54" fmla="*/ 2147483647 w 43"/>
              <a:gd name="T55" fmla="*/ 2147483647 h 57"/>
              <a:gd name="T56" fmla="*/ 2147483647 w 43"/>
              <a:gd name="T57" fmla="*/ 2147483647 h 57"/>
              <a:gd name="T58" fmla="*/ 2147483647 w 43"/>
              <a:gd name="T59" fmla="*/ 2147483647 h 57"/>
              <a:gd name="T60" fmla="*/ 2147483647 w 43"/>
              <a:gd name="T61" fmla="*/ 2147483647 h 57"/>
              <a:gd name="T62" fmla="*/ 2147483647 w 43"/>
              <a:gd name="T63" fmla="*/ 0 h 57"/>
              <a:gd name="T64" fmla="*/ 2147483647 w 43"/>
              <a:gd name="T65" fmla="*/ 0 h 57"/>
              <a:gd name="T66" fmla="*/ 2147483647 w 43"/>
              <a:gd name="T67" fmla="*/ 2147483647 h 57"/>
              <a:gd name="T68" fmla="*/ 2147483647 w 43"/>
              <a:gd name="T69" fmla="*/ 2147483647 h 57"/>
              <a:gd name="T70" fmla="*/ 2147483647 w 43"/>
              <a:gd name="T71" fmla="*/ 2147483647 h 57"/>
              <a:gd name="T72" fmla="*/ 2147483647 w 43"/>
              <a:gd name="T73" fmla="*/ 2147483647 h 57"/>
              <a:gd name="T74" fmla="*/ 2147483647 w 43"/>
              <a:gd name="T75" fmla="*/ 2147483647 h 57"/>
              <a:gd name="T76" fmla="*/ 2147483647 w 43"/>
              <a:gd name="T77" fmla="*/ 2147483647 h 57"/>
              <a:gd name="T78" fmla="*/ 2147483647 w 43"/>
              <a:gd name="T79" fmla="*/ 2147483647 h 57"/>
              <a:gd name="T80" fmla="*/ 2147483647 w 43"/>
              <a:gd name="T81" fmla="*/ 2147483647 h 57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43"/>
              <a:gd name="T124" fmla="*/ 0 h 57"/>
              <a:gd name="T125" fmla="*/ 43 w 43"/>
              <a:gd name="T126" fmla="*/ 57 h 57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43" h="57">
                <a:moveTo>
                  <a:pt x="20" y="28"/>
                </a:moveTo>
                <a:lnTo>
                  <a:pt x="20" y="28"/>
                </a:lnTo>
                <a:lnTo>
                  <a:pt x="11" y="40"/>
                </a:lnTo>
                <a:lnTo>
                  <a:pt x="9" y="43"/>
                </a:lnTo>
                <a:lnTo>
                  <a:pt x="3" y="49"/>
                </a:lnTo>
                <a:lnTo>
                  <a:pt x="0" y="54"/>
                </a:lnTo>
                <a:lnTo>
                  <a:pt x="0" y="57"/>
                </a:lnTo>
                <a:lnTo>
                  <a:pt x="3" y="57"/>
                </a:lnTo>
                <a:lnTo>
                  <a:pt x="9" y="51"/>
                </a:lnTo>
                <a:lnTo>
                  <a:pt x="14" y="46"/>
                </a:lnTo>
                <a:lnTo>
                  <a:pt x="17" y="43"/>
                </a:lnTo>
                <a:lnTo>
                  <a:pt x="26" y="28"/>
                </a:lnTo>
                <a:lnTo>
                  <a:pt x="29" y="28"/>
                </a:lnTo>
                <a:lnTo>
                  <a:pt x="32" y="28"/>
                </a:lnTo>
                <a:lnTo>
                  <a:pt x="32" y="20"/>
                </a:lnTo>
                <a:lnTo>
                  <a:pt x="43" y="17"/>
                </a:lnTo>
                <a:lnTo>
                  <a:pt x="43" y="14"/>
                </a:lnTo>
                <a:lnTo>
                  <a:pt x="37" y="14"/>
                </a:lnTo>
                <a:lnTo>
                  <a:pt x="34" y="14"/>
                </a:lnTo>
                <a:lnTo>
                  <a:pt x="34" y="8"/>
                </a:lnTo>
                <a:lnTo>
                  <a:pt x="34" y="3"/>
                </a:lnTo>
                <a:lnTo>
                  <a:pt x="34" y="0"/>
                </a:lnTo>
                <a:lnTo>
                  <a:pt x="32" y="5"/>
                </a:lnTo>
                <a:lnTo>
                  <a:pt x="29" y="11"/>
                </a:lnTo>
                <a:lnTo>
                  <a:pt x="32" y="14"/>
                </a:lnTo>
                <a:lnTo>
                  <a:pt x="29" y="17"/>
                </a:lnTo>
                <a:lnTo>
                  <a:pt x="20" y="2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33" name="Freeform 37"/>
          <p:cNvSpPr>
            <a:spLocks/>
          </p:cNvSpPr>
          <p:nvPr/>
        </p:nvSpPr>
        <p:spPr bwMode="gray">
          <a:xfrm>
            <a:off x="9489710" y="3397593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0 w 6"/>
              <a:gd name="T3" fmla="*/ 0 h 6"/>
              <a:gd name="T4" fmla="*/ 0 w 6"/>
              <a:gd name="T5" fmla="*/ 2147483647 h 6"/>
              <a:gd name="T6" fmla="*/ 2147483647 w 6"/>
              <a:gd name="T7" fmla="*/ 2147483647 h 6"/>
              <a:gd name="T8" fmla="*/ 2147483647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6" y="3"/>
                </a:moveTo>
                <a:lnTo>
                  <a:pt x="0" y="0"/>
                </a:lnTo>
                <a:lnTo>
                  <a:pt x="0" y="6"/>
                </a:lnTo>
                <a:lnTo>
                  <a:pt x="6" y="6"/>
                </a:lnTo>
                <a:lnTo>
                  <a:pt x="6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34" name="Freeform 38"/>
          <p:cNvSpPr>
            <a:spLocks/>
          </p:cNvSpPr>
          <p:nvPr/>
        </p:nvSpPr>
        <p:spPr bwMode="gray">
          <a:xfrm>
            <a:off x="9589727" y="3493595"/>
            <a:ext cx="6002" cy="9000"/>
          </a:xfrm>
          <a:custGeom>
            <a:avLst/>
            <a:gdLst>
              <a:gd name="T0" fmla="*/ 2147483647 w 3"/>
              <a:gd name="T1" fmla="*/ 2147483647 h 6"/>
              <a:gd name="T2" fmla="*/ 2147483647 w 3"/>
              <a:gd name="T3" fmla="*/ 0 h 6"/>
              <a:gd name="T4" fmla="*/ 0 w 3"/>
              <a:gd name="T5" fmla="*/ 0 h 6"/>
              <a:gd name="T6" fmla="*/ 0 w 3"/>
              <a:gd name="T7" fmla="*/ 2147483647 h 6"/>
              <a:gd name="T8" fmla="*/ 2147483647 w 3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3" y="3"/>
                </a:moveTo>
                <a:lnTo>
                  <a:pt x="3" y="0"/>
                </a:lnTo>
                <a:lnTo>
                  <a:pt x="0" y="0"/>
                </a:lnTo>
                <a:lnTo>
                  <a:pt x="0" y="6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35" name="Freeform 39"/>
          <p:cNvSpPr>
            <a:spLocks/>
          </p:cNvSpPr>
          <p:nvPr/>
        </p:nvSpPr>
        <p:spPr bwMode="gray">
          <a:xfrm>
            <a:off x="9335683" y="3193587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0 h 6"/>
              <a:gd name="T4" fmla="*/ 2147483647 w 6"/>
              <a:gd name="T5" fmla="*/ 0 h 6"/>
              <a:gd name="T6" fmla="*/ 0 w 6"/>
              <a:gd name="T7" fmla="*/ 2147483647 h 6"/>
              <a:gd name="T8" fmla="*/ 2147483647 w 6"/>
              <a:gd name="T9" fmla="*/ 2147483647 h 6"/>
              <a:gd name="T10" fmla="*/ 2147483647 w 6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6"/>
              <a:gd name="T20" fmla="*/ 6 w 6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6">
                <a:moveTo>
                  <a:pt x="6" y="6"/>
                </a:move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lnTo>
                  <a:pt x="6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36" name="Freeform 40"/>
          <p:cNvSpPr>
            <a:spLocks/>
          </p:cNvSpPr>
          <p:nvPr/>
        </p:nvSpPr>
        <p:spPr bwMode="gray">
          <a:xfrm>
            <a:off x="9347685" y="3663099"/>
            <a:ext cx="4001" cy="13501"/>
          </a:xfrm>
          <a:custGeom>
            <a:avLst/>
            <a:gdLst>
              <a:gd name="T0" fmla="*/ 2147483647 w 2"/>
              <a:gd name="T1" fmla="*/ 2147483647 h 9"/>
              <a:gd name="T2" fmla="*/ 2147483647 w 2"/>
              <a:gd name="T3" fmla="*/ 2147483647 h 9"/>
              <a:gd name="T4" fmla="*/ 2147483647 w 2"/>
              <a:gd name="T5" fmla="*/ 0 h 9"/>
              <a:gd name="T6" fmla="*/ 2147483647 w 2"/>
              <a:gd name="T7" fmla="*/ 0 h 9"/>
              <a:gd name="T8" fmla="*/ 0 w 2"/>
              <a:gd name="T9" fmla="*/ 0 h 9"/>
              <a:gd name="T10" fmla="*/ 2147483647 w 2"/>
              <a:gd name="T11" fmla="*/ 2147483647 h 9"/>
              <a:gd name="T12" fmla="*/ 2147483647 w 2"/>
              <a:gd name="T13" fmla="*/ 2147483647 h 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"/>
              <a:gd name="T22" fmla="*/ 0 h 9"/>
              <a:gd name="T23" fmla="*/ 2 w 2"/>
              <a:gd name="T24" fmla="*/ 9 h 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" h="9">
                <a:moveTo>
                  <a:pt x="2" y="9"/>
                </a:moveTo>
                <a:lnTo>
                  <a:pt x="2" y="3"/>
                </a:lnTo>
                <a:lnTo>
                  <a:pt x="2" y="0"/>
                </a:lnTo>
                <a:lnTo>
                  <a:pt x="0" y="0"/>
                </a:lnTo>
                <a:lnTo>
                  <a:pt x="2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37" name="Freeform 41"/>
          <p:cNvSpPr>
            <a:spLocks/>
          </p:cNvSpPr>
          <p:nvPr/>
        </p:nvSpPr>
        <p:spPr bwMode="gray">
          <a:xfrm>
            <a:off x="9567724" y="3459093"/>
            <a:ext cx="40007" cy="43502"/>
          </a:xfrm>
          <a:custGeom>
            <a:avLst/>
            <a:gdLst>
              <a:gd name="T0" fmla="*/ 0 w 20"/>
              <a:gd name="T1" fmla="*/ 0 h 29"/>
              <a:gd name="T2" fmla="*/ 0 w 20"/>
              <a:gd name="T3" fmla="*/ 0 h 29"/>
              <a:gd name="T4" fmla="*/ 0 w 20"/>
              <a:gd name="T5" fmla="*/ 0 h 29"/>
              <a:gd name="T6" fmla="*/ 2147483647 w 20"/>
              <a:gd name="T7" fmla="*/ 2147483647 h 29"/>
              <a:gd name="T8" fmla="*/ 2147483647 w 20"/>
              <a:gd name="T9" fmla="*/ 2147483647 h 29"/>
              <a:gd name="T10" fmla="*/ 2147483647 w 20"/>
              <a:gd name="T11" fmla="*/ 2147483647 h 29"/>
              <a:gd name="T12" fmla="*/ 2147483647 w 20"/>
              <a:gd name="T13" fmla="*/ 2147483647 h 29"/>
              <a:gd name="T14" fmla="*/ 2147483647 w 20"/>
              <a:gd name="T15" fmla="*/ 2147483647 h 29"/>
              <a:gd name="T16" fmla="*/ 2147483647 w 20"/>
              <a:gd name="T17" fmla="*/ 2147483647 h 29"/>
              <a:gd name="T18" fmla="*/ 2147483647 w 20"/>
              <a:gd name="T19" fmla="*/ 2147483647 h 29"/>
              <a:gd name="T20" fmla="*/ 2147483647 w 20"/>
              <a:gd name="T21" fmla="*/ 2147483647 h 29"/>
              <a:gd name="T22" fmla="*/ 2147483647 w 20"/>
              <a:gd name="T23" fmla="*/ 2147483647 h 29"/>
              <a:gd name="T24" fmla="*/ 2147483647 w 20"/>
              <a:gd name="T25" fmla="*/ 2147483647 h 29"/>
              <a:gd name="T26" fmla="*/ 2147483647 w 20"/>
              <a:gd name="T27" fmla="*/ 2147483647 h 29"/>
              <a:gd name="T28" fmla="*/ 2147483647 w 20"/>
              <a:gd name="T29" fmla="*/ 2147483647 h 29"/>
              <a:gd name="T30" fmla="*/ 2147483647 w 20"/>
              <a:gd name="T31" fmla="*/ 2147483647 h 29"/>
              <a:gd name="T32" fmla="*/ 2147483647 w 20"/>
              <a:gd name="T33" fmla="*/ 2147483647 h 29"/>
              <a:gd name="T34" fmla="*/ 2147483647 w 20"/>
              <a:gd name="T35" fmla="*/ 2147483647 h 29"/>
              <a:gd name="T36" fmla="*/ 2147483647 w 20"/>
              <a:gd name="T37" fmla="*/ 2147483647 h 29"/>
              <a:gd name="T38" fmla="*/ 2147483647 w 20"/>
              <a:gd name="T39" fmla="*/ 2147483647 h 29"/>
              <a:gd name="T40" fmla="*/ 2147483647 w 20"/>
              <a:gd name="T41" fmla="*/ 2147483647 h 29"/>
              <a:gd name="T42" fmla="*/ 2147483647 w 20"/>
              <a:gd name="T43" fmla="*/ 2147483647 h 29"/>
              <a:gd name="T44" fmla="*/ 2147483647 w 20"/>
              <a:gd name="T45" fmla="*/ 2147483647 h 29"/>
              <a:gd name="T46" fmla="*/ 2147483647 w 20"/>
              <a:gd name="T47" fmla="*/ 0 h 29"/>
              <a:gd name="T48" fmla="*/ 0 w 20"/>
              <a:gd name="T49" fmla="*/ 0 h 29"/>
              <a:gd name="T50" fmla="*/ 0 w 20"/>
              <a:gd name="T51" fmla="*/ 0 h 29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20"/>
              <a:gd name="T79" fmla="*/ 0 h 29"/>
              <a:gd name="T80" fmla="*/ 20 w 20"/>
              <a:gd name="T81" fmla="*/ 29 h 29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20" h="29">
                <a:moveTo>
                  <a:pt x="0" y="0"/>
                </a:moveTo>
                <a:lnTo>
                  <a:pt x="0" y="0"/>
                </a:lnTo>
                <a:lnTo>
                  <a:pt x="2" y="3"/>
                </a:lnTo>
                <a:lnTo>
                  <a:pt x="2" y="6"/>
                </a:lnTo>
                <a:lnTo>
                  <a:pt x="2" y="20"/>
                </a:lnTo>
                <a:lnTo>
                  <a:pt x="2" y="29"/>
                </a:lnTo>
                <a:lnTo>
                  <a:pt x="11" y="23"/>
                </a:lnTo>
                <a:lnTo>
                  <a:pt x="17" y="17"/>
                </a:lnTo>
                <a:lnTo>
                  <a:pt x="20" y="14"/>
                </a:lnTo>
                <a:lnTo>
                  <a:pt x="20" y="9"/>
                </a:lnTo>
                <a:lnTo>
                  <a:pt x="17" y="6"/>
                </a:lnTo>
                <a:lnTo>
                  <a:pt x="11" y="6"/>
                </a:lnTo>
                <a:lnTo>
                  <a:pt x="8" y="6"/>
                </a:lnTo>
                <a:lnTo>
                  <a:pt x="5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38" name="Rectangle 42"/>
          <p:cNvSpPr>
            <a:spLocks noChangeArrowheads="1"/>
          </p:cNvSpPr>
          <p:nvPr/>
        </p:nvSpPr>
        <p:spPr bwMode="gray">
          <a:xfrm>
            <a:off x="9663741" y="2871078"/>
            <a:ext cx="6000" cy="4501"/>
          </a:xfrm>
          <a:prstGeom prst="rect">
            <a:avLst/>
          </a:pr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39" name="Rectangle 43"/>
          <p:cNvSpPr>
            <a:spLocks noChangeArrowheads="1"/>
          </p:cNvSpPr>
          <p:nvPr/>
        </p:nvSpPr>
        <p:spPr bwMode="gray">
          <a:xfrm>
            <a:off x="9183655" y="3328590"/>
            <a:ext cx="12002" cy="4500"/>
          </a:xfrm>
          <a:prstGeom prst="rect">
            <a:avLst/>
          </a:pr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40" name="Freeform 44"/>
          <p:cNvSpPr>
            <a:spLocks/>
          </p:cNvSpPr>
          <p:nvPr/>
        </p:nvSpPr>
        <p:spPr bwMode="gray">
          <a:xfrm>
            <a:off x="9577725" y="3436594"/>
            <a:ext cx="18004" cy="9000"/>
          </a:xfrm>
          <a:custGeom>
            <a:avLst/>
            <a:gdLst>
              <a:gd name="T0" fmla="*/ 2147483647 w 9"/>
              <a:gd name="T1" fmla="*/ 2147483647 h 5"/>
              <a:gd name="T2" fmla="*/ 2147483647 w 9"/>
              <a:gd name="T3" fmla="*/ 2147483647 h 5"/>
              <a:gd name="T4" fmla="*/ 2147483647 w 9"/>
              <a:gd name="T5" fmla="*/ 0 h 5"/>
              <a:gd name="T6" fmla="*/ 2147483647 w 9"/>
              <a:gd name="T7" fmla="*/ 0 h 5"/>
              <a:gd name="T8" fmla="*/ 2147483647 w 9"/>
              <a:gd name="T9" fmla="*/ 2147483647 h 5"/>
              <a:gd name="T10" fmla="*/ 2147483647 w 9"/>
              <a:gd name="T11" fmla="*/ 2147483647 h 5"/>
              <a:gd name="T12" fmla="*/ 0 w 9"/>
              <a:gd name="T13" fmla="*/ 2147483647 h 5"/>
              <a:gd name="T14" fmla="*/ 2147483647 w 9"/>
              <a:gd name="T15" fmla="*/ 2147483647 h 5"/>
              <a:gd name="T16" fmla="*/ 2147483647 w 9"/>
              <a:gd name="T17" fmla="*/ 2147483647 h 5"/>
              <a:gd name="T18" fmla="*/ 2147483647 w 9"/>
              <a:gd name="T19" fmla="*/ 2147483647 h 5"/>
              <a:gd name="T20" fmla="*/ 2147483647 w 9"/>
              <a:gd name="T21" fmla="*/ 2147483647 h 5"/>
              <a:gd name="T22" fmla="*/ 2147483647 w 9"/>
              <a:gd name="T23" fmla="*/ 2147483647 h 5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9"/>
              <a:gd name="T37" fmla="*/ 0 h 5"/>
              <a:gd name="T38" fmla="*/ 9 w 9"/>
              <a:gd name="T39" fmla="*/ 5 h 5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9" h="5">
                <a:moveTo>
                  <a:pt x="9" y="3"/>
                </a:moveTo>
                <a:lnTo>
                  <a:pt x="9" y="3"/>
                </a:lnTo>
                <a:lnTo>
                  <a:pt x="6" y="0"/>
                </a:lnTo>
                <a:lnTo>
                  <a:pt x="3" y="0"/>
                </a:lnTo>
                <a:lnTo>
                  <a:pt x="3" y="3"/>
                </a:lnTo>
                <a:lnTo>
                  <a:pt x="0" y="3"/>
                </a:lnTo>
                <a:lnTo>
                  <a:pt x="3" y="5"/>
                </a:lnTo>
                <a:lnTo>
                  <a:pt x="6" y="5"/>
                </a:lnTo>
                <a:lnTo>
                  <a:pt x="9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41" name="Freeform 45"/>
          <p:cNvSpPr>
            <a:spLocks/>
          </p:cNvSpPr>
          <p:nvPr/>
        </p:nvSpPr>
        <p:spPr bwMode="gray">
          <a:xfrm>
            <a:off x="9641737" y="3436594"/>
            <a:ext cx="62012" cy="75002"/>
          </a:xfrm>
          <a:custGeom>
            <a:avLst/>
            <a:gdLst>
              <a:gd name="T0" fmla="*/ 2147483647 w 31"/>
              <a:gd name="T1" fmla="*/ 0 h 49"/>
              <a:gd name="T2" fmla="*/ 2147483647 w 31"/>
              <a:gd name="T3" fmla="*/ 0 h 49"/>
              <a:gd name="T4" fmla="*/ 0 w 31"/>
              <a:gd name="T5" fmla="*/ 2147483647 h 49"/>
              <a:gd name="T6" fmla="*/ 0 w 31"/>
              <a:gd name="T7" fmla="*/ 2147483647 h 49"/>
              <a:gd name="T8" fmla="*/ 2147483647 w 31"/>
              <a:gd name="T9" fmla="*/ 2147483647 h 49"/>
              <a:gd name="T10" fmla="*/ 2147483647 w 31"/>
              <a:gd name="T11" fmla="*/ 2147483647 h 49"/>
              <a:gd name="T12" fmla="*/ 2147483647 w 31"/>
              <a:gd name="T13" fmla="*/ 2147483647 h 49"/>
              <a:gd name="T14" fmla="*/ 2147483647 w 31"/>
              <a:gd name="T15" fmla="*/ 2147483647 h 49"/>
              <a:gd name="T16" fmla="*/ 2147483647 w 31"/>
              <a:gd name="T17" fmla="*/ 2147483647 h 49"/>
              <a:gd name="T18" fmla="*/ 2147483647 w 31"/>
              <a:gd name="T19" fmla="*/ 2147483647 h 49"/>
              <a:gd name="T20" fmla="*/ 2147483647 w 31"/>
              <a:gd name="T21" fmla="*/ 2147483647 h 49"/>
              <a:gd name="T22" fmla="*/ 2147483647 w 31"/>
              <a:gd name="T23" fmla="*/ 2147483647 h 49"/>
              <a:gd name="T24" fmla="*/ 2147483647 w 31"/>
              <a:gd name="T25" fmla="*/ 2147483647 h 49"/>
              <a:gd name="T26" fmla="*/ 2147483647 w 31"/>
              <a:gd name="T27" fmla="*/ 2147483647 h 49"/>
              <a:gd name="T28" fmla="*/ 2147483647 w 31"/>
              <a:gd name="T29" fmla="*/ 2147483647 h 49"/>
              <a:gd name="T30" fmla="*/ 2147483647 w 31"/>
              <a:gd name="T31" fmla="*/ 2147483647 h 49"/>
              <a:gd name="T32" fmla="*/ 2147483647 w 31"/>
              <a:gd name="T33" fmla="*/ 2147483647 h 49"/>
              <a:gd name="T34" fmla="*/ 2147483647 w 31"/>
              <a:gd name="T35" fmla="*/ 2147483647 h 49"/>
              <a:gd name="T36" fmla="*/ 2147483647 w 31"/>
              <a:gd name="T37" fmla="*/ 2147483647 h 49"/>
              <a:gd name="T38" fmla="*/ 2147483647 w 31"/>
              <a:gd name="T39" fmla="*/ 2147483647 h 49"/>
              <a:gd name="T40" fmla="*/ 2147483647 w 31"/>
              <a:gd name="T41" fmla="*/ 2147483647 h 49"/>
              <a:gd name="T42" fmla="*/ 2147483647 w 31"/>
              <a:gd name="T43" fmla="*/ 2147483647 h 49"/>
              <a:gd name="T44" fmla="*/ 2147483647 w 31"/>
              <a:gd name="T45" fmla="*/ 2147483647 h 49"/>
              <a:gd name="T46" fmla="*/ 2147483647 w 31"/>
              <a:gd name="T47" fmla="*/ 2147483647 h 49"/>
              <a:gd name="T48" fmla="*/ 2147483647 w 31"/>
              <a:gd name="T49" fmla="*/ 2147483647 h 49"/>
              <a:gd name="T50" fmla="*/ 2147483647 w 31"/>
              <a:gd name="T51" fmla="*/ 2147483647 h 49"/>
              <a:gd name="T52" fmla="*/ 2147483647 w 31"/>
              <a:gd name="T53" fmla="*/ 2147483647 h 49"/>
              <a:gd name="T54" fmla="*/ 2147483647 w 31"/>
              <a:gd name="T55" fmla="*/ 2147483647 h 49"/>
              <a:gd name="T56" fmla="*/ 2147483647 w 31"/>
              <a:gd name="T57" fmla="*/ 2147483647 h 49"/>
              <a:gd name="T58" fmla="*/ 2147483647 w 31"/>
              <a:gd name="T59" fmla="*/ 2147483647 h 49"/>
              <a:gd name="T60" fmla="*/ 2147483647 w 31"/>
              <a:gd name="T61" fmla="*/ 2147483647 h 49"/>
              <a:gd name="T62" fmla="*/ 2147483647 w 31"/>
              <a:gd name="T63" fmla="*/ 2147483647 h 49"/>
              <a:gd name="T64" fmla="*/ 2147483647 w 31"/>
              <a:gd name="T65" fmla="*/ 2147483647 h 49"/>
              <a:gd name="T66" fmla="*/ 2147483647 w 31"/>
              <a:gd name="T67" fmla="*/ 2147483647 h 49"/>
              <a:gd name="T68" fmla="*/ 2147483647 w 31"/>
              <a:gd name="T69" fmla="*/ 2147483647 h 49"/>
              <a:gd name="T70" fmla="*/ 2147483647 w 31"/>
              <a:gd name="T71" fmla="*/ 2147483647 h 49"/>
              <a:gd name="T72" fmla="*/ 2147483647 w 31"/>
              <a:gd name="T73" fmla="*/ 2147483647 h 49"/>
              <a:gd name="T74" fmla="*/ 2147483647 w 31"/>
              <a:gd name="T75" fmla="*/ 2147483647 h 49"/>
              <a:gd name="T76" fmla="*/ 2147483647 w 31"/>
              <a:gd name="T77" fmla="*/ 2147483647 h 49"/>
              <a:gd name="T78" fmla="*/ 2147483647 w 31"/>
              <a:gd name="T79" fmla="*/ 2147483647 h 49"/>
              <a:gd name="T80" fmla="*/ 2147483647 w 31"/>
              <a:gd name="T81" fmla="*/ 2147483647 h 49"/>
              <a:gd name="T82" fmla="*/ 2147483647 w 31"/>
              <a:gd name="T83" fmla="*/ 2147483647 h 49"/>
              <a:gd name="T84" fmla="*/ 2147483647 w 31"/>
              <a:gd name="T85" fmla="*/ 2147483647 h 49"/>
              <a:gd name="T86" fmla="*/ 2147483647 w 31"/>
              <a:gd name="T87" fmla="*/ 2147483647 h 49"/>
              <a:gd name="T88" fmla="*/ 2147483647 w 31"/>
              <a:gd name="T89" fmla="*/ 2147483647 h 49"/>
              <a:gd name="T90" fmla="*/ 2147483647 w 31"/>
              <a:gd name="T91" fmla="*/ 2147483647 h 49"/>
              <a:gd name="T92" fmla="*/ 2147483647 w 31"/>
              <a:gd name="T93" fmla="*/ 2147483647 h 49"/>
              <a:gd name="T94" fmla="*/ 2147483647 w 31"/>
              <a:gd name="T95" fmla="*/ 0 h 49"/>
              <a:gd name="T96" fmla="*/ 2147483647 w 31"/>
              <a:gd name="T97" fmla="*/ 0 h 49"/>
              <a:gd name="T98" fmla="*/ 2147483647 w 31"/>
              <a:gd name="T99" fmla="*/ 0 h 49"/>
              <a:gd name="T100" fmla="*/ 2147483647 w 31"/>
              <a:gd name="T101" fmla="*/ 0 h 49"/>
              <a:gd name="T102" fmla="*/ 2147483647 w 31"/>
              <a:gd name="T103" fmla="*/ 0 h 49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31"/>
              <a:gd name="T157" fmla="*/ 0 h 49"/>
              <a:gd name="T158" fmla="*/ 31 w 31"/>
              <a:gd name="T159" fmla="*/ 49 h 49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31" h="49">
                <a:moveTo>
                  <a:pt x="3" y="0"/>
                </a:moveTo>
                <a:lnTo>
                  <a:pt x="3" y="0"/>
                </a:lnTo>
                <a:lnTo>
                  <a:pt x="0" y="3"/>
                </a:lnTo>
                <a:lnTo>
                  <a:pt x="0" y="5"/>
                </a:lnTo>
                <a:lnTo>
                  <a:pt x="6" y="8"/>
                </a:lnTo>
                <a:lnTo>
                  <a:pt x="11" y="14"/>
                </a:lnTo>
                <a:lnTo>
                  <a:pt x="11" y="20"/>
                </a:lnTo>
                <a:lnTo>
                  <a:pt x="11" y="23"/>
                </a:lnTo>
                <a:lnTo>
                  <a:pt x="9" y="26"/>
                </a:lnTo>
                <a:lnTo>
                  <a:pt x="9" y="23"/>
                </a:lnTo>
                <a:lnTo>
                  <a:pt x="9" y="20"/>
                </a:lnTo>
                <a:lnTo>
                  <a:pt x="6" y="17"/>
                </a:lnTo>
                <a:lnTo>
                  <a:pt x="3" y="20"/>
                </a:lnTo>
                <a:lnTo>
                  <a:pt x="3" y="26"/>
                </a:lnTo>
                <a:lnTo>
                  <a:pt x="6" y="31"/>
                </a:lnTo>
                <a:lnTo>
                  <a:pt x="9" y="31"/>
                </a:lnTo>
                <a:lnTo>
                  <a:pt x="11" y="34"/>
                </a:lnTo>
                <a:lnTo>
                  <a:pt x="14" y="49"/>
                </a:lnTo>
                <a:lnTo>
                  <a:pt x="17" y="49"/>
                </a:lnTo>
                <a:lnTo>
                  <a:pt x="20" y="43"/>
                </a:lnTo>
                <a:lnTo>
                  <a:pt x="23" y="43"/>
                </a:lnTo>
                <a:lnTo>
                  <a:pt x="17" y="37"/>
                </a:lnTo>
                <a:lnTo>
                  <a:pt x="14" y="28"/>
                </a:lnTo>
                <a:lnTo>
                  <a:pt x="26" y="31"/>
                </a:lnTo>
                <a:lnTo>
                  <a:pt x="31" y="31"/>
                </a:lnTo>
                <a:lnTo>
                  <a:pt x="29" y="28"/>
                </a:lnTo>
                <a:lnTo>
                  <a:pt x="26" y="20"/>
                </a:lnTo>
                <a:lnTo>
                  <a:pt x="26" y="11"/>
                </a:lnTo>
                <a:lnTo>
                  <a:pt x="23" y="5"/>
                </a:lnTo>
                <a:lnTo>
                  <a:pt x="20" y="0"/>
                </a:lnTo>
                <a:lnTo>
                  <a:pt x="14" y="0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42" name="Freeform 46"/>
          <p:cNvSpPr>
            <a:spLocks/>
          </p:cNvSpPr>
          <p:nvPr/>
        </p:nvSpPr>
        <p:spPr bwMode="gray">
          <a:xfrm>
            <a:off x="9183655" y="3303089"/>
            <a:ext cx="24004" cy="7501"/>
          </a:xfrm>
          <a:custGeom>
            <a:avLst/>
            <a:gdLst>
              <a:gd name="T0" fmla="*/ 2147483647 w 12"/>
              <a:gd name="T1" fmla="*/ 2147483647 h 5"/>
              <a:gd name="T2" fmla="*/ 2147483647 w 12"/>
              <a:gd name="T3" fmla="*/ 2147483647 h 5"/>
              <a:gd name="T4" fmla="*/ 2147483647 w 12"/>
              <a:gd name="T5" fmla="*/ 0 h 5"/>
              <a:gd name="T6" fmla="*/ 0 w 12"/>
              <a:gd name="T7" fmla="*/ 0 h 5"/>
              <a:gd name="T8" fmla="*/ 2147483647 w 12"/>
              <a:gd name="T9" fmla="*/ 2147483647 h 5"/>
              <a:gd name="T10" fmla="*/ 2147483647 w 12"/>
              <a:gd name="T11" fmla="*/ 2147483647 h 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"/>
              <a:gd name="T19" fmla="*/ 0 h 5"/>
              <a:gd name="T20" fmla="*/ 12 w 12"/>
              <a:gd name="T21" fmla="*/ 5 h 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" h="5">
                <a:moveTo>
                  <a:pt x="9" y="5"/>
                </a:moveTo>
                <a:lnTo>
                  <a:pt x="12" y="3"/>
                </a:lnTo>
                <a:lnTo>
                  <a:pt x="9" y="0"/>
                </a:lnTo>
                <a:lnTo>
                  <a:pt x="0" y="0"/>
                </a:lnTo>
                <a:lnTo>
                  <a:pt x="6" y="3"/>
                </a:lnTo>
                <a:lnTo>
                  <a:pt x="9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43" name="Freeform 47"/>
          <p:cNvSpPr>
            <a:spLocks/>
          </p:cNvSpPr>
          <p:nvPr/>
        </p:nvSpPr>
        <p:spPr bwMode="gray">
          <a:xfrm>
            <a:off x="9629734" y="3393092"/>
            <a:ext cx="18004" cy="16501"/>
          </a:xfrm>
          <a:custGeom>
            <a:avLst/>
            <a:gdLst>
              <a:gd name="T0" fmla="*/ 0 w 9"/>
              <a:gd name="T1" fmla="*/ 2147483647 h 11"/>
              <a:gd name="T2" fmla="*/ 0 w 9"/>
              <a:gd name="T3" fmla="*/ 2147483647 h 11"/>
              <a:gd name="T4" fmla="*/ 2147483647 w 9"/>
              <a:gd name="T5" fmla="*/ 2147483647 h 11"/>
              <a:gd name="T6" fmla="*/ 2147483647 w 9"/>
              <a:gd name="T7" fmla="*/ 2147483647 h 11"/>
              <a:gd name="T8" fmla="*/ 2147483647 w 9"/>
              <a:gd name="T9" fmla="*/ 2147483647 h 11"/>
              <a:gd name="T10" fmla="*/ 2147483647 w 9"/>
              <a:gd name="T11" fmla="*/ 2147483647 h 11"/>
              <a:gd name="T12" fmla="*/ 2147483647 w 9"/>
              <a:gd name="T13" fmla="*/ 0 h 11"/>
              <a:gd name="T14" fmla="*/ 0 w 9"/>
              <a:gd name="T15" fmla="*/ 0 h 11"/>
              <a:gd name="T16" fmla="*/ 0 w 9"/>
              <a:gd name="T17" fmla="*/ 0 h 11"/>
              <a:gd name="T18" fmla="*/ 0 w 9"/>
              <a:gd name="T19" fmla="*/ 2147483647 h 11"/>
              <a:gd name="T20" fmla="*/ 0 w 9"/>
              <a:gd name="T21" fmla="*/ 2147483647 h 11"/>
              <a:gd name="T22" fmla="*/ 0 w 9"/>
              <a:gd name="T23" fmla="*/ 2147483647 h 11"/>
              <a:gd name="T24" fmla="*/ 0 w 9"/>
              <a:gd name="T25" fmla="*/ 2147483647 h 1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9"/>
              <a:gd name="T40" fmla="*/ 0 h 11"/>
              <a:gd name="T41" fmla="*/ 9 w 9"/>
              <a:gd name="T42" fmla="*/ 11 h 11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9" h="11">
                <a:moveTo>
                  <a:pt x="0" y="9"/>
                </a:moveTo>
                <a:lnTo>
                  <a:pt x="0" y="9"/>
                </a:lnTo>
                <a:lnTo>
                  <a:pt x="6" y="11"/>
                </a:lnTo>
                <a:lnTo>
                  <a:pt x="9" y="9"/>
                </a:ln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lnTo>
                  <a:pt x="0" y="6"/>
                </a:lnTo>
                <a:lnTo>
                  <a:pt x="0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44" name="Freeform 48"/>
          <p:cNvSpPr>
            <a:spLocks/>
          </p:cNvSpPr>
          <p:nvPr/>
        </p:nvSpPr>
        <p:spPr bwMode="gray">
          <a:xfrm>
            <a:off x="9207660" y="3307590"/>
            <a:ext cx="10001" cy="7500"/>
          </a:xfrm>
          <a:custGeom>
            <a:avLst/>
            <a:gdLst>
              <a:gd name="T0" fmla="*/ 2147483647 w 5"/>
              <a:gd name="T1" fmla="*/ 2147483647 h 5"/>
              <a:gd name="T2" fmla="*/ 0 w 5"/>
              <a:gd name="T3" fmla="*/ 2147483647 h 5"/>
              <a:gd name="T4" fmla="*/ 2147483647 w 5"/>
              <a:gd name="T5" fmla="*/ 2147483647 h 5"/>
              <a:gd name="T6" fmla="*/ 2147483647 w 5"/>
              <a:gd name="T7" fmla="*/ 2147483647 h 5"/>
              <a:gd name="T8" fmla="*/ 2147483647 w 5"/>
              <a:gd name="T9" fmla="*/ 0 h 5"/>
              <a:gd name="T10" fmla="*/ 2147483647 w 5"/>
              <a:gd name="T11" fmla="*/ 2147483647 h 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"/>
              <a:gd name="T19" fmla="*/ 0 h 5"/>
              <a:gd name="T20" fmla="*/ 5 w 5"/>
              <a:gd name="T21" fmla="*/ 5 h 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" h="5">
                <a:moveTo>
                  <a:pt x="2" y="5"/>
                </a:moveTo>
                <a:lnTo>
                  <a:pt x="0" y="5"/>
                </a:lnTo>
                <a:lnTo>
                  <a:pt x="5" y="5"/>
                </a:lnTo>
                <a:lnTo>
                  <a:pt x="5" y="2"/>
                </a:lnTo>
                <a:lnTo>
                  <a:pt x="2" y="0"/>
                </a:lnTo>
                <a:lnTo>
                  <a:pt x="2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45" name="Freeform 49"/>
          <p:cNvSpPr>
            <a:spLocks/>
          </p:cNvSpPr>
          <p:nvPr/>
        </p:nvSpPr>
        <p:spPr bwMode="gray">
          <a:xfrm>
            <a:off x="9509713" y="3232588"/>
            <a:ext cx="6002" cy="9000"/>
          </a:xfrm>
          <a:custGeom>
            <a:avLst/>
            <a:gdLst>
              <a:gd name="T0" fmla="*/ 0 w 3"/>
              <a:gd name="T1" fmla="*/ 2147483647 h 6"/>
              <a:gd name="T2" fmla="*/ 2147483647 w 3"/>
              <a:gd name="T3" fmla="*/ 2147483647 h 6"/>
              <a:gd name="T4" fmla="*/ 2147483647 w 3"/>
              <a:gd name="T5" fmla="*/ 2147483647 h 6"/>
              <a:gd name="T6" fmla="*/ 0 w 3"/>
              <a:gd name="T7" fmla="*/ 0 h 6"/>
              <a:gd name="T8" fmla="*/ 0 w 3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0" y="6"/>
                </a:moveTo>
                <a:lnTo>
                  <a:pt x="3" y="6"/>
                </a:lnTo>
                <a:lnTo>
                  <a:pt x="3" y="3"/>
                </a:lnTo>
                <a:lnTo>
                  <a:pt x="0" y="0"/>
                </a:lnTo>
                <a:lnTo>
                  <a:pt x="0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46" name="Freeform 50"/>
          <p:cNvSpPr>
            <a:spLocks/>
          </p:cNvSpPr>
          <p:nvPr/>
        </p:nvSpPr>
        <p:spPr bwMode="gray">
          <a:xfrm>
            <a:off x="9515715" y="3202587"/>
            <a:ext cx="6000" cy="7500"/>
          </a:xfrm>
          <a:custGeom>
            <a:avLst/>
            <a:gdLst>
              <a:gd name="T0" fmla="*/ 2147483647 w 3"/>
              <a:gd name="T1" fmla="*/ 0 h 5"/>
              <a:gd name="T2" fmla="*/ 0 w 3"/>
              <a:gd name="T3" fmla="*/ 2147483647 h 5"/>
              <a:gd name="T4" fmla="*/ 0 w 3"/>
              <a:gd name="T5" fmla="*/ 2147483647 h 5"/>
              <a:gd name="T6" fmla="*/ 2147483647 w 3"/>
              <a:gd name="T7" fmla="*/ 2147483647 h 5"/>
              <a:gd name="T8" fmla="*/ 2147483647 w 3"/>
              <a:gd name="T9" fmla="*/ 0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5"/>
              <a:gd name="T17" fmla="*/ 3 w 3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5">
                <a:moveTo>
                  <a:pt x="3" y="0"/>
                </a:moveTo>
                <a:lnTo>
                  <a:pt x="0" y="3"/>
                </a:lnTo>
                <a:lnTo>
                  <a:pt x="0" y="5"/>
                </a:lnTo>
                <a:lnTo>
                  <a:pt x="3" y="5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47" name="Rectangle 51"/>
          <p:cNvSpPr>
            <a:spLocks noChangeArrowheads="1"/>
          </p:cNvSpPr>
          <p:nvPr/>
        </p:nvSpPr>
        <p:spPr bwMode="gray">
          <a:xfrm>
            <a:off x="9509713" y="3249088"/>
            <a:ext cx="6002" cy="4501"/>
          </a:xfrm>
          <a:prstGeom prst="rect">
            <a:avLst/>
          </a:pr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48" name="Freeform 52"/>
          <p:cNvSpPr>
            <a:spLocks/>
          </p:cNvSpPr>
          <p:nvPr/>
        </p:nvSpPr>
        <p:spPr bwMode="gray">
          <a:xfrm>
            <a:off x="9495711" y="3244588"/>
            <a:ext cx="14002" cy="4500"/>
          </a:xfrm>
          <a:custGeom>
            <a:avLst/>
            <a:gdLst>
              <a:gd name="T0" fmla="*/ 0 w 6"/>
              <a:gd name="T1" fmla="*/ 2147483647 h 3"/>
              <a:gd name="T2" fmla="*/ 2147483647 w 6"/>
              <a:gd name="T3" fmla="*/ 0 h 3"/>
              <a:gd name="T4" fmla="*/ 2147483647 w 6"/>
              <a:gd name="T5" fmla="*/ 0 h 3"/>
              <a:gd name="T6" fmla="*/ 2147483647 w 6"/>
              <a:gd name="T7" fmla="*/ 0 h 3"/>
              <a:gd name="T8" fmla="*/ 0 w 6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0" y="3"/>
                </a:move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49" name="Freeform 53"/>
          <p:cNvSpPr>
            <a:spLocks/>
          </p:cNvSpPr>
          <p:nvPr/>
        </p:nvSpPr>
        <p:spPr bwMode="gray">
          <a:xfrm>
            <a:off x="9473706" y="3258089"/>
            <a:ext cx="162030" cy="178505"/>
          </a:xfrm>
          <a:custGeom>
            <a:avLst/>
            <a:gdLst>
              <a:gd name="T0" fmla="*/ 2147483647 w 80"/>
              <a:gd name="T1" fmla="*/ 2147483647 h 118"/>
              <a:gd name="T2" fmla="*/ 2147483647 w 80"/>
              <a:gd name="T3" fmla="*/ 2147483647 h 118"/>
              <a:gd name="T4" fmla="*/ 2147483647 w 80"/>
              <a:gd name="T5" fmla="*/ 2147483647 h 118"/>
              <a:gd name="T6" fmla="*/ 2147483647 w 80"/>
              <a:gd name="T7" fmla="*/ 2147483647 h 118"/>
              <a:gd name="T8" fmla="*/ 2147483647 w 80"/>
              <a:gd name="T9" fmla="*/ 2147483647 h 118"/>
              <a:gd name="T10" fmla="*/ 2147483647 w 80"/>
              <a:gd name="T11" fmla="*/ 2147483647 h 118"/>
              <a:gd name="T12" fmla="*/ 2147483647 w 80"/>
              <a:gd name="T13" fmla="*/ 2147483647 h 118"/>
              <a:gd name="T14" fmla="*/ 2147483647 w 80"/>
              <a:gd name="T15" fmla="*/ 2147483647 h 118"/>
              <a:gd name="T16" fmla="*/ 2147483647 w 80"/>
              <a:gd name="T17" fmla="*/ 2147483647 h 118"/>
              <a:gd name="T18" fmla="*/ 2147483647 w 80"/>
              <a:gd name="T19" fmla="*/ 2147483647 h 118"/>
              <a:gd name="T20" fmla="*/ 2147483647 w 80"/>
              <a:gd name="T21" fmla="*/ 2147483647 h 118"/>
              <a:gd name="T22" fmla="*/ 2147483647 w 80"/>
              <a:gd name="T23" fmla="*/ 2147483647 h 118"/>
              <a:gd name="T24" fmla="*/ 2147483647 w 80"/>
              <a:gd name="T25" fmla="*/ 2147483647 h 118"/>
              <a:gd name="T26" fmla="*/ 2147483647 w 80"/>
              <a:gd name="T27" fmla="*/ 2147483647 h 118"/>
              <a:gd name="T28" fmla="*/ 2147483647 w 80"/>
              <a:gd name="T29" fmla="*/ 2147483647 h 118"/>
              <a:gd name="T30" fmla="*/ 2147483647 w 80"/>
              <a:gd name="T31" fmla="*/ 0 h 118"/>
              <a:gd name="T32" fmla="*/ 2147483647 w 80"/>
              <a:gd name="T33" fmla="*/ 2147483647 h 118"/>
              <a:gd name="T34" fmla="*/ 2147483647 w 80"/>
              <a:gd name="T35" fmla="*/ 2147483647 h 118"/>
              <a:gd name="T36" fmla="*/ 2147483647 w 80"/>
              <a:gd name="T37" fmla="*/ 2147483647 h 118"/>
              <a:gd name="T38" fmla="*/ 2147483647 w 80"/>
              <a:gd name="T39" fmla="*/ 2147483647 h 118"/>
              <a:gd name="T40" fmla="*/ 2147483647 w 80"/>
              <a:gd name="T41" fmla="*/ 2147483647 h 118"/>
              <a:gd name="T42" fmla="*/ 2147483647 w 80"/>
              <a:gd name="T43" fmla="*/ 2147483647 h 118"/>
              <a:gd name="T44" fmla="*/ 0 w 80"/>
              <a:gd name="T45" fmla="*/ 2147483647 h 118"/>
              <a:gd name="T46" fmla="*/ 0 w 80"/>
              <a:gd name="T47" fmla="*/ 2147483647 h 118"/>
              <a:gd name="T48" fmla="*/ 2147483647 w 80"/>
              <a:gd name="T49" fmla="*/ 2147483647 h 118"/>
              <a:gd name="T50" fmla="*/ 2147483647 w 80"/>
              <a:gd name="T51" fmla="*/ 2147483647 h 118"/>
              <a:gd name="T52" fmla="*/ 2147483647 w 80"/>
              <a:gd name="T53" fmla="*/ 2147483647 h 118"/>
              <a:gd name="T54" fmla="*/ 2147483647 w 80"/>
              <a:gd name="T55" fmla="*/ 2147483647 h 118"/>
              <a:gd name="T56" fmla="*/ 2147483647 w 80"/>
              <a:gd name="T57" fmla="*/ 2147483647 h 118"/>
              <a:gd name="T58" fmla="*/ 2147483647 w 80"/>
              <a:gd name="T59" fmla="*/ 2147483647 h 118"/>
              <a:gd name="T60" fmla="*/ 2147483647 w 80"/>
              <a:gd name="T61" fmla="*/ 2147483647 h 118"/>
              <a:gd name="T62" fmla="*/ 2147483647 w 80"/>
              <a:gd name="T63" fmla="*/ 2147483647 h 118"/>
              <a:gd name="T64" fmla="*/ 2147483647 w 80"/>
              <a:gd name="T65" fmla="*/ 2147483647 h 118"/>
              <a:gd name="T66" fmla="*/ 2147483647 w 80"/>
              <a:gd name="T67" fmla="*/ 2147483647 h 118"/>
              <a:gd name="T68" fmla="*/ 2147483647 w 80"/>
              <a:gd name="T69" fmla="*/ 2147483647 h 118"/>
              <a:gd name="T70" fmla="*/ 2147483647 w 80"/>
              <a:gd name="T71" fmla="*/ 2147483647 h 118"/>
              <a:gd name="T72" fmla="*/ 2147483647 w 80"/>
              <a:gd name="T73" fmla="*/ 2147483647 h 118"/>
              <a:gd name="T74" fmla="*/ 2147483647 w 80"/>
              <a:gd name="T75" fmla="*/ 2147483647 h 118"/>
              <a:gd name="T76" fmla="*/ 2147483647 w 80"/>
              <a:gd name="T77" fmla="*/ 2147483647 h 118"/>
              <a:gd name="T78" fmla="*/ 2147483647 w 80"/>
              <a:gd name="T79" fmla="*/ 2147483647 h 118"/>
              <a:gd name="T80" fmla="*/ 2147483647 w 80"/>
              <a:gd name="T81" fmla="*/ 2147483647 h 118"/>
              <a:gd name="T82" fmla="*/ 2147483647 w 80"/>
              <a:gd name="T83" fmla="*/ 2147483647 h 118"/>
              <a:gd name="T84" fmla="*/ 2147483647 w 80"/>
              <a:gd name="T85" fmla="*/ 2147483647 h 118"/>
              <a:gd name="T86" fmla="*/ 2147483647 w 80"/>
              <a:gd name="T87" fmla="*/ 2147483647 h 118"/>
              <a:gd name="T88" fmla="*/ 2147483647 w 80"/>
              <a:gd name="T89" fmla="*/ 2147483647 h 118"/>
              <a:gd name="T90" fmla="*/ 2147483647 w 80"/>
              <a:gd name="T91" fmla="*/ 2147483647 h 118"/>
              <a:gd name="T92" fmla="*/ 2147483647 w 80"/>
              <a:gd name="T93" fmla="*/ 2147483647 h 118"/>
              <a:gd name="T94" fmla="*/ 2147483647 w 80"/>
              <a:gd name="T95" fmla="*/ 2147483647 h 118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80"/>
              <a:gd name="T145" fmla="*/ 0 h 118"/>
              <a:gd name="T146" fmla="*/ 80 w 80"/>
              <a:gd name="T147" fmla="*/ 118 h 118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80" h="118">
                <a:moveTo>
                  <a:pt x="63" y="86"/>
                </a:moveTo>
                <a:lnTo>
                  <a:pt x="63" y="86"/>
                </a:lnTo>
                <a:lnTo>
                  <a:pt x="63" y="89"/>
                </a:lnTo>
                <a:lnTo>
                  <a:pt x="60" y="89"/>
                </a:lnTo>
                <a:lnTo>
                  <a:pt x="57" y="86"/>
                </a:lnTo>
                <a:lnTo>
                  <a:pt x="54" y="83"/>
                </a:lnTo>
                <a:lnTo>
                  <a:pt x="46" y="83"/>
                </a:lnTo>
                <a:lnTo>
                  <a:pt x="43" y="86"/>
                </a:lnTo>
                <a:lnTo>
                  <a:pt x="40" y="86"/>
                </a:lnTo>
                <a:lnTo>
                  <a:pt x="37" y="86"/>
                </a:lnTo>
                <a:lnTo>
                  <a:pt x="34" y="75"/>
                </a:lnTo>
                <a:lnTo>
                  <a:pt x="31" y="69"/>
                </a:lnTo>
                <a:lnTo>
                  <a:pt x="28" y="60"/>
                </a:lnTo>
                <a:lnTo>
                  <a:pt x="28" y="57"/>
                </a:lnTo>
                <a:lnTo>
                  <a:pt x="28" y="55"/>
                </a:lnTo>
                <a:lnTo>
                  <a:pt x="28" y="52"/>
                </a:lnTo>
                <a:lnTo>
                  <a:pt x="34" y="52"/>
                </a:lnTo>
                <a:lnTo>
                  <a:pt x="37" y="49"/>
                </a:lnTo>
                <a:lnTo>
                  <a:pt x="40" y="43"/>
                </a:lnTo>
                <a:lnTo>
                  <a:pt x="43" y="37"/>
                </a:lnTo>
                <a:lnTo>
                  <a:pt x="43" y="32"/>
                </a:lnTo>
                <a:lnTo>
                  <a:pt x="40" y="26"/>
                </a:lnTo>
                <a:lnTo>
                  <a:pt x="37" y="23"/>
                </a:lnTo>
                <a:lnTo>
                  <a:pt x="34" y="17"/>
                </a:lnTo>
                <a:lnTo>
                  <a:pt x="34" y="6"/>
                </a:lnTo>
                <a:lnTo>
                  <a:pt x="34" y="3"/>
                </a:lnTo>
                <a:lnTo>
                  <a:pt x="31" y="3"/>
                </a:lnTo>
                <a:lnTo>
                  <a:pt x="31" y="6"/>
                </a:lnTo>
                <a:lnTo>
                  <a:pt x="28" y="9"/>
                </a:lnTo>
                <a:lnTo>
                  <a:pt x="23" y="3"/>
                </a:lnTo>
                <a:lnTo>
                  <a:pt x="14" y="0"/>
                </a:lnTo>
                <a:lnTo>
                  <a:pt x="8" y="0"/>
                </a:lnTo>
                <a:lnTo>
                  <a:pt x="5" y="3"/>
                </a:lnTo>
                <a:lnTo>
                  <a:pt x="5" y="17"/>
                </a:lnTo>
                <a:lnTo>
                  <a:pt x="5" y="23"/>
                </a:lnTo>
                <a:lnTo>
                  <a:pt x="5" y="29"/>
                </a:lnTo>
                <a:lnTo>
                  <a:pt x="5" y="34"/>
                </a:lnTo>
                <a:lnTo>
                  <a:pt x="5" y="43"/>
                </a:lnTo>
                <a:lnTo>
                  <a:pt x="11" y="46"/>
                </a:lnTo>
                <a:lnTo>
                  <a:pt x="11" y="49"/>
                </a:lnTo>
                <a:lnTo>
                  <a:pt x="8" y="49"/>
                </a:lnTo>
                <a:lnTo>
                  <a:pt x="5" y="49"/>
                </a:lnTo>
                <a:lnTo>
                  <a:pt x="0" y="46"/>
                </a:lnTo>
                <a:lnTo>
                  <a:pt x="0" y="43"/>
                </a:lnTo>
                <a:lnTo>
                  <a:pt x="0" y="46"/>
                </a:lnTo>
                <a:lnTo>
                  <a:pt x="0" y="55"/>
                </a:lnTo>
                <a:lnTo>
                  <a:pt x="3" y="57"/>
                </a:lnTo>
                <a:lnTo>
                  <a:pt x="3" y="63"/>
                </a:lnTo>
                <a:lnTo>
                  <a:pt x="5" y="66"/>
                </a:lnTo>
                <a:lnTo>
                  <a:pt x="8" y="69"/>
                </a:lnTo>
                <a:lnTo>
                  <a:pt x="5" y="72"/>
                </a:lnTo>
                <a:lnTo>
                  <a:pt x="5" y="75"/>
                </a:lnTo>
                <a:lnTo>
                  <a:pt x="11" y="78"/>
                </a:lnTo>
                <a:lnTo>
                  <a:pt x="11" y="80"/>
                </a:lnTo>
                <a:lnTo>
                  <a:pt x="14" y="83"/>
                </a:lnTo>
                <a:lnTo>
                  <a:pt x="17" y="78"/>
                </a:lnTo>
                <a:lnTo>
                  <a:pt x="17" y="75"/>
                </a:lnTo>
                <a:lnTo>
                  <a:pt x="20" y="78"/>
                </a:lnTo>
                <a:lnTo>
                  <a:pt x="20" y="83"/>
                </a:lnTo>
                <a:lnTo>
                  <a:pt x="17" y="86"/>
                </a:lnTo>
                <a:lnTo>
                  <a:pt x="23" y="95"/>
                </a:lnTo>
                <a:lnTo>
                  <a:pt x="31" y="98"/>
                </a:lnTo>
                <a:lnTo>
                  <a:pt x="34" y="92"/>
                </a:lnTo>
                <a:lnTo>
                  <a:pt x="37" y="89"/>
                </a:lnTo>
                <a:lnTo>
                  <a:pt x="46" y="98"/>
                </a:lnTo>
                <a:lnTo>
                  <a:pt x="54" y="106"/>
                </a:lnTo>
                <a:lnTo>
                  <a:pt x="54" y="103"/>
                </a:lnTo>
                <a:lnTo>
                  <a:pt x="51" y="95"/>
                </a:lnTo>
                <a:lnTo>
                  <a:pt x="51" y="92"/>
                </a:lnTo>
                <a:lnTo>
                  <a:pt x="57" y="98"/>
                </a:lnTo>
                <a:lnTo>
                  <a:pt x="60" y="100"/>
                </a:lnTo>
                <a:lnTo>
                  <a:pt x="66" y="106"/>
                </a:lnTo>
                <a:lnTo>
                  <a:pt x="69" y="109"/>
                </a:lnTo>
                <a:lnTo>
                  <a:pt x="71" y="112"/>
                </a:lnTo>
                <a:lnTo>
                  <a:pt x="74" y="112"/>
                </a:lnTo>
                <a:lnTo>
                  <a:pt x="77" y="115"/>
                </a:lnTo>
                <a:lnTo>
                  <a:pt x="80" y="118"/>
                </a:lnTo>
                <a:lnTo>
                  <a:pt x="80" y="115"/>
                </a:lnTo>
                <a:lnTo>
                  <a:pt x="80" y="112"/>
                </a:lnTo>
                <a:lnTo>
                  <a:pt x="80" y="106"/>
                </a:lnTo>
                <a:lnTo>
                  <a:pt x="80" y="103"/>
                </a:lnTo>
                <a:lnTo>
                  <a:pt x="71" y="100"/>
                </a:lnTo>
                <a:lnTo>
                  <a:pt x="69" y="98"/>
                </a:lnTo>
                <a:lnTo>
                  <a:pt x="69" y="95"/>
                </a:lnTo>
                <a:lnTo>
                  <a:pt x="74" y="95"/>
                </a:lnTo>
                <a:lnTo>
                  <a:pt x="71" y="92"/>
                </a:lnTo>
                <a:lnTo>
                  <a:pt x="66" y="89"/>
                </a:lnTo>
                <a:lnTo>
                  <a:pt x="63" y="8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50" name="Freeform 54"/>
          <p:cNvSpPr>
            <a:spLocks/>
          </p:cNvSpPr>
          <p:nvPr/>
        </p:nvSpPr>
        <p:spPr bwMode="gray">
          <a:xfrm>
            <a:off x="9723752" y="2898078"/>
            <a:ext cx="6000" cy="12000"/>
          </a:xfrm>
          <a:custGeom>
            <a:avLst/>
            <a:gdLst>
              <a:gd name="T0" fmla="*/ 2147483647 w 3"/>
              <a:gd name="T1" fmla="*/ 2147483647 h 8"/>
              <a:gd name="T2" fmla="*/ 2147483647 w 3"/>
              <a:gd name="T3" fmla="*/ 2147483647 h 8"/>
              <a:gd name="T4" fmla="*/ 2147483647 w 3"/>
              <a:gd name="T5" fmla="*/ 0 h 8"/>
              <a:gd name="T6" fmla="*/ 0 w 3"/>
              <a:gd name="T7" fmla="*/ 0 h 8"/>
              <a:gd name="T8" fmla="*/ 0 w 3"/>
              <a:gd name="T9" fmla="*/ 0 h 8"/>
              <a:gd name="T10" fmla="*/ 0 w 3"/>
              <a:gd name="T11" fmla="*/ 2147483647 h 8"/>
              <a:gd name="T12" fmla="*/ 2147483647 w 3"/>
              <a:gd name="T13" fmla="*/ 2147483647 h 8"/>
              <a:gd name="T14" fmla="*/ 2147483647 w 3"/>
              <a:gd name="T15" fmla="*/ 2147483647 h 8"/>
              <a:gd name="T16" fmla="*/ 2147483647 w 3"/>
              <a:gd name="T17" fmla="*/ 2147483647 h 8"/>
              <a:gd name="T18" fmla="*/ 2147483647 w 3"/>
              <a:gd name="T19" fmla="*/ 2147483647 h 8"/>
              <a:gd name="T20" fmla="*/ 2147483647 w 3"/>
              <a:gd name="T21" fmla="*/ 2147483647 h 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"/>
              <a:gd name="T34" fmla="*/ 0 h 8"/>
              <a:gd name="T35" fmla="*/ 3 w 3"/>
              <a:gd name="T36" fmla="*/ 8 h 8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" h="8">
                <a:moveTo>
                  <a:pt x="3" y="5"/>
                </a:moveTo>
                <a:lnTo>
                  <a:pt x="3" y="5"/>
                </a:lnTo>
                <a:lnTo>
                  <a:pt x="3" y="0"/>
                </a:lnTo>
                <a:lnTo>
                  <a:pt x="0" y="0"/>
                </a:lnTo>
                <a:lnTo>
                  <a:pt x="0" y="5"/>
                </a:lnTo>
                <a:lnTo>
                  <a:pt x="3" y="8"/>
                </a:lnTo>
                <a:lnTo>
                  <a:pt x="3" y="5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51" name="Freeform 55"/>
          <p:cNvSpPr>
            <a:spLocks/>
          </p:cNvSpPr>
          <p:nvPr/>
        </p:nvSpPr>
        <p:spPr bwMode="gray">
          <a:xfrm>
            <a:off x="9555722" y="3406593"/>
            <a:ext cx="12002" cy="12000"/>
          </a:xfrm>
          <a:custGeom>
            <a:avLst/>
            <a:gdLst>
              <a:gd name="T0" fmla="*/ 0 w 6"/>
              <a:gd name="T1" fmla="*/ 2147483647 h 8"/>
              <a:gd name="T2" fmla="*/ 0 w 6"/>
              <a:gd name="T3" fmla="*/ 2147483647 h 8"/>
              <a:gd name="T4" fmla="*/ 2147483647 w 6"/>
              <a:gd name="T5" fmla="*/ 2147483647 h 8"/>
              <a:gd name="T6" fmla="*/ 2147483647 w 6"/>
              <a:gd name="T7" fmla="*/ 0 h 8"/>
              <a:gd name="T8" fmla="*/ 0 w 6"/>
              <a:gd name="T9" fmla="*/ 2147483647 h 8"/>
              <a:gd name="T10" fmla="*/ 0 w 6"/>
              <a:gd name="T11" fmla="*/ 2147483647 h 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8"/>
              <a:gd name="T20" fmla="*/ 6 w 6"/>
              <a:gd name="T21" fmla="*/ 8 h 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8">
                <a:moveTo>
                  <a:pt x="0" y="5"/>
                </a:moveTo>
                <a:lnTo>
                  <a:pt x="0" y="8"/>
                </a:lnTo>
                <a:lnTo>
                  <a:pt x="6" y="5"/>
                </a:lnTo>
                <a:lnTo>
                  <a:pt x="6" y="0"/>
                </a:lnTo>
                <a:lnTo>
                  <a:pt x="0" y="2"/>
                </a:lnTo>
                <a:lnTo>
                  <a:pt x="0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52" name="Freeform 56"/>
          <p:cNvSpPr>
            <a:spLocks/>
          </p:cNvSpPr>
          <p:nvPr/>
        </p:nvSpPr>
        <p:spPr bwMode="gray">
          <a:xfrm>
            <a:off x="9617733" y="2841077"/>
            <a:ext cx="12002" cy="4501"/>
          </a:xfrm>
          <a:custGeom>
            <a:avLst/>
            <a:gdLst>
              <a:gd name="T0" fmla="*/ 0 w 6"/>
              <a:gd name="T1" fmla="*/ 2147483647 h 3"/>
              <a:gd name="T2" fmla="*/ 2147483647 w 6"/>
              <a:gd name="T3" fmla="*/ 0 h 3"/>
              <a:gd name="T4" fmla="*/ 0 w 6"/>
              <a:gd name="T5" fmla="*/ 0 h 3"/>
              <a:gd name="T6" fmla="*/ 0 w 6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3"/>
              <a:gd name="T14" fmla="*/ 6 w 6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3">
                <a:moveTo>
                  <a:pt x="0" y="3"/>
                </a:moveTo>
                <a:lnTo>
                  <a:pt x="6" y="0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53" name="Freeform 57"/>
          <p:cNvSpPr>
            <a:spLocks/>
          </p:cNvSpPr>
          <p:nvPr/>
        </p:nvSpPr>
        <p:spPr bwMode="gray">
          <a:xfrm>
            <a:off x="9577725" y="3418593"/>
            <a:ext cx="6002" cy="1500"/>
          </a:xfrm>
          <a:custGeom>
            <a:avLst/>
            <a:gdLst>
              <a:gd name="T0" fmla="*/ 2147483647 w 3"/>
              <a:gd name="T1" fmla="*/ 0 h 1"/>
              <a:gd name="T2" fmla="*/ 2147483647 w 3"/>
              <a:gd name="T3" fmla="*/ 0 h 1"/>
              <a:gd name="T4" fmla="*/ 2147483647 w 3"/>
              <a:gd name="T5" fmla="*/ 0 h 1"/>
              <a:gd name="T6" fmla="*/ 2147483647 w 3"/>
              <a:gd name="T7" fmla="*/ 0 h 1"/>
              <a:gd name="T8" fmla="*/ 0 w 3"/>
              <a:gd name="T9" fmla="*/ 0 h 1"/>
              <a:gd name="T10" fmla="*/ 2147483647 w 3"/>
              <a:gd name="T11" fmla="*/ 0 h 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"/>
              <a:gd name="T19" fmla="*/ 0 h 1"/>
              <a:gd name="T20" fmla="*/ 3 w 3"/>
              <a:gd name="T21" fmla="*/ 1 h 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" h="1">
                <a:moveTo>
                  <a:pt x="3" y="0"/>
                </a:moveTo>
                <a:lnTo>
                  <a:pt x="3" y="0"/>
                </a:lnTo>
                <a:lnTo>
                  <a:pt x="0" y="0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72" name="Freeform 58"/>
          <p:cNvSpPr>
            <a:spLocks/>
          </p:cNvSpPr>
          <p:nvPr/>
        </p:nvSpPr>
        <p:spPr bwMode="gray">
          <a:xfrm>
            <a:off x="9531717" y="2818577"/>
            <a:ext cx="24004" cy="15000"/>
          </a:xfrm>
          <a:custGeom>
            <a:avLst/>
            <a:gdLst>
              <a:gd name="T0" fmla="*/ 2147483647 w 12"/>
              <a:gd name="T1" fmla="*/ 0 h 9"/>
              <a:gd name="T2" fmla="*/ 2147483647 w 12"/>
              <a:gd name="T3" fmla="*/ 0 h 9"/>
              <a:gd name="T4" fmla="*/ 2147483647 w 12"/>
              <a:gd name="T5" fmla="*/ 0 h 9"/>
              <a:gd name="T6" fmla="*/ 2147483647 w 12"/>
              <a:gd name="T7" fmla="*/ 0 h 9"/>
              <a:gd name="T8" fmla="*/ 0 w 12"/>
              <a:gd name="T9" fmla="*/ 2147483647 h 9"/>
              <a:gd name="T10" fmla="*/ 0 w 12"/>
              <a:gd name="T11" fmla="*/ 2147483647 h 9"/>
              <a:gd name="T12" fmla="*/ 0 w 12"/>
              <a:gd name="T13" fmla="*/ 2147483647 h 9"/>
              <a:gd name="T14" fmla="*/ 2147483647 w 12"/>
              <a:gd name="T15" fmla="*/ 2147483647 h 9"/>
              <a:gd name="T16" fmla="*/ 2147483647 w 12"/>
              <a:gd name="T17" fmla="*/ 2147483647 h 9"/>
              <a:gd name="T18" fmla="*/ 2147483647 w 12"/>
              <a:gd name="T19" fmla="*/ 2147483647 h 9"/>
              <a:gd name="T20" fmla="*/ 2147483647 w 12"/>
              <a:gd name="T21" fmla="*/ 2147483647 h 9"/>
              <a:gd name="T22" fmla="*/ 2147483647 w 12"/>
              <a:gd name="T23" fmla="*/ 2147483647 h 9"/>
              <a:gd name="T24" fmla="*/ 2147483647 w 12"/>
              <a:gd name="T25" fmla="*/ 0 h 9"/>
              <a:gd name="T26" fmla="*/ 2147483647 w 12"/>
              <a:gd name="T27" fmla="*/ 0 h 9"/>
              <a:gd name="T28" fmla="*/ 2147483647 w 12"/>
              <a:gd name="T29" fmla="*/ 0 h 9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2"/>
              <a:gd name="T46" fmla="*/ 0 h 9"/>
              <a:gd name="T47" fmla="*/ 12 w 12"/>
              <a:gd name="T48" fmla="*/ 9 h 9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2" h="9">
                <a:moveTo>
                  <a:pt x="9" y="0"/>
                </a:moveTo>
                <a:lnTo>
                  <a:pt x="9" y="0"/>
                </a:lnTo>
                <a:lnTo>
                  <a:pt x="3" y="0"/>
                </a:lnTo>
                <a:lnTo>
                  <a:pt x="0" y="6"/>
                </a:lnTo>
                <a:lnTo>
                  <a:pt x="6" y="9"/>
                </a:lnTo>
                <a:lnTo>
                  <a:pt x="12" y="6"/>
                </a:lnTo>
                <a:lnTo>
                  <a:pt x="12" y="3"/>
                </a:lnTo>
                <a:lnTo>
                  <a:pt x="12" y="0"/>
                </a:lnTo>
                <a:lnTo>
                  <a:pt x="9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55" name="Freeform 59"/>
          <p:cNvSpPr>
            <a:spLocks/>
          </p:cNvSpPr>
          <p:nvPr/>
        </p:nvSpPr>
        <p:spPr bwMode="gray">
          <a:xfrm>
            <a:off x="9033627" y="3175586"/>
            <a:ext cx="2001" cy="4500"/>
          </a:xfrm>
          <a:custGeom>
            <a:avLst/>
            <a:gdLst>
              <a:gd name="T0" fmla="*/ 0 w 1"/>
              <a:gd name="T1" fmla="*/ 2147483647 h 3"/>
              <a:gd name="T2" fmla="*/ 0 w 1"/>
              <a:gd name="T3" fmla="*/ 2147483647 h 3"/>
              <a:gd name="T4" fmla="*/ 0 w 1"/>
              <a:gd name="T5" fmla="*/ 2147483647 h 3"/>
              <a:gd name="T6" fmla="*/ 0 w 1"/>
              <a:gd name="T7" fmla="*/ 0 h 3"/>
              <a:gd name="T8" fmla="*/ 0 w 1"/>
              <a:gd name="T9" fmla="*/ 0 h 3"/>
              <a:gd name="T10" fmla="*/ 0 w 1"/>
              <a:gd name="T11" fmla="*/ 2147483647 h 3"/>
              <a:gd name="T12" fmla="*/ 0 w 1"/>
              <a:gd name="T13" fmla="*/ 2147483647 h 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"/>
              <a:gd name="T22" fmla="*/ 0 h 3"/>
              <a:gd name="T23" fmla="*/ 1 w 1"/>
              <a:gd name="T24" fmla="*/ 3 h 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" h="3">
                <a:moveTo>
                  <a:pt x="0" y="3"/>
                </a:move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56" name="Freeform 60"/>
          <p:cNvSpPr>
            <a:spLocks/>
          </p:cNvSpPr>
          <p:nvPr/>
        </p:nvSpPr>
        <p:spPr bwMode="gray">
          <a:xfrm>
            <a:off x="8777581" y="3145586"/>
            <a:ext cx="278051" cy="247506"/>
          </a:xfrm>
          <a:custGeom>
            <a:avLst/>
            <a:gdLst>
              <a:gd name="T0" fmla="*/ 2147483647 w 138"/>
              <a:gd name="T1" fmla="*/ 2147483647 h 164"/>
              <a:gd name="T2" fmla="*/ 0 w 138"/>
              <a:gd name="T3" fmla="*/ 2147483647 h 164"/>
              <a:gd name="T4" fmla="*/ 2147483647 w 138"/>
              <a:gd name="T5" fmla="*/ 2147483647 h 164"/>
              <a:gd name="T6" fmla="*/ 2147483647 w 138"/>
              <a:gd name="T7" fmla="*/ 2147483647 h 164"/>
              <a:gd name="T8" fmla="*/ 2147483647 w 138"/>
              <a:gd name="T9" fmla="*/ 2147483647 h 164"/>
              <a:gd name="T10" fmla="*/ 2147483647 w 138"/>
              <a:gd name="T11" fmla="*/ 2147483647 h 164"/>
              <a:gd name="T12" fmla="*/ 2147483647 w 138"/>
              <a:gd name="T13" fmla="*/ 2147483647 h 164"/>
              <a:gd name="T14" fmla="*/ 2147483647 w 138"/>
              <a:gd name="T15" fmla="*/ 2147483647 h 164"/>
              <a:gd name="T16" fmla="*/ 2147483647 w 138"/>
              <a:gd name="T17" fmla="*/ 2147483647 h 164"/>
              <a:gd name="T18" fmla="*/ 2147483647 w 138"/>
              <a:gd name="T19" fmla="*/ 2147483647 h 164"/>
              <a:gd name="T20" fmla="*/ 2147483647 w 138"/>
              <a:gd name="T21" fmla="*/ 2147483647 h 164"/>
              <a:gd name="T22" fmla="*/ 2147483647 w 138"/>
              <a:gd name="T23" fmla="*/ 2147483647 h 164"/>
              <a:gd name="T24" fmla="*/ 2147483647 w 138"/>
              <a:gd name="T25" fmla="*/ 2147483647 h 164"/>
              <a:gd name="T26" fmla="*/ 2147483647 w 138"/>
              <a:gd name="T27" fmla="*/ 2147483647 h 164"/>
              <a:gd name="T28" fmla="*/ 2147483647 w 138"/>
              <a:gd name="T29" fmla="*/ 2147483647 h 164"/>
              <a:gd name="T30" fmla="*/ 2147483647 w 138"/>
              <a:gd name="T31" fmla="*/ 2147483647 h 164"/>
              <a:gd name="T32" fmla="*/ 2147483647 w 138"/>
              <a:gd name="T33" fmla="*/ 2147483647 h 164"/>
              <a:gd name="T34" fmla="*/ 2147483647 w 138"/>
              <a:gd name="T35" fmla="*/ 2147483647 h 164"/>
              <a:gd name="T36" fmla="*/ 2147483647 w 138"/>
              <a:gd name="T37" fmla="*/ 2147483647 h 164"/>
              <a:gd name="T38" fmla="*/ 2147483647 w 138"/>
              <a:gd name="T39" fmla="*/ 2147483647 h 164"/>
              <a:gd name="T40" fmla="*/ 2147483647 w 138"/>
              <a:gd name="T41" fmla="*/ 2147483647 h 164"/>
              <a:gd name="T42" fmla="*/ 2147483647 w 138"/>
              <a:gd name="T43" fmla="*/ 2147483647 h 164"/>
              <a:gd name="T44" fmla="*/ 2147483647 w 138"/>
              <a:gd name="T45" fmla="*/ 2147483647 h 164"/>
              <a:gd name="T46" fmla="*/ 2147483647 w 138"/>
              <a:gd name="T47" fmla="*/ 2147483647 h 164"/>
              <a:gd name="T48" fmla="*/ 2147483647 w 138"/>
              <a:gd name="T49" fmla="*/ 2147483647 h 164"/>
              <a:gd name="T50" fmla="*/ 2147483647 w 138"/>
              <a:gd name="T51" fmla="*/ 2147483647 h 164"/>
              <a:gd name="T52" fmla="*/ 2147483647 w 138"/>
              <a:gd name="T53" fmla="*/ 2147483647 h 164"/>
              <a:gd name="T54" fmla="*/ 2147483647 w 138"/>
              <a:gd name="T55" fmla="*/ 2147483647 h 164"/>
              <a:gd name="T56" fmla="*/ 2147483647 w 138"/>
              <a:gd name="T57" fmla="*/ 2147483647 h 164"/>
              <a:gd name="T58" fmla="*/ 2147483647 w 138"/>
              <a:gd name="T59" fmla="*/ 2147483647 h 164"/>
              <a:gd name="T60" fmla="*/ 2147483647 w 138"/>
              <a:gd name="T61" fmla="*/ 2147483647 h 164"/>
              <a:gd name="T62" fmla="*/ 2147483647 w 138"/>
              <a:gd name="T63" fmla="*/ 2147483647 h 164"/>
              <a:gd name="T64" fmla="*/ 2147483647 w 138"/>
              <a:gd name="T65" fmla="*/ 2147483647 h 164"/>
              <a:gd name="T66" fmla="*/ 2147483647 w 138"/>
              <a:gd name="T67" fmla="*/ 2147483647 h 164"/>
              <a:gd name="T68" fmla="*/ 2147483647 w 138"/>
              <a:gd name="T69" fmla="*/ 2147483647 h 164"/>
              <a:gd name="T70" fmla="*/ 2147483647 w 138"/>
              <a:gd name="T71" fmla="*/ 2147483647 h 164"/>
              <a:gd name="T72" fmla="*/ 2147483647 w 138"/>
              <a:gd name="T73" fmla="*/ 2147483647 h 164"/>
              <a:gd name="T74" fmla="*/ 2147483647 w 138"/>
              <a:gd name="T75" fmla="*/ 2147483647 h 164"/>
              <a:gd name="T76" fmla="*/ 2147483647 w 138"/>
              <a:gd name="T77" fmla="*/ 2147483647 h 164"/>
              <a:gd name="T78" fmla="*/ 2147483647 w 138"/>
              <a:gd name="T79" fmla="*/ 2147483647 h 164"/>
              <a:gd name="T80" fmla="*/ 2147483647 w 138"/>
              <a:gd name="T81" fmla="*/ 2147483647 h 164"/>
              <a:gd name="T82" fmla="*/ 2147483647 w 138"/>
              <a:gd name="T83" fmla="*/ 2147483647 h 164"/>
              <a:gd name="T84" fmla="*/ 2147483647 w 138"/>
              <a:gd name="T85" fmla="*/ 2147483647 h 164"/>
              <a:gd name="T86" fmla="*/ 2147483647 w 138"/>
              <a:gd name="T87" fmla="*/ 2147483647 h 164"/>
              <a:gd name="T88" fmla="*/ 2147483647 w 138"/>
              <a:gd name="T89" fmla="*/ 2147483647 h 164"/>
              <a:gd name="T90" fmla="*/ 2147483647 w 138"/>
              <a:gd name="T91" fmla="*/ 2147483647 h 164"/>
              <a:gd name="T92" fmla="*/ 2147483647 w 138"/>
              <a:gd name="T93" fmla="*/ 2147483647 h 164"/>
              <a:gd name="T94" fmla="*/ 2147483647 w 138"/>
              <a:gd name="T95" fmla="*/ 2147483647 h 164"/>
              <a:gd name="T96" fmla="*/ 2147483647 w 138"/>
              <a:gd name="T97" fmla="*/ 2147483647 h 164"/>
              <a:gd name="T98" fmla="*/ 2147483647 w 138"/>
              <a:gd name="T99" fmla="*/ 2147483647 h 164"/>
              <a:gd name="T100" fmla="*/ 2147483647 w 138"/>
              <a:gd name="T101" fmla="*/ 2147483647 h 164"/>
              <a:gd name="T102" fmla="*/ 2147483647 w 138"/>
              <a:gd name="T103" fmla="*/ 2147483647 h 164"/>
              <a:gd name="T104" fmla="*/ 2147483647 w 138"/>
              <a:gd name="T105" fmla="*/ 2147483647 h 164"/>
              <a:gd name="T106" fmla="*/ 2147483647 w 138"/>
              <a:gd name="T107" fmla="*/ 2147483647 h 164"/>
              <a:gd name="T108" fmla="*/ 2147483647 w 138"/>
              <a:gd name="T109" fmla="*/ 2147483647 h 164"/>
              <a:gd name="T110" fmla="*/ 2147483647 w 138"/>
              <a:gd name="T111" fmla="*/ 2147483647 h 164"/>
              <a:gd name="T112" fmla="*/ 2147483647 w 138"/>
              <a:gd name="T113" fmla="*/ 2147483647 h 164"/>
              <a:gd name="T114" fmla="*/ 2147483647 w 138"/>
              <a:gd name="T115" fmla="*/ 2147483647 h 164"/>
              <a:gd name="T116" fmla="*/ 2147483647 w 138"/>
              <a:gd name="T117" fmla="*/ 2147483647 h 164"/>
              <a:gd name="T118" fmla="*/ 2147483647 w 138"/>
              <a:gd name="T119" fmla="*/ 2147483647 h 164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38"/>
              <a:gd name="T181" fmla="*/ 0 h 164"/>
              <a:gd name="T182" fmla="*/ 138 w 138"/>
              <a:gd name="T183" fmla="*/ 164 h 164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38" h="164">
                <a:moveTo>
                  <a:pt x="9" y="26"/>
                </a:moveTo>
                <a:lnTo>
                  <a:pt x="6" y="35"/>
                </a:lnTo>
                <a:lnTo>
                  <a:pt x="0" y="38"/>
                </a:lnTo>
                <a:lnTo>
                  <a:pt x="0" y="41"/>
                </a:lnTo>
                <a:lnTo>
                  <a:pt x="6" y="41"/>
                </a:lnTo>
                <a:lnTo>
                  <a:pt x="9" y="46"/>
                </a:lnTo>
                <a:lnTo>
                  <a:pt x="6" y="55"/>
                </a:lnTo>
                <a:lnTo>
                  <a:pt x="9" y="55"/>
                </a:lnTo>
                <a:lnTo>
                  <a:pt x="15" y="55"/>
                </a:lnTo>
                <a:lnTo>
                  <a:pt x="17" y="55"/>
                </a:lnTo>
                <a:lnTo>
                  <a:pt x="20" y="58"/>
                </a:lnTo>
                <a:lnTo>
                  <a:pt x="23" y="61"/>
                </a:lnTo>
                <a:lnTo>
                  <a:pt x="23" y="72"/>
                </a:lnTo>
                <a:lnTo>
                  <a:pt x="20" y="78"/>
                </a:lnTo>
                <a:lnTo>
                  <a:pt x="23" y="81"/>
                </a:lnTo>
                <a:lnTo>
                  <a:pt x="23" y="98"/>
                </a:lnTo>
                <a:lnTo>
                  <a:pt x="29" y="89"/>
                </a:lnTo>
                <a:lnTo>
                  <a:pt x="32" y="86"/>
                </a:lnTo>
                <a:lnTo>
                  <a:pt x="35" y="84"/>
                </a:lnTo>
                <a:lnTo>
                  <a:pt x="38" y="81"/>
                </a:lnTo>
                <a:lnTo>
                  <a:pt x="38" y="84"/>
                </a:lnTo>
                <a:lnTo>
                  <a:pt x="46" y="89"/>
                </a:lnTo>
                <a:lnTo>
                  <a:pt x="52" y="89"/>
                </a:lnTo>
                <a:lnTo>
                  <a:pt x="60" y="78"/>
                </a:lnTo>
                <a:lnTo>
                  <a:pt x="72" y="84"/>
                </a:lnTo>
                <a:lnTo>
                  <a:pt x="81" y="95"/>
                </a:lnTo>
                <a:lnTo>
                  <a:pt x="86" y="95"/>
                </a:lnTo>
                <a:lnTo>
                  <a:pt x="86" y="98"/>
                </a:lnTo>
                <a:lnTo>
                  <a:pt x="89" y="101"/>
                </a:lnTo>
                <a:lnTo>
                  <a:pt x="86" y="109"/>
                </a:lnTo>
                <a:lnTo>
                  <a:pt x="89" y="115"/>
                </a:lnTo>
                <a:lnTo>
                  <a:pt x="101" y="127"/>
                </a:lnTo>
                <a:lnTo>
                  <a:pt x="106" y="135"/>
                </a:lnTo>
                <a:lnTo>
                  <a:pt x="106" y="144"/>
                </a:lnTo>
                <a:lnTo>
                  <a:pt x="106" y="153"/>
                </a:lnTo>
                <a:lnTo>
                  <a:pt x="101" y="161"/>
                </a:lnTo>
                <a:lnTo>
                  <a:pt x="106" y="161"/>
                </a:lnTo>
                <a:lnTo>
                  <a:pt x="109" y="161"/>
                </a:lnTo>
                <a:lnTo>
                  <a:pt x="115" y="164"/>
                </a:lnTo>
                <a:lnTo>
                  <a:pt x="118" y="164"/>
                </a:lnTo>
                <a:lnTo>
                  <a:pt x="112" y="158"/>
                </a:lnTo>
                <a:lnTo>
                  <a:pt x="121" y="150"/>
                </a:lnTo>
                <a:lnTo>
                  <a:pt x="124" y="153"/>
                </a:lnTo>
                <a:lnTo>
                  <a:pt x="129" y="158"/>
                </a:lnTo>
                <a:lnTo>
                  <a:pt x="132" y="155"/>
                </a:lnTo>
                <a:lnTo>
                  <a:pt x="132" y="147"/>
                </a:lnTo>
                <a:lnTo>
                  <a:pt x="138" y="141"/>
                </a:lnTo>
                <a:lnTo>
                  <a:pt x="129" y="132"/>
                </a:lnTo>
                <a:lnTo>
                  <a:pt x="129" y="130"/>
                </a:lnTo>
                <a:lnTo>
                  <a:pt x="132" y="127"/>
                </a:lnTo>
                <a:lnTo>
                  <a:pt x="127" y="124"/>
                </a:lnTo>
                <a:lnTo>
                  <a:pt x="118" y="118"/>
                </a:lnTo>
                <a:lnTo>
                  <a:pt x="112" y="107"/>
                </a:lnTo>
                <a:lnTo>
                  <a:pt x="101" y="92"/>
                </a:lnTo>
                <a:lnTo>
                  <a:pt x="86" y="81"/>
                </a:lnTo>
                <a:lnTo>
                  <a:pt x="83" y="72"/>
                </a:lnTo>
                <a:lnTo>
                  <a:pt x="78" y="69"/>
                </a:lnTo>
                <a:lnTo>
                  <a:pt x="63" y="66"/>
                </a:lnTo>
                <a:lnTo>
                  <a:pt x="66" y="52"/>
                </a:lnTo>
                <a:lnTo>
                  <a:pt x="75" y="55"/>
                </a:lnTo>
                <a:lnTo>
                  <a:pt x="78" y="46"/>
                </a:lnTo>
                <a:lnTo>
                  <a:pt x="69" y="41"/>
                </a:lnTo>
                <a:lnTo>
                  <a:pt x="72" y="38"/>
                </a:lnTo>
                <a:lnTo>
                  <a:pt x="69" y="35"/>
                </a:lnTo>
                <a:lnTo>
                  <a:pt x="63" y="32"/>
                </a:lnTo>
                <a:lnTo>
                  <a:pt x="58" y="38"/>
                </a:lnTo>
                <a:lnTo>
                  <a:pt x="49" y="35"/>
                </a:lnTo>
                <a:lnTo>
                  <a:pt x="46" y="32"/>
                </a:lnTo>
                <a:lnTo>
                  <a:pt x="40" y="23"/>
                </a:lnTo>
                <a:lnTo>
                  <a:pt x="40" y="15"/>
                </a:lnTo>
                <a:lnTo>
                  <a:pt x="38" y="18"/>
                </a:lnTo>
                <a:lnTo>
                  <a:pt x="32" y="9"/>
                </a:lnTo>
                <a:lnTo>
                  <a:pt x="26" y="3"/>
                </a:lnTo>
                <a:lnTo>
                  <a:pt x="20" y="0"/>
                </a:lnTo>
                <a:lnTo>
                  <a:pt x="20" y="6"/>
                </a:lnTo>
                <a:lnTo>
                  <a:pt x="26" y="18"/>
                </a:lnTo>
                <a:lnTo>
                  <a:pt x="23" y="26"/>
                </a:lnTo>
                <a:lnTo>
                  <a:pt x="15" y="26"/>
                </a:lnTo>
                <a:lnTo>
                  <a:pt x="15" y="23"/>
                </a:lnTo>
                <a:lnTo>
                  <a:pt x="9" y="2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57" name="Freeform 61"/>
          <p:cNvSpPr>
            <a:spLocks/>
          </p:cNvSpPr>
          <p:nvPr/>
        </p:nvSpPr>
        <p:spPr bwMode="gray">
          <a:xfrm>
            <a:off x="9433699" y="3058583"/>
            <a:ext cx="50010" cy="105003"/>
          </a:xfrm>
          <a:custGeom>
            <a:avLst/>
            <a:gdLst>
              <a:gd name="T0" fmla="*/ 2147483647 w 25"/>
              <a:gd name="T1" fmla="*/ 2147483647 h 69"/>
              <a:gd name="T2" fmla="*/ 2147483647 w 25"/>
              <a:gd name="T3" fmla="*/ 0 h 69"/>
              <a:gd name="T4" fmla="*/ 2147483647 w 25"/>
              <a:gd name="T5" fmla="*/ 0 h 69"/>
              <a:gd name="T6" fmla="*/ 2147483647 w 25"/>
              <a:gd name="T7" fmla="*/ 2147483647 h 69"/>
              <a:gd name="T8" fmla="*/ 2147483647 w 25"/>
              <a:gd name="T9" fmla="*/ 2147483647 h 69"/>
              <a:gd name="T10" fmla="*/ 2147483647 w 25"/>
              <a:gd name="T11" fmla="*/ 2147483647 h 69"/>
              <a:gd name="T12" fmla="*/ 2147483647 w 25"/>
              <a:gd name="T13" fmla="*/ 2147483647 h 69"/>
              <a:gd name="T14" fmla="*/ 2147483647 w 25"/>
              <a:gd name="T15" fmla="*/ 2147483647 h 69"/>
              <a:gd name="T16" fmla="*/ 0 w 25"/>
              <a:gd name="T17" fmla="*/ 2147483647 h 69"/>
              <a:gd name="T18" fmla="*/ 0 w 25"/>
              <a:gd name="T19" fmla="*/ 2147483647 h 69"/>
              <a:gd name="T20" fmla="*/ 0 w 25"/>
              <a:gd name="T21" fmla="*/ 2147483647 h 69"/>
              <a:gd name="T22" fmla="*/ 0 w 25"/>
              <a:gd name="T23" fmla="*/ 2147483647 h 69"/>
              <a:gd name="T24" fmla="*/ 2147483647 w 25"/>
              <a:gd name="T25" fmla="*/ 2147483647 h 69"/>
              <a:gd name="T26" fmla="*/ 2147483647 w 25"/>
              <a:gd name="T27" fmla="*/ 2147483647 h 69"/>
              <a:gd name="T28" fmla="*/ 2147483647 w 25"/>
              <a:gd name="T29" fmla="*/ 2147483647 h 69"/>
              <a:gd name="T30" fmla="*/ 2147483647 w 25"/>
              <a:gd name="T31" fmla="*/ 2147483647 h 69"/>
              <a:gd name="T32" fmla="*/ 2147483647 w 25"/>
              <a:gd name="T33" fmla="*/ 2147483647 h 69"/>
              <a:gd name="T34" fmla="*/ 2147483647 w 25"/>
              <a:gd name="T35" fmla="*/ 2147483647 h 69"/>
              <a:gd name="T36" fmla="*/ 2147483647 w 25"/>
              <a:gd name="T37" fmla="*/ 2147483647 h 69"/>
              <a:gd name="T38" fmla="*/ 2147483647 w 25"/>
              <a:gd name="T39" fmla="*/ 2147483647 h 69"/>
              <a:gd name="T40" fmla="*/ 2147483647 w 25"/>
              <a:gd name="T41" fmla="*/ 2147483647 h 69"/>
              <a:gd name="T42" fmla="*/ 2147483647 w 25"/>
              <a:gd name="T43" fmla="*/ 2147483647 h 69"/>
              <a:gd name="T44" fmla="*/ 2147483647 w 25"/>
              <a:gd name="T45" fmla="*/ 2147483647 h 69"/>
              <a:gd name="T46" fmla="*/ 2147483647 w 25"/>
              <a:gd name="T47" fmla="*/ 2147483647 h 69"/>
              <a:gd name="T48" fmla="*/ 2147483647 w 25"/>
              <a:gd name="T49" fmla="*/ 2147483647 h 69"/>
              <a:gd name="T50" fmla="*/ 2147483647 w 25"/>
              <a:gd name="T51" fmla="*/ 2147483647 h 69"/>
              <a:gd name="T52" fmla="*/ 2147483647 w 25"/>
              <a:gd name="T53" fmla="*/ 2147483647 h 69"/>
              <a:gd name="T54" fmla="*/ 2147483647 w 25"/>
              <a:gd name="T55" fmla="*/ 2147483647 h 69"/>
              <a:gd name="T56" fmla="*/ 2147483647 w 25"/>
              <a:gd name="T57" fmla="*/ 2147483647 h 69"/>
              <a:gd name="T58" fmla="*/ 2147483647 w 25"/>
              <a:gd name="T59" fmla="*/ 2147483647 h 69"/>
              <a:gd name="T60" fmla="*/ 2147483647 w 25"/>
              <a:gd name="T61" fmla="*/ 2147483647 h 69"/>
              <a:gd name="T62" fmla="*/ 2147483647 w 25"/>
              <a:gd name="T63" fmla="*/ 2147483647 h 69"/>
              <a:gd name="T64" fmla="*/ 2147483647 w 25"/>
              <a:gd name="T65" fmla="*/ 2147483647 h 69"/>
              <a:gd name="T66" fmla="*/ 2147483647 w 25"/>
              <a:gd name="T67" fmla="*/ 2147483647 h 69"/>
              <a:gd name="T68" fmla="*/ 2147483647 w 25"/>
              <a:gd name="T69" fmla="*/ 2147483647 h 69"/>
              <a:gd name="T70" fmla="*/ 2147483647 w 25"/>
              <a:gd name="T71" fmla="*/ 2147483647 h 69"/>
              <a:gd name="T72" fmla="*/ 2147483647 w 25"/>
              <a:gd name="T73" fmla="*/ 2147483647 h 69"/>
              <a:gd name="T74" fmla="*/ 2147483647 w 25"/>
              <a:gd name="T75" fmla="*/ 2147483647 h 69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25"/>
              <a:gd name="T115" fmla="*/ 0 h 69"/>
              <a:gd name="T116" fmla="*/ 25 w 25"/>
              <a:gd name="T117" fmla="*/ 69 h 69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25" h="69">
                <a:moveTo>
                  <a:pt x="20" y="3"/>
                </a:moveTo>
                <a:lnTo>
                  <a:pt x="17" y="0"/>
                </a:lnTo>
                <a:lnTo>
                  <a:pt x="14" y="3"/>
                </a:lnTo>
                <a:lnTo>
                  <a:pt x="5" y="20"/>
                </a:lnTo>
                <a:lnTo>
                  <a:pt x="2" y="23"/>
                </a:lnTo>
                <a:lnTo>
                  <a:pt x="0" y="29"/>
                </a:lnTo>
                <a:lnTo>
                  <a:pt x="0" y="34"/>
                </a:lnTo>
                <a:lnTo>
                  <a:pt x="0" y="46"/>
                </a:lnTo>
                <a:lnTo>
                  <a:pt x="5" y="52"/>
                </a:lnTo>
                <a:lnTo>
                  <a:pt x="11" y="60"/>
                </a:lnTo>
                <a:lnTo>
                  <a:pt x="17" y="69"/>
                </a:lnTo>
                <a:lnTo>
                  <a:pt x="17" y="63"/>
                </a:lnTo>
                <a:lnTo>
                  <a:pt x="20" y="57"/>
                </a:lnTo>
                <a:lnTo>
                  <a:pt x="23" y="52"/>
                </a:lnTo>
                <a:lnTo>
                  <a:pt x="23" y="46"/>
                </a:lnTo>
                <a:lnTo>
                  <a:pt x="23" y="37"/>
                </a:lnTo>
                <a:lnTo>
                  <a:pt x="23" y="26"/>
                </a:lnTo>
                <a:lnTo>
                  <a:pt x="25" y="17"/>
                </a:lnTo>
                <a:lnTo>
                  <a:pt x="23" y="14"/>
                </a:lnTo>
                <a:lnTo>
                  <a:pt x="25" y="9"/>
                </a:lnTo>
                <a:lnTo>
                  <a:pt x="25" y="6"/>
                </a:lnTo>
                <a:lnTo>
                  <a:pt x="25" y="3"/>
                </a:lnTo>
                <a:lnTo>
                  <a:pt x="23" y="3"/>
                </a:lnTo>
                <a:lnTo>
                  <a:pt x="2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58" name="Freeform 62"/>
          <p:cNvSpPr>
            <a:spLocks/>
          </p:cNvSpPr>
          <p:nvPr/>
        </p:nvSpPr>
        <p:spPr bwMode="gray">
          <a:xfrm>
            <a:off x="8887601" y="3379592"/>
            <a:ext cx="174031" cy="135004"/>
          </a:xfrm>
          <a:custGeom>
            <a:avLst/>
            <a:gdLst>
              <a:gd name="T0" fmla="*/ 2147483647 w 86"/>
              <a:gd name="T1" fmla="*/ 2147483647 h 89"/>
              <a:gd name="T2" fmla="*/ 2147483647 w 86"/>
              <a:gd name="T3" fmla="*/ 2147483647 h 89"/>
              <a:gd name="T4" fmla="*/ 2147483647 w 86"/>
              <a:gd name="T5" fmla="*/ 2147483647 h 89"/>
              <a:gd name="T6" fmla="*/ 2147483647 w 86"/>
              <a:gd name="T7" fmla="*/ 2147483647 h 89"/>
              <a:gd name="T8" fmla="*/ 2147483647 w 86"/>
              <a:gd name="T9" fmla="*/ 2147483647 h 89"/>
              <a:gd name="T10" fmla="*/ 2147483647 w 86"/>
              <a:gd name="T11" fmla="*/ 2147483647 h 89"/>
              <a:gd name="T12" fmla="*/ 2147483647 w 86"/>
              <a:gd name="T13" fmla="*/ 2147483647 h 89"/>
              <a:gd name="T14" fmla="*/ 2147483647 w 86"/>
              <a:gd name="T15" fmla="*/ 0 h 89"/>
              <a:gd name="T16" fmla="*/ 2147483647 w 86"/>
              <a:gd name="T17" fmla="*/ 2147483647 h 89"/>
              <a:gd name="T18" fmla="*/ 2147483647 w 86"/>
              <a:gd name="T19" fmla="*/ 2147483647 h 89"/>
              <a:gd name="T20" fmla="*/ 2147483647 w 86"/>
              <a:gd name="T21" fmla="*/ 2147483647 h 89"/>
              <a:gd name="T22" fmla="*/ 2147483647 w 86"/>
              <a:gd name="T23" fmla="*/ 2147483647 h 89"/>
              <a:gd name="T24" fmla="*/ 2147483647 w 86"/>
              <a:gd name="T25" fmla="*/ 2147483647 h 89"/>
              <a:gd name="T26" fmla="*/ 2147483647 w 86"/>
              <a:gd name="T27" fmla="*/ 2147483647 h 89"/>
              <a:gd name="T28" fmla="*/ 2147483647 w 86"/>
              <a:gd name="T29" fmla="*/ 2147483647 h 89"/>
              <a:gd name="T30" fmla="*/ 0 w 86"/>
              <a:gd name="T31" fmla="*/ 2147483647 h 89"/>
              <a:gd name="T32" fmla="*/ 2147483647 w 86"/>
              <a:gd name="T33" fmla="*/ 2147483647 h 89"/>
              <a:gd name="T34" fmla="*/ 2147483647 w 86"/>
              <a:gd name="T35" fmla="*/ 2147483647 h 89"/>
              <a:gd name="T36" fmla="*/ 2147483647 w 86"/>
              <a:gd name="T37" fmla="*/ 2147483647 h 89"/>
              <a:gd name="T38" fmla="*/ 2147483647 w 86"/>
              <a:gd name="T39" fmla="*/ 2147483647 h 89"/>
              <a:gd name="T40" fmla="*/ 2147483647 w 86"/>
              <a:gd name="T41" fmla="*/ 2147483647 h 89"/>
              <a:gd name="T42" fmla="*/ 2147483647 w 86"/>
              <a:gd name="T43" fmla="*/ 2147483647 h 89"/>
              <a:gd name="T44" fmla="*/ 2147483647 w 86"/>
              <a:gd name="T45" fmla="*/ 2147483647 h 89"/>
              <a:gd name="T46" fmla="*/ 2147483647 w 86"/>
              <a:gd name="T47" fmla="*/ 2147483647 h 89"/>
              <a:gd name="T48" fmla="*/ 2147483647 w 86"/>
              <a:gd name="T49" fmla="*/ 2147483647 h 89"/>
              <a:gd name="T50" fmla="*/ 2147483647 w 86"/>
              <a:gd name="T51" fmla="*/ 2147483647 h 89"/>
              <a:gd name="T52" fmla="*/ 2147483647 w 86"/>
              <a:gd name="T53" fmla="*/ 2147483647 h 89"/>
              <a:gd name="T54" fmla="*/ 2147483647 w 86"/>
              <a:gd name="T55" fmla="*/ 2147483647 h 89"/>
              <a:gd name="T56" fmla="*/ 2147483647 w 86"/>
              <a:gd name="T57" fmla="*/ 2147483647 h 89"/>
              <a:gd name="T58" fmla="*/ 2147483647 w 86"/>
              <a:gd name="T59" fmla="*/ 2147483647 h 89"/>
              <a:gd name="T60" fmla="*/ 2147483647 w 86"/>
              <a:gd name="T61" fmla="*/ 2147483647 h 89"/>
              <a:gd name="T62" fmla="*/ 2147483647 w 86"/>
              <a:gd name="T63" fmla="*/ 2147483647 h 89"/>
              <a:gd name="T64" fmla="*/ 2147483647 w 86"/>
              <a:gd name="T65" fmla="*/ 2147483647 h 89"/>
              <a:gd name="T66" fmla="*/ 2147483647 w 86"/>
              <a:gd name="T67" fmla="*/ 2147483647 h 89"/>
              <a:gd name="T68" fmla="*/ 2147483647 w 86"/>
              <a:gd name="T69" fmla="*/ 2147483647 h 89"/>
              <a:gd name="T70" fmla="*/ 2147483647 w 86"/>
              <a:gd name="T71" fmla="*/ 2147483647 h 89"/>
              <a:gd name="T72" fmla="*/ 2147483647 w 86"/>
              <a:gd name="T73" fmla="*/ 2147483647 h 89"/>
              <a:gd name="T74" fmla="*/ 2147483647 w 86"/>
              <a:gd name="T75" fmla="*/ 2147483647 h 89"/>
              <a:gd name="T76" fmla="*/ 2147483647 w 86"/>
              <a:gd name="T77" fmla="*/ 2147483647 h 89"/>
              <a:gd name="T78" fmla="*/ 2147483647 w 86"/>
              <a:gd name="T79" fmla="*/ 2147483647 h 89"/>
              <a:gd name="T80" fmla="*/ 2147483647 w 86"/>
              <a:gd name="T81" fmla="*/ 2147483647 h 89"/>
              <a:gd name="T82" fmla="*/ 2147483647 w 86"/>
              <a:gd name="T83" fmla="*/ 2147483647 h 89"/>
              <a:gd name="T84" fmla="*/ 2147483647 w 86"/>
              <a:gd name="T85" fmla="*/ 2147483647 h 89"/>
              <a:gd name="T86" fmla="*/ 2147483647 w 86"/>
              <a:gd name="T87" fmla="*/ 2147483647 h 89"/>
              <a:gd name="T88" fmla="*/ 2147483647 w 86"/>
              <a:gd name="T89" fmla="*/ 2147483647 h 89"/>
              <a:gd name="T90" fmla="*/ 2147483647 w 86"/>
              <a:gd name="T91" fmla="*/ 2147483647 h 89"/>
              <a:gd name="T92" fmla="*/ 2147483647 w 86"/>
              <a:gd name="T93" fmla="*/ 2147483647 h 89"/>
              <a:gd name="T94" fmla="*/ 2147483647 w 86"/>
              <a:gd name="T95" fmla="*/ 2147483647 h 89"/>
              <a:gd name="T96" fmla="*/ 2147483647 w 86"/>
              <a:gd name="T97" fmla="*/ 2147483647 h 89"/>
              <a:gd name="T98" fmla="*/ 2147483647 w 86"/>
              <a:gd name="T99" fmla="*/ 2147483647 h 89"/>
              <a:gd name="T100" fmla="*/ 2147483647 w 86"/>
              <a:gd name="T101" fmla="*/ 2147483647 h 8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86"/>
              <a:gd name="T154" fmla="*/ 0 h 89"/>
              <a:gd name="T155" fmla="*/ 86 w 86"/>
              <a:gd name="T156" fmla="*/ 89 h 89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86" h="89">
                <a:moveTo>
                  <a:pt x="86" y="20"/>
                </a:moveTo>
                <a:lnTo>
                  <a:pt x="86" y="20"/>
                </a:lnTo>
                <a:lnTo>
                  <a:pt x="80" y="9"/>
                </a:lnTo>
                <a:lnTo>
                  <a:pt x="80" y="6"/>
                </a:lnTo>
                <a:lnTo>
                  <a:pt x="80" y="3"/>
                </a:lnTo>
                <a:lnTo>
                  <a:pt x="74" y="6"/>
                </a:lnTo>
                <a:lnTo>
                  <a:pt x="72" y="6"/>
                </a:lnTo>
                <a:lnTo>
                  <a:pt x="69" y="3"/>
                </a:lnTo>
                <a:lnTo>
                  <a:pt x="66" y="0"/>
                </a:lnTo>
                <a:lnTo>
                  <a:pt x="63" y="3"/>
                </a:lnTo>
                <a:lnTo>
                  <a:pt x="66" y="9"/>
                </a:lnTo>
                <a:lnTo>
                  <a:pt x="63" y="15"/>
                </a:lnTo>
                <a:lnTo>
                  <a:pt x="54" y="9"/>
                </a:lnTo>
                <a:lnTo>
                  <a:pt x="51" y="12"/>
                </a:lnTo>
                <a:lnTo>
                  <a:pt x="43" y="6"/>
                </a:lnTo>
                <a:lnTo>
                  <a:pt x="34" y="3"/>
                </a:lnTo>
                <a:lnTo>
                  <a:pt x="28" y="3"/>
                </a:lnTo>
                <a:lnTo>
                  <a:pt x="17" y="3"/>
                </a:lnTo>
                <a:lnTo>
                  <a:pt x="8" y="9"/>
                </a:lnTo>
                <a:lnTo>
                  <a:pt x="0" y="20"/>
                </a:lnTo>
                <a:lnTo>
                  <a:pt x="0" y="26"/>
                </a:lnTo>
                <a:lnTo>
                  <a:pt x="8" y="38"/>
                </a:lnTo>
                <a:lnTo>
                  <a:pt x="8" y="46"/>
                </a:lnTo>
                <a:lnTo>
                  <a:pt x="14" y="55"/>
                </a:lnTo>
                <a:lnTo>
                  <a:pt x="8" y="61"/>
                </a:lnTo>
                <a:lnTo>
                  <a:pt x="14" y="72"/>
                </a:lnTo>
                <a:lnTo>
                  <a:pt x="17" y="75"/>
                </a:lnTo>
                <a:lnTo>
                  <a:pt x="23" y="69"/>
                </a:lnTo>
                <a:lnTo>
                  <a:pt x="23" y="72"/>
                </a:lnTo>
                <a:lnTo>
                  <a:pt x="23" y="75"/>
                </a:lnTo>
                <a:lnTo>
                  <a:pt x="20" y="75"/>
                </a:lnTo>
                <a:lnTo>
                  <a:pt x="23" y="75"/>
                </a:lnTo>
                <a:lnTo>
                  <a:pt x="26" y="78"/>
                </a:lnTo>
                <a:lnTo>
                  <a:pt x="28" y="78"/>
                </a:lnTo>
                <a:lnTo>
                  <a:pt x="28" y="81"/>
                </a:lnTo>
                <a:lnTo>
                  <a:pt x="28" y="84"/>
                </a:lnTo>
                <a:lnTo>
                  <a:pt x="31" y="89"/>
                </a:lnTo>
                <a:lnTo>
                  <a:pt x="34" y="87"/>
                </a:lnTo>
                <a:lnTo>
                  <a:pt x="37" y="84"/>
                </a:lnTo>
                <a:lnTo>
                  <a:pt x="37" y="78"/>
                </a:lnTo>
                <a:lnTo>
                  <a:pt x="46" y="75"/>
                </a:lnTo>
                <a:lnTo>
                  <a:pt x="49" y="69"/>
                </a:lnTo>
                <a:lnTo>
                  <a:pt x="57" y="66"/>
                </a:lnTo>
                <a:lnTo>
                  <a:pt x="60" y="66"/>
                </a:lnTo>
                <a:lnTo>
                  <a:pt x="66" y="72"/>
                </a:lnTo>
                <a:lnTo>
                  <a:pt x="66" y="69"/>
                </a:lnTo>
                <a:lnTo>
                  <a:pt x="63" y="66"/>
                </a:lnTo>
                <a:lnTo>
                  <a:pt x="60" y="61"/>
                </a:lnTo>
                <a:lnTo>
                  <a:pt x="57" y="58"/>
                </a:lnTo>
                <a:lnTo>
                  <a:pt x="60" y="55"/>
                </a:lnTo>
                <a:lnTo>
                  <a:pt x="63" y="52"/>
                </a:lnTo>
                <a:lnTo>
                  <a:pt x="69" y="55"/>
                </a:lnTo>
                <a:lnTo>
                  <a:pt x="69" y="49"/>
                </a:lnTo>
                <a:lnTo>
                  <a:pt x="74" y="49"/>
                </a:lnTo>
                <a:lnTo>
                  <a:pt x="80" y="43"/>
                </a:lnTo>
                <a:lnTo>
                  <a:pt x="83" y="41"/>
                </a:lnTo>
                <a:lnTo>
                  <a:pt x="86" y="41"/>
                </a:lnTo>
                <a:lnTo>
                  <a:pt x="86" y="29"/>
                </a:lnTo>
                <a:lnTo>
                  <a:pt x="86" y="26"/>
                </a:lnTo>
                <a:lnTo>
                  <a:pt x="86" y="2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59" name="Rectangle 63"/>
          <p:cNvSpPr>
            <a:spLocks noChangeArrowheads="1"/>
          </p:cNvSpPr>
          <p:nvPr/>
        </p:nvSpPr>
        <p:spPr bwMode="gray">
          <a:xfrm>
            <a:off x="9527717" y="3244588"/>
            <a:ext cx="4001" cy="4500"/>
          </a:xfrm>
          <a:prstGeom prst="rect">
            <a:avLst/>
          </a:pr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60" name="Freeform 64"/>
          <p:cNvSpPr>
            <a:spLocks/>
          </p:cNvSpPr>
          <p:nvPr/>
        </p:nvSpPr>
        <p:spPr bwMode="gray">
          <a:xfrm>
            <a:off x="9543720" y="3358591"/>
            <a:ext cx="24004" cy="18000"/>
          </a:xfrm>
          <a:custGeom>
            <a:avLst/>
            <a:gdLst>
              <a:gd name="T0" fmla="*/ 2147483647 w 12"/>
              <a:gd name="T1" fmla="*/ 0 h 12"/>
              <a:gd name="T2" fmla="*/ 0 w 12"/>
              <a:gd name="T3" fmla="*/ 0 h 12"/>
              <a:gd name="T4" fmla="*/ 0 w 12"/>
              <a:gd name="T5" fmla="*/ 2147483647 h 12"/>
              <a:gd name="T6" fmla="*/ 2147483647 w 12"/>
              <a:gd name="T7" fmla="*/ 2147483647 h 12"/>
              <a:gd name="T8" fmla="*/ 2147483647 w 12"/>
              <a:gd name="T9" fmla="*/ 2147483647 h 12"/>
              <a:gd name="T10" fmla="*/ 2147483647 w 12"/>
              <a:gd name="T11" fmla="*/ 2147483647 h 12"/>
              <a:gd name="T12" fmla="*/ 2147483647 w 12"/>
              <a:gd name="T13" fmla="*/ 2147483647 h 12"/>
              <a:gd name="T14" fmla="*/ 2147483647 w 12"/>
              <a:gd name="T15" fmla="*/ 0 h 1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2"/>
              <a:gd name="T25" fmla="*/ 0 h 12"/>
              <a:gd name="T26" fmla="*/ 12 w 12"/>
              <a:gd name="T27" fmla="*/ 12 h 1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2" h="12">
                <a:moveTo>
                  <a:pt x="6" y="0"/>
                </a:moveTo>
                <a:lnTo>
                  <a:pt x="0" y="0"/>
                </a:lnTo>
                <a:lnTo>
                  <a:pt x="0" y="6"/>
                </a:lnTo>
                <a:lnTo>
                  <a:pt x="3" y="9"/>
                </a:lnTo>
                <a:lnTo>
                  <a:pt x="6" y="9"/>
                </a:lnTo>
                <a:lnTo>
                  <a:pt x="12" y="12"/>
                </a:lnTo>
                <a:lnTo>
                  <a:pt x="9" y="6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61" name="Freeform 65"/>
          <p:cNvSpPr>
            <a:spLocks/>
          </p:cNvSpPr>
          <p:nvPr/>
        </p:nvSpPr>
        <p:spPr bwMode="gray">
          <a:xfrm>
            <a:off x="9515715" y="3409592"/>
            <a:ext cx="28005" cy="40501"/>
          </a:xfrm>
          <a:custGeom>
            <a:avLst/>
            <a:gdLst>
              <a:gd name="T0" fmla="*/ 2147483647 w 14"/>
              <a:gd name="T1" fmla="*/ 2147483647 h 26"/>
              <a:gd name="T2" fmla="*/ 2147483647 w 14"/>
              <a:gd name="T3" fmla="*/ 0 h 26"/>
              <a:gd name="T4" fmla="*/ 0 w 14"/>
              <a:gd name="T5" fmla="*/ 0 h 26"/>
              <a:gd name="T6" fmla="*/ 0 w 14"/>
              <a:gd name="T7" fmla="*/ 0 h 26"/>
              <a:gd name="T8" fmla="*/ 2147483647 w 14"/>
              <a:gd name="T9" fmla="*/ 2147483647 h 26"/>
              <a:gd name="T10" fmla="*/ 2147483647 w 14"/>
              <a:gd name="T11" fmla="*/ 2147483647 h 26"/>
              <a:gd name="T12" fmla="*/ 2147483647 w 14"/>
              <a:gd name="T13" fmla="*/ 2147483647 h 26"/>
              <a:gd name="T14" fmla="*/ 2147483647 w 14"/>
              <a:gd name="T15" fmla="*/ 2147483647 h 26"/>
              <a:gd name="T16" fmla="*/ 2147483647 w 14"/>
              <a:gd name="T17" fmla="*/ 2147483647 h 26"/>
              <a:gd name="T18" fmla="*/ 2147483647 w 14"/>
              <a:gd name="T19" fmla="*/ 2147483647 h 26"/>
              <a:gd name="T20" fmla="*/ 2147483647 w 14"/>
              <a:gd name="T21" fmla="*/ 2147483647 h 26"/>
              <a:gd name="T22" fmla="*/ 2147483647 w 14"/>
              <a:gd name="T23" fmla="*/ 2147483647 h 26"/>
              <a:gd name="T24" fmla="*/ 2147483647 w 14"/>
              <a:gd name="T25" fmla="*/ 2147483647 h 26"/>
              <a:gd name="T26" fmla="*/ 2147483647 w 14"/>
              <a:gd name="T27" fmla="*/ 2147483647 h 26"/>
              <a:gd name="T28" fmla="*/ 2147483647 w 14"/>
              <a:gd name="T29" fmla="*/ 2147483647 h 2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4"/>
              <a:gd name="T46" fmla="*/ 0 h 26"/>
              <a:gd name="T47" fmla="*/ 14 w 14"/>
              <a:gd name="T48" fmla="*/ 26 h 2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4" h="26">
                <a:moveTo>
                  <a:pt x="8" y="6"/>
                </a:moveTo>
                <a:lnTo>
                  <a:pt x="6" y="0"/>
                </a:lnTo>
                <a:lnTo>
                  <a:pt x="0" y="0"/>
                </a:lnTo>
                <a:lnTo>
                  <a:pt x="3" y="12"/>
                </a:lnTo>
                <a:lnTo>
                  <a:pt x="11" y="26"/>
                </a:lnTo>
                <a:lnTo>
                  <a:pt x="14" y="23"/>
                </a:lnTo>
                <a:lnTo>
                  <a:pt x="14" y="21"/>
                </a:lnTo>
                <a:lnTo>
                  <a:pt x="14" y="12"/>
                </a:lnTo>
                <a:lnTo>
                  <a:pt x="8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62" name="Freeform 66"/>
          <p:cNvSpPr>
            <a:spLocks/>
          </p:cNvSpPr>
          <p:nvPr/>
        </p:nvSpPr>
        <p:spPr bwMode="gray">
          <a:xfrm>
            <a:off x="9595729" y="3418593"/>
            <a:ext cx="18003" cy="13500"/>
          </a:xfrm>
          <a:custGeom>
            <a:avLst/>
            <a:gdLst>
              <a:gd name="T0" fmla="*/ 2147483647 w 9"/>
              <a:gd name="T1" fmla="*/ 2147483647 h 9"/>
              <a:gd name="T2" fmla="*/ 2147483647 w 9"/>
              <a:gd name="T3" fmla="*/ 2147483647 h 9"/>
              <a:gd name="T4" fmla="*/ 0 w 9"/>
              <a:gd name="T5" fmla="*/ 0 h 9"/>
              <a:gd name="T6" fmla="*/ 0 w 9"/>
              <a:gd name="T7" fmla="*/ 2147483647 h 9"/>
              <a:gd name="T8" fmla="*/ 0 w 9"/>
              <a:gd name="T9" fmla="*/ 2147483647 h 9"/>
              <a:gd name="T10" fmla="*/ 2147483647 w 9"/>
              <a:gd name="T11" fmla="*/ 2147483647 h 9"/>
              <a:gd name="T12" fmla="*/ 2147483647 w 9"/>
              <a:gd name="T13" fmla="*/ 2147483647 h 9"/>
              <a:gd name="T14" fmla="*/ 2147483647 w 9"/>
              <a:gd name="T15" fmla="*/ 2147483647 h 9"/>
              <a:gd name="T16" fmla="*/ 2147483647 w 9"/>
              <a:gd name="T17" fmla="*/ 2147483647 h 9"/>
              <a:gd name="T18" fmla="*/ 2147483647 w 9"/>
              <a:gd name="T19" fmla="*/ 2147483647 h 9"/>
              <a:gd name="T20" fmla="*/ 2147483647 w 9"/>
              <a:gd name="T21" fmla="*/ 2147483647 h 9"/>
              <a:gd name="T22" fmla="*/ 2147483647 w 9"/>
              <a:gd name="T23" fmla="*/ 2147483647 h 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9"/>
              <a:gd name="T37" fmla="*/ 0 h 9"/>
              <a:gd name="T38" fmla="*/ 9 w 9"/>
              <a:gd name="T39" fmla="*/ 9 h 9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9" h="9">
                <a:moveTo>
                  <a:pt x="3" y="3"/>
                </a:move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lnTo>
                  <a:pt x="3" y="6"/>
                </a:lnTo>
                <a:lnTo>
                  <a:pt x="9" y="9"/>
                </a:lnTo>
                <a:lnTo>
                  <a:pt x="9" y="6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63" name="Rectangle 67"/>
          <p:cNvSpPr>
            <a:spLocks noChangeArrowheads="1"/>
          </p:cNvSpPr>
          <p:nvPr/>
        </p:nvSpPr>
        <p:spPr bwMode="gray">
          <a:xfrm>
            <a:off x="9537718" y="3450093"/>
            <a:ext cx="12002" cy="4501"/>
          </a:xfrm>
          <a:prstGeom prst="rect">
            <a:avLst/>
          </a:pr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64" name="Rectangle 68"/>
          <p:cNvSpPr>
            <a:spLocks noChangeArrowheads="1"/>
          </p:cNvSpPr>
          <p:nvPr/>
        </p:nvSpPr>
        <p:spPr bwMode="gray">
          <a:xfrm>
            <a:off x="9167652" y="3337590"/>
            <a:ext cx="4001" cy="4500"/>
          </a:xfrm>
          <a:prstGeom prst="rect">
            <a:avLst/>
          </a:pr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65" name="Freeform 69"/>
          <p:cNvSpPr>
            <a:spLocks/>
          </p:cNvSpPr>
          <p:nvPr/>
        </p:nvSpPr>
        <p:spPr bwMode="gray">
          <a:xfrm>
            <a:off x="9561722" y="3442594"/>
            <a:ext cx="10002" cy="7500"/>
          </a:xfrm>
          <a:custGeom>
            <a:avLst/>
            <a:gdLst>
              <a:gd name="T0" fmla="*/ 0 w 5"/>
              <a:gd name="T1" fmla="*/ 0 h 5"/>
              <a:gd name="T2" fmla="*/ 0 w 5"/>
              <a:gd name="T3" fmla="*/ 2147483647 h 5"/>
              <a:gd name="T4" fmla="*/ 2147483647 w 5"/>
              <a:gd name="T5" fmla="*/ 2147483647 h 5"/>
              <a:gd name="T6" fmla="*/ 2147483647 w 5"/>
              <a:gd name="T7" fmla="*/ 0 h 5"/>
              <a:gd name="T8" fmla="*/ 0 w 5"/>
              <a:gd name="T9" fmla="*/ 0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5"/>
              <a:gd name="T17" fmla="*/ 5 w 5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5">
                <a:moveTo>
                  <a:pt x="0" y="0"/>
                </a:moveTo>
                <a:lnTo>
                  <a:pt x="0" y="5"/>
                </a:lnTo>
                <a:lnTo>
                  <a:pt x="5" y="2"/>
                </a:lnTo>
                <a:lnTo>
                  <a:pt x="5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66" name="Rectangle 70"/>
          <p:cNvSpPr>
            <a:spLocks noChangeArrowheads="1"/>
          </p:cNvSpPr>
          <p:nvPr/>
        </p:nvSpPr>
        <p:spPr bwMode="gray">
          <a:xfrm>
            <a:off x="9489709" y="3468094"/>
            <a:ext cx="6002" cy="4501"/>
          </a:xfrm>
          <a:prstGeom prst="rect">
            <a:avLst/>
          </a:pr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85" name="Freeform 71"/>
          <p:cNvSpPr>
            <a:spLocks/>
          </p:cNvSpPr>
          <p:nvPr/>
        </p:nvSpPr>
        <p:spPr bwMode="gray">
          <a:xfrm>
            <a:off x="9635737" y="2584571"/>
            <a:ext cx="338060" cy="309008"/>
          </a:xfrm>
          <a:custGeom>
            <a:avLst/>
            <a:gdLst>
              <a:gd name="T0" fmla="*/ 2147483647 w 167"/>
              <a:gd name="T1" fmla="*/ 2147483647 h 204"/>
              <a:gd name="T2" fmla="*/ 2147483647 w 167"/>
              <a:gd name="T3" fmla="*/ 2147483647 h 204"/>
              <a:gd name="T4" fmla="*/ 2147483647 w 167"/>
              <a:gd name="T5" fmla="*/ 2147483647 h 204"/>
              <a:gd name="T6" fmla="*/ 2147483647 w 167"/>
              <a:gd name="T7" fmla="*/ 2147483647 h 204"/>
              <a:gd name="T8" fmla="*/ 2147483647 w 167"/>
              <a:gd name="T9" fmla="*/ 2147483647 h 204"/>
              <a:gd name="T10" fmla="*/ 2147483647 w 167"/>
              <a:gd name="T11" fmla="*/ 2147483647 h 204"/>
              <a:gd name="T12" fmla="*/ 2147483647 w 167"/>
              <a:gd name="T13" fmla="*/ 2147483647 h 204"/>
              <a:gd name="T14" fmla="*/ 2147483647 w 167"/>
              <a:gd name="T15" fmla="*/ 2147483647 h 204"/>
              <a:gd name="T16" fmla="*/ 2147483647 w 167"/>
              <a:gd name="T17" fmla="*/ 2147483647 h 204"/>
              <a:gd name="T18" fmla="*/ 2147483647 w 167"/>
              <a:gd name="T19" fmla="*/ 2147483647 h 204"/>
              <a:gd name="T20" fmla="*/ 2147483647 w 167"/>
              <a:gd name="T21" fmla="*/ 2147483647 h 204"/>
              <a:gd name="T22" fmla="*/ 2147483647 w 167"/>
              <a:gd name="T23" fmla="*/ 2147483647 h 204"/>
              <a:gd name="T24" fmla="*/ 2147483647 w 167"/>
              <a:gd name="T25" fmla="*/ 2147483647 h 204"/>
              <a:gd name="T26" fmla="*/ 2147483647 w 167"/>
              <a:gd name="T27" fmla="*/ 2147483647 h 204"/>
              <a:gd name="T28" fmla="*/ 2147483647 w 167"/>
              <a:gd name="T29" fmla="*/ 2147483647 h 204"/>
              <a:gd name="T30" fmla="*/ 2147483647 w 167"/>
              <a:gd name="T31" fmla="*/ 2147483647 h 204"/>
              <a:gd name="T32" fmla="*/ 2147483647 w 167"/>
              <a:gd name="T33" fmla="*/ 2147483647 h 204"/>
              <a:gd name="T34" fmla="*/ 2147483647 w 167"/>
              <a:gd name="T35" fmla="*/ 2147483647 h 204"/>
              <a:gd name="T36" fmla="*/ 2147483647 w 167"/>
              <a:gd name="T37" fmla="*/ 2147483647 h 204"/>
              <a:gd name="T38" fmla="*/ 2147483647 w 167"/>
              <a:gd name="T39" fmla="*/ 2147483647 h 204"/>
              <a:gd name="T40" fmla="*/ 2147483647 w 167"/>
              <a:gd name="T41" fmla="*/ 2147483647 h 204"/>
              <a:gd name="T42" fmla="*/ 2147483647 w 167"/>
              <a:gd name="T43" fmla="*/ 2147483647 h 204"/>
              <a:gd name="T44" fmla="*/ 2147483647 w 167"/>
              <a:gd name="T45" fmla="*/ 2147483647 h 204"/>
              <a:gd name="T46" fmla="*/ 2147483647 w 167"/>
              <a:gd name="T47" fmla="*/ 2147483647 h 204"/>
              <a:gd name="T48" fmla="*/ 2147483647 w 167"/>
              <a:gd name="T49" fmla="*/ 2147483647 h 204"/>
              <a:gd name="T50" fmla="*/ 2147483647 w 167"/>
              <a:gd name="T51" fmla="*/ 2147483647 h 204"/>
              <a:gd name="T52" fmla="*/ 2147483647 w 167"/>
              <a:gd name="T53" fmla="*/ 2147483647 h 204"/>
              <a:gd name="T54" fmla="*/ 2147483647 w 167"/>
              <a:gd name="T55" fmla="*/ 2147483647 h 204"/>
              <a:gd name="T56" fmla="*/ 2147483647 w 167"/>
              <a:gd name="T57" fmla="*/ 2147483647 h 204"/>
              <a:gd name="T58" fmla="*/ 2147483647 w 167"/>
              <a:gd name="T59" fmla="*/ 2147483647 h 204"/>
              <a:gd name="T60" fmla="*/ 2147483647 w 167"/>
              <a:gd name="T61" fmla="*/ 2147483647 h 204"/>
              <a:gd name="T62" fmla="*/ 2147483647 w 167"/>
              <a:gd name="T63" fmla="*/ 2147483647 h 204"/>
              <a:gd name="T64" fmla="*/ 2147483647 w 167"/>
              <a:gd name="T65" fmla="*/ 2147483647 h 204"/>
              <a:gd name="T66" fmla="*/ 2147483647 w 167"/>
              <a:gd name="T67" fmla="*/ 2147483647 h 204"/>
              <a:gd name="T68" fmla="*/ 2147483647 w 167"/>
              <a:gd name="T69" fmla="*/ 2147483647 h 204"/>
              <a:gd name="T70" fmla="*/ 2147483647 w 167"/>
              <a:gd name="T71" fmla="*/ 2147483647 h 204"/>
              <a:gd name="T72" fmla="*/ 2147483647 w 167"/>
              <a:gd name="T73" fmla="*/ 2147483647 h 204"/>
              <a:gd name="T74" fmla="*/ 2147483647 w 167"/>
              <a:gd name="T75" fmla="*/ 2147483647 h 204"/>
              <a:gd name="T76" fmla="*/ 2147483647 w 167"/>
              <a:gd name="T77" fmla="*/ 2147483647 h 204"/>
              <a:gd name="T78" fmla="*/ 2147483647 w 167"/>
              <a:gd name="T79" fmla="*/ 2147483647 h 204"/>
              <a:gd name="T80" fmla="*/ 2147483647 w 167"/>
              <a:gd name="T81" fmla="*/ 2147483647 h 204"/>
              <a:gd name="T82" fmla="*/ 2147483647 w 167"/>
              <a:gd name="T83" fmla="*/ 2147483647 h 204"/>
              <a:gd name="T84" fmla="*/ 2147483647 w 167"/>
              <a:gd name="T85" fmla="*/ 2147483647 h 204"/>
              <a:gd name="T86" fmla="*/ 2147483647 w 167"/>
              <a:gd name="T87" fmla="*/ 2147483647 h 204"/>
              <a:gd name="T88" fmla="*/ 2147483647 w 167"/>
              <a:gd name="T89" fmla="*/ 2147483647 h 204"/>
              <a:gd name="T90" fmla="*/ 2147483647 w 167"/>
              <a:gd name="T91" fmla="*/ 2147483647 h 204"/>
              <a:gd name="T92" fmla="*/ 2147483647 w 167"/>
              <a:gd name="T93" fmla="*/ 2147483647 h 204"/>
              <a:gd name="T94" fmla="*/ 2147483647 w 167"/>
              <a:gd name="T95" fmla="*/ 2147483647 h 204"/>
              <a:gd name="T96" fmla="*/ 2147483647 w 167"/>
              <a:gd name="T97" fmla="*/ 2147483647 h 204"/>
              <a:gd name="T98" fmla="*/ 2147483647 w 167"/>
              <a:gd name="T99" fmla="*/ 2147483647 h 204"/>
              <a:gd name="T100" fmla="*/ 2147483647 w 167"/>
              <a:gd name="T101" fmla="*/ 2147483647 h 204"/>
              <a:gd name="T102" fmla="*/ 2147483647 w 167"/>
              <a:gd name="T103" fmla="*/ 2147483647 h 204"/>
              <a:gd name="T104" fmla="*/ 2147483647 w 167"/>
              <a:gd name="T105" fmla="*/ 2147483647 h 204"/>
              <a:gd name="T106" fmla="*/ 2147483647 w 167"/>
              <a:gd name="T107" fmla="*/ 2147483647 h 204"/>
              <a:gd name="T108" fmla="*/ 2147483647 w 167"/>
              <a:gd name="T109" fmla="*/ 2147483647 h 204"/>
              <a:gd name="T110" fmla="*/ 2147483647 w 167"/>
              <a:gd name="T111" fmla="*/ 2147483647 h 20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67"/>
              <a:gd name="T169" fmla="*/ 0 h 204"/>
              <a:gd name="T170" fmla="*/ 167 w 167"/>
              <a:gd name="T171" fmla="*/ 204 h 204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67" h="204">
                <a:moveTo>
                  <a:pt x="6" y="164"/>
                </a:moveTo>
                <a:lnTo>
                  <a:pt x="6" y="164"/>
                </a:lnTo>
                <a:lnTo>
                  <a:pt x="12" y="172"/>
                </a:lnTo>
                <a:lnTo>
                  <a:pt x="14" y="167"/>
                </a:lnTo>
                <a:lnTo>
                  <a:pt x="14" y="161"/>
                </a:lnTo>
                <a:lnTo>
                  <a:pt x="20" y="164"/>
                </a:lnTo>
                <a:lnTo>
                  <a:pt x="17" y="167"/>
                </a:lnTo>
                <a:lnTo>
                  <a:pt x="17" y="172"/>
                </a:lnTo>
                <a:lnTo>
                  <a:pt x="17" y="178"/>
                </a:lnTo>
                <a:lnTo>
                  <a:pt x="20" y="181"/>
                </a:lnTo>
                <a:lnTo>
                  <a:pt x="23" y="175"/>
                </a:lnTo>
                <a:lnTo>
                  <a:pt x="20" y="172"/>
                </a:lnTo>
                <a:lnTo>
                  <a:pt x="23" y="169"/>
                </a:lnTo>
                <a:lnTo>
                  <a:pt x="26" y="175"/>
                </a:lnTo>
                <a:lnTo>
                  <a:pt x="26" y="181"/>
                </a:lnTo>
                <a:lnTo>
                  <a:pt x="23" y="184"/>
                </a:lnTo>
                <a:lnTo>
                  <a:pt x="26" y="187"/>
                </a:lnTo>
                <a:lnTo>
                  <a:pt x="32" y="201"/>
                </a:lnTo>
                <a:lnTo>
                  <a:pt x="34" y="201"/>
                </a:lnTo>
                <a:lnTo>
                  <a:pt x="34" y="192"/>
                </a:lnTo>
                <a:lnTo>
                  <a:pt x="37" y="189"/>
                </a:lnTo>
                <a:lnTo>
                  <a:pt x="34" y="192"/>
                </a:lnTo>
                <a:lnTo>
                  <a:pt x="37" y="198"/>
                </a:lnTo>
                <a:lnTo>
                  <a:pt x="37" y="204"/>
                </a:lnTo>
                <a:lnTo>
                  <a:pt x="46" y="198"/>
                </a:lnTo>
                <a:lnTo>
                  <a:pt x="46" y="192"/>
                </a:lnTo>
                <a:lnTo>
                  <a:pt x="46" y="187"/>
                </a:lnTo>
                <a:lnTo>
                  <a:pt x="43" y="181"/>
                </a:lnTo>
                <a:lnTo>
                  <a:pt x="46" y="175"/>
                </a:lnTo>
                <a:lnTo>
                  <a:pt x="46" y="169"/>
                </a:lnTo>
                <a:lnTo>
                  <a:pt x="46" y="167"/>
                </a:lnTo>
                <a:lnTo>
                  <a:pt x="43" y="161"/>
                </a:lnTo>
                <a:lnTo>
                  <a:pt x="40" y="158"/>
                </a:lnTo>
                <a:lnTo>
                  <a:pt x="37" y="161"/>
                </a:lnTo>
                <a:lnTo>
                  <a:pt x="37" y="155"/>
                </a:lnTo>
                <a:lnTo>
                  <a:pt x="37" y="152"/>
                </a:lnTo>
                <a:lnTo>
                  <a:pt x="34" y="152"/>
                </a:lnTo>
                <a:lnTo>
                  <a:pt x="29" y="152"/>
                </a:lnTo>
                <a:lnTo>
                  <a:pt x="26" y="149"/>
                </a:lnTo>
                <a:lnTo>
                  <a:pt x="23" y="149"/>
                </a:lnTo>
                <a:lnTo>
                  <a:pt x="26" y="149"/>
                </a:lnTo>
                <a:lnTo>
                  <a:pt x="32" y="146"/>
                </a:lnTo>
                <a:lnTo>
                  <a:pt x="37" y="146"/>
                </a:lnTo>
                <a:lnTo>
                  <a:pt x="40" y="146"/>
                </a:lnTo>
                <a:lnTo>
                  <a:pt x="43" y="146"/>
                </a:lnTo>
                <a:lnTo>
                  <a:pt x="49" y="144"/>
                </a:lnTo>
                <a:lnTo>
                  <a:pt x="52" y="141"/>
                </a:lnTo>
                <a:lnTo>
                  <a:pt x="49" y="146"/>
                </a:lnTo>
                <a:lnTo>
                  <a:pt x="49" y="155"/>
                </a:lnTo>
                <a:lnTo>
                  <a:pt x="43" y="158"/>
                </a:lnTo>
                <a:lnTo>
                  <a:pt x="46" y="158"/>
                </a:lnTo>
                <a:lnTo>
                  <a:pt x="49" y="158"/>
                </a:lnTo>
                <a:lnTo>
                  <a:pt x="55" y="167"/>
                </a:lnTo>
                <a:lnTo>
                  <a:pt x="60" y="169"/>
                </a:lnTo>
                <a:lnTo>
                  <a:pt x="63" y="169"/>
                </a:lnTo>
                <a:lnTo>
                  <a:pt x="63" y="161"/>
                </a:lnTo>
                <a:lnTo>
                  <a:pt x="69" y="152"/>
                </a:lnTo>
                <a:lnTo>
                  <a:pt x="75" y="155"/>
                </a:lnTo>
                <a:lnTo>
                  <a:pt x="78" y="158"/>
                </a:lnTo>
                <a:lnTo>
                  <a:pt x="78" y="161"/>
                </a:lnTo>
                <a:lnTo>
                  <a:pt x="80" y="158"/>
                </a:lnTo>
                <a:lnTo>
                  <a:pt x="80" y="152"/>
                </a:lnTo>
                <a:lnTo>
                  <a:pt x="83" y="149"/>
                </a:lnTo>
                <a:lnTo>
                  <a:pt x="83" y="146"/>
                </a:lnTo>
                <a:lnTo>
                  <a:pt x="78" y="144"/>
                </a:lnTo>
                <a:lnTo>
                  <a:pt x="78" y="141"/>
                </a:lnTo>
                <a:lnTo>
                  <a:pt x="72" y="138"/>
                </a:lnTo>
                <a:lnTo>
                  <a:pt x="66" y="138"/>
                </a:lnTo>
                <a:lnTo>
                  <a:pt x="63" y="141"/>
                </a:lnTo>
                <a:lnTo>
                  <a:pt x="66" y="144"/>
                </a:lnTo>
                <a:lnTo>
                  <a:pt x="63" y="144"/>
                </a:lnTo>
                <a:lnTo>
                  <a:pt x="60" y="146"/>
                </a:lnTo>
                <a:lnTo>
                  <a:pt x="57" y="146"/>
                </a:lnTo>
                <a:lnTo>
                  <a:pt x="52" y="141"/>
                </a:lnTo>
                <a:lnTo>
                  <a:pt x="63" y="135"/>
                </a:lnTo>
                <a:lnTo>
                  <a:pt x="72" y="129"/>
                </a:lnTo>
                <a:lnTo>
                  <a:pt x="75" y="132"/>
                </a:lnTo>
                <a:lnTo>
                  <a:pt x="80" y="132"/>
                </a:lnTo>
                <a:lnTo>
                  <a:pt x="86" y="132"/>
                </a:lnTo>
                <a:lnTo>
                  <a:pt x="89" y="132"/>
                </a:lnTo>
                <a:lnTo>
                  <a:pt x="89" y="135"/>
                </a:lnTo>
                <a:lnTo>
                  <a:pt x="89" y="141"/>
                </a:lnTo>
                <a:lnTo>
                  <a:pt x="89" y="149"/>
                </a:lnTo>
                <a:lnTo>
                  <a:pt x="92" y="152"/>
                </a:lnTo>
                <a:lnTo>
                  <a:pt x="95" y="152"/>
                </a:lnTo>
                <a:lnTo>
                  <a:pt x="101" y="158"/>
                </a:lnTo>
                <a:lnTo>
                  <a:pt x="103" y="158"/>
                </a:lnTo>
                <a:lnTo>
                  <a:pt x="103" y="155"/>
                </a:lnTo>
                <a:lnTo>
                  <a:pt x="106" y="152"/>
                </a:lnTo>
                <a:lnTo>
                  <a:pt x="109" y="146"/>
                </a:lnTo>
                <a:lnTo>
                  <a:pt x="115" y="141"/>
                </a:lnTo>
                <a:lnTo>
                  <a:pt x="115" y="138"/>
                </a:lnTo>
                <a:lnTo>
                  <a:pt x="112" y="135"/>
                </a:lnTo>
                <a:lnTo>
                  <a:pt x="109" y="135"/>
                </a:lnTo>
                <a:lnTo>
                  <a:pt x="106" y="129"/>
                </a:lnTo>
                <a:lnTo>
                  <a:pt x="106" y="126"/>
                </a:lnTo>
                <a:lnTo>
                  <a:pt x="106" y="123"/>
                </a:lnTo>
                <a:lnTo>
                  <a:pt x="109" y="129"/>
                </a:lnTo>
                <a:lnTo>
                  <a:pt x="115" y="129"/>
                </a:lnTo>
                <a:lnTo>
                  <a:pt x="118" y="132"/>
                </a:lnTo>
                <a:lnTo>
                  <a:pt x="123" y="135"/>
                </a:lnTo>
                <a:lnTo>
                  <a:pt x="132" y="135"/>
                </a:lnTo>
                <a:lnTo>
                  <a:pt x="135" y="132"/>
                </a:lnTo>
                <a:lnTo>
                  <a:pt x="132" y="129"/>
                </a:lnTo>
                <a:lnTo>
                  <a:pt x="135" y="126"/>
                </a:lnTo>
                <a:lnTo>
                  <a:pt x="138" y="123"/>
                </a:lnTo>
                <a:lnTo>
                  <a:pt x="141" y="121"/>
                </a:lnTo>
                <a:lnTo>
                  <a:pt x="141" y="123"/>
                </a:lnTo>
                <a:lnTo>
                  <a:pt x="141" y="126"/>
                </a:lnTo>
                <a:lnTo>
                  <a:pt x="141" y="129"/>
                </a:lnTo>
                <a:lnTo>
                  <a:pt x="144" y="132"/>
                </a:lnTo>
                <a:lnTo>
                  <a:pt x="146" y="132"/>
                </a:lnTo>
                <a:lnTo>
                  <a:pt x="146" y="123"/>
                </a:lnTo>
                <a:lnTo>
                  <a:pt x="146" y="121"/>
                </a:lnTo>
                <a:lnTo>
                  <a:pt x="152" y="118"/>
                </a:lnTo>
                <a:lnTo>
                  <a:pt x="152" y="115"/>
                </a:lnTo>
                <a:lnTo>
                  <a:pt x="155" y="112"/>
                </a:lnTo>
                <a:lnTo>
                  <a:pt x="155" y="115"/>
                </a:lnTo>
                <a:lnTo>
                  <a:pt x="155" y="118"/>
                </a:lnTo>
                <a:lnTo>
                  <a:pt x="158" y="123"/>
                </a:lnTo>
                <a:lnTo>
                  <a:pt x="158" y="129"/>
                </a:lnTo>
                <a:lnTo>
                  <a:pt x="161" y="132"/>
                </a:lnTo>
                <a:lnTo>
                  <a:pt x="164" y="126"/>
                </a:lnTo>
                <a:lnTo>
                  <a:pt x="164" y="121"/>
                </a:lnTo>
                <a:lnTo>
                  <a:pt x="164" y="115"/>
                </a:lnTo>
                <a:lnTo>
                  <a:pt x="167" y="112"/>
                </a:lnTo>
                <a:lnTo>
                  <a:pt x="164" y="109"/>
                </a:lnTo>
                <a:lnTo>
                  <a:pt x="161" y="103"/>
                </a:lnTo>
                <a:lnTo>
                  <a:pt x="158" y="92"/>
                </a:lnTo>
                <a:lnTo>
                  <a:pt x="158" y="83"/>
                </a:lnTo>
                <a:lnTo>
                  <a:pt x="152" y="72"/>
                </a:lnTo>
                <a:lnTo>
                  <a:pt x="149" y="66"/>
                </a:lnTo>
                <a:lnTo>
                  <a:pt x="146" y="63"/>
                </a:lnTo>
                <a:lnTo>
                  <a:pt x="146" y="60"/>
                </a:lnTo>
                <a:lnTo>
                  <a:pt x="152" y="60"/>
                </a:lnTo>
                <a:lnTo>
                  <a:pt x="152" y="63"/>
                </a:lnTo>
                <a:lnTo>
                  <a:pt x="152" y="57"/>
                </a:lnTo>
                <a:lnTo>
                  <a:pt x="149" y="55"/>
                </a:lnTo>
                <a:lnTo>
                  <a:pt x="152" y="49"/>
                </a:lnTo>
                <a:lnTo>
                  <a:pt x="152" y="40"/>
                </a:lnTo>
                <a:lnTo>
                  <a:pt x="149" y="34"/>
                </a:lnTo>
                <a:lnTo>
                  <a:pt x="144" y="29"/>
                </a:lnTo>
                <a:lnTo>
                  <a:pt x="132" y="17"/>
                </a:lnTo>
                <a:lnTo>
                  <a:pt x="126" y="9"/>
                </a:lnTo>
                <a:lnTo>
                  <a:pt x="121" y="3"/>
                </a:lnTo>
                <a:lnTo>
                  <a:pt x="115" y="0"/>
                </a:lnTo>
                <a:lnTo>
                  <a:pt x="112" y="0"/>
                </a:lnTo>
                <a:lnTo>
                  <a:pt x="109" y="6"/>
                </a:lnTo>
                <a:lnTo>
                  <a:pt x="103" y="6"/>
                </a:lnTo>
                <a:lnTo>
                  <a:pt x="109" y="11"/>
                </a:lnTo>
                <a:lnTo>
                  <a:pt x="109" y="14"/>
                </a:lnTo>
                <a:lnTo>
                  <a:pt x="106" y="14"/>
                </a:lnTo>
                <a:lnTo>
                  <a:pt x="106" y="20"/>
                </a:lnTo>
                <a:lnTo>
                  <a:pt x="109" y="26"/>
                </a:lnTo>
                <a:lnTo>
                  <a:pt x="106" y="29"/>
                </a:lnTo>
                <a:lnTo>
                  <a:pt x="106" y="32"/>
                </a:lnTo>
                <a:lnTo>
                  <a:pt x="112" y="32"/>
                </a:lnTo>
                <a:lnTo>
                  <a:pt x="115" y="32"/>
                </a:lnTo>
                <a:lnTo>
                  <a:pt x="118" y="34"/>
                </a:lnTo>
                <a:lnTo>
                  <a:pt x="121" y="43"/>
                </a:lnTo>
                <a:lnTo>
                  <a:pt x="121" y="52"/>
                </a:lnTo>
                <a:lnTo>
                  <a:pt x="123" y="63"/>
                </a:lnTo>
                <a:lnTo>
                  <a:pt x="123" y="66"/>
                </a:lnTo>
                <a:lnTo>
                  <a:pt x="121" y="66"/>
                </a:lnTo>
                <a:lnTo>
                  <a:pt x="118" y="69"/>
                </a:lnTo>
                <a:lnTo>
                  <a:pt x="118" y="75"/>
                </a:lnTo>
                <a:lnTo>
                  <a:pt x="118" y="80"/>
                </a:lnTo>
                <a:lnTo>
                  <a:pt x="112" y="83"/>
                </a:lnTo>
                <a:lnTo>
                  <a:pt x="106" y="86"/>
                </a:lnTo>
                <a:lnTo>
                  <a:pt x="103" y="89"/>
                </a:lnTo>
                <a:lnTo>
                  <a:pt x="103" y="92"/>
                </a:lnTo>
                <a:lnTo>
                  <a:pt x="101" y="95"/>
                </a:lnTo>
                <a:lnTo>
                  <a:pt x="101" y="92"/>
                </a:lnTo>
                <a:lnTo>
                  <a:pt x="95" y="89"/>
                </a:lnTo>
                <a:lnTo>
                  <a:pt x="95" y="86"/>
                </a:lnTo>
                <a:lnTo>
                  <a:pt x="98" y="80"/>
                </a:lnTo>
                <a:lnTo>
                  <a:pt x="98" y="75"/>
                </a:lnTo>
                <a:lnTo>
                  <a:pt x="95" y="75"/>
                </a:lnTo>
                <a:lnTo>
                  <a:pt x="89" y="78"/>
                </a:lnTo>
                <a:lnTo>
                  <a:pt x="86" y="80"/>
                </a:lnTo>
                <a:lnTo>
                  <a:pt x="92" y="86"/>
                </a:lnTo>
                <a:lnTo>
                  <a:pt x="92" y="89"/>
                </a:lnTo>
                <a:lnTo>
                  <a:pt x="92" y="92"/>
                </a:lnTo>
                <a:lnTo>
                  <a:pt x="86" y="98"/>
                </a:lnTo>
                <a:lnTo>
                  <a:pt x="86" y="100"/>
                </a:lnTo>
                <a:lnTo>
                  <a:pt x="86" y="106"/>
                </a:lnTo>
                <a:lnTo>
                  <a:pt x="92" y="112"/>
                </a:lnTo>
                <a:lnTo>
                  <a:pt x="92" y="115"/>
                </a:lnTo>
                <a:lnTo>
                  <a:pt x="89" y="115"/>
                </a:lnTo>
                <a:lnTo>
                  <a:pt x="80" y="115"/>
                </a:lnTo>
                <a:lnTo>
                  <a:pt x="78" y="115"/>
                </a:lnTo>
                <a:lnTo>
                  <a:pt x="78" y="112"/>
                </a:lnTo>
                <a:lnTo>
                  <a:pt x="78" y="109"/>
                </a:lnTo>
                <a:lnTo>
                  <a:pt x="63" y="115"/>
                </a:lnTo>
                <a:lnTo>
                  <a:pt x="52" y="118"/>
                </a:lnTo>
                <a:lnTo>
                  <a:pt x="46" y="115"/>
                </a:lnTo>
                <a:lnTo>
                  <a:pt x="40" y="115"/>
                </a:lnTo>
                <a:lnTo>
                  <a:pt x="37" y="121"/>
                </a:lnTo>
                <a:lnTo>
                  <a:pt x="34" y="123"/>
                </a:lnTo>
                <a:lnTo>
                  <a:pt x="26" y="132"/>
                </a:lnTo>
                <a:lnTo>
                  <a:pt x="23" y="138"/>
                </a:lnTo>
                <a:lnTo>
                  <a:pt x="20" y="138"/>
                </a:lnTo>
                <a:lnTo>
                  <a:pt x="17" y="141"/>
                </a:lnTo>
                <a:lnTo>
                  <a:pt x="20" y="146"/>
                </a:lnTo>
                <a:lnTo>
                  <a:pt x="17" y="149"/>
                </a:lnTo>
                <a:lnTo>
                  <a:pt x="14" y="152"/>
                </a:lnTo>
                <a:lnTo>
                  <a:pt x="9" y="155"/>
                </a:lnTo>
                <a:lnTo>
                  <a:pt x="0" y="161"/>
                </a:lnTo>
                <a:lnTo>
                  <a:pt x="6" y="164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68" name="Freeform 72"/>
          <p:cNvSpPr>
            <a:spLocks/>
          </p:cNvSpPr>
          <p:nvPr/>
        </p:nvSpPr>
        <p:spPr bwMode="gray">
          <a:xfrm>
            <a:off x="9473707" y="2670072"/>
            <a:ext cx="134025" cy="127504"/>
          </a:xfrm>
          <a:custGeom>
            <a:avLst/>
            <a:gdLst>
              <a:gd name="T0" fmla="*/ 2147483647 w 66"/>
              <a:gd name="T1" fmla="*/ 2147483647 h 84"/>
              <a:gd name="T2" fmla="*/ 2147483647 w 66"/>
              <a:gd name="T3" fmla="*/ 2147483647 h 84"/>
              <a:gd name="T4" fmla="*/ 2147483647 w 66"/>
              <a:gd name="T5" fmla="*/ 2147483647 h 84"/>
              <a:gd name="T6" fmla="*/ 2147483647 w 66"/>
              <a:gd name="T7" fmla="*/ 2147483647 h 84"/>
              <a:gd name="T8" fmla="*/ 2147483647 w 66"/>
              <a:gd name="T9" fmla="*/ 2147483647 h 84"/>
              <a:gd name="T10" fmla="*/ 2147483647 w 66"/>
              <a:gd name="T11" fmla="*/ 2147483647 h 84"/>
              <a:gd name="T12" fmla="*/ 2147483647 w 66"/>
              <a:gd name="T13" fmla="*/ 2147483647 h 84"/>
              <a:gd name="T14" fmla="*/ 2147483647 w 66"/>
              <a:gd name="T15" fmla="*/ 2147483647 h 84"/>
              <a:gd name="T16" fmla="*/ 2147483647 w 66"/>
              <a:gd name="T17" fmla="*/ 2147483647 h 84"/>
              <a:gd name="T18" fmla="*/ 0 w 66"/>
              <a:gd name="T19" fmla="*/ 2147483647 h 84"/>
              <a:gd name="T20" fmla="*/ 2147483647 w 66"/>
              <a:gd name="T21" fmla="*/ 2147483647 h 84"/>
              <a:gd name="T22" fmla="*/ 2147483647 w 66"/>
              <a:gd name="T23" fmla="*/ 2147483647 h 84"/>
              <a:gd name="T24" fmla="*/ 0 w 66"/>
              <a:gd name="T25" fmla="*/ 2147483647 h 84"/>
              <a:gd name="T26" fmla="*/ 0 w 66"/>
              <a:gd name="T27" fmla="*/ 2147483647 h 84"/>
              <a:gd name="T28" fmla="*/ 0 w 66"/>
              <a:gd name="T29" fmla="*/ 2147483647 h 84"/>
              <a:gd name="T30" fmla="*/ 2147483647 w 66"/>
              <a:gd name="T31" fmla="*/ 2147483647 h 84"/>
              <a:gd name="T32" fmla="*/ 2147483647 w 66"/>
              <a:gd name="T33" fmla="*/ 2147483647 h 84"/>
              <a:gd name="T34" fmla="*/ 2147483647 w 66"/>
              <a:gd name="T35" fmla="*/ 2147483647 h 84"/>
              <a:gd name="T36" fmla="*/ 2147483647 w 66"/>
              <a:gd name="T37" fmla="*/ 2147483647 h 84"/>
              <a:gd name="T38" fmla="*/ 2147483647 w 66"/>
              <a:gd name="T39" fmla="*/ 2147483647 h 84"/>
              <a:gd name="T40" fmla="*/ 2147483647 w 66"/>
              <a:gd name="T41" fmla="*/ 2147483647 h 84"/>
              <a:gd name="T42" fmla="*/ 2147483647 w 66"/>
              <a:gd name="T43" fmla="*/ 2147483647 h 84"/>
              <a:gd name="T44" fmla="*/ 2147483647 w 66"/>
              <a:gd name="T45" fmla="*/ 2147483647 h 84"/>
              <a:gd name="T46" fmla="*/ 2147483647 w 66"/>
              <a:gd name="T47" fmla="*/ 2147483647 h 84"/>
              <a:gd name="T48" fmla="*/ 2147483647 w 66"/>
              <a:gd name="T49" fmla="*/ 2147483647 h 84"/>
              <a:gd name="T50" fmla="*/ 2147483647 w 66"/>
              <a:gd name="T51" fmla="*/ 2147483647 h 84"/>
              <a:gd name="T52" fmla="*/ 2147483647 w 66"/>
              <a:gd name="T53" fmla="*/ 2147483647 h 84"/>
              <a:gd name="T54" fmla="*/ 2147483647 w 66"/>
              <a:gd name="T55" fmla="*/ 2147483647 h 84"/>
              <a:gd name="T56" fmla="*/ 2147483647 w 66"/>
              <a:gd name="T57" fmla="*/ 2147483647 h 84"/>
              <a:gd name="T58" fmla="*/ 2147483647 w 66"/>
              <a:gd name="T59" fmla="*/ 2147483647 h 84"/>
              <a:gd name="T60" fmla="*/ 2147483647 w 66"/>
              <a:gd name="T61" fmla="*/ 2147483647 h 84"/>
              <a:gd name="T62" fmla="*/ 2147483647 w 66"/>
              <a:gd name="T63" fmla="*/ 2147483647 h 84"/>
              <a:gd name="T64" fmla="*/ 2147483647 w 66"/>
              <a:gd name="T65" fmla="*/ 2147483647 h 8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66"/>
              <a:gd name="T100" fmla="*/ 0 h 84"/>
              <a:gd name="T101" fmla="*/ 66 w 66"/>
              <a:gd name="T102" fmla="*/ 84 h 84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66" h="84">
                <a:moveTo>
                  <a:pt x="63" y="49"/>
                </a:moveTo>
                <a:lnTo>
                  <a:pt x="63" y="49"/>
                </a:lnTo>
                <a:lnTo>
                  <a:pt x="60" y="46"/>
                </a:lnTo>
                <a:lnTo>
                  <a:pt x="57" y="43"/>
                </a:lnTo>
                <a:lnTo>
                  <a:pt x="54" y="35"/>
                </a:lnTo>
                <a:lnTo>
                  <a:pt x="51" y="26"/>
                </a:lnTo>
                <a:lnTo>
                  <a:pt x="43" y="18"/>
                </a:lnTo>
                <a:lnTo>
                  <a:pt x="37" y="12"/>
                </a:lnTo>
                <a:lnTo>
                  <a:pt x="28" y="6"/>
                </a:lnTo>
                <a:lnTo>
                  <a:pt x="26" y="0"/>
                </a:lnTo>
                <a:lnTo>
                  <a:pt x="23" y="6"/>
                </a:lnTo>
                <a:lnTo>
                  <a:pt x="14" y="3"/>
                </a:lnTo>
                <a:lnTo>
                  <a:pt x="5" y="6"/>
                </a:lnTo>
                <a:lnTo>
                  <a:pt x="0" y="15"/>
                </a:lnTo>
                <a:lnTo>
                  <a:pt x="0" y="18"/>
                </a:lnTo>
                <a:lnTo>
                  <a:pt x="5" y="18"/>
                </a:lnTo>
                <a:lnTo>
                  <a:pt x="8" y="26"/>
                </a:lnTo>
                <a:lnTo>
                  <a:pt x="11" y="29"/>
                </a:lnTo>
                <a:lnTo>
                  <a:pt x="5" y="32"/>
                </a:lnTo>
                <a:lnTo>
                  <a:pt x="0" y="32"/>
                </a:lnTo>
                <a:lnTo>
                  <a:pt x="0" y="35"/>
                </a:lnTo>
                <a:lnTo>
                  <a:pt x="8" y="38"/>
                </a:lnTo>
                <a:lnTo>
                  <a:pt x="8" y="41"/>
                </a:lnTo>
                <a:lnTo>
                  <a:pt x="11" y="46"/>
                </a:lnTo>
                <a:lnTo>
                  <a:pt x="17" y="49"/>
                </a:lnTo>
                <a:lnTo>
                  <a:pt x="17" y="55"/>
                </a:lnTo>
                <a:lnTo>
                  <a:pt x="20" y="61"/>
                </a:lnTo>
                <a:lnTo>
                  <a:pt x="17" y="66"/>
                </a:lnTo>
                <a:lnTo>
                  <a:pt x="23" y="72"/>
                </a:lnTo>
                <a:lnTo>
                  <a:pt x="20" y="81"/>
                </a:lnTo>
                <a:lnTo>
                  <a:pt x="23" y="81"/>
                </a:lnTo>
                <a:lnTo>
                  <a:pt x="26" y="81"/>
                </a:lnTo>
                <a:lnTo>
                  <a:pt x="28" y="84"/>
                </a:lnTo>
                <a:lnTo>
                  <a:pt x="28" y="78"/>
                </a:lnTo>
                <a:lnTo>
                  <a:pt x="34" y="78"/>
                </a:lnTo>
                <a:lnTo>
                  <a:pt x="37" y="78"/>
                </a:lnTo>
                <a:lnTo>
                  <a:pt x="40" y="75"/>
                </a:lnTo>
                <a:lnTo>
                  <a:pt x="43" y="72"/>
                </a:lnTo>
                <a:lnTo>
                  <a:pt x="48" y="75"/>
                </a:lnTo>
                <a:lnTo>
                  <a:pt x="48" y="69"/>
                </a:lnTo>
                <a:lnTo>
                  <a:pt x="51" y="72"/>
                </a:lnTo>
                <a:lnTo>
                  <a:pt x="57" y="75"/>
                </a:lnTo>
                <a:lnTo>
                  <a:pt x="60" y="69"/>
                </a:lnTo>
                <a:lnTo>
                  <a:pt x="60" y="66"/>
                </a:lnTo>
                <a:lnTo>
                  <a:pt x="63" y="66"/>
                </a:lnTo>
                <a:lnTo>
                  <a:pt x="66" y="66"/>
                </a:lnTo>
                <a:lnTo>
                  <a:pt x="66" y="55"/>
                </a:lnTo>
                <a:lnTo>
                  <a:pt x="66" y="52"/>
                </a:lnTo>
                <a:lnTo>
                  <a:pt x="63" y="4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69" name="Freeform 73"/>
          <p:cNvSpPr>
            <a:spLocks/>
          </p:cNvSpPr>
          <p:nvPr/>
        </p:nvSpPr>
        <p:spPr bwMode="gray">
          <a:xfrm>
            <a:off x="9635736" y="2805076"/>
            <a:ext cx="6000" cy="9000"/>
          </a:xfrm>
          <a:custGeom>
            <a:avLst/>
            <a:gdLst>
              <a:gd name="T0" fmla="*/ 2147483647 w 3"/>
              <a:gd name="T1" fmla="*/ 0 h 6"/>
              <a:gd name="T2" fmla="*/ 0 w 3"/>
              <a:gd name="T3" fmla="*/ 2147483647 h 6"/>
              <a:gd name="T4" fmla="*/ 2147483647 w 3"/>
              <a:gd name="T5" fmla="*/ 2147483647 h 6"/>
              <a:gd name="T6" fmla="*/ 2147483647 w 3"/>
              <a:gd name="T7" fmla="*/ 2147483647 h 6"/>
              <a:gd name="T8" fmla="*/ 2147483647 w 3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3" y="0"/>
                </a:moveTo>
                <a:lnTo>
                  <a:pt x="0" y="6"/>
                </a:lnTo>
                <a:lnTo>
                  <a:pt x="3" y="6"/>
                </a:lnTo>
                <a:lnTo>
                  <a:pt x="3" y="3"/>
                </a:lnTo>
                <a:lnTo>
                  <a:pt x="3" y="0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70" name="Freeform 74"/>
          <p:cNvSpPr>
            <a:spLocks/>
          </p:cNvSpPr>
          <p:nvPr/>
        </p:nvSpPr>
        <p:spPr bwMode="gray">
          <a:xfrm>
            <a:off x="9257667" y="2340063"/>
            <a:ext cx="2001" cy="1501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0 w 1"/>
              <a:gd name="T5" fmla="*/ 0 h 1"/>
              <a:gd name="T6" fmla="*/ 0 w 1"/>
              <a:gd name="T7" fmla="*/ 0 h 1"/>
              <a:gd name="T8" fmla="*/ 0 w 1"/>
              <a:gd name="T9" fmla="*/ 0 h 1"/>
              <a:gd name="T10" fmla="*/ 0 w 1"/>
              <a:gd name="T11" fmla="*/ 0 h 1"/>
              <a:gd name="T12" fmla="*/ 0 w 1"/>
              <a:gd name="T13" fmla="*/ 0 h 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"/>
              <a:gd name="T22" fmla="*/ 0 h 1"/>
              <a:gd name="T23" fmla="*/ 1 w 1"/>
              <a:gd name="T24" fmla="*/ 1 h 1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" h="1">
                <a:moveTo>
                  <a:pt x="0" y="0"/>
                </a:moveTo>
                <a:lnTo>
                  <a:pt x="0" y="0"/>
                </a:lnTo>
                <a:close/>
              </a:path>
            </a:pathLst>
          </a:custGeom>
          <a:solidFill>
            <a:srgbClr val="64B9E4"/>
          </a:solidFill>
          <a:ln w="11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80971" name="Rectangle 75"/>
          <p:cNvSpPr>
            <a:spLocks noChangeArrowheads="1"/>
          </p:cNvSpPr>
          <p:nvPr/>
        </p:nvSpPr>
        <p:spPr bwMode="gray">
          <a:xfrm>
            <a:off x="9629735" y="2829077"/>
            <a:ext cx="6002" cy="9000"/>
          </a:xfrm>
          <a:prstGeom prst="rect">
            <a:avLst/>
          </a:pr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72" name="Freeform 76"/>
          <p:cNvSpPr>
            <a:spLocks/>
          </p:cNvSpPr>
          <p:nvPr/>
        </p:nvSpPr>
        <p:spPr bwMode="gray">
          <a:xfrm>
            <a:off x="8069453" y="2280062"/>
            <a:ext cx="1008182" cy="300008"/>
          </a:xfrm>
          <a:custGeom>
            <a:avLst/>
            <a:gdLst>
              <a:gd name="T0" fmla="*/ 2147483647 w 499"/>
              <a:gd name="T1" fmla="*/ 2147483647 h 198"/>
              <a:gd name="T2" fmla="*/ 2147483647 w 499"/>
              <a:gd name="T3" fmla="*/ 2147483647 h 198"/>
              <a:gd name="T4" fmla="*/ 0 w 499"/>
              <a:gd name="T5" fmla="*/ 2147483647 h 198"/>
              <a:gd name="T6" fmla="*/ 2147483647 w 499"/>
              <a:gd name="T7" fmla="*/ 2147483647 h 198"/>
              <a:gd name="T8" fmla="*/ 2147483647 w 499"/>
              <a:gd name="T9" fmla="*/ 2147483647 h 198"/>
              <a:gd name="T10" fmla="*/ 2147483647 w 499"/>
              <a:gd name="T11" fmla="*/ 2147483647 h 198"/>
              <a:gd name="T12" fmla="*/ 2147483647 w 499"/>
              <a:gd name="T13" fmla="*/ 2147483647 h 198"/>
              <a:gd name="T14" fmla="*/ 2147483647 w 499"/>
              <a:gd name="T15" fmla="*/ 2147483647 h 198"/>
              <a:gd name="T16" fmla="*/ 2147483647 w 499"/>
              <a:gd name="T17" fmla="*/ 2147483647 h 198"/>
              <a:gd name="T18" fmla="*/ 2147483647 w 499"/>
              <a:gd name="T19" fmla="*/ 2147483647 h 198"/>
              <a:gd name="T20" fmla="*/ 2147483647 w 499"/>
              <a:gd name="T21" fmla="*/ 2147483647 h 198"/>
              <a:gd name="T22" fmla="*/ 2147483647 w 499"/>
              <a:gd name="T23" fmla="*/ 2147483647 h 198"/>
              <a:gd name="T24" fmla="*/ 2147483647 w 499"/>
              <a:gd name="T25" fmla="*/ 2147483647 h 198"/>
              <a:gd name="T26" fmla="*/ 2147483647 w 499"/>
              <a:gd name="T27" fmla="*/ 2147483647 h 198"/>
              <a:gd name="T28" fmla="*/ 2147483647 w 499"/>
              <a:gd name="T29" fmla="*/ 2147483647 h 198"/>
              <a:gd name="T30" fmla="*/ 2147483647 w 499"/>
              <a:gd name="T31" fmla="*/ 2147483647 h 198"/>
              <a:gd name="T32" fmla="*/ 2147483647 w 499"/>
              <a:gd name="T33" fmla="*/ 2147483647 h 198"/>
              <a:gd name="T34" fmla="*/ 2147483647 w 499"/>
              <a:gd name="T35" fmla="*/ 2147483647 h 198"/>
              <a:gd name="T36" fmla="*/ 2147483647 w 499"/>
              <a:gd name="T37" fmla="*/ 2147483647 h 198"/>
              <a:gd name="T38" fmla="*/ 2147483647 w 499"/>
              <a:gd name="T39" fmla="*/ 2147483647 h 198"/>
              <a:gd name="T40" fmla="*/ 2147483647 w 499"/>
              <a:gd name="T41" fmla="*/ 2147483647 h 198"/>
              <a:gd name="T42" fmla="*/ 2147483647 w 499"/>
              <a:gd name="T43" fmla="*/ 2147483647 h 198"/>
              <a:gd name="T44" fmla="*/ 2147483647 w 499"/>
              <a:gd name="T45" fmla="*/ 2147483647 h 198"/>
              <a:gd name="T46" fmla="*/ 2147483647 w 499"/>
              <a:gd name="T47" fmla="*/ 2147483647 h 198"/>
              <a:gd name="T48" fmla="*/ 2147483647 w 499"/>
              <a:gd name="T49" fmla="*/ 2147483647 h 198"/>
              <a:gd name="T50" fmla="*/ 2147483647 w 499"/>
              <a:gd name="T51" fmla="*/ 2147483647 h 198"/>
              <a:gd name="T52" fmla="*/ 2147483647 w 499"/>
              <a:gd name="T53" fmla="*/ 2147483647 h 198"/>
              <a:gd name="T54" fmla="*/ 2147483647 w 499"/>
              <a:gd name="T55" fmla="*/ 2147483647 h 198"/>
              <a:gd name="T56" fmla="*/ 2147483647 w 499"/>
              <a:gd name="T57" fmla="*/ 2147483647 h 198"/>
              <a:gd name="T58" fmla="*/ 2147483647 w 499"/>
              <a:gd name="T59" fmla="*/ 2147483647 h 198"/>
              <a:gd name="T60" fmla="*/ 2147483647 w 499"/>
              <a:gd name="T61" fmla="*/ 2147483647 h 198"/>
              <a:gd name="T62" fmla="*/ 2147483647 w 499"/>
              <a:gd name="T63" fmla="*/ 2147483647 h 198"/>
              <a:gd name="T64" fmla="*/ 2147483647 w 499"/>
              <a:gd name="T65" fmla="*/ 2147483647 h 198"/>
              <a:gd name="T66" fmla="*/ 2147483647 w 499"/>
              <a:gd name="T67" fmla="*/ 2147483647 h 198"/>
              <a:gd name="T68" fmla="*/ 2147483647 w 499"/>
              <a:gd name="T69" fmla="*/ 2147483647 h 198"/>
              <a:gd name="T70" fmla="*/ 2147483647 w 499"/>
              <a:gd name="T71" fmla="*/ 2147483647 h 198"/>
              <a:gd name="T72" fmla="*/ 2147483647 w 499"/>
              <a:gd name="T73" fmla="*/ 2147483647 h 198"/>
              <a:gd name="T74" fmla="*/ 2147483647 w 499"/>
              <a:gd name="T75" fmla="*/ 2147483647 h 198"/>
              <a:gd name="T76" fmla="*/ 2147483647 w 499"/>
              <a:gd name="T77" fmla="*/ 2147483647 h 198"/>
              <a:gd name="T78" fmla="*/ 2147483647 w 499"/>
              <a:gd name="T79" fmla="*/ 2147483647 h 198"/>
              <a:gd name="T80" fmla="*/ 2147483647 w 499"/>
              <a:gd name="T81" fmla="*/ 2147483647 h 198"/>
              <a:gd name="T82" fmla="*/ 2147483647 w 499"/>
              <a:gd name="T83" fmla="*/ 2147483647 h 198"/>
              <a:gd name="T84" fmla="*/ 2147483647 w 499"/>
              <a:gd name="T85" fmla="*/ 2147483647 h 198"/>
              <a:gd name="T86" fmla="*/ 2147483647 w 499"/>
              <a:gd name="T87" fmla="*/ 2147483647 h 198"/>
              <a:gd name="T88" fmla="*/ 2147483647 w 499"/>
              <a:gd name="T89" fmla="*/ 0 h 198"/>
              <a:gd name="T90" fmla="*/ 2147483647 w 499"/>
              <a:gd name="T91" fmla="*/ 2147483647 h 198"/>
              <a:gd name="T92" fmla="*/ 2147483647 w 499"/>
              <a:gd name="T93" fmla="*/ 2147483647 h 198"/>
              <a:gd name="T94" fmla="*/ 2147483647 w 499"/>
              <a:gd name="T95" fmla="*/ 2147483647 h 198"/>
              <a:gd name="T96" fmla="*/ 2147483647 w 499"/>
              <a:gd name="T97" fmla="*/ 2147483647 h 198"/>
              <a:gd name="T98" fmla="*/ 2147483647 w 499"/>
              <a:gd name="T99" fmla="*/ 2147483647 h 198"/>
              <a:gd name="T100" fmla="*/ 2147483647 w 499"/>
              <a:gd name="T101" fmla="*/ 2147483647 h 198"/>
              <a:gd name="T102" fmla="*/ 2147483647 w 499"/>
              <a:gd name="T103" fmla="*/ 2147483647 h 198"/>
              <a:gd name="T104" fmla="*/ 2147483647 w 499"/>
              <a:gd name="T105" fmla="*/ 2147483647 h 198"/>
              <a:gd name="T106" fmla="*/ 2147483647 w 499"/>
              <a:gd name="T107" fmla="*/ 2147483647 h 198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499"/>
              <a:gd name="T163" fmla="*/ 0 h 198"/>
              <a:gd name="T164" fmla="*/ 499 w 499"/>
              <a:gd name="T165" fmla="*/ 198 h 198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499" h="198">
                <a:moveTo>
                  <a:pt x="40" y="32"/>
                </a:moveTo>
                <a:lnTo>
                  <a:pt x="40" y="32"/>
                </a:lnTo>
                <a:lnTo>
                  <a:pt x="34" y="34"/>
                </a:lnTo>
                <a:lnTo>
                  <a:pt x="32" y="34"/>
                </a:lnTo>
                <a:lnTo>
                  <a:pt x="29" y="37"/>
                </a:lnTo>
                <a:lnTo>
                  <a:pt x="26" y="34"/>
                </a:lnTo>
                <a:lnTo>
                  <a:pt x="23" y="37"/>
                </a:lnTo>
                <a:lnTo>
                  <a:pt x="20" y="40"/>
                </a:lnTo>
                <a:lnTo>
                  <a:pt x="17" y="43"/>
                </a:lnTo>
                <a:lnTo>
                  <a:pt x="11" y="49"/>
                </a:lnTo>
                <a:lnTo>
                  <a:pt x="3" y="49"/>
                </a:lnTo>
                <a:lnTo>
                  <a:pt x="0" y="49"/>
                </a:lnTo>
                <a:lnTo>
                  <a:pt x="0" y="55"/>
                </a:lnTo>
                <a:lnTo>
                  <a:pt x="0" y="60"/>
                </a:lnTo>
                <a:lnTo>
                  <a:pt x="6" y="63"/>
                </a:lnTo>
                <a:lnTo>
                  <a:pt x="9" y="66"/>
                </a:lnTo>
                <a:lnTo>
                  <a:pt x="11" y="69"/>
                </a:lnTo>
                <a:lnTo>
                  <a:pt x="20" y="72"/>
                </a:lnTo>
                <a:lnTo>
                  <a:pt x="32" y="75"/>
                </a:lnTo>
                <a:lnTo>
                  <a:pt x="34" y="78"/>
                </a:lnTo>
                <a:lnTo>
                  <a:pt x="40" y="80"/>
                </a:lnTo>
                <a:lnTo>
                  <a:pt x="46" y="83"/>
                </a:lnTo>
                <a:lnTo>
                  <a:pt x="52" y="86"/>
                </a:lnTo>
                <a:lnTo>
                  <a:pt x="57" y="95"/>
                </a:lnTo>
                <a:lnTo>
                  <a:pt x="63" y="98"/>
                </a:lnTo>
                <a:lnTo>
                  <a:pt x="66" y="103"/>
                </a:lnTo>
                <a:lnTo>
                  <a:pt x="69" y="112"/>
                </a:lnTo>
                <a:lnTo>
                  <a:pt x="69" y="115"/>
                </a:lnTo>
                <a:lnTo>
                  <a:pt x="72" y="115"/>
                </a:lnTo>
                <a:lnTo>
                  <a:pt x="69" y="118"/>
                </a:lnTo>
                <a:lnTo>
                  <a:pt x="69" y="121"/>
                </a:lnTo>
                <a:lnTo>
                  <a:pt x="69" y="123"/>
                </a:lnTo>
                <a:lnTo>
                  <a:pt x="75" y="129"/>
                </a:lnTo>
                <a:lnTo>
                  <a:pt x="83" y="129"/>
                </a:lnTo>
                <a:lnTo>
                  <a:pt x="98" y="132"/>
                </a:lnTo>
                <a:lnTo>
                  <a:pt x="109" y="135"/>
                </a:lnTo>
                <a:lnTo>
                  <a:pt x="112" y="135"/>
                </a:lnTo>
                <a:lnTo>
                  <a:pt x="121" y="135"/>
                </a:lnTo>
                <a:lnTo>
                  <a:pt x="129" y="138"/>
                </a:lnTo>
                <a:lnTo>
                  <a:pt x="141" y="144"/>
                </a:lnTo>
                <a:lnTo>
                  <a:pt x="144" y="146"/>
                </a:lnTo>
                <a:lnTo>
                  <a:pt x="149" y="146"/>
                </a:lnTo>
                <a:lnTo>
                  <a:pt x="149" y="144"/>
                </a:lnTo>
                <a:lnTo>
                  <a:pt x="149" y="146"/>
                </a:lnTo>
                <a:lnTo>
                  <a:pt x="152" y="152"/>
                </a:lnTo>
                <a:lnTo>
                  <a:pt x="155" y="155"/>
                </a:lnTo>
                <a:lnTo>
                  <a:pt x="161" y="161"/>
                </a:lnTo>
                <a:lnTo>
                  <a:pt x="166" y="167"/>
                </a:lnTo>
                <a:lnTo>
                  <a:pt x="175" y="172"/>
                </a:lnTo>
                <a:lnTo>
                  <a:pt x="184" y="175"/>
                </a:lnTo>
                <a:lnTo>
                  <a:pt x="192" y="175"/>
                </a:lnTo>
                <a:lnTo>
                  <a:pt x="218" y="178"/>
                </a:lnTo>
                <a:lnTo>
                  <a:pt x="227" y="178"/>
                </a:lnTo>
                <a:lnTo>
                  <a:pt x="233" y="178"/>
                </a:lnTo>
                <a:lnTo>
                  <a:pt x="241" y="178"/>
                </a:lnTo>
                <a:lnTo>
                  <a:pt x="250" y="178"/>
                </a:lnTo>
                <a:lnTo>
                  <a:pt x="253" y="178"/>
                </a:lnTo>
                <a:lnTo>
                  <a:pt x="261" y="178"/>
                </a:lnTo>
                <a:lnTo>
                  <a:pt x="264" y="178"/>
                </a:lnTo>
                <a:lnTo>
                  <a:pt x="267" y="181"/>
                </a:lnTo>
                <a:lnTo>
                  <a:pt x="270" y="187"/>
                </a:lnTo>
                <a:lnTo>
                  <a:pt x="278" y="190"/>
                </a:lnTo>
                <a:lnTo>
                  <a:pt x="301" y="192"/>
                </a:lnTo>
                <a:lnTo>
                  <a:pt x="310" y="192"/>
                </a:lnTo>
                <a:lnTo>
                  <a:pt x="313" y="192"/>
                </a:lnTo>
                <a:lnTo>
                  <a:pt x="319" y="198"/>
                </a:lnTo>
                <a:lnTo>
                  <a:pt x="327" y="195"/>
                </a:lnTo>
                <a:lnTo>
                  <a:pt x="333" y="190"/>
                </a:lnTo>
                <a:lnTo>
                  <a:pt x="344" y="184"/>
                </a:lnTo>
                <a:lnTo>
                  <a:pt x="359" y="181"/>
                </a:lnTo>
                <a:lnTo>
                  <a:pt x="379" y="181"/>
                </a:lnTo>
                <a:lnTo>
                  <a:pt x="388" y="175"/>
                </a:lnTo>
                <a:lnTo>
                  <a:pt x="393" y="172"/>
                </a:lnTo>
                <a:lnTo>
                  <a:pt x="399" y="164"/>
                </a:lnTo>
                <a:lnTo>
                  <a:pt x="408" y="155"/>
                </a:lnTo>
                <a:lnTo>
                  <a:pt x="393" y="146"/>
                </a:lnTo>
                <a:lnTo>
                  <a:pt x="393" y="138"/>
                </a:lnTo>
                <a:lnTo>
                  <a:pt x="393" y="135"/>
                </a:lnTo>
                <a:lnTo>
                  <a:pt x="396" y="129"/>
                </a:lnTo>
                <a:lnTo>
                  <a:pt x="402" y="129"/>
                </a:lnTo>
                <a:lnTo>
                  <a:pt x="410" y="132"/>
                </a:lnTo>
                <a:lnTo>
                  <a:pt x="425" y="138"/>
                </a:lnTo>
                <a:lnTo>
                  <a:pt x="425" y="135"/>
                </a:lnTo>
                <a:lnTo>
                  <a:pt x="433" y="126"/>
                </a:lnTo>
                <a:lnTo>
                  <a:pt x="436" y="126"/>
                </a:lnTo>
                <a:lnTo>
                  <a:pt x="439" y="126"/>
                </a:lnTo>
                <a:lnTo>
                  <a:pt x="445" y="126"/>
                </a:lnTo>
                <a:lnTo>
                  <a:pt x="454" y="118"/>
                </a:lnTo>
                <a:lnTo>
                  <a:pt x="454" y="112"/>
                </a:lnTo>
                <a:lnTo>
                  <a:pt x="454" y="109"/>
                </a:lnTo>
                <a:lnTo>
                  <a:pt x="465" y="106"/>
                </a:lnTo>
                <a:lnTo>
                  <a:pt x="471" y="98"/>
                </a:lnTo>
                <a:lnTo>
                  <a:pt x="471" y="101"/>
                </a:lnTo>
                <a:lnTo>
                  <a:pt x="474" y="101"/>
                </a:lnTo>
                <a:lnTo>
                  <a:pt x="485" y="98"/>
                </a:lnTo>
                <a:lnTo>
                  <a:pt x="488" y="101"/>
                </a:lnTo>
                <a:lnTo>
                  <a:pt x="494" y="101"/>
                </a:lnTo>
                <a:lnTo>
                  <a:pt x="497" y="101"/>
                </a:lnTo>
                <a:lnTo>
                  <a:pt x="499" y="101"/>
                </a:lnTo>
                <a:lnTo>
                  <a:pt x="491" y="92"/>
                </a:lnTo>
                <a:lnTo>
                  <a:pt x="477" y="83"/>
                </a:lnTo>
                <a:lnTo>
                  <a:pt x="471" y="78"/>
                </a:lnTo>
                <a:lnTo>
                  <a:pt x="465" y="78"/>
                </a:lnTo>
                <a:lnTo>
                  <a:pt x="456" y="80"/>
                </a:lnTo>
                <a:lnTo>
                  <a:pt x="454" y="83"/>
                </a:lnTo>
                <a:lnTo>
                  <a:pt x="451" y="80"/>
                </a:lnTo>
                <a:lnTo>
                  <a:pt x="445" y="80"/>
                </a:lnTo>
                <a:lnTo>
                  <a:pt x="442" y="80"/>
                </a:lnTo>
                <a:lnTo>
                  <a:pt x="431" y="83"/>
                </a:lnTo>
                <a:lnTo>
                  <a:pt x="419" y="75"/>
                </a:lnTo>
                <a:lnTo>
                  <a:pt x="419" y="72"/>
                </a:lnTo>
                <a:lnTo>
                  <a:pt x="422" y="69"/>
                </a:lnTo>
                <a:lnTo>
                  <a:pt x="419" y="66"/>
                </a:lnTo>
                <a:lnTo>
                  <a:pt x="419" y="43"/>
                </a:lnTo>
                <a:lnTo>
                  <a:pt x="410" y="37"/>
                </a:lnTo>
                <a:lnTo>
                  <a:pt x="408" y="40"/>
                </a:lnTo>
                <a:lnTo>
                  <a:pt x="402" y="43"/>
                </a:lnTo>
                <a:lnTo>
                  <a:pt x="393" y="37"/>
                </a:lnTo>
                <a:lnTo>
                  <a:pt x="390" y="37"/>
                </a:lnTo>
                <a:lnTo>
                  <a:pt x="388" y="34"/>
                </a:lnTo>
                <a:lnTo>
                  <a:pt x="376" y="37"/>
                </a:lnTo>
                <a:lnTo>
                  <a:pt x="370" y="43"/>
                </a:lnTo>
                <a:lnTo>
                  <a:pt x="370" y="46"/>
                </a:lnTo>
                <a:lnTo>
                  <a:pt x="362" y="52"/>
                </a:lnTo>
                <a:lnTo>
                  <a:pt x="344" y="55"/>
                </a:lnTo>
                <a:lnTo>
                  <a:pt x="339" y="57"/>
                </a:lnTo>
                <a:lnTo>
                  <a:pt x="333" y="57"/>
                </a:lnTo>
                <a:lnTo>
                  <a:pt x="321" y="55"/>
                </a:lnTo>
                <a:lnTo>
                  <a:pt x="307" y="52"/>
                </a:lnTo>
                <a:lnTo>
                  <a:pt x="304" y="52"/>
                </a:lnTo>
                <a:lnTo>
                  <a:pt x="290" y="40"/>
                </a:lnTo>
                <a:lnTo>
                  <a:pt x="287" y="40"/>
                </a:lnTo>
                <a:lnTo>
                  <a:pt x="281" y="40"/>
                </a:lnTo>
                <a:lnTo>
                  <a:pt x="276" y="37"/>
                </a:lnTo>
                <a:lnTo>
                  <a:pt x="270" y="34"/>
                </a:lnTo>
                <a:lnTo>
                  <a:pt x="267" y="34"/>
                </a:lnTo>
                <a:lnTo>
                  <a:pt x="258" y="32"/>
                </a:lnTo>
                <a:lnTo>
                  <a:pt x="247" y="32"/>
                </a:lnTo>
                <a:lnTo>
                  <a:pt x="244" y="32"/>
                </a:lnTo>
                <a:lnTo>
                  <a:pt x="233" y="34"/>
                </a:lnTo>
                <a:lnTo>
                  <a:pt x="230" y="37"/>
                </a:lnTo>
                <a:lnTo>
                  <a:pt x="221" y="34"/>
                </a:lnTo>
                <a:lnTo>
                  <a:pt x="210" y="32"/>
                </a:lnTo>
                <a:lnTo>
                  <a:pt x="204" y="26"/>
                </a:lnTo>
                <a:lnTo>
                  <a:pt x="192" y="20"/>
                </a:lnTo>
                <a:lnTo>
                  <a:pt x="189" y="14"/>
                </a:lnTo>
                <a:lnTo>
                  <a:pt x="181" y="14"/>
                </a:lnTo>
                <a:lnTo>
                  <a:pt x="158" y="9"/>
                </a:lnTo>
                <a:lnTo>
                  <a:pt x="146" y="6"/>
                </a:lnTo>
                <a:lnTo>
                  <a:pt x="135" y="0"/>
                </a:lnTo>
                <a:lnTo>
                  <a:pt x="132" y="6"/>
                </a:lnTo>
                <a:lnTo>
                  <a:pt x="132" y="9"/>
                </a:lnTo>
                <a:lnTo>
                  <a:pt x="129" y="12"/>
                </a:lnTo>
                <a:lnTo>
                  <a:pt x="129" y="14"/>
                </a:lnTo>
                <a:lnTo>
                  <a:pt x="135" y="23"/>
                </a:lnTo>
                <a:lnTo>
                  <a:pt x="138" y="26"/>
                </a:lnTo>
                <a:lnTo>
                  <a:pt x="144" y="29"/>
                </a:lnTo>
                <a:lnTo>
                  <a:pt x="146" y="37"/>
                </a:lnTo>
                <a:lnTo>
                  <a:pt x="144" y="37"/>
                </a:lnTo>
                <a:lnTo>
                  <a:pt x="144" y="40"/>
                </a:lnTo>
                <a:lnTo>
                  <a:pt x="141" y="43"/>
                </a:lnTo>
                <a:lnTo>
                  <a:pt x="132" y="46"/>
                </a:lnTo>
                <a:lnTo>
                  <a:pt x="123" y="40"/>
                </a:lnTo>
                <a:lnTo>
                  <a:pt x="109" y="40"/>
                </a:lnTo>
                <a:lnTo>
                  <a:pt x="106" y="40"/>
                </a:lnTo>
                <a:lnTo>
                  <a:pt x="103" y="40"/>
                </a:lnTo>
                <a:lnTo>
                  <a:pt x="95" y="40"/>
                </a:lnTo>
                <a:lnTo>
                  <a:pt x="86" y="37"/>
                </a:lnTo>
                <a:lnTo>
                  <a:pt x="83" y="32"/>
                </a:lnTo>
                <a:lnTo>
                  <a:pt x="78" y="29"/>
                </a:lnTo>
                <a:lnTo>
                  <a:pt x="63" y="26"/>
                </a:lnTo>
                <a:lnTo>
                  <a:pt x="57" y="23"/>
                </a:lnTo>
                <a:lnTo>
                  <a:pt x="55" y="26"/>
                </a:lnTo>
                <a:lnTo>
                  <a:pt x="49" y="26"/>
                </a:lnTo>
                <a:lnTo>
                  <a:pt x="46" y="26"/>
                </a:lnTo>
                <a:lnTo>
                  <a:pt x="43" y="26"/>
                </a:lnTo>
                <a:lnTo>
                  <a:pt x="43" y="29"/>
                </a:lnTo>
                <a:lnTo>
                  <a:pt x="40" y="3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73" name="Freeform 77"/>
          <p:cNvSpPr>
            <a:spLocks/>
          </p:cNvSpPr>
          <p:nvPr/>
        </p:nvSpPr>
        <p:spPr bwMode="gray">
          <a:xfrm>
            <a:off x="7137286" y="2466067"/>
            <a:ext cx="446081" cy="244507"/>
          </a:xfrm>
          <a:custGeom>
            <a:avLst/>
            <a:gdLst>
              <a:gd name="T0" fmla="*/ 2147483647 w 221"/>
              <a:gd name="T1" fmla="*/ 2147483647 h 161"/>
              <a:gd name="T2" fmla="*/ 2147483647 w 221"/>
              <a:gd name="T3" fmla="*/ 2147483647 h 161"/>
              <a:gd name="T4" fmla="*/ 2147483647 w 221"/>
              <a:gd name="T5" fmla="*/ 2147483647 h 161"/>
              <a:gd name="T6" fmla="*/ 2147483647 w 221"/>
              <a:gd name="T7" fmla="*/ 2147483647 h 161"/>
              <a:gd name="T8" fmla="*/ 2147483647 w 221"/>
              <a:gd name="T9" fmla="*/ 2147483647 h 161"/>
              <a:gd name="T10" fmla="*/ 2147483647 w 221"/>
              <a:gd name="T11" fmla="*/ 2147483647 h 161"/>
              <a:gd name="T12" fmla="*/ 2147483647 w 221"/>
              <a:gd name="T13" fmla="*/ 2147483647 h 161"/>
              <a:gd name="T14" fmla="*/ 2147483647 w 221"/>
              <a:gd name="T15" fmla="*/ 2147483647 h 161"/>
              <a:gd name="T16" fmla="*/ 2147483647 w 221"/>
              <a:gd name="T17" fmla="*/ 2147483647 h 161"/>
              <a:gd name="T18" fmla="*/ 2147483647 w 221"/>
              <a:gd name="T19" fmla="*/ 2147483647 h 161"/>
              <a:gd name="T20" fmla="*/ 2147483647 w 221"/>
              <a:gd name="T21" fmla="*/ 2147483647 h 161"/>
              <a:gd name="T22" fmla="*/ 2147483647 w 221"/>
              <a:gd name="T23" fmla="*/ 2147483647 h 161"/>
              <a:gd name="T24" fmla="*/ 2147483647 w 221"/>
              <a:gd name="T25" fmla="*/ 2147483647 h 161"/>
              <a:gd name="T26" fmla="*/ 2147483647 w 221"/>
              <a:gd name="T27" fmla="*/ 2147483647 h 161"/>
              <a:gd name="T28" fmla="*/ 2147483647 w 221"/>
              <a:gd name="T29" fmla="*/ 2147483647 h 161"/>
              <a:gd name="T30" fmla="*/ 2147483647 w 221"/>
              <a:gd name="T31" fmla="*/ 2147483647 h 161"/>
              <a:gd name="T32" fmla="*/ 2147483647 w 221"/>
              <a:gd name="T33" fmla="*/ 2147483647 h 161"/>
              <a:gd name="T34" fmla="*/ 2147483647 w 221"/>
              <a:gd name="T35" fmla="*/ 2147483647 h 161"/>
              <a:gd name="T36" fmla="*/ 2147483647 w 221"/>
              <a:gd name="T37" fmla="*/ 2147483647 h 161"/>
              <a:gd name="T38" fmla="*/ 2147483647 w 221"/>
              <a:gd name="T39" fmla="*/ 2147483647 h 161"/>
              <a:gd name="T40" fmla="*/ 2147483647 w 221"/>
              <a:gd name="T41" fmla="*/ 2147483647 h 161"/>
              <a:gd name="T42" fmla="*/ 2147483647 w 221"/>
              <a:gd name="T43" fmla="*/ 2147483647 h 161"/>
              <a:gd name="T44" fmla="*/ 2147483647 w 221"/>
              <a:gd name="T45" fmla="*/ 2147483647 h 161"/>
              <a:gd name="T46" fmla="*/ 2147483647 w 221"/>
              <a:gd name="T47" fmla="*/ 2147483647 h 161"/>
              <a:gd name="T48" fmla="*/ 2147483647 w 221"/>
              <a:gd name="T49" fmla="*/ 0 h 161"/>
              <a:gd name="T50" fmla="*/ 2147483647 w 221"/>
              <a:gd name="T51" fmla="*/ 2147483647 h 161"/>
              <a:gd name="T52" fmla="*/ 2147483647 w 221"/>
              <a:gd name="T53" fmla="*/ 2147483647 h 161"/>
              <a:gd name="T54" fmla="*/ 2147483647 w 221"/>
              <a:gd name="T55" fmla="*/ 2147483647 h 161"/>
              <a:gd name="T56" fmla="*/ 2147483647 w 221"/>
              <a:gd name="T57" fmla="*/ 2147483647 h 161"/>
              <a:gd name="T58" fmla="*/ 2147483647 w 221"/>
              <a:gd name="T59" fmla="*/ 2147483647 h 161"/>
              <a:gd name="T60" fmla="*/ 2147483647 w 221"/>
              <a:gd name="T61" fmla="*/ 2147483647 h 161"/>
              <a:gd name="T62" fmla="*/ 2147483647 w 221"/>
              <a:gd name="T63" fmla="*/ 2147483647 h 161"/>
              <a:gd name="T64" fmla="*/ 2147483647 w 221"/>
              <a:gd name="T65" fmla="*/ 2147483647 h 161"/>
              <a:gd name="T66" fmla="*/ 2147483647 w 221"/>
              <a:gd name="T67" fmla="*/ 2147483647 h 161"/>
              <a:gd name="T68" fmla="*/ 2147483647 w 221"/>
              <a:gd name="T69" fmla="*/ 2147483647 h 161"/>
              <a:gd name="T70" fmla="*/ 2147483647 w 221"/>
              <a:gd name="T71" fmla="*/ 2147483647 h 161"/>
              <a:gd name="T72" fmla="*/ 2147483647 w 221"/>
              <a:gd name="T73" fmla="*/ 2147483647 h 161"/>
              <a:gd name="T74" fmla="*/ 2147483647 w 221"/>
              <a:gd name="T75" fmla="*/ 2147483647 h 161"/>
              <a:gd name="T76" fmla="*/ 2147483647 w 221"/>
              <a:gd name="T77" fmla="*/ 2147483647 h 161"/>
              <a:gd name="T78" fmla="*/ 2147483647 w 221"/>
              <a:gd name="T79" fmla="*/ 2147483647 h 161"/>
              <a:gd name="T80" fmla="*/ 2147483647 w 221"/>
              <a:gd name="T81" fmla="*/ 2147483647 h 161"/>
              <a:gd name="T82" fmla="*/ 2147483647 w 221"/>
              <a:gd name="T83" fmla="*/ 2147483647 h 161"/>
              <a:gd name="T84" fmla="*/ 2147483647 w 221"/>
              <a:gd name="T85" fmla="*/ 2147483647 h 161"/>
              <a:gd name="T86" fmla="*/ 2147483647 w 221"/>
              <a:gd name="T87" fmla="*/ 2147483647 h 161"/>
              <a:gd name="T88" fmla="*/ 2147483647 w 221"/>
              <a:gd name="T89" fmla="*/ 2147483647 h 161"/>
              <a:gd name="T90" fmla="*/ 2147483647 w 221"/>
              <a:gd name="T91" fmla="*/ 2147483647 h 161"/>
              <a:gd name="T92" fmla="*/ 2147483647 w 221"/>
              <a:gd name="T93" fmla="*/ 2147483647 h 161"/>
              <a:gd name="T94" fmla="*/ 2147483647 w 221"/>
              <a:gd name="T95" fmla="*/ 2147483647 h 161"/>
              <a:gd name="T96" fmla="*/ 2147483647 w 221"/>
              <a:gd name="T97" fmla="*/ 2147483647 h 161"/>
              <a:gd name="T98" fmla="*/ 2147483647 w 221"/>
              <a:gd name="T99" fmla="*/ 2147483647 h 161"/>
              <a:gd name="T100" fmla="*/ 2147483647 w 221"/>
              <a:gd name="T101" fmla="*/ 2147483647 h 161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221"/>
              <a:gd name="T154" fmla="*/ 0 h 161"/>
              <a:gd name="T155" fmla="*/ 221 w 221"/>
              <a:gd name="T156" fmla="*/ 161 h 161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221" h="161">
                <a:moveTo>
                  <a:pt x="207" y="112"/>
                </a:moveTo>
                <a:lnTo>
                  <a:pt x="207" y="112"/>
                </a:lnTo>
                <a:lnTo>
                  <a:pt x="218" y="112"/>
                </a:lnTo>
                <a:lnTo>
                  <a:pt x="218" y="110"/>
                </a:lnTo>
                <a:lnTo>
                  <a:pt x="221" y="107"/>
                </a:lnTo>
                <a:lnTo>
                  <a:pt x="218" y="107"/>
                </a:lnTo>
                <a:lnTo>
                  <a:pt x="212" y="104"/>
                </a:lnTo>
                <a:lnTo>
                  <a:pt x="215" y="104"/>
                </a:lnTo>
                <a:lnTo>
                  <a:pt x="209" y="104"/>
                </a:lnTo>
                <a:lnTo>
                  <a:pt x="212" y="98"/>
                </a:lnTo>
                <a:lnTo>
                  <a:pt x="204" y="95"/>
                </a:lnTo>
                <a:lnTo>
                  <a:pt x="204" y="89"/>
                </a:lnTo>
                <a:lnTo>
                  <a:pt x="204" y="84"/>
                </a:lnTo>
                <a:lnTo>
                  <a:pt x="192" y="84"/>
                </a:lnTo>
                <a:lnTo>
                  <a:pt x="186" y="84"/>
                </a:lnTo>
                <a:lnTo>
                  <a:pt x="181" y="84"/>
                </a:lnTo>
                <a:lnTo>
                  <a:pt x="178" y="81"/>
                </a:lnTo>
                <a:lnTo>
                  <a:pt x="175" y="75"/>
                </a:lnTo>
                <a:lnTo>
                  <a:pt x="175" y="69"/>
                </a:lnTo>
                <a:lnTo>
                  <a:pt x="172" y="69"/>
                </a:lnTo>
                <a:lnTo>
                  <a:pt x="169" y="69"/>
                </a:lnTo>
                <a:lnTo>
                  <a:pt x="166" y="67"/>
                </a:lnTo>
                <a:lnTo>
                  <a:pt x="166" y="64"/>
                </a:lnTo>
                <a:lnTo>
                  <a:pt x="166" y="61"/>
                </a:lnTo>
                <a:lnTo>
                  <a:pt x="163" y="49"/>
                </a:lnTo>
                <a:lnTo>
                  <a:pt x="158" y="52"/>
                </a:lnTo>
                <a:lnTo>
                  <a:pt x="158" y="49"/>
                </a:lnTo>
                <a:lnTo>
                  <a:pt x="155" y="46"/>
                </a:lnTo>
                <a:lnTo>
                  <a:pt x="149" y="44"/>
                </a:lnTo>
                <a:lnTo>
                  <a:pt x="143" y="38"/>
                </a:lnTo>
                <a:lnTo>
                  <a:pt x="135" y="41"/>
                </a:lnTo>
                <a:lnTo>
                  <a:pt x="115" y="38"/>
                </a:lnTo>
                <a:lnTo>
                  <a:pt x="97" y="44"/>
                </a:lnTo>
                <a:lnTo>
                  <a:pt x="77" y="23"/>
                </a:lnTo>
                <a:lnTo>
                  <a:pt x="69" y="18"/>
                </a:lnTo>
                <a:lnTo>
                  <a:pt x="69" y="23"/>
                </a:lnTo>
                <a:lnTo>
                  <a:pt x="66" y="26"/>
                </a:lnTo>
                <a:lnTo>
                  <a:pt x="63" y="26"/>
                </a:lnTo>
                <a:lnTo>
                  <a:pt x="49" y="26"/>
                </a:lnTo>
                <a:lnTo>
                  <a:pt x="46" y="21"/>
                </a:lnTo>
                <a:lnTo>
                  <a:pt x="49" y="18"/>
                </a:lnTo>
                <a:lnTo>
                  <a:pt x="49" y="12"/>
                </a:lnTo>
                <a:lnTo>
                  <a:pt x="49" y="9"/>
                </a:lnTo>
                <a:lnTo>
                  <a:pt x="40" y="3"/>
                </a:lnTo>
                <a:lnTo>
                  <a:pt x="40" y="6"/>
                </a:lnTo>
                <a:lnTo>
                  <a:pt x="40" y="9"/>
                </a:lnTo>
                <a:lnTo>
                  <a:pt x="40" y="18"/>
                </a:lnTo>
                <a:lnTo>
                  <a:pt x="43" y="23"/>
                </a:lnTo>
                <a:lnTo>
                  <a:pt x="40" y="26"/>
                </a:lnTo>
                <a:lnTo>
                  <a:pt x="34" y="21"/>
                </a:lnTo>
                <a:lnTo>
                  <a:pt x="34" y="6"/>
                </a:lnTo>
                <a:lnTo>
                  <a:pt x="34" y="0"/>
                </a:lnTo>
                <a:lnTo>
                  <a:pt x="0" y="12"/>
                </a:lnTo>
                <a:lnTo>
                  <a:pt x="14" y="81"/>
                </a:lnTo>
                <a:lnTo>
                  <a:pt x="29" y="81"/>
                </a:lnTo>
                <a:lnTo>
                  <a:pt x="26" y="75"/>
                </a:lnTo>
                <a:lnTo>
                  <a:pt x="29" y="67"/>
                </a:lnTo>
                <a:lnTo>
                  <a:pt x="31" y="64"/>
                </a:lnTo>
                <a:lnTo>
                  <a:pt x="34" y="64"/>
                </a:lnTo>
                <a:lnTo>
                  <a:pt x="37" y="64"/>
                </a:lnTo>
                <a:lnTo>
                  <a:pt x="37" y="58"/>
                </a:lnTo>
                <a:lnTo>
                  <a:pt x="40" y="58"/>
                </a:lnTo>
                <a:lnTo>
                  <a:pt x="43" y="58"/>
                </a:lnTo>
                <a:lnTo>
                  <a:pt x="40" y="55"/>
                </a:lnTo>
                <a:lnTo>
                  <a:pt x="46" y="52"/>
                </a:lnTo>
                <a:lnTo>
                  <a:pt x="63" y="61"/>
                </a:lnTo>
                <a:lnTo>
                  <a:pt x="74" y="67"/>
                </a:lnTo>
                <a:lnTo>
                  <a:pt x="77" y="72"/>
                </a:lnTo>
                <a:lnTo>
                  <a:pt x="77" y="81"/>
                </a:lnTo>
                <a:lnTo>
                  <a:pt x="95" y="84"/>
                </a:lnTo>
                <a:lnTo>
                  <a:pt x="100" y="81"/>
                </a:lnTo>
                <a:lnTo>
                  <a:pt x="106" y="81"/>
                </a:lnTo>
                <a:lnTo>
                  <a:pt x="106" y="84"/>
                </a:lnTo>
                <a:lnTo>
                  <a:pt x="112" y="89"/>
                </a:lnTo>
                <a:lnTo>
                  <a:pt x="118" y="98"/>
                </a:lnTo>
                <a:lnTo>
                  <a:pt x="120" y="107"/>
                </a:lnTo>
                <a:lnTo>
                  <a:pt x="123" y="110"/>
                </a:lnTo>
                <a:lnTo>
                  <a:pt x="129" y="112"/>
                </a:lnTo>
                <a:lnTo>
                  <a:pt x="138" y="115"/>
                </a:lnTo>
                <a:lnTo>
                  <a:pt x="146" y="121"/>
                </a:lnTo>
                <a:lnTo>
                  <a:pt x="152" y="127"/>
                </a:lnTo>
                <a:lnTo>
                  <a:pt x="166" y="133"/>
                </a:lnTo>
                <a:lnTo>
                  <a:pt x="184" y="141"/>
                </a:lnTo>
                <a:lnTo>
                  <a:pt x="192" y="141"/>
                </a:lnTo>
                <a:lnTo>
                  <a:pt x="195" y="144"/>
                </a:lnTo>
                <a:lnTo>
                  <a:pt x="198" y="144"/>
                </a:lnTo>
                <a:lnTo>
                  <a:pt x="198" y="158"/>
                </a:lnTo>
                <a:lnTo>
                  <a:pt x="204" y="158"/>
                </a:lnTo>
                <a:lnTo>
                  <a:pt x="215" y="161"/>
                </a:lnTo>
                <a:lnTo>
                  <a:pt x="215" y="153"/>
                </a:lnTo>
                <a:lnTo>
                  <a:pt x="221" y="144"/>
                </a:lnTo>
                <a:lnTo>
                  <a:pt x="215" y="135"/>
                </a:lnTo>
                <a:lnTo>
                  <a:pt x="215" y="130"/>
                </a:lnTo>
                <a:lnTo>
                  <a:pt x="207" y="127"/>
                </a:lnTo>
                <a:lnTo>
                  <a:pt x="204" y="124"/>
                </a:lnTo>
                <a:lnTo>
                  <a:pt x="201" y="118"/>
                </a:lnTo>
                <a:lnTo>
                  <a:pt x="204" y="115"/>
                </a:lnTo>
                <a:lnTo>
                  <a:pt x="207" y="11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74" name="Freeform 78"/>
          <p:cNvSpPr>
            <a:spLocks/>
          </p:cNvSpPr>
          <p:nvPr/>
        </p:nvSpPr>
        <p:spPr bwMode="gray">
          <a:xfrm>
            <a:off x="7217300" y="2466067"/>
            <a:ext cx="18004" cy="4501"/>
          </a:xfrm>
          <a:custGeom>
            <a:avLst/>
            <a:gdLst>
              <a:gd name="T0" fmla="*/ 0 w 9"/>
              <a:gd name="T1" fmla="*/ 0 h 3"/>
              <a:gd name="T2" fmla="*/ 0 w 9"/>
              <a:gd name="T3" fmla="*/ 0 h 3"/>
              <a:gd name="T4" fmla="*/ 2147483647 w 9"/>
              <a:gd name="T5" fmla="*/ 2147483647 h 3"/>
              <a:gd name="T6" fmla="*/ 2147483647 w 9"/>
              <a:gd name="T7" fmla="*/ 0 h 3"/>
              <a:gd name="T8" fmla="*/ 0 w 9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3"/>
              <a:gd name="T17" fmla="*/ 9 w 9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3">
                <a:moveTo>
                  <a:pt x="0" y="0"/>
                </a:moveTo>
                <a:lnTo>
                  <a:pt x="0" y="0"/>
                </a:lnTo>
                <a:lnTo>
                  <a:pt x="9" y="3"/>
                </a:lnTo>
                <a:lnTo>
                  <a:pt x="9" y="0"/>
                </a:lnTo>
                <a:lnTo>
                  <a:pt x="0" y="0"/>
                </a:lnTo>
                <a:close/>
              </a:path>
            </a:pathLst>
          </a:custGeom>
          <a:solidFill>
            <a:srgbClr val="64B9E4"/>
          </a:solidFill>
          <a:ln w="11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80975" name="Freeform 79"/>
          <p:cNvSpPr>
            <a:spLocks/>
          </p:cNvSpPr>
          <p:nvPr/>
        </p:nvSpPr>
        <p:spPr bwMode="gray">
          <a:xfrm>
            <a:off x="7549360" y="2601071"/>
            <a:ext cx="260047" cy="118504"/>
          </a:xfrm>
          <a:custGeom>
            <a:avLst/>
            <a:gdLst>
              <a:gd name="T0" fmla="*/ 2147483647 w 129"/>
              <a:gd name="T1" fmla="*/ 2147483647 h 78"/>
              <a:gd name="T2" fmla="*/ 2147483647 w 129"/>
              <a:gd name="T3" fmla="*/ 2147483647 h 78"/>
              <a:gd name="T4" fmla="*/ 2147483647 w 129"/>
              <a:gd name="T5" fmla="*/ 2147483647 h 78"/>
              <a:gd name="T6" fmla="*/ 2147483647 w 129"/>
              <a:gd name="T7" fmla="*/ 2147483647 h 78"/>
              <a:gd name="T8" fmla="*/ 2147483647 w 129"/>
              <a:gd name="T9" fmla="*/ 2147483647 h 78"/>
              <a:gd name="T10" fmla="*/ 2147483647 w 129"/>
              <a:gd name="T11" fmla="*/ 2147483647 h 78"/>
              <a:gd name="T12" fmla="*/ 2147483647 w 129"/>
              <a:gd name="T13" fmla="*/ 2147483647 h 78"/>
              <a:gd name="T14" fmla="*/ 2147483647 w 129"/>
              <a:gd name="T15" fmla="*/ 2147483647 h 78"/>
              <a:gd name="T16" fmla="*/ 2147483647 w 129"/>
              <a:gd name="T17" fmla="*/ 2147483647 h 78"/>
              <a:gd name="T18" fmla="*/ 2147483647 w 129"/>
              <a:gd name="T19" fmla="*/ 2147483647 h 78"/>
              <a:gd name="T20" fmla="*/ 2147483647 w 129"/>
              <a:gd name="T21" fmla="*/ 2147483647 h 78"/>
              <a:gd name="T22" fmla="*/ 2147483647 w 129"/>
              <a:gd name="T23" fmla="*/ 2147483647 h 78"/>
              <a:gd name="T24" fmla="*/ 2147483647 w 129"/>
              <a:gd name="T25" fmla="*/ 2147483647 h 78"/>
              <a:gd name="T26" fmla="*/ 2147483647 w 129"/>
              <a:gd name="T27" fmla="*/ 2147483647 h 78"/>
              <a:gd name="T28" fmla="*/ 2147483647 w 129"/>
              <a:gd name="T29" fmla="*/ 2147483647 h 78"/>
              <a:gd name="T30" fmla="*/ 2147483647 w 129"/>
              <a:gd name="T31" fmla="*/ 2147483647 h 78"/>
              <a:gd name="T32" fmla="*/ 2147483647 w 129"/>
              <a:gd name="T33" fmla="*/ 2147483647 h 78"/>
              <a:gd name="T34" fmla="*/ 2147483647 w 129"/>
              <a:gd name="T35" fmla="*/ 2147483647 h 78"/>
              <a:gd name="T36" fmla="*/ 2147483647 w 129"/>
              <a:gd name="T37" fmla="*/ 2147483647 h 78"/>
              <a:gd name="T38" fmla="*/ 2147483647 w 129"/>
              <a:gd name="T39" fmla="*/ 2147483647 h 78"/>
              <a:gd name="T40" fmla="*/ 2147483647 w 129"/>
              <a:gd name="T41" fmla="*/ 2147483647 h 78"/>
              <a:gd name="T42" fmla="*/ 0 w 129"/>
              <a:gd name="T43" fmla="*/ 2147483647 h 78"/>
              <a:gd name="T44" fmla="*/ 0 w 129"/>
              <a:gd name="T45" fmla="*/ 2147483647 h 78"/>
              <a:gd name="T46" fmla="*/ 2147483647 w 129"/>
              <a:gd name="T47" fmla="*/ 2147483647 h 78"/>
              <a:gd name="T48" fmla="*/ 2147483647 w 129"/>
              <a:gd name="T49" fmla="*/ 2147483647 h 78"/>
              <a:gd name="T50" fmla="*/ 2147483647 w 129"/>
              <a:gd name="T51" fmla="*/ 2147483647 h 78"/>
              <a:gd name="T52" fmla="*/ 2147483647 w 129"/>
              <a:gd name="T53" fmla="*/ 2147483647 h 78"/>
              <a:gd name="T54" fmla="*/ 2147483647 w 129"/>
              <a:gd name="T55" fmla="*/ 2147483647 h 78"/>
              <a:gd name="T56" fmla="*/ 2147483647 w 129"/>
              <a:gd name="T57" fmla="*/ 2147483647 h 78"/>
              <a:gd name="T58" fmla="*/ 2147483647 w 129"/>
              <a:gd name="T59" fmla="*/ 2147483647 h 78"/>
              <a:gd name="T60" fmla="*/ 2147483647 w 129"/>
              <a:gd name="T61" fmla="*/ 2147483647 h 78"/>
              <a:gd name="T62" fmla="*/ 2147483647 w 129"/>
              <a:gd name="T63" fmla="*/ 2147483647 h 78"/>
              <a:gd name="T64" fmla="*/ 2147483647 w 129"/>
              <a:gd name="T65" fmla="*/ 2147483647 h 78"/>
              <a:gd name="T66" fmla="*/ 2147483647 w 129"/>
              <a:gd name="T67" fmla="*/ 2147483647 h 78"/>
              <a:gd name="T68" fmla="*/ 2147483647 w 129"/>
              <a:gd name="T69" fmla="*/ 2147483647 h 78"/>
              <a:gd name="T70" fmla="*/ 2147483647 w 129"/>
              <a:gd name="T71" fmla="*/ 2147483647 h 78"/>
              <a:gd name="T72" fmla="*/ 2147483647 w 129"/>
              <a:gd name="T73" fmla="*/ 2147483647 h 78"/>
              <a:gd name="T74" fmla="*/ 2147483647 w 129"/>
              <a:gd name="T75" fmla="*/ 2147483647 h 78"/>
              <a:gd name="T76" fmla="*/ 2147483647 w 129"/>
              <a:gd name="T77" fmla="*/ 2147483647 h 78"/>
              <a:gd name="T78" fmla="*/ 2147483647 w 129"/>
              <a:gd name="T79" fmla="*/ 2147483647 h 78"/>
              <a:gd name="T80" fmla="*/ 2147483647 w 129"/>
              <a:gd name="T81" fmla="*/ 2147483647 h 78"/>
              <a:gd name="T82" fmla="*/ 2147483647 w 129"/>
              <a:gd name="T83" fmla="*/ 2147483647 h 78"/>
              <a:gd name="T84" fmla="*/ 2147483647 w 129"/>
              <a:gd name="T85" fmla="*/ 2147483647 h 78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129"/>
              <a:gd name="T130" fmla="*/ 0 h 78"/>
              <a:gd name="T131" fmla="*/ 129 w 129"/>
              <a:gd name="T132" fmla="*/ 78 h 78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129" h="78">
                <a:moveTo>
                  <a:pt x="123" y="69"/>
                </a:moveTo>
                <a:lnTo>
                  <a:pt x="129" y="69"/>
                </a:lnTo>
                <a:lnTo>
                  <a:pt x="123" y="64"/>
                </a:lnTo>
                <a:lnTo>
                  <a:pt x="117" y="55"/>
                </a:lnTo>
                <a:lnTo>
                  <a:pt x="117" y="49"/>
                </a:lnTo>
                <a:lnTo>
                  <a:pt x="109" y="44"/>
                </a:lnTo>
                <a:lnTo>
                  <a:pt x="106" y="49"/>
                </a:lnTo>
                <a:lnTo>
                  <a:pt x="97" y="44"/>
                </a:lnTo>
                <a:lnTo>
                  <a:pt x="100" y="38"/>
                </a:lnTo>
                <a:lnTo>
                  <a:pt x="97" y="32"/>
                </a:lnTo>
                <a:lnTo>
                  <a:pt x="92" y="32"/>
                </a:lnTo>
                <a:lnTo>
                  <a:pt x="80" y="32"/>
                </a:lnTo>
                <a:lnTo>
                  <a:pt x="74" y="35"/>
                </a:lnTo>
                <a:lnTo>
                  <a:pt x="66" y="32"/>
                </a:lnTo>
                <a:lnTo>
                  <a:pt x="60" y="26"/>
                </a:lnTo>
                <a:lnTo>
                  <a:pt x="60" y="29"/>
                </a:lnTo>
                <a:lnTo>
                  <a:pt x="54" y="32"/>
                </a:lnTo>
                <a:lnTo>
                  <a:pt x="51" y="32"/>
                </a:lnTo>
                <a:lnTo>
                  <a:pt x="51" y="29"/>
                </a:lnTo>
                <a:lnTo>
                  <a:pt x="46" y="29"/>
                </a:lnTo>
                <a:lnTo>
                  <a:pt x="43" y="29"/>
                </a:lnTo>
                <a:lnTo>
                  <a:pt x="34" y="29"/>
                </a:lnTo>
                <a:lnTo>
                  <a:pt x="31" y="29"/>
                </a:lnTo>
                <a:lnTo>
                  <a:pt x="25" y="23"/>
                </a:lnTo>
                <a:lnTo>
                  <a:pt x="23" y="21"/>
                </a:lnTo>
                <a:lnTo>
                  <a:pt x="28" y="15"/>
                </a:lnTo>
                <a:lnTo>
                  <a:pt x="37" y="12"/>
                </a:lnTo>
                <a:lnTo>
                  <a:pt x="43" y="18"/>
                </a:lnTo>
                <a:lnTo>
                  <a:pt x="46" y="18"/>
                </a:lnTo>
                <a:lnTo>
                  <a:pt x="37" y="12"/>
                </a:lnTo>
                <a:lnTo>
                  <a:pt x="43" y="3"/>
                </a:lnTo>
                <a:lnTo>
                  <a:pt x="40" y="0"/>
                </a:lnTo>
                <a:lnTo>
                  <a:pt x="31" y="6"/>
                </a:lnTo>
                <a:lnTo>
                  <a:pt x="23" y="3"/>
                </a:lnTo>
                <a:lnTo>
                  <a:pt x="25" y="12"/>
                </a:lnTo>
                <a:lnTo>
                  <a:pt x="20" y="15"/>
                </a:lnTo>
                <a:lnTo>
                  <a:pt x="20" y="18"/>
                </a:lnTo>
                <a:lnTo>
                  <a:pt x="17" y="21"/>
                </a:lnTo>
                <a:lnTo>
                  <a:pt x="17" y="23"/>
                </a:lnTo>
                <a:lnTo>
                  <a:pt x="17" y="26"/>
                </a:lnTo>
                <a:lnTo>
                  <a:pt x="17" y="29"/>
                </a:lnTo>
                <a:lnTo>
                  <a:pt x="3" y="26"/>
                </a:lnTo>
                <a:lnTo>
                  <a:pt x="0" y="29"/>
                </a:lnTo>
                <a:lnTo>
                  <a:pt x="0" y="32"/>
                </a:lnTo>
                <a:lnTo>
                  <a:pt x="3" y="35"/>
                </a:lnTo>
                <a:lnTo>
                  <a:pt x="14" y="38"/>
                </a:lnTo>
                <a:lnTo>
                  <a:pt x="14" y="46"/>
                </a:lnTo>
                <a:lnTo>
                  <a:pt x="23" y="52"/>
                </a:lnTo>
                <a:lnTo>
                  <a:pt x="23" y="55"/>
                </a:lnTo>
                <a:lnTo>
                  <a:pt x="14" y="64"/>
                </a:lnTo>
                <a:lnTo>
                  <a:pt x="14" y="72"/>
                </a:lnTo>
                <a:lnTo>
                  <a:pt x="20" y="78"/>
                </a:lnTo>
                <a:lnTo>
                  <a:pt x="28" y="69"/>
                </a:lnTo>
                <a:lnTo>
                  <a:pt x="34" y="72"/>
                </a:lnTo>
                <a:lnTo>
                  <a:pt x="37" y="72"/>
                </a:lnTo>
                <a:lnTo>
                  <a:pt x="34" y="67"/>
                </a:lnTo>
                <a:lnTo>
                  <a:pt x="37" y="67"/>
                </a:lnTo>
                <a:lnTo>
                  <a:pt x="43" y="64"/>
                </a:lnTo>
                <a:lnTo>
                  <a:pt x="46" y="64"/>
                </a:lnTo>
                <a:lnTo>
                  <a:pt x="48" y="67"/>
                </a:lnTo>
                <a:lnTo>
                  <a:pt x="46" y="58"/>
                </a:lnTo>
                <a:lnTo>
                  <a:pt x="54" y="46"/>
                </a:lnTo>
                <a:lnTo>
                  <a:pt x="60" y="46"/>
                </a:lnTo>
                <a:lnTo>
                  <a:pt x="63" y="46"/>
                </a:lnTo>
                <a:lnTo>
                  <a:pt x="66" y="52"/>
                </a:lnTo>
                <a:lnTo>
                  <a:pt x="69" y="58"/>
                </a:lnTo>
                <a:lnTo>
                  <a:pt x="71" y="55"/>
                </a:lnTo>
                <a:lnTo>
                  <a:pt x="71" y="58"/>
                </a:lnTo>
                <a:lnTo>
                  <a:pt x="77" y="75"/>
                </a:lnTo>
                <a:lnTo>
                  <a:pt x="80" y="78"/>
                </a:lnTo>
                <a:lnTo>
                  <a:pt x="86" y="72"/>
                </a:lnTo>
                <a:lnTo>
                  <a:pt x="92" y="75"/>
                </a:lnTo>
                <a:lnTo>
                  <a:pt x="97" y="67"/>
                </a:lnTo>
                <a:lnTo>
                  <a:pt x="109" y="67"/>
                </a:lnTo>
                <a:lnTo>
                  <a:pt x="112" y="69"/>
                </a:lnTo>
                <a:lnTo>
                  <a:pt x="117" y="67"/>
                </a:lnTo>
                <a:lnTo>
                  <a:pt x="120" y="67"/>
                </a:lnTo>
                <a:lnTo>
                  <a:pt x="123" y="6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76" name="Freeform 80"/>
          <p:cNvSpPr>
            <a:spLocks/>
          </p:cNvSpPr>
          <p:nvPr/>
        </p:nvSpPr>
        <p:spPr bwMode="gray">
          <a:xfrm>
            <a:off x="9839773" y="2680573"/>
            <a:ext cx="16003" cy="13500"/>
          </a:xfrm>
          <a:custGeom>
            <a:avLst/>
            <a:gdLst>
              <a:gd name="T0" fmla="*/ 2147483647 w 8"/>
              <a:gd name="T1" fmla="*/ 2147483647 h 9"/>
              <a:gd name="T2" fmla="*/ 2147483647 w 8"/>
              <a:gd name="T3" fmla="*/ 2147483647 h 9"/>
              <a:gd name="T4" fmla="*/ 2147483647 w 8"/>
              <a:gd name="T5" fmla="*/ 2147483647 h 9"/>
              <a:gd name="T6" fmla="*/ 2147483647 w 8"/>
              <a:gd name="T7" fmla="*/ 2147483647 h 9"/>
              <a:gd name="T8" fmla="*/ 2147483647 w 8"/>
              <a:gd name="T9" fmla="*/ 2147483647 h 9"/>
              <a:gd name="T10" fmla="*/ 2147483647 w 8"/>
              <a:gd name="T11" fmla="*/ 0 h 9"/>
              <a:gd name="T12" fmla="*/ 2147483647 w 8"/>
              <a:gd name="T13" fmla="*/ 0 h 9"/>
              <a:gd name="T14" fmla="*/ 0 w 8"/>
              <a:gd name="T15" fmla="*/ 2147483647 h 9"/>
              <a:gd name="T16" fmla="*/ 0 w 8"/>
              <a:gd name="T17" fmla="*/ 2147483647 h 9"/>
              <a:gd name="T18" fmla="*/ 2147483647 w 8"/>
              <a:gd name="T19" fmla="*/ 2147483647 h 9"/>
              <a:gd name="T20" fmla="*/ 2147483647 w 8"/>
              <a:gd name="T21" fmla="*/ 2147483647 h 9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8"/>
              <a:gd name="T34" fmla="*/ 0 h 9"/>
              <a:gd name="T35" fmla="*/ 8 w 8"/>
              <a:gd name="T36" fmla="*/ 9 h 9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8" h="9">
                <a:moveTo>
                  <a:pt x="5" y="9"/>
                </a:moveTo>
                <a:lnTo>
                  <a:pt x="8" y="9"/>
                </a:lnTo>
                <a:lnTo>
                  <a:pt x="8" y="3"/>
                </a:lnTo>
                <a:lnTo>
                  <a:pt x="5" y="0"/>
                </a:lnTo>
                <a:lnTo>
                  <a:pt x="0" y="3"/>
                </a:lnTo>
                <a:lnTo>
                  <a:pt x="5" y="9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77" name="Freeform 81"/>
          <p:cNvSpPr>
            <a:spLocks/>
          </p:cNvSpPr>
          <p:nvPr/>
        </p:nvSpPr>
        <p:spPr bwMode="gray">
          <a:xfrm>
            <a:off x="9711750" y="2736074"/>
            <a:ext cx="12002" cy="9000"/>
          </a:xfrm>
          <a:custGeom>
            <a:avLst/>
            <a:gdLst>
              <a:gd name="T0" fmla="*/ 2147483647 w 6"/>
              <a:gd name="T1" fmla="*/ 0 h 6"/>
              <a:gd name="T2" fmla="*/ 2147483647 w 6"/>
              <a:gd name="T3" fmla="*/ 0 h 6"/>
              <a:gd name="T4" fmla="*/ 0 w 6"/>
              <a:gd name="T5" fmla="*/ 2147483647 h 6"/>
              <a:gd name="T6" fmla="*/ 0 w 6"/>
              <a:gd name="T7" fmla="*/ 2147483647 h 6"/>
              <a:gd name="T8" fmla="*/ 0 w 6"/>
              <a:gd name="T9" fmla="*/ 2147483647 h 6"/>
              <a:gd name="T10" fmla="*/ 2147483647 w 6"/>
              <a:gd name="T11" fmla="*/ 2147483647 h 6"/>
              <a:gd name="T12" fmla="*/ 2147483647 w 6"/>
              <a:gd name="T13" fmla="*/ 2147483647 h 6"/>
              <a:gd name="T14" fmla="*/ 2147483647 w 6"/>
              <a:gd name="T15" fmla="*/ 2147483647 h 6"/>
              <a:gd name="T16" fmla="*/ 2147483647 w 6"/>
              <a:gd name="T17" fmla="*/ 0 h 6"/>
              <a:gd name="T18" fmla="*/ 2147483647 w 6"/>
              <a:gd name="T19" fmla="*/ 0 h 6"/>
              <a:gd name="T20" fmla="*/ 2147483647 w 6"/>
              <a:gd name="T21" fmla="*/ 0 h 6"/>
              <a:gd name="T22" fmla="*/ 2147483647 w 6"/>
              <a:gd name="T23" fmla="*/ 0 h 6"/>
              <a:gd name="T24" fmla="*/ 2147483647 w 6"/>
              <a:gd name="T25" fmla="*/ 0 h 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6"/>
              <a:gd name="T40" fmla="*/ 0 h 6"/>
              <a:gd name="T41" fmla="*/ 6 w 6"/>
              <a:gd name="T42" fmla="*/ 6 h 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6" h="6">
                <a:moveTo>
                  <a:pt x="3" y="0"/>
                </a:moveTo>
                <a:lnTo>
                  <a:pt x="3" y="0"/>
                </a:lnTo>
                <a:lnTo>
                  <a:pt x="0" y="3"/>
                </a:lnTo>
                <a:lnTo>
                  <a:pt x="0" y="6"/>
                </a:lnTo>
                <a:lnTo>
                  <a:pt x="3" y="3"/>
                </a:lnTo>
                <a:lnTo>
                  <a:pt x="6" y="3"/>
                </a:lnTo>
                <a:lnTo>
                  <a:pt x="6" y="0"/>
                </a:lnTo>
                <a:lnTo>
                  <a:pt x="3" y="0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78" name="Freeform 82"/>
          <p:cNvSpPr>
            <a:spLocks/>
          </p:cNvSpPr>
          <p:nvPr/>
        </p:nvSpPr>
        <p:spPr bwMode="gray">
          <a:xfrm>
            <a:off x="7571364" y="2563570"/>
            <a:ext cx="134024" cy="60002"/>
          </a:xfrm>
          <a:custGeom>
            <a:avLst/>
            <a:gdLst>
              <a:gd name="T0" fmla="*/ 2147483647 w 66"/>
              <a:gd name="T1" fmla="*/ 2147483647 h 40"/>
              <a:gd name="T2" fmla="*/ 2147483647 w 66"/>
              <a:gd name="T3" fmla="*/ 2147483647 h 40"/>
              <a:gd name="T4" fmla="*/ 2147483647 w 66"/>
              <a:gd name="T5" fmla="*/ 2147483647 h 40"/>
              <a:gd name="T6" fmla="*/ 2147483647 w 66"/>
              <a:gd name="T7" fmla="*/ 2147483647 h 40"/>
              <a:gd name="T8" fmla="*/ 2147483647 w 66"/>
              <a:gd name="T9" fmla="*/ 2147483647 h 40"/>
              <a:gd name="T10" fmla="*/ 2147483647 w 66"/>
              <a:gd name="T11" fmla="*/ 2147483647 h 40"/>
              <a:gd name="T12" fmla="*/ 2147483647 w 66"/>
              <a:gd name="T13" fmla="*/ 2147483647 h 40"/>
              <a:gd name="T14" fmla="*/ 2147483647 w 66"/>
              <a:gd name="T15" fmla="*/ 2147483647 h 40"/>
              <a:gd name="T16" fmla="*/ 2147483647 w 66"/>
              <a:gd name="T17" fmla="*/ 2147483647 h 40"/>
              <a:gd name="T18" fmla="*/ 2147483647 w 66"/>
              <a:gd name="T19" fmla="*/ 2147483647 h 40"/>
              <a:gd name="T20" fmla="*/ 2147483647 w 66"/>
              <a:gd name="T21" fmla="*/ 2147483647 h 40"/>
              <a:gd name="T22" fmla="*/ 2147483647 w 66"/>
              <a:gd name="T23" fmla="*/ 2147483647 h 40"/>
              <a:gd name="T24" fmla="*/ 2147483647 w 66"/>
              <a:gd name="T25" fmla="*/ 2147483647 h 40"/>
              <a:gd name="T26" fmla="*/ 2147483647 w 66"/>
              <a:gd name="T27" fmla="*/ 2147483647 h 40"/>
              <a:gd name="T28" fmla="*/ 2147483647 w 66"/>
              <a:gd name="T29" fmla="*/ 2147483647 h 40"/>
              <a:gd name="T30" fmla="*/ 2147483647 w 66"/>
              <a:gd name="T31" fmla="*/ 2147483647 h 40"/>
              <a:gd name="T32" fmla="*/ 2147483647 w 66"/>
              <a:gd name="T33" fmla="*/ 2147483647 h 40"/>
              <a:gd name="T34" fmla="*/ 2147483647 w 66"/>
              <a:gd name="T35" fmla="*/ 2147483647 h 40"/>
              <a:gd name="T36" fmla="*/ 2147483647 w 66"/>
              <a:gd name="T37" fmla="*/ 2147483647 h 40"/>
              <a:gd name="T38" fmla="*/ 2147483647 w 66"/>
              <a:gd name="T39" fmla="*/ 0 h 40"/>
              <a:gd name="T40" fmla="*/ 2147483647 w 66"/>
              <a:gd name="T41" fmla="*/ 2147483647 h 40"/>
              <a:gd name="T42" fmla="*/ 2147483647 w 66"/>
              <a:gd name="T43" fmla="*/ 2147483647 h 40"/>
              <a:gd name="T44" fmla="*/ 2147483647 w 66"/>
              <a:gd name="T45" fmla="*/ 2147483647 h 40"/>
              <a:gd name="T46" fmla="*/ 2147483647 w 66"/>
              <a:gd name="T47" fmla="*/ 2147483647 h 40"/>
              <a:gd name="T48" fmla="*/ 2147483647 w 66"/>
              <a:gd name="T49" fmla="*/ 2147483647 h 40"/>
              <a:gd name="T50" fmla="*/ 2147483647 w 66"/>
              <a:gd name="T51" fmla="*/ 2147483647 h 40"/>
              <a:gd name="T52" fmla="*/ 2147483647 w 66"/>
              <a:gd name="T53" fmla="*/ 2147483647 h 40"/>
              <a:gd name="T54" fmla="*/ 0 w 66"/>
              <a:gd name="T55" fmla="*/ 2147483647 h 40"/>
              <a:gd name="T56" fmla="*/ 0 w 66"/>
              <a:gd name="T57" fmla="*/ 2147483647 h 40"/>
              <a:gd name="T58" fmla="*/ 0 w 66"/>
              <a:gd name="T59" fmla="*/ 2147483647 h 40"/>
              <a:gd name="T60" fmla="*/ 2147483647 w 66"/>
              <a:gd name="T61" fmla="*/ 2147483647 h 40"/>
              <a:gd name="T62" fmla="*/ 0 w 66"/>
              <a:gd name="T63" fmla="*/ 2147483647 h 40"/>
              <a:gd name="T64" fmla="*/ 2147483647 w 66"/>
              <a:gd name="T65" fmla="*/ 2147483647 h 40"/>
              <a:gd name="T66" fmla="*/ 2147483647 w 66"/>
              <a:gd name="T67" fmla="*/ 2147483647 h 40"/>
              <a:gd name="T68" fmla="*/ 2147483647 w 66"/>
              <a:gd name="T69" fmla="*/ 2147483647 h 40"/>
              <a:gd name="T70" fmla="*/ 2147483647 w 66"/>
              <a:gd name="T71" fmla="*/ 2147483647 h 40"/>
              <a:gd name="T72" fmla="*/ 2147483647 w 66"/>
              <a:gd name="T73" fmla="*/ 2147483647 h 40"/>
              <a:gd name="T74" fmla="*/ 2147483647 w 66"/>
              <a:gd name="T75" fmla="*/ 2147483647 h 40"/>
              <a:gd name="T76" fmla="*/ 2147483647 w 66"/>
              <a:gd name="T77" fmla="*/ 2147483647 h 40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66"/>
              <a:gd name="T118" fmla="*/ 0 h 40"/>
              <a:gd name="T119" fmla="*/ 66 w 66"/>
              <a:gd name="T120" fmla="*/ 40 h 40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66" h="40">
                <a:moveTo>
                  <a:pt x="29" y="23"/>
                </a:moveTo>
                <a:lnTo>
                  <a:pt x="35" y="28"/>
                </a:lnTo>
                <a:lnTo>
                  <a:pt x="32" y="34"/>
                </a:lnTo>
                <a:lnTo>
                  <a:pt x="37" y="40"/>
                </a:lnTo>
                <a:lnTo>
                  <a:pt x="43" y="37"/>
                </a:lnTo>
                <a:lnTo>
                  <a:pt x="52" y="40"/>
                </a:lnTo>
                <a:lnTo>
                  <a:pt x="58" y="34"/>
                </a:lnTo>
                <a:lnTo>
                  <a:pt x="66" y="28"/>
                </a:lnTo>
                <a:lnTo>
                  <a:pt x="60" y="25"/>
                </a:lnTo>
                <a:lnTo>
                  <a:pt x="55" y="25"/>
                </a:lnTo>
                <a:lnTo>
                  <a:pt x="52" y="20"/>
                </a:lnTo>
                <a:lnTo>
                  <a:pt x="43" y="14"/>
                </a:lnTo>
                <a:lnTo>
                  <a:pt x="43" y="20"/>
                </a:lnTo>
                <a:lnTo>
                  <a:pt x="35" y="20"/>
                </a:lnTo>
                <a:lnTo>
                  <a:pt x="26" y="14"/>
                </a:lnTo>
                <a:lnTo>
                  <a:pt x="17" y="11"/>
                </a:lnTo>
                <a:lnTo>
                  <a:pt x="32" y="3"/>
                </a:lnTo>
                <a:lnTo>
                  <a:pt x="29" y="0"/>
                </a:lnTo>
                <a:lnTo>
                  <a:pt x="23" y="5"/>
                </a:lnTo>
                <a:lnTo>
                  <a:pt x="20" y="3"/>
                </a:lnTo>
                <a:lnTo>
                  <a:pt x="17" y="8"/>
                </a:lnTo>
                <a:lnTo>
                  <a:pt x="17" y="11"/>
                </a:lnTo>
                <a:lnTo>
                  <a:pt x="9" y="11"/>
                </a:lnTo>
                <a:lnTo>
                  <a:pt x="6" y="20"/>
                </a:lnTo>
                <a:lnTo>
                  <a:pt x="0" y="25"/>
                </a:lnTo>
                <a:lnTo>
                  <a:pt x="0" y="28"/>
                </a:lnTo>
                <a:lnTo>
                  <a:pt x="3" y="31"/>
                </a:lnTo>
                <a:lnTo>
                  <a:pt x="0" y="37"/>
                </a:lnTo>
                <a:lnTo>
                  <a:pt x="6" y="34"/>
                </a:lnTo>
                <a:lnTo>
                  <a:pt x="9" y="37"/>
                </a:lnTo>
                <a:lnTo>
                  <a:pt x="9" y="34"/>
                </a:lnTo>
                <a:lnTo>
                  <a:pt x="9" y="25"/>
                </a:lnTo>
                <a:lnTo>
                  <a:pt x="20" y="28"/>
                </a:lnTo>
                <a:lnTo>
                  <a:pt x="29" y="2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79" name="Freeform 83"/>
          <p:cNvSpPr>
            <a:spLocks/>
          </p:cNvSpPr>
          <p:nvPr/>
        </p:nvSpPr>
        <p:spPr bwMode="gray">
          <a:xfrm>
            <a:off x="9763760" y="2466067"/>
            <a:ext cx="12002" cy="4501"/>
          </a:xfrm>
          <a:custGeom>
            <a:avLst/>
            <a:gdLst>
              <a:gd name="T0" fmla="*/ 2147483647 w 6"/>
              <a:gd name="T1" fmla="*/ 2147483647 h 3"/>
              <a:gd name="T2" fmla="*/ 2147483647 w 6"/>
              <a:gd name="T3" fmla="*/ 0 h 3"/>
              <a:gd name="T4" fmla="*/ 0 w 6"/>
              <a:gd name="T5" fmla="*/ 0 h 3"/>
              <a:gd name="T6" fmla="*/ 2147483647 w 6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3"/>
              <a:gd name="T14" fmla="*/ 6 w 6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3">
                <a:moveTo>
                  <a:pt x="6" y="3"/>
                </a:moveTo>
                <a:lnTo>
                  <a:pt x="6" y="0"/>
                </a:lnTo>
                <a:lnTo>
                  <a:pt x="0" y="0"/>
                </a:lnTo>
                <a:lnTo>
                  <a:pt x="6" y="3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98" name="Freeform 84"/>
          <p:cNvSpPr>
            <a:spLocks/>
          </p:cNvSpPr>
          <p:nvPr/>
        </p:nvSpPr>
        <p:spPr bwMode="gray">
          <a:xfrm>
            <a:off x="9793765" y="2466067"/>
            <a:ext cx="180032" cy="118504"/>
          </a:xfrm>
          <a:custGeom>
            <a:avLst/>
            <a:gdLst>
              <a:gd name="T0" fmla="*/ 2147483647 w 89"/>
              <a:gd name="T1" fmla="*/ 2147483647 h 78"/>
              <a:gd name="T2" fmla="*/ 2147483647 w 89"/>
              <a:gd name="T3" fmla="*/ 2147483647 h 78"/>
              <a:gd name="T4" fmla="*/ 2147483647 w 89"/>
              <a:gd name="T5" fmla="*/ 2147483647 h 78"/>
              <a:gd name="T6" fmla="*/ 2147483647 w 89"/>
              <a:gd name="T7" fmla="*/ 2147483647 h 78"/>
              <a:gd name="T8" fmla="*/ 2147483647 w 89"/>
              <a:gd name="T9" fmla="*/ 2147483647 h 78"/>
              <a:gd name="T10" fmla="*/ 2147483647 w 89"/>
              <a:gd name="T11" fmla="*/ 2147483647 h 78"/>
              <a:gd name="T12" fmla="*/ 2147483647 w 89"/>
              <a:gd name="T13" fmla="*/ 2147483647 h 78"/>
              <a:gd name="T14" fmla="*/ 2147483647 w 89"/>
              <a:gd name="T15" fmla="*/ 0 h 78"/>
              <a:gd name="T16" fmla="*/ 0 w 89"/>
              <a:gd name="T17" fmla="*/ 0 h 78"/>
              <a:gd name="T18" fmla="*/ 2147483647 w 89"/>
              <a:gd name="T19" fmla="*/ 2147483647 h 78"/>
              <a:gd name="T20" fmla="*/ 2147483647 w 89"/>
              <a:gd name="T21" fmla="*/ 2147483647 h 78"/>
              <a:gd name="T22" fmla="*/ 2147483647 w 89"/>
              <a:gd name="T23" fmla="*/ 2147483647 h 78"/>
              <a:gd name="T24" fmla="*/ 2147483647 w 89"/>
              <a:gd name="T25" fmla="*/ 2147483647 h 78"/>
              <a:gd name="T26" fmla="*/ 2147483647 w 89"/>
              <a:gd name="T27" fmla="*/ 2147483647 h 78"/>
              <a:gd name="T28" fmla="*/ 2147483647 w 89"/>
              <a:gd name="T29" fmla="*/ 2147483647 h 78"/>
              <a:gd name="T30" fmla="*/ 2147483647 w 89"/>
              <a:gd name="T31" fmla="*/ 2147483647 h 78"/>
              <a:gd name="T32" fmla="*/ 2147483647 w 89"/>
              <a:gd name="T33" fmla="*/ 2147483647 h 78"/>
              <a:gd name="T34" fmla="*/ 2147483647 w 89"/>
              <a:gd name="T35" fmla="*/ 2147483647 h 78"/>
              <a:gd name="T36" fmla="*/ 2147483647 w 89"/>
              <a:gd name="T37" fmla="*/ 2147483647 h 78"/>
              <a:gd name="T38" fmla="*/ 2147483647 w 89"/>
              <a:gd name="T39" fmla="*/ 2147483647 h 78"/>
              <a:gd name="T40" fmla="*/ 2147483647 w 89"/>
              <a:gd name="T41" fmla="*/ 2147483647 h 78"/>
              <a:gd name="T42" fmla="*/ 2147483647 w 89"/>
              <a:gd name="T43" fmla="*/ 2147483647 h 78"/>
              <a:gd name="T44" fmla="*/ 2147483647 w 89"/>
              <a:gd name="T45" fmla="*/ 2147483647 h 78"/>
              <a:gd name="T46" fmla="*/ 2147483647 w 89"/>
              <a:gd name="T47" fmla="*/ 2147483647 h 78"/>
              <a:gd name="T48" fmla="*/ 2147483647 w 89"/>
              <a:gd name="T49" fmla="*/ 2147483647 h 78"/>
              <a:gd name="T50" fmla="*/ 2147483647 w 89"/>
              <a:gd name="T51" fmla="*/ 2147483647 h 78"/>
              <a:gd name="T52" fmla="*/ 2147483647 w 89"/>
              <a:gd name="T53" fmla="*/ 2147483647 h 78"/>
              <a:gd name="T54" fmla="*/ 2147483647 w 89"/>
              <a:gd name="T55" fmla="*/ 2147483647 h 78"/>
              <a:gd name="T56" fmla="*/ 2147483647 w 89"/>
              <a:gd name="T57" fmla="*/ 2147483647 h 78"/>
              <a:gd name="T58" fmla="*/ 2147483647 w 89"/>
              <a:gd name="T59" fmla="*/ 2147483647 h 78"/>
              <a:gd name="T60" fmla="*/ 2147483647 w 89"/>
              <a:gd name="T61" fmla="*/ 2147483647 h 78"/>
              <a:gd name="T62" fmla="*/ 2147483647 w 89"/>
              <a:gd name="T63" fmla="*/ 2147483647 h 78"/>
              <a:gd name="T64" fmla="*/ 2147483647 w 89"/>
              <a:gd name="T65" fmla="*/ 2147483647 h 78"/>
              <a:gd name="T66" fmla="*/ 2147483647 w 89"/>
              <a:gd name="T67" fmla="*/ 2147483647 h 78"/>
              <a:gd name="T68" fmla="*/ 2147483647 w 89"/>
              <a:gd name="T69" fmla="*/ 2147483647 h 78"/>
              <a:gd name="T70" fmla="*/ 2147483647 w 89"/>
              <a:gd name="T71" fmla="*/ 2147483647 h 78"/>
              <a:gd name="T72" fmla="*/ 2147483647 w 89"/>
              <a:gd name="T73" fmla="*/ 2147483647 h 78"/>
              <a:gd name="T74" fmla="*/ 2147483647 w 89"/>
              <a:gd name="T75" fmla="*/ 2147483647 h 78"/>
              <a:gd name="T76" fmla="*/ 2147483647 w 89"/>
              <a:gd name="T77" fmla="*/ 2147483647 h 78"/>
              <a:gd name="T78" fmla="*/ 2147483647 w 89"/>
              <a:gd name="T79" fmla="*/ 2147483647 h 78"/>
              <a:gd name="T80" fmla="*/ 2147483647 w 89"/>
              <a:gd name="T81" fmla="*/ 2147483647 h 78"/>
              <a:gd name="T82" fmla="*/ 2147483647 w 89"/>
              <a:gd name="T83" fmla="*/ 2147483647 h 78"/>
              <a:gd name="T84" fmla="*/ 2147483647 w 89"/>
              <a:gd name="T85" fmla="*/ 2147483647 h 78"/>
              <a:gd name="T86" fmla="*/ 2147483647 w 89"/>
              <a:gd name="T87" fmla="*/ 2147483647 h 78"/>
              <a:gd name="T88" fmla="*/ 2147483647 w 89"/>
              <a:gd name="T89" fmla="*/ 2147483647 h 78"/>
              <a:gd name="T90" fmla="*/ 2147483647 w 89"/>
              <a:gd name="T91" fmla="*/ 2147483647 h 78"/>
              <a:gd name="T92" fmla="*/ 2147483647 w 89"/>
              <a:gd name="T93" fmla="*/ 2147483647 h 78"/>
              <a:gd name="T94" fmla="*/ 2147483647 w 89"/>
              <a:gd name="T95" fmla="*/ 2147483647 h 78"/>
              <a:gd name="T96" fmla="*/ 2147483647 w 89"/>
              <a:gd name="T97" fmla="*/ 2147483647 h 78"/>
              <a:gd name="T98" fmla="*/ 2147483647 w 89"/>
              <a:gd name="T99" fmla="*/ 2147483647 h 78"/>
              <a:gd name="T100" fmla="*/ 2147483647 w 89"/>
              <a:gd name="T101" fmla="*/ 2147483647 h 78"/>
              <a:gd name="T102" fmla="*/ 2147483647 w 89"/>
              <a:gd name="T103" fmla="*/ 2147483647 h 78"/>
              <a:gd name="T104" fmla="*/ 2147483647 w 89"/>
              <a:gd name="T105" fmla="*/ 2147483647 h 78"/>
              <a:gd name="T106" fmla="*/ 2147483647 w 89"/>
              <a:gd name="T107" fmla="*/ 2147483647 h 78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89"/>
              <a:gd name="T163" fmla="*/ 0 h 78"/>
              <a:gd name="T164" fmla="*/ 89 w 89"/>
              <a:gd name="T165" fmla="*/ 78 h 78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89" h="78">
                <a:moveTo>
                  <a:pt x="71" y="32"/>
                </a:moveTo>
                <a:lnTo>
                  <a:pt x="71" y="32"/>
                </a:lnTo>
                <a:lnTo>
                  <a:pt x="68" y="23"/>
                </a:lnTo>
                <a:lnTo>
                  <a:pt x="68" y="26"/>
                </a:lnTo>
                <a:lnTo>
                  <a:pt x="66" y="29"/>
                </a:lnTo>
                <a:lnTo>
                  <a:pt x="60" y="32"/>
                </a:lnTo>
                <a:lnTo>
                  <a:pt x="54" y="29"/>
                </a:lnTo>
                <a:lnTo>
                  <a:pt x="48" y="26"/>
                </a:lnTo>
                <a:lnTo>
                  <a:pt x="40" y="23"/>
                </a:lnTo>
                <a:lnTo>
                  <a:pt x="11" y="6"/>
                </a:lnTo>
                <a:lnTo>
                  <a:pt x="2" y="0"/>
                </a:lnTo>
                <a:lnTo>
                  <a:pt x="0" y="0"/>
                </a:lnTo>
                <a:lnTo>
                  <a:pt x="2" y="9"/>
                </a:lnTo>
                <a:lnTo>
                  <a:pt x="5" y="12"/>
                </a:lnTo>
                <a:lnTo>
                  <a:pt x="11" y="18"/>
                </a:lnTo>
                <a:lnTo>
                  <a:pt x="11" y="21"/>
                </a:lnTo>
                <a:lnTo>
                  <a:pt x="14" y="26"/>
                </a:lnTo>
                <a:lnTo>
                  <a:pt x="17" y="32"/>
                </a:lnTo>
                <a:lnTo>
                  <a:pt x="14" y="35"/>
                </a:lnTo>
                <a:lnTo>
                  <a:pt x="17" y="41"/>
                </a:lnTo>
                <a:lnTo>
                  <a:pt x="23" y="44"/>
                </a:lnTo>
                <a:lnTo>
                  <a:pt x="23" y="46"/>
                </a:lnTo>
                <a:lnTo>
                  <a:pt x="14" y="44"/>
                </a:lnTo>
                <a:lnTo>
                  <a:pt x="8" y="44"/>
                </a:lnTo>
                <a:lnTo>
                  <a:pt x="5" y="41"/>
                </a:lnTo>
                <a:lnTo>
                  <a:pt x="2" y="41"/>
                </a:lnTo>
                <a:lnTo>
                  <a:pt x="5" y="44"/>
                </a:lnTo>
                <a:lnTo>
                  <a:pt x="8" y="49"/>
                </a:lnTo>
                <a:lnTo>
                  <a:pt x="11" y="52"/>
                </a:lnTo>
                <a:lnTo>
                  <a:pt x="8" y="55"/>
                </a:lnTo>
                <a:lnTo>
                  <a:pt x="2" y="55"/>
                </a:lnTo>
                <a:lnTo>
                  <a:pt x="2" y="58"/>
                </a:lnTo>
                <a:lnTo>
                  <a:pt x="5" y="61"/>
                </a:lnTo>
                <a:lnTo>
                  <a:pt x="11" y="64"/>
                </a:lnTo>
                <a:lnTo>
                  <a:pt x="14" y="69"/>
                </a:lnTo>
                <a:lnTo>
                  <a:pt x="14" y="72"/>
                </a:lnTo>
                <a:lnTo>
                  <a:pt x="17" y="78"/>
                </a:lnTo>
                <a:lnTo>
                  <a:pt x="20" y="78"/>
                </a:lnTo>
                <a:lnTo>
                  <a:pt x="23" y="78"/>
                </a:lnTo>
                <a:lnTo>
                  <a:pt x="23" y="75"/>
                </a:lnTo>
                <a:lnTo>
                  <a:pt x="23" y="72"/>
                </a:lnTo>
                <a:lnTo>
                  <a:pt x="28" y="72"/>
                </a:lnTo>
                <a:lnTo>
                  <a:pt x="31" y="72"/>
                </a:lnTo>
                <a:lnTo>
                  <a:pt x="31" y="69"/>
                </a:lnTo>
                <a:lnTo>
                  <a:pt x="23" y="67"/>
                </a:lnTo>
                <a:lnTo>
                  <a:pt x="17" y="64"/>
                </a:lnTo>
                <a:lnTo>
                  <a:pt x="14" y="58"/>
                </a:lnTo>
                <a:lnTo>
                  <a:pt x="14" y="55"/>
                </a:lnTo>
                <a:lnTo>
                  <a:pt x="17" y="55"/>
                </a:lnTo>
                <a:lnTo>
                  <a:pt x="23" y="61"/>
                </a:lnTo>
                <a:lnTo>
                  <a:pt x="25" y="61"/>
                </a:lnTo>
                <a:lnTo>
                  <a:pt x="28" y="58"/>
                </a:lnTo>
                <a:lnTo>
                  <a:pt x="31" y="55"/>
                </a:lnTo>
                <a:lnTo>
                  <a:pt x="34" y="55"/>
                </a:lnTo>
                <a:lnTo>
                  <a:pt x="40" y="58"/>
                </a:lnTo>
                <a:lnTo>
                  <a:pt x="45" y="61"/>
                </a:lnTo>
                <a:lnTo>
                  <a:pt x="57" y="67"/>
                </a:lnTo>
                <a:lnTo>
                  <a:pt x="63" y="69"/>
                </a:lnTo>
                <a:lnTo>
                  <a:pt x="63" y="67"/>
                </a:lnTo>
                <a:lnTo>
                  <a:pt x="60" y="64"/>
                </a:lnTo>
                <a:lnTo>
                  <a:pt x="63" y="61"/>
                </a:lnTo>
                <a:lnTo>
                  <a:pt x="63" y="52"/>
                </a:lnTo>
                <a:lnTo>
                  <a:pt x="66" y="49"/>
                </a:lnTo>
                <a:lnTo>
                  <a:pt x="68" y="49"/>
                </a:lnTo>
                <a:lnTo>
                  <a:pt x="71" y="52"/>
                </a:lnTo>
                <a:lnTo>
                  <a:pt x="74" y="52"/>
                </a:lnTo>
                <a:lnTo>
                  <a:pt x="80" y="49"/>
                </a:lnTo>
                <a:lnTo>
                  <a:pt x="89" y="44"/>
                </a:lnTo>
                <a:lnTo>
                  <a:pt x="89" y="41"/>
                </a:lnTo>
                <a:lnTo>
                  <a:pt x="86" y="41"/>
                </a:lnTo>
                <a:lnTo>
                  <a:pt x="83" y="44"/>
                </a:lnTo>
                <a:lnTo>
                  <a:pt x="80" y="41"/>
                </a:lnTo>
                <a:lnTo>
                  <a:pt x="74" y="38"/>
                </a:lnTo>
                <a:lnTo>
                  <a:pt x="71" y="32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81" name="Freeform 85"/>
          <p:cNvSpPr>
            <a:spLocks/>
          </p:cNvSpPr>
          <p:nvPr/>
        </p:nvSpPr>
        <p:spPr bwMode="gray">
          <a:xfrm>
            <a:off x="9775762" y="2475067"/>
            <a:ext cx="12002" cy="4501"/>
          </a:xfrm>
          <a:custGeom>
            <a:avLst/>
            <a:gdLst>
              <a:gd name="T0" fmla="*/ 0 w 6"/>
              <a:gd name="T1" fmla="*/ 2147483647 h 3"/>
              <a:gd name="T2" fmla="*/ 2147483647 w 6"/>
              <a:gd name="T3" fmla="*/ 2147483647 h 3"/>
              <a:gd name="T4" fmla="*/ 2147483647 w 6"/>
              <a:gd name="T5" fmla="*/ 0 h 3"/>
              <a:gd name="T6" fmla="*/ 2147483647 w 6"/>
              <a:gd name="T7" fmla="*/ 0 h 3"/>
              <a:gd name="T8" fmla="*/ 2147483647 w 6"/>
              <a:gd name="T9" fmla="*/ 0 h 3"/>
              <a:gd name="T10" fmla="*/ 0 w 6"/>
              <a:gd name="T11" fmla="*/ 2147483647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3"/>
              <a:gd name="T20" fmla="*/ 6 w 6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3">
                <a:moveTo>
                  <a:pt x="0" y="3"/>
                </a:moveTo>
                <a:lnTo>
                  <a:pt x="6" y="3"/>
                </a:ln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00" name="Freeform 86"/>
          <p:cNvSpPr>
            <a:spLocks/>
          </p:cNvSpPr>
          <p:nvPr/>
        </p:nvSpPr>
        <p:spPr bwMode="gray">
          <a:xfrm>
            <a:off x="9629735" y="2080557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0 h 6"/>
              <a:gd name="T4" fmla="*/ 0 w 6"/>
              <a:gd name="T5" fmla="*/ 2147483647 h 6"/>
              <a:gd name="T6" fmla="*/ 2147483647 w 6"/>
              <a:gd name="T7" fmla="*/ 2147483647 h 6"/>
              <a:gd name="T8" fmla="*/ 2147483647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6" y="3"/>
                </a:move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lnTo>
                  <a:pt x="6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83" name="Freeform 87"/>
          <p:cNvSpPr>
            <a:spLocks/>
          </p:cNvSpPr>
          <p:nvPr/>
        </p:nvSpPr>
        <p:spPr bwMode="gray">
          <a:xfrm>
            <a:off x="9793764" y="2559070"/>
            <a:ext cx="10002" cy="9000"/>
          </a:xfrm>
          <a:custGeom>
            <a:avLst/>
            <a:gdLst>
              <a:gd name="T0" fmla="*/ 2147483647 w 5"/>
              <a:gd name="T1" fmla="*/ 2147483647 h 6"/>
              <a:gd name="T2" fmla="*/ 2147483647 w 5"/>
              <a:gd name="T3" fmla="*/ 2147483647 h 6"/>
              <a:gd name="T4" fmla="*/ 0 w 5"/>
              <a:gd name="T5" fmla="*/ 0 h 6"/>
              <a:gd name="T6" fmla="*/ 2147483647 w 5"/>
              <a:gd name="T7" fmla="*/ 2147483647 h 6"/>
              <a:gd name="T8" fmla="*/ 0 60000 65536"/>
              <a:gd name="T9" fmla="*/ 0 60000 65536"/>
              <a:gd name="T10" fmla="*/ 0 60000 65536"/>
              <a:gd name="T11" fmla="*/ 0 60000 65536"/>
              <a:gd name="T12" fmla="*/ 0 w 5"/>
              <a:gd name="T13" fmla="*/ 0 h 6"/>
              <a:gd name="T14" fmla="*/ 5 w 5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" h="6">
                <a:moveTo>
                  <a:pt x="2" y="6"/>
                </a:moveTo>
                <a:lnTo>
                  <a:pt x="5" y="3"/>
                </a:lnTo>
                <a:lnTo>
                  <a:pt x="0" y="0"/>
                </a:lnTo>
                <a:lnTo>
                  <a:pt x="2" y="6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84" name="Freeform 88"/>
          <p:cNvSpPr>
            <a:spLocks/>
          </p:cNvSpPr>
          <p:nvPr/>
        </p:nvSpPr>
        <p:spPr bwMode="gray">
          <a:xfrm>
            <a:off x="6259128" y="2605571"/>
            <a:ext cx="6000" cy="4500"/>
          </a:xfrm>
          <a:custGeom>
            <a:avLst/>
            <a:gdLst>
              <a:gd name="T0" fmla="*/ 0 w 3"/>
              <a:gd name="T1" fmla="*/ 2147483647 h 3"/>
              <a:gd name="T2" fmla="*/ 0 w 3"/>
              <a:gd name="T3" fmla="*/ 2147483647 h 3"/>
              <a:gd name="T4" fmla="*/ 2147483647 w 3"/>
              <a:gd name="T5" fmla="*/ 0 h 3"/>
              <a:gd name="T6" fmla="*/ 0 w 3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0" y="3"/>
                </a:moveTo>
                <a:lnTo>
                  <a:pt x="0" y="3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85" name="Freeform 89"/>
          <p:cNvSpPr>
            <a:spLocks/>
          </p:cNvSpPr>
          <p:nvPr/>
        </p:nvSpPr>
        <p:spPr bwMode="gray">
          <a:xfrm>
            <a:off x="5825049" y="3123085"/>
            <a:ext cx="354064" cy="460513"/>
          </a:xfrm>
          <a:custGeom>
            <a:avLst/>
            <a:gdLst>
              <a:gd name="T0" fmla="*/ 2147483647 w 175"/>
              <a:gd name="T1" fmla="*/ 2147483647 h 304"/>
              <a:gd name="T2" fmla="*/ 2147483647 w 175"/>
              <a:gd name="T3" fmla="*/ 2147483647 h 304"/>
              <a:gd name="T4" fmla="*/ 2147483647 w 175"/>
              <a:gd name="T5" fmla="*/ 2147483647 h 304"/>
              <a:gd name="T6" fmla="*/ 2147483647 w 175"/>
              <a:gd name="T7" fmla="*/ 2147483647 h 304"/>
              <a:gd name="T8" fmla="*/ 2147483647 w 175"/>
              <a:gd name="T9" fmla="*/ 2147483647 h 304"/>
              <a:gd name="T10" fmla="*/ 2147483647 w 175"/>
              <a:gd name="T11" fmla="*/ 2147483647 h 304"/>
              <a:gd name="T12" fmla="*/ 2147483647 w 175"/>
              <a:gd name="T13" fmla="*/ 2147483647 h 304"/>
              <a:gd name="T14" fmla="*/ 2147483647 w 175"/>
              <a:gd name="T15" fmla="*/ 2147483647 h 304"/>
              <a:gd name="T16" fmla="*/ 2147483647 w 175"/>
              <a:gd name="T17" fmla="*/ 2147483647 h 304"/>
              <a:gd name="T18" fmla="*/ 2147483647 w 175"/>
              <a:gd name="T19" fmla="*/ 2147483647 h 304"/>
              <a:gd name="T20" fmla="*/ 2147483647 w 175"/>
              <a:gd name="T21" fmla="*/ 2147483647 h 304"/>
              <a:gd name="T22" fmla="*/ 2147483647 w 175"/>
              <a:gd name="T23" fmla="*/ 2147483647 h 304"/>
              <a:gd name="T24" fmla="*/ 2147483647 w 175"/>
              <a:gd name="T25" fmla="*/ 2147483647 h 304"/>
              <a:gd name="T26" fmla="*/ 2147483647 w 175"/>
              <a:gd name="T27" fmla="*/ 2147483647 h 304"/>
              <a:gd name="T28" fmla="*/ 2147483647 w 175"/>
              <a:gd name="T29" fmla="*/ 2147483647 h 304"/>
              <a:gd name="T30" fmla="*/ 2147483647 w 175"/>
              <a:gd name="T31" fmla="*/ 2147483647 h 304"/>
              <a:gd name="T32" fmla="*/ 2147483647 w 175"/>
              <a:gd name="T33" fmla="*/ 2147483647 h 304"/>
              <a:gd name="T34" fmla="*/ 2147483647 w 175"/>
              <a:gd name="T35" fmla="*/ 2147483647 h 304"/>
              <a:gd name="T36" fmla="*/ 2147483647 w 175"/>
              <a:gd name="T37" fmla="*/ 2147483647 h 304"/>
              <a:gd name="T38" fmla="*/ 2147483647 w 175"/>
              <a:gd name="T39" fmla="*/ 2147483647 h 304"/>
              <a:gd name="T40" fmla="*/ 2147483647 w 175"/>
              <a:gd name="T41" fmla="*/ 2147483647 h 304"/>
              <a:gd name="T42" fmla="*/ 2147483647 w 175"/>
              <a:gd name="T43" fmla="*/ 2147483647 h 304"/>
              <a:gd name="T44" fmla="*/ 2147483647 w 175"/>
              <a:gd name="T45" fmla="*/ 0 h 304"/>
              <a:gd name="T46" fmla="*/ 2147483647 w 175"/>
              <a:gd name="T47" fmla="*/ 2147483647 h 304"/>
              <a:gd name="T48" fmla="*/ 2147483647 w 175"/>
              <a:gd name="T49" fmla="*/ 2147483647 h 304"/>
              <a:gd name="T50" fmla="*/ 2147483647 w 175"/>
              <a:gd name="T51" fmla="*/ 2147483647 h 304"/>
              <a:gd name="T52" fmla="*/ 2147483647 w 175"/>
              <a:gd name="T53" fmla="*/ 2147483647 h 304"/>
              <a:gd name="T54" fmla="*/ 2147483647 w 175"/>
              <a:gd name="T55" fmla="*/ 2147483647 h 304"/>
              <a:gd name="T56" fmla="*/ 2147483647 w 175"/>
              <a:gd name="T57" fmla="*/ 2147483647 h 304"/>
              <a:gd name="T58" fmla="*/ 2147483647 w 175"/>
              <a:gd name="T59" fmla="*/ 2147483647 h 304"/>
              <a:gd name="T60" fmla="*/ 2147483647 w 175"/>
              <a:gd name="T61" fmla="*/ 2147483647 h 304"/>
              <a:gd name="T62" fmla="*/ 2147483647 w 175"/>
              <a:gd name="T63" fmla="*/ 2147483647 h 304"/>
              <a:gd name="T64" fmla="*/ 0 w 175"/>
              <a:gd name="T65" fmla="*/ 2147483647 h 30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75"/>
              <a:gd name="T100" fmla="*/ 0 h 304"/>
              <a:gd name="T101" fmla="*/ 175 w 175"/>
              <a:gd name="T102" fmla="*/ 304 h 304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75" h="304">
                <a:moveTo>
                  <a:pt x="9" y="195"/>
                </a:moveTo>
                <a:lnTo>
                  <a:pt x="14" y="192"/>
                </a:lnTo>
                <a:lnTo>
                  <a:pt x="20" y="201"/>
                </a:lnTo>
                <a:lnTo>
                  <a:pt x="23" y="212"/>
                </a:lnTo>
                <a:lnTo>
                  <a:pt x="29" y="227"/>
                </a:lnTo>
                <a:lnTo>
                  <a:pt x="29" y="244"/>
                </a:lnTo>
                <a:lnTo>
                  <a:pt x="37" y="258"/>
                </a:lnTo>
                <a:lnTo>
                  <a:pt x="12" y="258"/>
                </a:lnTo>
                <a:lnTo>
                  <a:pt x="9" y="264"/>
                </a:lnTo>
                <a:lnTo>
                  <a:pt x="12" y="267"/>
                </a:lnTo>
                <a:lnTo>
                  <a:pt x="23" y="281"/>
                </a:lnTo>
                <a:lnTo>
                  <a:pt x="32" y="301"/>
                </a:lnTo>
                <a:lnTo>
                  <a:pt x="37" y="304"/>
                </a:lnTo>
                <a:lnTo>
                  <a:pt x="49" y="299"/>
                </a:lnTo>
                <a:lnTo>
                  <a:pt x="52" y="299"/>
                </a:lnTo>
                <a:lnTo>
                  <a:pt x="52" y="301"/>
                </a:lnTo>
                <a:lnTo>
                  <a:pt x="55" y="304"/>
                </a:lnTo>
                <a:lnTo>
                  <a:pt x="69" y="299"/>
                </a:lnTo>
                <a:lnTo>
                  <a:pt x="83" y="296"/>
                </a:lnTo>
                <a:lnTo>
                  <a:pt x="92" y="284"/>
                </a:lnTo>
                <a:lnTo>
                  <a:pt x="86" y="279"/>
                </a:lnTo>
                <a:lnTo>
                  <a:pt x="115" y="273"/>
                </a:lnTo>
                <a:lnTo>
                  <a:pt x="135" y="253"/>
                </a:lnTo>
                <a:lnTo>
                  <a:pt x="138" y="244"/>
                </a:lnTo>
                <a:lnTo>
                  <a:pt x="158" y="238"/>
                </a:lnTo>
                <a:lnTo>
                  <a:pt x="158" y="233"/>
                </a:lnTo>
                <a:lnTo>
                  <a:pt x="152" y="227"/>
                </a:lnTo>
                <a:lnTo>
                  <a:pt x="149" y="207"/>
                </a:lnTo>
                <a:lnTo>
                  <a:pt x="138" y="204"/>
                </a:lnTo>
                <a:lnTo>
                  <a:pt x="146" y="192"/>
                </a:lnTo>
                <a:lnTo>
                  <a:pt x="144" y="184"/>
                </a:lnTo>
                <a:lnTo>
                  <a:pt x="149" y="175"/>
                </a:lnTo>
                <a:lnTo>
                  <a:pt x="149" y="167"/>
                </a:lnTo>
                <a:lnTo>
                  <a:pt x="155" y="164"/>
                </a:lnTo>
                <a:lnTo>
                  <a:pt x="158" y="155"/>
                </a:lnTo>
                <a:lnTo>
                  <a:pt x="158" y="149"/>
                </a:lnTo>
                <a:lnTo>
                  <a:pt x="175" y="144"/>
                </a:lnTo>
                <a:lnTo>
                  <a:pt x="172" y="75"/>
                </a:lnTo>
                <a:lnTo>
                  <a:pt x="40" y="0"/>
                </a:lnTo>
                <a:lnTo>
                  <a:pt x="26" y="6"/>
                </a:lnTo>
                <a:lnTo>
                  <a:pt x="26" y="32"/>
                </a:lnTo>
                <a:lnTo>
                  <a:pt x="32" y="40"/>
                </a:lnTo>
                <a:lnTo>
                  <a:pt x="35" y="49"/>
                </a:lnTo>
                <a:lnTo>
                  <a:pt x="40" y="55"/>
                </a:lnTo>
                <a:lnTo>
                  <a:pt x="37" y="66"/>
                </a:lnTo>
                <a:lnTo>
                  <a:pt x="35" y="121"/>
                </a:lnTo>
                <a:lnTo>
                  <a:pt x="29" y="132"/>
                </a:lnTo>
                <a:lnTo>
                  <a:pt x="23" y="138"/>
                </a:lnTo>
                <a:lnTo>
                  <a:pt x="3" y="164"/>
                </a:lnTo>
                <a:lnTo>
                  <a:pt x="0" y="172"/>
                </a:lnTo>
                <a:lnTo>
                  <a:pt x="0" y="184"/>
                </a:lnTo>
                <a:lnTo>
                  <a:pt x="9" y="19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86" name="Freeform 90"/>
          <p:cNvSpPr>
            <a:spLocks/>
          </p:cNvSpPr>
          <p:nvPr/>
        </p:nvSpPr>
        <p:spPr bwMode="gray">
          <a:xfrm>
            <a:off x="7605370" y="2536569"/>
            <a:ext cx="314057" cy="112503"/>
          </a:xfrm>
          <a:custGeom>
            <a:avLst/>
            <a:gdLst>
              <a:gd name="T0" fmla="*/ 2147483647 w 155"/>
              <a:gd name="T1" fmla="*/ 2147483647 h 75"/>
              <a:gd name="T2" fmla="*/ 2147483647 w 155"/>
              <a:gd name="T3" fmla="*/ 2147483647 h 75"/>
              <a:gd name="T4" fmla="*/ 2147483647 w 155"/>
              <a:gd name="T5" fmla="*/ 2147483647 h 75"/>
              <a:gd name="T6" fmla="*/ 2147483647 w 155"/>
              <a:gd name="T7" fmla="*/ 2147483647 h 75"/>
              <a:gd name="T8" fmla="*/ 2147483647 w 155"/>
              <a:gd name="T9" fmla="*/ 2147483647 h 75"/>
              <a:gd name="T10" fmla="*/ 2147483647 w 155"/>
              <a:gd name="T11" fmla="*/ 2147483647 h 75"/>
              <a:gd name="T12" fmla="*/ 2147483647 w 155"/>
              <a:gd name="T13" fmla="*/ 2147483647 h 75"/>
              <a:gd name="T14" fmla="*/ 2147483647 w 155"/>
              <a:gd name="T15" fmla="*/ 2147483647 h 75"/>
              <a:gd name="T16" fmla="*/ 2147483647 w 155"/>
              <a:gd name="T17" fmla="*/ 2147483647 h 75"/>
              <a:gd name="T18" fmla="*/ 2147483647 w 155"/>
              <a:gd name="T19" fmla="*/ 2147483647 h 75"/>
              <a:gd name="T20" fmla="*/ 2147483647 w 155"/>
              <a:gd name="T21" fmla="*/ 2147483647 h 75"/>
              <a:gd name="T22" fmla="*/ 2147483647 w 155"/>
              <a:gd name="T23" fmla="*/ 2147483647 h 75"/>
              <a:gd name="T24" fmla="*/ 2147483647 w 155"/>
              <a:gd name="T25" fmla="*/ 2147483647 h 75"/>
              <a:gd name="T26" fmla="*/ 2147483647 w 155"/>
              <a:gd name="T27" fmla="*/ 2147483647 h 75"/>
              <a:gd name="T28" fmla="*/ 2147483647 w 155"/>
              <a:gd name="T29" fmla="*/ 2147483647 h 75"/>
              <a:gd name="T30" fmla="*/ 2147483647 w 155"/>
              <a:gd name="T31" fmla="*/ 2147483647 h 75"/>
              <a:gd name="T32" fmla="*/ 2147483647 w 155"/>
              <a:gd name="T33" fmla="*/ 2147483647 h 75"/>
              <a:gd name="T34" fmla="*/ 2147483647 w 155"/>
              <a:gd name="T35" fmla="*/ 2147483647 h 75"/>
              <a:gd name="T36" fmla="*/ 2147483647 w 155"/>
              <a:gd name="T37" fmla="*/ 2147483647 h 75"/>
              <a:gd name="T38" fmla="*/ 2147483647 w 155"/>
              <a:gd name="T39" fmla="*/ 2147483647 h 75"/>
              <a:gd name="T40" fmla="*/ 2147483647 w 155"/>
              <a:gd name="T41" fmla="*/ 2147483647 h 75"/>
              <a:gd name="T42" fmla="*/ 2147483647 w 155"/>
              <a:gd name="T43" fmla="*/ 2147483647 h 75"/>
              <a:gd name="T44" fmla="*/ 2147483647 w 155"/>
              <a:gd name="T45" fmla="*/ 2147483647 h 75"/>
              <a:gd name="T46" fmla="*/ 2147483647 w 155"/>
              <a:gd name="T47" fmla="*/ 2147483647 h 75"/>
              <a:gd name="T48" fmla="*/ 2147483647 w 155"/>
              <a:gd name="T49" fmla="*/ 2147483647 h 75"/>
              <a:gd name="T50" fmla="*/ 2147483647 w 155"/>
              <a:gd name="T51" fmla="*/ 2147483647 h 75"/>
              <a:gd name="T52" fmla="*/ 2147483647 w 155"/>
              <a:gd name="T53" fmla="*/ 2147483647 h 75"/>
              <a:gd name="T54" fmla="*/ 2147483647 w 155"/>
              <a:gd name="T55" fmla="*/ 2147483647 h 75"/>
              <a:gd name="T56" fmla="*/ 2147483647 w 155"/>
              <a:gd name="T57" fmla="*/ 2147483647 h 75"/>
              <a:gd name="T58" fmla="*/ 0 w 155"/>
              <a:gd name="T59" fmla="*/ 2147483647 h 75"/>
              <a:gd name="T60" fmla="*/ 2147483647 w 155"/>
              <a:gd name="T61" fmla="*/ 2147483647 h 75"/>
              <a:gd name="T62" fmla="*/ 2147483647 w 155"/>
              <a:gd name="T63" fmla="*/ 2147483647 h 75"/>
              <a:gd name="T64" fmla="*/ 2147483647 w 155"/>
              <a:gd name="T65" fmla="*/ 2147483647 h 75"/>
              <a:gd name="T66" fmla="*/ 2147483647 w 155"/>
              <a:gd name="T67" fmla="*/ 2147483647 h 75"/>
              <a:gd name="T68" fmla="*/ 2147483647 w 155"/>
              <a:gd name="T69" fmla="*/ 2147483647 h 75"/>
              <a:gd name="T70" fmla="*/ 2147483647 w 155"/>
              <a:gd name="T71" fmla="*/ 2147483647 h 75"/>
              <a:gd name="T72" fmla="*/ 2147483647 w 155"/>
              <a:gd name="T73" fmla="*/ 2147483647 h 75"/>
              <a:gd name="T74" fmla="*/ 2147483647 w 155"/>
              <a:gd name="T75" fmla="*/ 2147483647 h 75"/>
              <a:gd name="T76" fmla="*/ 2147483647 w 155"/>
              <a:gd name="T77" fmla="*/ 2147483647 h 75"/>
              <a:gd name="T78" fmla="*/ 2147483647 w 155"/>
              <a:gd name="T79" fmla="*/ 2147483647 h 75"/>
              <a:gd name="T80" fmla="*/ 2147483647 w 155"/>
              <a:gd name="T81" fmla="*/ 2147483647 h 75"/>
              <a:gd name="T82" fmla="*/ 2147483647 w 155"/>
              <a:gd name="T83" fmla="*/ 2147483647 h 75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55"/>
              <a:gd name="T127" fmla="*/ 0 h 75"/>
              <a:gd name="T128" fmla="*/ 155 w 155"/>
              <a:gd name="T129" fmla="*/ 75 h 75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55" h="75">
                <a:moveTo>
                  <a:pt x="84" y="49"/>
                </a:moveTo>
                <a:lnTo>
                  <a:pt x="84" y="49"/>
                </a:lnTo>
                <a:lnTo>
                  <a:pt x="95" y="49"/>
                </a:lnTo>
                <a:lnTo>
                  <a:pt x="98" y="55"/>
                </a:lnTo>
                <a:lnTo>
                  <a:pt x="101" y="52"/>
                </a:lnTo>
                <a:lnTo>
                  <a:pt x="109" y="52"/>
                </a:lnTo>
                <a:lnTo>
                  <a:pt x="112" y="41"/>
                </a:lnTo>
                <a:lnTo>
                  <a:pt x="118" y="41"/>
                </a:lnTo>
                <a:lnTo>
                  <a:pt x="124" y="38"/>
                </a:lnTo>
                <a:lnTo>
                  <a:pt x="130" y="35"/>
                </a:lnTo>
                <a:lnTo>
                  <a:pt x="138" y="32"/>
                </a:lnTo>
                <a:lnTo>
                  <a:pt x="144" y="29"/>
                </a:lnTo>
                <a:lnTo>
                  <a:pt x="150" y="26"/>
                </a:lnTo>
                <a:lnTo>
                  <a:pt x="152" y="23"/>
                </a:lnTo>
                <a:lnTo>
                  <a:pt x="155" y="21"/>
                </a:lnTo>
                <a:lnTo>
                  <a:pt x="155" y="18"/>
                </a:lnTo>
                <a:lnTo>
                  <a:pt x="152" y="15"/>
                </a:lnTo>
                <a:lnTo>
                  <a:pt x="144" y="15"/>
                </a:lnTo>
                <a:lnTo>
                  <a:pt x="141" y="15"/>
                </a:lnTo>
                <a:lnTo>
                  <a:pt x="138" y="9"/>
                </a:lnTo>
                <a:lnTo>
                  <a:pt x="124" y="9"/>
                </a:lnTo>
                <a:lnTo>
                  <a:pt x="109" y="6"/>
                </a:lnTo>
                <a:lnTo>
                  <a:pt x="101" y="3"/>
                </a:lnTo>
                <a:lnTo>
                  <a:pt x="92" y="6"/>
                </a:lnTo>
                <a:lnTo>
                  <a:pt x="86" y="3"/>
                </a:lnTo>
                <a:lnTo>
                  <a:pt x="84" y="9"/>
                </a:lnTo>
                <a:lnTo>
                  <a:pt x="81" y="9"/>
                </a:lnTo>
                <a:lnTo>
                  <a:pt x="75" y="6"/>
                </a:lnTo>
                <a:lnTo>
                  <a:pt x="66" y="3"/>
                </a:lnTo>
                <a:lnTo>
                  <a:pt x="64" y="0"/>
                </a:lnTo>
                <a:lnTo>
                  <a:pt x="58" y="0"/>
                </a:lnTo>
                <a:lnTo>
                  <a:pt x="49" y="3"/>
                </a:lnTo>
                <a:lnTo>
                  <a:pt x="52" y="15"/>
                </a:lnTo>
                <a:lnTo>
                  <a:pt x="49" y="15"/>
                </a:lnTo>
                <a:lnTo>
                  <a:pt x="41" y="12"/>
                </a:lnTo>
                <a:lnTo>
                  <a:pt x="26" y="9"/>
                </a:lnTo>
                <a:lnTo>
                  <a:pt x="23" y="6"/>
                </a:lnTo>
                <a:lnTo>
                  <a:pt x="15" y="9"/>
                </a:lnTo>
                <a:lnTo>
                  <a:pt x="12" y="12"/>
                </a:lnTo>
                <a:lnTo>
                  <a:pt x="12" y="15"/>
                </a:lnTo>
                <a:lnTo>
                  <a:pt x="20" y="18"/>
                </a:lnTo>
                <a:lnTo>
                  <a:pt x="9" y="29"/>
                </a:lnTo>
                <a:lnTo>
                  <a:pt x="12" y="29"/>
                </a:lnTo>
                <a:lnTo>
                  <a:pt x="18" y="35"/>
                </a:lnTo>
                <a:lnTo>
                  <a:pt x="23" y="35"/>
                </a:lnTo>
                <a:lnTo>
                  <a:pt x="26" y="26"/>
                </a:lnTo>
                <a:lnTo>
                  <a:pt x="38" y="38"/>
                </a:lnTo>
                <a:lnTo>
                  <a:pt x="41" y="41"/>
                </a:lnTo>
                <a:lnTo>
                  <a:pt x="43" y="41"/>
                </a:lnTo>
                <a:lnTo>
                  <a:pt x="58" y="43"/>
                </a:lnTo>
                <a:lnTo>
                  <a:pt x="43" y="55"/>
                </a:lnTo>
                <a:lnTo>
                  <a:pt x="35" y="61"/>
                </a:lnTo>
                <a:lnTo>
                  <a:pt x="26" y="58"/>
                </a:lnTo>
                <a:lnTo>
                  <a:pt x="18" y="64"/>
                </a:lnTo>
                <a:lnTo>
                  <a:pt x="15" y="64"/>
                </a:lnTo>
                <a:lnTo>
                  <a:pt x="6" y="61"/>
                </a:lnTo>
                <a:lnTo>
                  <a:pt x="0" y="61"/>
                </a:lnTo>
                <a:lnTo>
                  <a:pt x="0" y="64"/>
                </a:lnTo>
                <a:lnTo>
                  <a:pt x="3" y="69"/>
                </a:lnTo>
                <a:lnTo>
                  <a:pt x="6" y="69"/>
                </a:lnTo>
                <a:lnTo>
                  <a:pt x="15" y="66"/>
                </a:lnTo>
                <a:lnTo>
                  <a:pt x="18" y="66"/>
                </a:lnTo>
                <a:lnTo>
                  <a:pt x="23" y="69"/>
                </a:lnTo>
                <a:lnTo>
                  <a:pt x="26" y="72"/>
                </a:lnTo>
                <a:lnTo>
                  <a:pt x="29" y="69"/>
                </a:lnTo>
                <a:lnTo>
                  <a:pt x="29" y="66"/>
                </a:lnTo>
                <a:lnTo>
                  <a:pt x="32" y="66"/>
                </a:lnTo>
                <a:lnTo>
                  <a:pt x="41" y="69"/>
                </a:lnTo>
                <a:lnTo>
                  <a:pt x="46" y="75"/>
                </a:lnTo>
                <a:lnTo>
                  <a:pt x="49" y="72"/>
                </a:lnTo>
                <a:lnTo>
                  <a:pt x="52" y="72"/>
                </a:lnTo>
                <a:lnTo>
                  <a:pt x="64" y="72"/>
                </a:lnTo>
                <a:lnTo>
                  <a:pt x="69" y="72"/>
                </a:lnTo>
                <a:lnTo>
                  <a:pt x="69" y="69"/>
                </a:lnTo>
                <a:lnTo>
                  <a:pt x="69" y="61"/>
                </a:lnTo>
                <a:lnTo>
                  <a:pt x="72" y="58"/>
                </a:lnTo>
                <a:lnTo>
                  <a:pt x="78" y="52"/>
                </a:lnTo>
                <a:lnTo>
                  <a:pt x="84" y="4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87" name="Freeform 91"/>
          <p:cNvSpPr>
            <a:spLocks/>
          </p:cNvSpPr>
          <p:nvPr/>
        </p:nvSpPr>
        <p:spPr bwMode="gray">
          <a:xfrm>
            <a:off x="6117102" y="3127585"/>
            <a:ext cx="560101" cy="574515"/>
          </a:xfrm>
          <a:custGeom>
            <a:avLst/>
            <a:gdLst>
              <a:gd name="T0" fmla="*/ 2147483647 w 278"/>
              <a:gd name="T1" fmla="*/ 2147483647 h 379"/>
              <a:gd name="T2" fmla="*/ 2147483647 w 278"/>
              <a:gd name="T3" fmla="*/ 2147483647 h 379"/>
              <a:gd name="T4" fmla="*/ 2147483647 w 278"/>
              <a:gd name="T5" fmla="*/ 2147483647 h 379"/>
              <a:gd name="T6" fmla="*/ 2147483647 w 278"/>
              <a:gd name="T7" fmla="*/ 2147483647 h 379"/>
              <a:gd name="T8" fmla="*/ 2147483647 w 278"/>
              <a:gd name="T9" fmla="*/ 2147483647 h 379"/>
              <a:gd name="T10" fmla="*/ 2147483647 w 278"/>
              <a:gd name="T11" fmla="*/ 2147483647 h 379"/>
              <a:gd name="T12" fmla="*/ 2147483647 w 278"/>
              <a:gd name="T13" fmla="*/ 2147483647 h 379"/>
              <a:gd name="T14" fmla="*/ 2147483647 w 278"/>
              <a:gd name="T15" fmla="*/ 2147483647 h 379"/>
              <a:gd name="T16" fmla="*/ 2147483647 w 278"/>
              <a:gd name="T17" fmla="*/ 2147483647 h 379"/>
              <a:gd name="T18" fmla="*/ 2147483647 w 278"/>
              <a:gd name="T19" fmla="*/ 2147483647 h 379"/>
              <a:gd name="T20" fmla="*/ 2147483647 w 278"/>
              <a:gd name="T21" fmla="*/ 2147483647 h 379"/>
              <a:gd name="T22" fmla="*/ 2147483647 w 278"/>
              <a:gd name="T23" fmla="*/ 2147483647 h 379"/>
              <a:gd name="T24" fmla="*/ 2147483647 w 278"/>
              <a:gd name="T25" fmla="*/ 2147483647 h 379"/>
              <a:gd name="T26" fmla="*/ 2147483647 w 278"/>
              <a:gd name="T27" fmla="*/ 2147483647 h 379"/>
              <a:gd name="T28" fmla="*/ 2147483647 w 278"/>
              <a:gd name="T29" fmla="*/ 2147483647 h 379"/>
              <a:gd name="T30" fmla="*/ 2147483647 w 278"/>
              <a:gd name="T31" fmla="*/ 2147483647 h 379"/>
              <a:gd name="T32" fmla="*/ 2147483647 w 278"/>
              <a:gd name="T33" fmla="*/ 2147483647 h 379"/>
              <a:gd name="T34" fmla="*/ 2147483647 w 278"/>
              <a:gd name="T35" fmla="*/ 2147483647 h 379"/>
              <a:gd name="T36" fmla="*/ 2147483647 w 278"/>
              <a:gd name="T37" fmla="*/ 2147483647 h 379"/>
              <a:gd name="T38" fmla="*/ 2147483647 w 278"/>
              <a:gd name="T39" fmla="*/ 2147483647 h 379"/>
              <a:gd name="T40" fmla="*/ 2147483647 w 278"/>
              <a:gd name="T41" fmla="*/ 2147483647 h 379"/>
              <a:gd name="T42" fmla="*/ 2147483647 w 278"/>
              <a:gd name="T43" fmla="*/ 2147483647 h 379"/>
              <a:gd name="T44" fmla="*/ 2147483647 w 278"/>
              <a:gd name="T45" fmla="*/ 0 h 379"/>
              <a:gd name="T46" fmla="*/ 2147483647 w 278"/>
              <a:gd name="T47" fmla="*/ 2147483647 h 379"/>
              <a:gd name="T48" fmla="*/ 2147483647 w 278"/>
              <a:gd name="T49" fmla="*/ 2147483647 h 379"/>
              <a:gd name="T50" fmla="*/ 2147483647 w 278"/>
              <a:gd name="T51" fmla="*/ 2147483647 h 379"/>
              <a:gd name="T52" fmla="*/ 2147483647 w 278"/>
              <a:gd name="T53" fmla="*/ 2147483647 h 379"/>
              <a:gd name="T54" fmla="*/ 2147483647 w 278"/>
              <a:gd name="T55" fmla="*/ 2147483647 h 379"/>
              <a:gd name="T56" fmla="*/ 2147483647 w 278"/>
              <a:gd name="T57" fmla="*/ 2147483647 h 379"/>
              <a:gd name="T58" fmla="*/ 2147483647 w 278"/>
              <a:gd name="T59" fmla="*/ 2147483647 h 379"/>
              <a:gd name="T60" fmla="*/ 2147483647 w 278"/>
              <a:gd name="T61" fmla="*/ 2147483647 h 379"/>
              <a:gd name="T62" fmla="*/ 2147483647 w 278"/>
              <a:gd name="T63" fmla="*/ 2147483647 h 379"/>
              <a:gd name="T64" fmla="*/ 2147483647 w 278"/>
              <a:gd name="T65" fmla="*/ 2147483647 h 379"/>
              <a:gd name="T66" fmla="*/ 2147483647 w 278"/>
              <a:gd name="T67" fmla="*/ 2147483647 h 379"/>
              <a:gd name="T68" fmla="*/ 2147483647 w 278"/>
              <a:gd name="T69" fmla="*/ 2147483647 h 379"/>
              <a:gd name="T70" fmla="*/ 2147483647 w 278"/>
              <a:gd name="T71" fmla="*/ 2147483647 h 379"/>
              <a:gd name="T72" fmla="*/ 2147483647 w 278"/>
              <a:gd name="T73" fmla="*/ 2147483647 h 379"/>
              <a:gd name="T74" fmla="*/ 2147483647 w 278"/>
              <a:gd name="T75" fmla="*/ 2147483647 h 379"/>
              <a:gd name="T76" fmla="*/ 2147483647 w 278"/>
              <a:gd name="T77" fmla="*/ 2147483647 h 379"/>
              <a:gd name="T78" fmla="*/ 2147483647 w 278"/>
              <a:gd name="T79" fmla="*/ 2147483647 h 379"/>
              <a:gd name="T80" fmla="*/ 2147483647 w 278"/>
              <a:gd name="T81" fmla="*/ 2147483647 h 379"/>
              <a:gd name="T82" fmla="*/ 2147483647 w 278"/>
              <a:gd name="T83" fmla="*/ 2147483647 h 379"/>
              <a:gd name="T84" fmla="*/ 2147483647 w 278"/>
              <a:gd name="T85" fmla="*/ 2147483647 h 379"/>
              <a:gd name="T86" fmla="*/ 2147483647 w 278"/>
              <a:gd name="T87" fmla="*/ 2147483647 h 379"/>
              <a:gd name="T88" fmla="*/ 2147483647 w 278"/>
              <a:gd name="T89" fmla="*/ 2147483647 h 379"/>
              <a:gd name="T90" fmla="*/ 2147483647 w 278"/>
              <a:gd name="T91" fmla="*/ 2147483647 h 379"/>
              <a:gd name="T92" fmla="*/ 2147483647 w 278"/>
              <a:gd name="T93" fmla="*/ 2147483647 h 379"/>
              <a:gd name="T94" fmla="*/ 2147483647 w 278"/>
              <a:gd name="T95" fmla="*/ 2147483647 h 379"/>
              <a:gd name="T96" fmla="*/ 2147483647 w 278"/>
              <a:gd name="T97" fmla="*/ 2147483647 h 379"/>
              <a:gd name="T98" fmla="*/ 2147483647 w 278"/>
              <a:gd name="T99" fmla="*/ 2147483647 h 379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278"/>
              <a:gd name="T151" fmla="*/ 0 h 379"/>
              <a:gd name="T152" fmla="*/ 278 w 278"/>
              <a:gd name="T153" fmla="*/ 379 h 379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278" h="379">
                <a:moveTo>
                  <a:pt x="238" y="359"/>
                </a:moveTo>
                <a:lnTo>
                  <a:pt x="238" y="359"/>
                </a:lnTo>
                <a:lnTo>
                  <a:pt x="238" y="347"/>
                </a:lnTo>
                <a:lnTo>
                  <a:pt x="229" y="347"/>
                </a:lnTo>
                <a:lnTo>
                  <a:pt x="221" y="336"/>
                </a:lnTo>
                <a:lnTo>
                  <a:pt x="218" y="319"/>
                </a:lnTo>
                <a:lnTo>
                  <a:pt x="212" y="316"/>
                </a:lnTo>
                <a:lnTo>
                  <a:pt x="206" y="310"/>
                </a:lnTo>
                <a:lnTo>
                  <a:pt x="201" y="301"/>
                </a:lnTo>
                <a:lnTo>
                  <a:pt x="189" y="298"/>
                </a:lnTo>
                <a:lnTo>
                  <a:pt x="192" y="281"/>
                </a:lnTo>
                <a:lnTo>
                  <a:pt x="195" y="281"/>
                </a:lnTo>
                <a:lnTo>
                  <a:pt x="201" y="284"/>
                </a:lnTo>
                <a:lnTo>
                  <a:pt x="206" y="281"/>
                </a:lnTo>
                <a:lnTo>
                  <a:pt x="206" y="264"/>
                </a:lnTo>
                <a:lnTo>
                  <a:pt x="206" y="247"/>
                </a:lnTo>
                <a:lnTo>
                  <a:pt x="215" y="238"/>
                </a:lnTo>
                <a:lnTo>
                  <a:pt x="218" y="238"/>
                </a:lnTo>
                <a:lnTo>
                  <a:pt x="221" y="218"/>
                </a:lnTo>
                <a:lnTo>
                  <a:pt x="229" y="201"/>
                </a:lnTo>
                <a:lnTo>
                  <a:pt x="238" y="204"/>
                </a:lnTo>
                <a:lnTo>
                  <a:pt x="238" y="198"/>
                </a:lnTo>
                <a:lnTo>
                  <a:pt x="238" y="195"/>
                </a:lnTo>
                <a:lnTo>
                  <a:pt x="244" y="184"/>
                </a:lnTo>
                <a:lnTo>
                  <a:pt x="246" y="172"/>
                </a:lnTo>
                <a:lnTo>
                  <a:pt x="244" y="158"/>
                </a:lnTo>
                <a:lnTo>
                  <a:pt x="246" y="146"/>
                </a:lnTo>
                <a:lnTo>
                  <a:pt x="252" y="132"/>
                </a:lnTo>
                <a:lnTo>
                  <a:pt x="246" y="129"/>
                </a:lnTo>
                <a:lnTo>
                  <a:pt x="252" y="118"/>
                </a:lnTo>
                <a:lnTo>
                  <a:pt x="258" y="115"/>
                </a:lnTo>
                <a:lnTo>
                  <a:pt x="261" y="109"/>
                </a:lnTo>
                <a:lnTo>
                  <a:pt x="272" y="106"/>
                </a:lnTo>
                <a:lnTo>
                  <a:pt x="278" y="97"/>
                </a:lnTo>
                <a:lnTo>
                  <a:pt x="272" y="92"/>
                </a:lnTo>
                <a:lnTo>
                  <a:pt x="267" y="89"/>
                </a:lnTo>
                <a:lnTo>
                  <a:pt x="267" y="86"/>
                </a:lnTo>
                <a:lnTo>
                  <a:pt x="261" y="83"/>
                </a:lnTo>
                <a:lnTo>
                  <a:pt x="258" y="80"/>
                </a:lnTo>
                <a:lnTo>
                  <a:pt x="255" y="75"/>
                </a:lnTo>
                <a:lnTo>
                  <a:pt x="255" y="57"/>
                </a:lnTo>
                <a:lnTo>
                  <a:pt x="252" y="43"/>
                </a:lnTo>
                <a:lnTo>
                  <a:pt x="255" y="40"/>
                </a:lnTo>
                <a:lnTo>
                  <a:pt x="249" y="31"/>
                </a:lnTo>
                <a:lnTo>
                  <a:pt x="246" y="20"/>
                </a:lnTo>
                <a:lnTo>
                  <a:pt x="241" y="14"/>
                </a:lnTo>
                <a:lnTo>
                  <a:pt x="232" y="6"/>
                </a:lnTo>
                <a:lnTo>
                  <a:pt x="226" y="0"/>
                </a:lnTo>
                <a:lnTo>
                  <a:pt x="221" y="6"/>
                </a:lnTo>
                <a:lnTo>
                  <a:pt x="218" y="6"/>
                </a:lnTo>
                <a:lnTo>
                  <a:pt x="215" y="6"/>
                </a:lnTo>
                <a:lnTo>
                  <a:pt x="212" y="8"/>
                </a:lnTo>
                <a:lnTo>
                  <a:pt x="212" y="14"/>
                </a:lnTo>
                <a:lnTo>
                  <a:pt x="209" y="17"/>
                </a:lnTo>
                <a:lnTo>
                  <a:pt x="203" y="20"/>
                </a:lnTo>
                <a:lnTo>
                  <a:pt x="203" y="26"/>
                </a:lnTo>
                <a:lnTo>
                  <a:pt x="192" y="29"/>
                </a:lnTo>
                <a:lnTo>
                  <a:pt x="183" y="23"/>
                </a:lnTo>
                <a:lnTo>
                  <a:pt x="155" y="23"/>
                </a:lnTo>
                <a:lnTo>
                  <a:pt x="155" y="20"/>
                </a:lnTo>
                <a:lnTo>
                  <a:pt x="149" y="23"/>
                </a:lnTo>
                <a:lnTo>
                  <a:pt x="46" y="26"/>
                </a:lnTo>
                <a:lnTo>
                  <a:pt x="48" y="60"/>
                </a:lnTo>
                <a:lnTo>
                  <a:pt x="31" y="60"/>
                </a:lnTo>
                <a:lnTo>
                  <a:pt x="31" y="69"/>
                </a:lnTo>
                <a:lnTo>
                  <a:pt x="34" y="143"/>
                </a:lnTo>
                <a:lnTo>
                  <a:pt x="17" y="146"/>
                </a:lnTo>
                <a:lnTo>
                  <a:pt x="17" y="152"/>
                </a:lnTo>
                <a:lnTo>
                  <a:pt x="14" y="161"/>
                </a:lnTo>
                <a:lnTo>
                  <a:pt x="8" y="166"/>
                </a:lnTo>
                <a:lnTo>
                  <a:pt x="11" y="175"/>
                </a:lnTo>
                <a:lnTo>
                  <a:pt x="2" y="181"/>
                </a:lnTo>
                <a:lnTo>
                  <a:pt x="8" y="189"/>
                </a:lnTo>
                <a:lnTo>
                  <a:pt x="0" y="201"/>
                </a:lnTo>
                <a:lnTo>
                  <a:pt x="8" y="201"/>
                </a:lnTo>
                <a:lnTo>
                  <a:pt x="11" y="224"/>
                </a:lnTo>
                <a:lnTo>
                  <a:pt x="20" y="227"/>
                </a:lnTo>
                <a:lnTo>
                  <a:pt x="17" y="235"/>
                </a:lnTo>
                <a:lnTo>
                  <a:pt x="28" y="255"/>
                </a:lnTo>
                <a:lnTo>
                  <a:pt x="31" y="261"/>
                </a:lnTo>
                <a:lnTo>
                  <a:pt x="28" y="270"/>
                </a:lnTo>
                <a:lnTo>
                  <a:pt x="28" y="278"/>
                </a:lnTo>
                <a:lnTo>
                  <a:pt x="40" y="278"/>
                </a:lnTo>
                <a:lnTo>
                  <a:pt x="40" y="281"/>
                </a:lnTo>
                <a:lnTo>
                  <a:pt x="40" y="287"/>
                </a:lnTo>
                <a:lnTo>
                  <a:pt x="48" y="287"/>
                </a:lnTo>
                <a:lnTo>
                  <a:pt x="48" y="290"/>
                </a:lnTo>
                <a:lnTo>
                  <a:pt x="51" y="293"/>
                </a:lnTo>
                <a:lnTo>
                  <a:pt x="57" y="296"/>
                </a:lnTo>
                <a:lnTo>
                  <a:pt x="57" y="298"/>
                </a:lnTo>
                <a:lnTo>
                  <a:pt x="57" y="301"/>
                </a:lnTo>
                <a:lnTo>
                  <a:pt x="80" y="321"/>
                </a:lnTo>
                <a:lnTo>
                  <a:pt x="77" y="321"/>
                </a:lnTo>
                <a:lnTo>
                  <a:pt x="74" y="324"/>
                </a:lnTo>
                <a:lnTo>
                  <a:pt x="80" y="330"/>
                </a:lnTo>
                <a:lnTo>
                  <a:pt x="91" y="336"/>
                </a:lnTo>
                <a:lnTo>
                  <a:pt x="91" y="339"/>
                </a:lnTo>
                <a:lnTo>
                  <a:pt x="91" y="344"/>
                </a:lnTo>
                <a:lnTo>
                  <a:pt x="100" y="356"/>
                </a:lnTo>
                <a:lnTo>
                  <a:pt x="109" y="365"/>
                </a:lnTo>
                <a:lnTo>
                  <a:pt x="114" y="362"/>
                </a:lnTo>
                <a:lnTo>
                  <a:pt x="117" y="359"/>
                </a:lnTo>
                <a:lnTo>
                  <a:pt x="126" y="362"/>
                </a:lnTo>
                <a:lnTo>
                  <a:pt x="132" y="356"/>
                </a:lnTo>
                <a:lnTo>
                  <a:pt x="146" y="373"/>
                </a:lnTo>
                <a:lnTo>
                  <a:pt x="149" y="379"/>
                </a:lnTo>
                <a:lnTo>
                  <a:pt x="152" y="379"/>
                </a:lnTo>
                <a:lnTo>
                  <a:pt x="160" y="376"/>
                </a:lnTo>
                <a:lnTo>
                  <a:pt x="163" y="373"/>
                </a:lnTo>
                <a:lnTo>
                  <a:pt x="172" y="376"/>
                </a:lnTo>
                <a:lnTo>
                  <a:pt x="178" y="379"/>
                </a:lnTo>
                <a:lnTo>
                  <a:pt x="186" y="373"/>
                </a:lnTo>
                <a:lnTo>
                  <a:pt x="189" y="373"/>
                </a:lnTo>
                <a:lnTo>
                  <a:pt x="195" y="373"/>
                </a:lnTo>
                <a:lnTo>
                  <a:pt x="212" y="359"/>
                </a:lnTo>
                <a:lnTo>
                  <a:pt x="238" y="35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88" name="Freeform 92"/>
          <p:cNvSpPr>
            <a:spLocks/>
          </p:cNvSpPr>
          <p:nvPr/>
        </p:nvSpPr>
        <p:spPr bwMode="gray">
          <a:xfrm>
            <a:off x="6683204" y="3184587"/>
            <a:ext cx="6000" cy="9000"/>
          </a:xfrm>
          <a:custGeom>
            <a:avLst/>
            <a:gdLst>
              <a:gd name="T0" fmla="*/ 2147483647 w 3"/>
              <a:gd name="T1" fmla="*/ 0 h 6"/>
              <a:gd name="T2" fmla="*/ 0 w 3"/>
              <a:gd name="T3" fmla="*/ 0 h 6"/>
              <a:gd name="T4" fmla="*/ 2147483647 w 3"/>
              <a:gd name="T5" fmla="*/ 2147483647 h 6"/>
              <a:gd name="T6" fmla="*/ 2147483647 w 3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6"/>
              <a:gd name="T14" fmla="*/ 3 w 3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6">
                <a:moveTo>
                  <a:pt x="3" y="0"/>
                </a:moveTo>
                <a:lnTo>
                  <a:pt x="0" y="0"/>
                </a:lnTo>
                <a:lnTo>
                  <a:pt x="3" y="6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89" name="Freeform 93"/>
          <p:cNvSpPr>
            <a:spLocks/>
          </p:cNvSpPr>
          <p:nvPr/>
        </p:nvSpPr>
        <p:spPr bwMode="gray">
          <a:xfrm>
            <a:off x="6725211" y="3337591"/>
            <a:ext cx="24004" cy="12000"/>
          </a:xfrm>
          <a:custGeom>
            <a:avLst/>
            <a:gdLst>
              <a:gd name="T0" fmla="*/ 2147483647 w 12"/>
              <a:gd name="T1" fmla="*/ 2147483647 h 8"/>
              <a:gd name="T2" fmla="*/ 2147483647 w 12"/>
              <a:gd name="T3" fmla="*/ 2147483647 h 8"/>
              <a:gd name="T4" fmla="*/ 2147483647 w 12"/>
              <a:gd name="T5" fmla="*/ 0 h 8"/>
              <a:gd name="T6" fmla="*/ 0 w 12"/>
              <a:gd name="T7" fmla="*/ 0 h 8"/>
              <a:gd name="T8" fmla="*/ 0 w 12"/>
              <a:gd name="T9" fmla="*/ 0 h 8"/>
              <a:gd name="T10" fmla="*/ 2147483647 w 12"/>
              <a:gd name="T11" fmla="*/ 2147483647 h 8"/>
              <a:gd name="T12" fmla="*/ 2147483647 w 12"/>
              <a:gd name="T13" fmla="*/ 2147483647 h 8"/>
              <a:gd name="T14" fmla="*/ 2147483647 w 12"/>
              <a:gd name="T15" fmla="*/ 2147483647 h 8"/>
              <a:gd name="T16" fmla="*/ 2147483647 w 12"/>
              <a:gd name="T17" fmla="*/ 2147483647 h 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2"/>
              <a:gd name="T28" fmla="*/ 0 h 8"/>
              <a:gd name="T29" fmla="*/ 12 w 12"/>
              <a:gd name="T30" fmla="*/ 8 h 8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2" h="8">
                <a:moveTo>
                  <a:pt x="12" y="5"/>
                </a:moveTo>
                <a:lnTo>
                  <a:pt x="6" y="5"/>
                </a:lnTo>
                <a:lnTo>
                  <a:pt x="3" y="0"/>
                </a:lnTo>
                <a:lnTo>
                  <a:pt x="0" y="0"/>
                </a:lnTo>
                <a:lnTo>
                  <a:pt x="3" y="5"/>
                </a:lnTo>
                <a:lnTo>
                  <a:pt x="9" y="8"/>
                </a:lnTo>
                <a:lnTo>
                  <a:pt x="12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90" name="Freeform 94"/>
          <p:cNvSpPr>
            <a:spLocks/>
          </p:cNvSpPr>
          <p:nvPr/>
        </p:nvSpPr>
        <p:spPr bwMode="gray">
          <a:xfrm>
            <a:off x="4780862" y="2994081"/>
            <a:ext cx="284051" cy="181505"/>
          </a:xfrm>
          <a:custGeom>
            <a:avLst/>
            <a:gdLst>
              <a:gd name="T0" fmla="*/ 0 w 141"/>
              <a:gd name="T1" fmla="*/ 2147483647 h 120"/>
              <a:gd name="T2" fmla="*/ 2147483647 w 141"/>
              <a:gd name="T3" fmla="*/ 2147483647 h 120"/>
              <a:gd name="T4" fmla="*/ 2147483647 w 141"/>
              <a:gd name="T5" fmla="*/ 2147483647 h 120"/>
              <a:gd name="T6" fmla="*/ 2147483647 w 141"/>
              <a:gd name="T7" fmla="*/ 2147483647 h 120"/>
              <a:gd name="T8" fmla="*/ 2147483647 w 141"/>
              <a:gd name="T9" fmla="*/ 2147483647 h 120"/>
              <a:gd name="T10" fmla="*/ 2147483647 w 141"/>
              <a:gd name="T11" fmla="*/ 2147483647 h 120"/>
              <a:gd name="T12" fmla="*/ 2147483647 w 141"/>
              <a:gd name="T13" fmla="*/ 2147483647 h 120"/>
              <a:gd name="T14" fmla="*/ 2147483647 w 141"/>
              <a:gd name="T15" fmla="*/ 2147483647 h 120"/>
              <a:gd name="T16" fmla="*/ 2147483647 w 141"/>
              <a:gd name="T17" fmla="*/ 2147483647 h 120"/>
              <a:gd name="T18" fmla="*/ 2147483647 w 141"/>
              <a:gd name="T19" fmla="*/ 2147483647 h 120"/>
              <a:gd name="T20" fmla="*/ 2147483647 w 141"/>
              <a:gd name="T21" fmla="*/ 0 h 120"/>
              <a:gd name="T22" fmla="*/ 2147483647 w 141"/>
              <a:gd name="T23" fmla="*/ 0 h 120"/>
              <a:gd name="T24" fmla="*/ 2147483647 w 141"/>
              <a:gd name="T25" fmla="*/ 2147483647 h 120"/>
              <a:gd name="T26" fmla="*/ 2147483647 w 141"/>
              <a:gd name="T27" fmla="*/ 2147483647 h 120"/>
              <a:gd name="T28" fmla="*/ 2147483647 w 141"/>
              <a:gd name="T29" fmla="*/ 2147483647 h 120"/>
              <a:gd name="T30" fmla="*/ 2147483647 w 141"/>
              <a:gd name="T31" fmla="*/ 2147483647 h 120"/>
              <a:gd name="T32" fmla="*/ 2147483647 w 141"/>
              <a:gd name="T33" fmla="*/ 2147483647 h 120"/>
              <a:gd name="T34" fmla="*/ 2147483647 w 141"/>
              <a:gd name="T35" fmla="*/ 2147483647 h 120"/>
              <a:gd name="T36" fmla="*/ 2147483647 w 141"/>
              <a:gd name="T37" fmla="*/ 2147483647 h 120"/>
              <a:gd name="T38" fmla="*/ 2147483647 w 141"/>
              <a:gd name="T39" fmla="*/ 2147483647 h 120"/>
              <a:gd name="T40" fmla="*/ 2147483647 w 141"/>
              <a:gd name="T41" fmla="*/ 2147483647 h 120"/>
              <a:gd name="T42" fmla="*/ 2147483647 w 141"/>
              <a:gd name="T43" fmla="*/ 2147483647 h 120"/>
              <a:gd name="T44" fmla="*/ 2147483647 w 141"/>
              <a:gd name="T45" fmla="*/ 2147483647 h 120"/>
              <a:gd name="T46" fmla="*/ 2147483647 w 141"/>
              <a:gd name="T47" fmla="*/ 2147483647 h 120"/>
              <a:gd name="T48" fmla="*/ 2147483647 w 141"/>
              <a:gd name="T49" fmla="*/ 2147483647 h 120"/>
              <a:gd name="T50" fmla="*/ 2147483647 w 141"/>
              <a:gd name="T51" fmla="*/ 2147483647 h 120"/>
              <a:gd name="T52" fmla="*/ 2147483647 w 141"/>
              <a:gd name="T53" fmla="*/ 2147483647 h 120"/>
              <a:gd name="T54" fmla="*/ 2147483647 w 141"/>
              <a:gd name="T55" fmla="*/ 2147483647 h 120"/>
              <a:gd name="T56" fmla="*/ 2147483647 w 141"/>
              <a:gd name="T57" fmla="*/ 2147483647 h 120"/>
              <a:gd name="T58" fmla="*/ 0 w 141"/>
              <a:gd name="T59" fmla="*/ 2147483647 h 120"/>
              <a:gd name="T60" fmla="*/ 0 w 141"/>
              <a:gd name="T61" fmla="*/ 2147483647 h 120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141"/>
              <a:gd name="T94" fmla="*/ 0 h 120"/>
              <a:gd name="T95" fmla="*/ 141 w 141"/>
              <a:gd name="T96" fmla="*/ 120 h 120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141" h="120">
                <a:moveTo>
                  <a:pt x="0" y="120"/>
                </a:moveTo>
                <a:lnTo>
                  <a:pt x="64" y="120"/>
                </a:lnTo>
                <a:lnTo>
                  <a:pt x="64" y="92"/>
                </a:lnTo>
                <a:lnTo>
                  <a:pt x="75" y="86"/>
                </a:lnTo>
                <a:lnTo>
                  <a:pt x="84" y="80"/>
                </a:lnTo>
                <a:lnTo>
                  <a:pt x="87" y="31"/>
                </a:lnTo>
                <a:lnTo>
                  <a:pt x="141" y="31"/>
                </a:lnTo>
                <a:lnTo>
                  <a:pt x="141" y="8"/>
                </a:lnTo>
                <a:lnTo>
                  <a:pt x="141" y="3"/>
                </a:lnTo>
                <a:lnTo>
                  <a:pt x="72" y="0"/>
                </a:lnTo>
                <a:lnTo>
                  <a:pt x="64" y="11"/>
                </a:lnTo>
                <a:lnTo>
                  <a:pt x="43" y="34"/>
                </a:lnTo>
                <a:lnTo>
                  <a:pt x="41" y="43"/>
                </a:lnTo>
                <a:lnTo>
                  <a:pt x="41" y="52"/>
                </a:lnTo>
                <a:lnTo>
                  <a:pt x="35" y="60"/>
                </a:lnTo>
                <a:lnTo>
                  <a:pt x="26" y="66"/>
                </a:lnTo>
                <a:lnTo>
                  <a:pt x="20" y="77"/>
                </a:lnTo>
                <a:lnTo>
                  <a:pt x="12" y="92"/>
                </a:lnTo>
                <a:lnTo>
                  <a:pt x="9" y="97"/>
                </a:lnTo>
                <a:lnTo>
                  <a:pt x="9" y="100"/>
                </a:lnTo>
                <a:lnTo>
                  <a:pt x="3" y="109"/>
                </a:lnTo>
                <a:lnTo>
                  <a:pt x="0" y="12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91" name="Freeform 95"/>
          <p:cNvSpPr>
            <a:spLocks/>
          </p:cNvSpPr>
          <p:nvPr/>
        </p:nvSpPr>
        <p:spPr bwMode="gray">
          <a:xfrm>
            <a:off x="6771221" y="3303089"/>
            <a:ext cx="28005" cy="25501"/>
          </a:xfrm>
          <a:custGeom>
            <a:avLst/>
            <a:gdLst>
              <a:gd name="T0" fmla="*/ 0 w 14"/>
              <a:gd name="T1" fmla="*/ 0 h 17"/>
              <a:gd name="T2" fmla="*/ 0 w 14"/>
              <a:gd name="T3" fmla="*/ 2147483647 h 17"/>
              <a:gd name="T4" fmla="*/ 2147483647 w 14"/>
              <a:gd name="T5" fmla="*/ 2147483647 h 17"/>
              <a:gd name="T6" fmla="*/ 2147483647 w 14"/>
              <a:gd name="T7" fmla="*/ 2147483647 h 17"/>
              <a:gd name="T8" fmla="*/ 2147483647 w 14"/>
              <a:gd name="T9" fmla="*/ 2147483647 h 17"/>
              <a:gd name="T10" fmla="*/ 2147483647 w 14"/>
              <a:gd name="T11" fmla="*/ 2147483647 h 17"/>
              <a:gd name="T12" fmla="*/ 2147483647 w 14"/>
              <a:gd name="T13" fmla="*/ 2147483647 h 17"/>
              <a:gd name="T14" fmla="*/ 2147483647 w 14"/>
              <a:gd name="T15" fmla="*/ 2147483647 h 17"/>
              <a:gd name="T16" fmla="*/ 2147483647 w 14"/>
              <a:gd name="T17" fmla="*/ 2147483647 h 17"/>
              <a:gd name="T18" fmla="*/ 2147483647 w 14"/>
              <a:gd name="T19" fmla="*/ 2147483647 h 17"/>
              <a:gd name="T20" fmla="*/ 0 w 14"/>
              <a:gd name="T21" fmla="*/ 0 h 17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4"/>
              <a:gd name="T34" fmla="*/ 0 h 17"/>
              <a:gd name="T35" fmla="*/ 14 w 14"/>
              <a:gd name="T36" fmla="*/ 17 h 17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4" h="17">
                <a:moveTo>
                  <a:pt x="0" y="0"/>
                </a:moveTo>
                <a:lnTo>
                  <a:pt x="0" y="5"/>
                </a:lnTo>
                <a:lnTo>
                  <a:pt x="6" y="8"/>
                </a:lnTo>
                <a:lnTo>
                  <a:pt x="11" y="17"/>
                </a:lnTo>
                <a:lnTo>
                  <a:pt x="14" y="17"/>
                </a:lnTo>
                <a:lnTo>
                  <a:pt x="14" y="14"/>
                </a:lnTo>
                <a:lnTo>
                  <a:pt x="11" y="14"/>
                </a:lnTo>
                <a:lnTo>
                  <a:pt x="6" y="5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92" name="Freeform 96"/>
          <p:cNvSpPr>
            <a:spLocks/>
          </p:cNvSpPr>
          <p:nvPr/>
        </p:nvSpPr>
        <p:spPr bwMode="gray">
          <a:xfrm>
            <a:off x="6677203" y="3159086"/>
            <a:ext cx="6002" cy="9000"/>
          </a:xfrm>
          <a:custGeom>
            <a:avLst/>
            <a:gdLst>
              <a:gd name="T0" fmla="*/ 0 w 3"/>
              <a:gd name="T1" fmla="*/ 0 h 6"/>
              <a:gd name="T2" fmla="*/ 0 w 3"/>
              <a:gd name="T3" fmla="*/ 2147483647 h 6"/>
              <a:gd name="T4" fmla="*/ 2147483647 w 3"/>
              <a:gd name="T5" fmla="*/ 2147483647 h 6"/>
              <a:gd name="T6" fmla="*/ 2147483647 w 3"/>
              <a:gd name="T7" fmla="*/ 2147483647 h 6"/>
              <a:gd name="T8" fmla="*/ 0 w 3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0" y="0"/>
                </a:moveTo>
                <a:lnTo>
                  <a:pt x="0" y="6"/>
                </a:lnTo>
                <a:lnTo>
                  <a:pt x="3" y="6"/>
                </a:lnTo>
                <a:lnTo>
                  <a:pt x="3" y="3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93" name="Freeform 97"/>
          <p:cNvSpPr>
            <a:spLocks/>
          </p:cNvSpPr>
          <p:nvPr/>
        </p:nvSpPr>
        <p:spPr bwMode="gray">
          <a:xfrm>
            <a:off x="6823230" y="2635572"/>
            <a:ext cx="22003" cy="13500"/>
          </a:xfrm>
          <a:custGeom>
            <a:avLst/>
            <a:gdLst>
              <a:gd name="T0" fmla="*/ 2147483647 w 11"/>
              <a:gd name="T1" fmla="*/ 2147483647 h 9"/>
              <a:gd name="T2" fmla="*/ 2147483647 w 11"/>
              <a:gd name="T3" fmla="*/ 2147483647 h 9"/>
              <a:gd name="T4" fmla="*/ 2147483647 w 11"/>
              <a:gd name="T5" fmla="*/ 2147483647 h 9"/>
              <a:gd name="T6" fmla="*/ 2147483647 w 11"/>
              <a:gd name="T7" fmla="*/ 2147483647 h 9"/>
              <a:gd name="T8" fmla="*/ 2147483647 w 11"/>
              <a:gd name="T9" fmla="*/ 2147483647 h 9"/>
              <a:gd name="T10" fmla="*/ 2147483647 w 11"/>
              <a:gd name="T11" fmla="*/ 2147483647 h 9"/>
              <a:gd name="T12" fmla="*/ 2147483647 w 11"/>
              <a:gd name="T13" fmla="*/ 2147483647 h 9"/>
              <a:gd name="T14" fmla="*/ 2147483647 w 11"/>
              <a:gd name="T15" fmla="*/ 2147483647 h 9"/>
              <a:gd name="T16" fmla="*/ 2147483647 w 11"/>
              <a:gd name="T17" fmla="*/ 2147483647 h 9"/>
              <a:gd name="T18" fmla="*/ 0 w 11"/>
              <a:gd name="T19" fmla="*/ 0 h 9"/>
              <a:gd name="T20" fmla="*/ 0 w 11"/>
              <a:gd name="T21" fmla="*/ 0 h 9"/>
              <a:gd name="T22" fmla="*/ 0 w 11"/>
              <a:gd name="T23" fmla="*/ 2147483647 h 9"/>
              <a:gd name="T24" fmla="*/ 2147483647 w 11"/>
              <a:gd name="T25" fmla="*/ 2147483647 h 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1"/>
              <a:gd name="T40" fmla="*/ 0 h 9"/>
              <a:gd name="T41" fmla="*/ 11 w 11"/>
              <a:gd name="T42" fmla="*/ 9 h 9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1" h="9">
                <a:moveTo>
                  <a:pt x="6" y="9"/>
                </a:moveTo>
                <a:lnTo>
                  <a:pt x="6" y="9"/>
                </a:lnTo>
                <a:lnTo>
                  <a:pt x="8" y="6"/>
                </a:lnTo>
                <a:lnTo>
                  <a:pt x="11" y="6"/>
                </a:lnTo>
                <a:lnTo>
                  <a:pt x="8" y="6"/>
                </a:ln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lnTo>
                  <a:pt x="6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94" name="Freeform 98"/>
          <p:cNvSpPr>
            <a:spLocks/>
          </p:cNvSpPr>
          <p:nvPr/>
        </p:nvSpPr>
        <p:spPr bwMode="gray">
          <a:xfrm>
            <a:off x="6771220" y="2593570"/>
            <a:ext cx="80014" cy="46501"/>
          </a:xfrm>
          <a:custGeom>
            <a:avLst/>
            <a:gdLst>
              <a:gd name="T0" fmla="*/ 2147483647 w 40"/>
              <a:gd name="T1" fmla="*/ 2147483647 h 31"/>
              <a:gd name="T2" fmla="*/ 2147483647 w 40"/>
              <a:gd name="T3" fmla="*/ 2147483647 h 31"/>
              <a:gd name="T4" fmla="*/ 2147483647 w 40"/>
              <a:gd name="T5" fmla="*/ 2147483647 h 31"/>
              <a:gd name="T6" fmla="*/ 2147483647 w 40"/>
              <a:gd name="T7" fmla="*/ 2147483647 h 31"/>
              <a:gd name="T8" fmla="*/ 2147483647 w 40"/>
              <a:gd name="T9" fmla="*/ 2147483647 h 31"/>
              <a:gd name="T10" fmla="*/ 2147483647 w 40"/>
              <a:gd name="T11" fmla="*/ 2147483647 h 31"/>
              <a:gd name="T12" fmla="*/ 2147483647 w 40"/>
              <a:gd name="T13" fmla="*/ 2147483647 h 31"/>
              <a:gd name="T14" fmla="*/ 2147483647 w 40"/>
              <a:gd name="T15" fmla="*/ 2147483647 h 31"/>
              <a:gd name="T16" fmla="*/ 2147483647 w 40"/>
              <a:gd name="T17" fmla="*/ 2147483647 h 31"/>
              <a:gd name="T18" fmla="*/ 2147483647 w 40"/>
              <a:gd name="T19" fmla="*/ 2147483647 h 31"/>
              <a:gd name="T20" fmla="*/ 2147483647 w 40"/>
              <a:gd name="T21" fmla="*/ 2147483647 h 31"/>
              <a:gd name="T22" fmla="*/ 2147483647 w 40"/>
              <a:gd name="T23" fmla="*/ 2147483647 h 31"/>
              <a:gd name="T24" fmla="*/ 2147483647 w 40"/>
              <a:gd name="T25" fmla="*/ 2147483647 h 31"/>
              <a:gd name="T26" fmla="*/ 2147483647 w 40"/>
              <a:gd name="T27" fmla="*/ 2147483647 h 31"/>
              <a:gd name="T28" fmla="*/ 2147483647 w 40"/>
              <a:gd name="T29" fmla="*/ 2147483647 h 31"/>
              <a:gd name="T30" fmla="*/ 2147483647 w 40"/>
              <a:gd name="T31" fmla="*/ 2147483647 h 31"/>
              <a:gd name="T32" fmla="*/ 2147483647 w 40"/>
              <a:gd name="T33" fmla="*/ 2147483647 h 31"/>
              <a:gd name="T34" fmla="*/ 2147483647 w 40"/>
              <a:gd name="T35" fmla="*/ 2147483647 h 31"/>
              <a:gd name="T36" fmla="*/ 2147483647 w 40"/>
              <a:gd name="T37" fmla="*/ 2147483647 h 31"/>
              <a:gd name="T38" fmla="*/ 2147483647 w 40"/>
              <a:gd name="T39" fmla="*/ 2147483647 h 31"/>
              <a:gd name="T40" fmla="*/ 2147483647 w 40"/>
              <a:gd name="T41" fmla="*/ 0 h 31"/>
              <a:gd name="T42" fmla="*/ 2147483647 w 40"/>
              <a:gd name="T43" fmla="*/ 2147483647 h 31"/>
              <a:gd name="T44" fmla="*/ 0 w 40"/>
              <a:gd name="T45" fmla="*/ 2147483647 h 31"/>
              <a:gd name="T46" fmla="*/ 2147483647 w 40"/>
              <a:gd name="T47" fmla="*/ 2147483647 h 31"/>
              <a:gd name="T48" fmla="*/ 2147483647 w 40"/>
              <a:gd name="T49" fmla="*/ 2147483647 h 31"/>
              <a:gd name="T50" fmla="*/ 2147483647 w 40"/>
              <a:gd name="T51" fmla="*/ 2147483647 h 31"/>
              <a:gd name="T52" fmla="*/ 2147483647 w 40"/>
              <a:gd name="T53" fmla="*/ 2147483647 h 31"/>
              <a:gd name="T54" fmla="*/ 2147483647 w 40"/>
              <a:gd name="T55" fmla="*/ 2147483647 h 31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40"/>
              <a:gd name="T85" fmla="*/ 0 h 31"/>
              <a:gd name="T86" fmla="*/ 40 w 40"/>
              <a:gd name="T87" fmla="*/ 31 h 31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40" h="31">
                <a:moveTo>
                  <a:pt x="23" y="28"/>
                </a:moveTo>
                <a:lnTo>
                  <a:pt x="26" y="26"/>
                </a:lnTo>
                <a:lnTo>
                  <a:pt x="29" y="26"/>
                </a:lnTo>
                <a:lnTo>
                  <a:pt x="32" y="28"/>
                </a:lnTo>
                <a:lnTo>
                  <a:pt x="34" y="31"/>
                </a:lnTo>
                <a:lnTo>
                  <a:pt x="40" y="28"/>
                </a:lnTo>
                <a:lnTo>
                  <a:pt x="34" y="23"/>
                </a:lnTo>
                <a:lnTo>
                  <a:pt x="34" y="20"/>
                </a:lnTo>
                <a:lnTo>
                  <a:pt x="37" y="20"/>
                </a:lnTo>
                <a:lnTo>
                  <a:pt x="34" y="20"/>
                </a:lnTo>
                <a:lnTo>
                  <a:pt x="29" y="11"/>
                </a:lnTo>
                <a:lnTo>
                  <a:pt x="29" y="5"/>
                </a:lnTo>
                <a:lnTo>
                  <a:pt x="23" y="3"/>
                </a:lnTo>
                <a:lnTo>
                  <a:pt x="20" y="0"/>
                </a:lnTo>
                <a:lnTo>
                  <a:pt x="11" y="3"/>
                </a:lnTo>
                <a:lnTo>
                  <a:pt x="0" y="3"/>
                </a:lnTo>
                <a:lnTo>
                  <a:pt x="3" y="14"/>
                </a:lnTo>
                <a:lnTo>
                  <a:pt x="6" y="20"/>
                </a:lnTo>
                <a:lnTo>
                  <a:pt x="11" y="20"/>
                </a:lnTo>
                <a:lnTo>
                  <a:pt x="20" y="26"/>
                </a:lnTo>
                <a:lnTo>
                  <a:pt x="23" y="2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95" name="Freeform 99"/>
          <p:cNvSpPr>
            <a:spLocks/>
          </p:cNvSpPr>
          <p:nvPr/>
        </p:nvSpPr>
        <p:spPr bwMode="gray">
          <a:xfrm>
            <a:off x="6845233" y="2649072"/>
            <a:ext cx="12002" cy="4501"/>
          </a:xfrm>
          <a:custGeom>
            <a:avLst/>
            <a:gdLst>
              <a:gd name="T0" fmla="*/ 2147483647 w 6"/>
              <a:gd name="T1" fmla="*/ 2147483647 h 3"/>
              <a:gd name="T2" fmla="*/ 0 w 6"/>
              <a:gd name="T3" fmla="*/ 0 h 3"/>
              <a:gd name="T4" fmla="*/ 0 w 6"/>
              <a:gd name="T5" fmla="*/ 0 h 3"/>
              <a:gd name="T6" fmla="*/ 0 w 6"/>
              <a:gd name="T7" fmla="*/ 2147483647 h 3"/>
              <a:gd name="T8" fmla="*/ 2147483647 w 6"/>
              <a:gd name="T9" fmla="*/ 2147483647 h 3"/>
              <a:gd name="T10" fmla="*/ 2147483647 w 6"/>
              <a:gd name="T11" fmla="*/ 2147483647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3"/>
              <a:gd name="T20" fmla="*/ 6 w 6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3">
                <a:moveTo>
                  <a:pt x="3" y="3"/>
                </a:moveTo>
                <a:lnTo>
                  <a:pt x="0" y="0"/>
                </a:lnTo>
                <a:lnTo>
                  <a:pt x="0" y="3"/>
                </a:lnTo>
                <a:lnTo>
                  <a:pt x="6" y="3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96" name="Freeform 100"/>
          <p:cNvSpPr>
            <a:spLocks/>
          </p:cNvSpPr>
          <p:nvPr/>
        </p:nvSpPr>
        <p:spPr bwMode="gray">
          <a:xfrm>
            <a:off x="6789223" y="3303090"/>
            <a:ext cx="16003" cy="16501"/>
          </a:xfrm>
          <a:custGeom>
            <a:avLst/>
            <a:gdLst>
              <a:gd name="T0" fmla="*/ 2147483647 w 8"/>
              <a:gd name="T1" fmla="*/ 2147483647 h 11"/>
              <a:gd name="T2" fmla="*/ 2147483647 w 8"/>
              <a:gd name="T3" fmla="*/ 2147483647 h 11"/>
              <a:gd name="T4" fmla="*/ 2147483647 w 8"/>
              <a:gd name="T5" fmla="*/ 2147483647 h 11"/>
              <a:gd name="T6" fmla="*/ 2147483647 w 8"/>
              <a:gd name="T7" fmla="*/ 2147483647 h 11"/>
              <a:gd name="T8" fmla="*/ 2147483647 w 8"/>
              <a:gd name="T9" fmla="*/ 2147483647 h 11"/>
              <a:gd name="T10" fmla="*/ 0 w 8"/>
              <a:gd name="T11" fmla="*/ 0 h 11"/>
              <a:gd name="T12" fmla="*/ 0 w 8"/>
              <a:gd name="T13" fmla="*/ 2147483647 h 11"/>
              <a:gd name="T14" fmla="*/ 0 w 8"/>
              <a:gd name="T15" fmla="*/ 2147483647 h 11"/>
              <a:gd name="T16" fmla="*/ 2147483647 w 8"/>
              <a:gd name="T17" fmla="*/ 2147483647 h 11"/>
              <a:gd name="T18" fmla="*/ 2147483647 w 8"/>
              <a:gd name="T19" fmla="*/ 2147483647 h 11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8"/>
              <a:gd name="T31" fmla="*/ 0 h 11"/>
              <a:gd name="T32" fmla="*/ 8 w 8"/>
              <a:gd name="T33" fmla="*/ 11 h 11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8" h="11">
                <a:moveTo>
                  <a:pt x="5" y="8"/>
                </a:moveTo>
                <a:lnTo>
                  <a:pt x="8" y="11"/>
                </a:lnTo>
                <a:lnTo>
                  <a:pt x="8" y="8"/>
                </a:lnTo>
                <a:lnTo>
                  <a:pt x="5" y="5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5"/>
                </a:lnTo>
                <a:lnTo>
                  <a:pt x="2" y="8"/>
                </a:lnTo>
                <a:lnTo>
                  <a:pt x="5" y="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97" name="Freeform 101"/>
          <p:cNvSpPr>
            <a:spLocks/>
          </p:cNvSpPr>
          <p:nvPr/>
        </p:nvSpPr>
        <p:spPr bwMode="gray">
          <a:xfrm>
            <a:off x="6643197" y="2529069"/>
            <a:ext cx="220040" cy="64502"/>
          </a:xfrm>
          <a:custGeom>
            <a:avLst/>
            <a:gdLst>
              <a:gd name="T0" fmla="*/ 2147483647 w 109"/>
              <a:gd name="T1" fmla="*/ 2147483647 h 43"/>
              <a:gd name="T2" fmla="*/ 2147483647 w 109"/>
              <a:gd name="T3" fmla="*/ 2147483647 h 43"/>
              <a:gd name="T4" fmla="*/ 2147483647 w 109"/>
              <a:gd name="T5" fmla="*/ 2147483647 h 43"/>
              <a:gd name="T6" fmla="*/ 2147483647 w 109"/>
              <a:gd name="T7" fmla="*/ 2147483647 h 43"/>
              <a:gd name="T8" fmla="*/ 2147483647 w 109"/>
              <a:gd name="T9" fmla="*/ 2147483647 h 43"/>
              <a:gd name="T10" fmla="*/ 2147483647 w 109"/>
              <a:gd name="T11" fmla="*/ 2147483647 h 43"/>
              <a:gd name="T12" fmla="*/ 2147483647 w 109"/>
              <a:gd name="T13" fmla="*/ 2147483647 h 43"/>
              <a:gd name="T14" fmla="*/ 2147483647 w 109"/>
              <a:gd name="T15" fmla="*/ 2147483647 h 43"/>
              <a:gd name="T16" fmla="*/ 2147483647 w 109"/>
              <a:gd name="T17" fmla="*/ 2147483647 h 43"/>
              <a:gd name="T18" fmla="*/ 2147483647 w 109"/>
              <a:gd name="T19" fmla="*/ 2147483647 h 43"/>
              <a:gd name="T20" fmla="*/ 2147483647 w 109"/>
              <a:gd name="T21" fmla="*/ 2147483647 h 43"/>
              <a:gd name="T22" fmla="*/ 2147483647 w 109"/>
              <a:gd name="T23" fmla="*/ 2147483647 h 43"/>
              <a:gd name="T24" fmla="*/ 2147483647 w 109"/>
              <a:gd name="T25" fmla="*/ 0 h 43"/>
              <a:gd name="T26" fmla="*/ 0 w 109"/>
              <a:gd name="T27" fmla="*/ 2147483647 h 43"/>
              <a:gd name="T28" fmla="*/ 0 w 109"/>
              <a:gd name="T29" fmla="*/ 2147483647 h 43"/>
              <a:gd name="T30" fmla="*/ 2147483647 w 109"/>
              <a:gd name="T31" fmla="*/ 2147483647 h 43"/>
              <a:gd name="T32" fmla="*/ 2147483647 w 109"/>
              <a:gd name="T33" fmla="*/ 2147483647 h 43"/>
              <a:gd name="T34" fmla="*/ 2147483647 w 109"/>
              <a:gd name="T35" fmla="*/ 2147483647 h 43"/>
              <a:gd name="T36" fmla="*/ 2147483647 w 109"/>
              <a:gd name="T37" fmla="*/ 2147483647 h 43"/>
              <a:gd name="T38" fmla="*/ 2147483647 w 109"/>
              <a:gd name="T39" fmla="*/ 2147483647 h 43"/>
              <a:gd name="T40" fmla="*/ 2147483647 w 109"/>
              <a:gd name="T41" fmla="*/ 2147483647 h 43"/>
              <a:gd name="T42" fmla="*/ 2147483647 w 109"/>
              <a:gd name="T43" fmla="*/ 2147483647 h 43"/>
              <a:gd name="T44" fmla="*/ 2147483647 w 109"/>
              <a:gd name="T45" fmla="*/ 2147483647 h 43"/>
              <a:gd name="T46" fmla="*/ 2147483647 w 109"/>
              <a:gd name="T47" fmla="*/ 2147483647 h 43"/>
              <a:gd name="T48" fmla="*/ 2147483647 w 109"/>
              <a:gd name="T49" fmla="*/ 2147483647 h 43"/>
              <a:gd name="T50" fmla="*/ 2147483647 w 109"/>
              <a:gd name="T51" fmla="*/ 2147483647 h 43"/>
              <a:gd name="T52" fmla="*/ 2147483647 w 109"/>
              <a:gd name="T53" fmla="*/ 2147483647 h 43"/>
              <a:gd name="T54" fmla="*/ 2147483647 w 109"/>
              <a:gd name="T55" fmla="*/ 2147483647 h 43"/>
              <a:gd name="T56" fmla="*/ 2147483647 w 109"/>
              <a:gd name="T57" fmla="*/ 2147483647 h 43"/>
              <a:gd name="T58" fmla="*/ 2147483647 w 109"/>
              <a:gd name="T59" fmla="*/ 2147483647 h 43"/>
              <a:gd name="T60" fmla="*/ 2147483647 w 109"/>
              <a:gd name="T61" fmla="*/ 2147483647 h 43"/>
              <a:gd name="T62" fmla="*/ 2147483647 w 109"/>
              <a:gd name="T63" fmla="*/ 2147483647 h 43"/>
              <a:gd name="T64" fmla="*/ 2147483647 w 109"/>
              <a:gd name="T65" fmla="*/ 2147483647 h 43"/>
              <a:gd name="T66" fmla="*/ 2147483647 w 109"/>
              <a:gd name="T67" fmla="*/ 2147483647 h 43"/>
              <a:gd name="T68" fmla="*/ 2147483647 w 109"/>
              <a:gd name="T69" fmla="*/ 2147483647 h 43"/>
              <a:gd name="T70" fmla="*/ 2147483647 w 109"/>
              <a:gd name="T71" fmla="*/ 2147483647 h 43"/>
              <a:gd name="T72" fmla="*/ 2147483647 w 109"/>
              <a:gd name="T73" fmla="*/ 2147483647 h 43"/>
              <a:gd name="T74" fmla="*/ 2147483647 w 109"/>
              <a:gd name="T75" fmla="*/ 2147483647 h 43"/>
              <a:gd name="T76" fmla="*/ 2147483647 w 109"/>
              <a:gd name="T77" fmla="*/ 2147483647 h 43"/>
              <a:gd name="T78" fmla="*/ 2147483647 w 109"/>
              <a:gd name="T79" fmla="*/ 2147483647 h 43"/>
              <a:gd name="T80" fmla="*/ 2147483647 w 109"/>
              <a:gd name="T81" fmla="*/ 2147483647 h 43"/>
              <a:gd name="T82" fmla="*/ 2147483647 w 109"/>
              <a:gd name="T83" fmla="*/ 2147483647 h 43"/>
              <a:gd name="T84" fmla="*/ 2147483647 w 109"/>
              <a:gd name="T85" fmla="*/ 2147483647 h 43"/>
              <a:gd name="T86" fmla="*/ 2147483647 w 109"/>
              <a:gd name="T87" fmla="*/ 2147483647 h 43"/>
              <a:gd name="T88" fmla="*/ 2147483647 w 109"/>
              <a:gd name="T89" fmla="*/ 2147483647 h 43"/>
              <a:gd name="T90" fmla="*/ 2147483647 w 109"/>
              <a:gd name="T91" fmla="*/ 2147483647 h 43"/>
              <a:gd name="T92" fmla="*/ 2147483647 w 109"/>
              <a:gd name="T93" fmla="*/ 2147483647 h 43"/>
              <a:gd name="T94" fmla="*/ 2147483647 w 109"/>
              <a:gd name="T95" fmla="*/ 2147483647 h 43"/>
              <a:gd name="T96" fmla="*/ 2147483647 w 109"/>
              <a:gd name="T97" fmla="*/ 2147483647 h 43"/>
              <a:gd name="T98" fmla="*/ 2147483647 w 109"/>
              <a:gd name="T99" fmla="*/ 2147483647 h 43"/>
              <a:gd name="T100" fmla="*/ 2147483647 w 109"/>
              <a:gd name="T101" fmla="*/ 2147483647 h 43"/>
              <a:gd name="T102" fmla="*/ 2147483647 w 109"/>
              <a:gd name="T103" fmla="*/ 2147483647 h 43"/>
              <a:gd name="T104" fmla="*/ 2147483647 w 109"/>
              <a:gd name="T105" fmla="*/ 2147483647 h 43"/>
              <a:gd name="T106" fmla="*/ 2147483647 w 109"/>
              <a:gd name="T107" fmla="*/ 2147483647 h 43"/>
              <a:gd name="T108" fmla="*/ 2147483647 w 109"/>
              <a:gd name="T109" fmla="*/ 2147483647 h 43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09"/>
              <a:gd name="T166" fmla="*/ 0 h 43"/>
              <a:gd name="T167" fmla="*/ 109 w 109"/>
              <a:gd name="T168" fmla="*/ 43 h 43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09" h="43">
                <a:moveTo>
                  <a:pt x="54" y="14"/>
                </a:moveTo>
                <a:lnTo>
                  <a:pt x="54" y="14"/>
                </a:lnTo>
                <a:lnTo>
                  <a:pt x="43" y="5"/>
                </a:lnTo>
                <a:lnTo>
                  <a:pt x="37" y="5"/>
                </a:lnTo>
                <a:lnTo>
                  <a:pt x="34" y="5"/>
                </a:lnTo>
                <a:lnTo>
                  <a:pt x="17" y="3"/>
                </a:lnTo>
                <a:lnTo>
                  <a:pt x="3" y="0"/>
                </a:lnTo>
                <a:lnTo>
                  <a:pt x="0" y="3"/>
                </a:lnTo>
                <a:lnTo>
                  <a:pt x="17" y="11"/>
                </a:lnTo>
                <a:lnTo>
                  <a:pt x="23" y="17"/>
                </a:lnTo>
                <a:lnTo>
                  <a:pt x="29" y="26"/>
                </a:lnTo>
                <a:lnTo>
                  <a:pt x="29" y="28"/>
                </a:lnTo>
                <a:lnTo>
                  <a:pt x="26" y="34"/>
                </a:lnTo>
                <a:lnTo>
                  <a:pt x="29" y="34"/>
                </a:lnTo>
                <a:lnTo>
                  <a:pt x="37" y="37"/>
                </a:lnTo>
                <a:lnTo>
                  <a:pt x="46" y="31"/>
                </a:lnTo>
                <a:lnTo>
                  <a:pt x="52" y="34"/>
                </a:lnTo>
                <a:lnTo>
                  <a:pt x="60" y="40"/>
                </a:lnTo>
                <a:lnTo>
                  <a:pt x="74" y="43"/>
                </a:lnTo>
                <a:lnTo>
                  <a:pt x="86" y="37"/>
                </a:lnTo>
                <a:lnTo>
                  <a:pt x="95" y="37"/>
                </a:lnTo>
                <a:lnTo>
                  <a:pt x="103" y="43"/>
                </a:lnTo>
                <a:lnTo>
                  <a:pt x="109" y="43"/>
                </a:lnTo>
                <a:lnTo>
                  <a:pt x="109" y="40"/>
                </a:lnTo>
                <a:lnTo>
                  <a:pt x="97" y="34"/>
                </a:lnTo>
                <a:lnTo>
                  <a:pt x="103" y="31"/>
                </a:lnTo>
                <a:lnTo>
                  <a:pt x="92" y="26"/>
                </a:lnTo>
                <a:lnTo>
                  <a:pt x="89" y="20"/>
                </a:lnTo>
                <a:lnTo>
                  <a:pt x="77" y="14"/>
                </a:lnTo>
                <a:lnTo>
                  <a:pt x="69" y="17"/>
                </a:lnTo>
                <a:lnTo>
                  <a:pt x="69" y="20"/>
                </a:lnTo>
                <a:lnTo>
                  <a:pt x="69" y="17"/>
                </a:lnTo>
                <a:lnTo>
                  <a:pt x="60" y="17"/>
                </a:lnTo>
                <a:lnTo>
                  <a:pt x="57" y="14"/>
                </a:lnTo>
                <a:lnTo>
                  <a:pt x="54" y="14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98" name="Freeform 102"/>
          <p:cNvSpPr>
            <a:spLocks/>
          </p:cNvSpPr>
          <p:nvPr/>
        </p:nvSpPr>
        <p:spPr bwMode="gray">
          <a:xfrm>
            <a:off x="6927249" y="2923580"/>
            <a:ext cx="58010" cy="43501"/>
          </a:xfrm>
          <a:custGeom>
            <a:avLst/>
            <a:gdLst>
              <a:gd name="T0" fmla="*/ 2147483647 w 29"/>
              <a:gd name="T1" fmla="*/ 2147483647 h 29"/>
              <a:gd name="T2" fmla="*/ 2147483647 w 29"/>
              <a:gd name="T3" fmla="*/ 0 h 29"/>
              <a:gd name="T4" fmla="*/ 2147483647 w 29"/>
              <a:gd name="T5" fmla="*/ 0 h 29"/>
              <a:gd name="T6" fmla="*/ 2147483647 w 29"/>
              <a:gd name="T7" fmla="*/ 2147483647 h 29"/>
              <a:gd name="T8" fmla="*/ 0 w 29"/>
              <a:gd name="T9" fmla="*/ 2147483647 h 29"/>
              <a:gd name="T10" fmla="*/ 2147483647 w 29"/>
              <a:gd name="T11" fmla="*/ 2147483647 h 29"/>
              <a:gd name="T12" fmla="*/ 2147483647 w 29"/>
              <a:gd name="T13" fmla="*/ 2147483647 h 29"/>
              <a:gd name="T14" fmla="*/ 2147483647 w 29"/>
              <a:gd name="T15" fmla="*/ 2147483647 h 29"/>
              <a:gd name="T16" fmla="*/ 2147483647 w 29"/>
              <a:gd name="T17" fmla="*/ 2147483647 h 29"/>
              <a:gd name="T18" fmla="*/ 2147483647 w 29"/>
              <a:gd name="T19" fmla="*/ 2147483647 h 29"/>
              <a:gd name="T20" fmla="*/ 2147483647 w 29"/>
              <a:gd name="T21" fmla="*/ 2147483647 h 29"/>
              <a:gd name="T22" fmla="*/ 2147483647 w 29"/>
              <a:gd name="T23" fmla="*/ 2147483647 h 29"/>
              <a:gd name="T24" fmla="*/ 2147483647 w 29"/>
              <a:gd name="T25" fmla="*/ 2147483647 h 29"/>
              <a:gd name="T26" fmla="*/ 2147483647 w 29"/>
              <a:gd name="T27" fmla="*/ 2147483647 h 29"/>
              <a:gd name="T28" fmla="*/ 2147483647 w 29"/>
              <a:gd name="T29" fmla="*/ 2147483647 h 29"/>
              <a:gd name="T30" fmla="*/ 2147483647 w 29"/>
              <a:gd name="T31" fmla="*/ 2147483647 h 29"/>
              <a:gd name="T32" fmla="*/ 2147483647 w 29"/>
              <a:gd name="T33" fmla="*/ 2147483647 h 29"/>
              <a:gd name="T34" fmla="*/ 2147483647 w 29"/>
              <a:gd name="T35" fmla="*/ 2147483647 h 29"/>
              <a:gd name="T36" fmla="*/ 2147483647 w 29"/>
              <a:gd name="T37" fmla="*/ 2147483647 h 29"/>
              <a:gd name="T38" fmla="*/ 2147483647 w 29"/>
              <a:gd name="T39" fmla="*/ 2147483647 h 29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29"/>
              <a:gd name="T61" fmla="*/ 0 h 29"/>
              <a:gd name="T62" fmla="*/ 29 w 29"/>
              <a:gd name="T63" fmla="*/ 29 h 29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29" h="29">
                <a:moveTo>
                  <a:pt x="23" y="9"/>
                </a:moveTo>
                <a:lnTo>
                  <a:pt x="18" y="0"/>
                </a:lnTo>
                <a:lnTo>
                  <a:pt x="6" y="0"/>
                </a:lnTo>
                <a:lnTo>
                  <a:pt x="6" y="6"/>
                </a:lnTo>
                <a:lnTo>
                  <a:pt x="0" y="14"/>
                </a:lnTo>
                <a:lnTo>
                  <a:pt x="9" y="17"/>
                </a:lnTo>
                <a:lnTo>
                  <a:pt x="15" y="20"/>
                </a:lnTo>
                <a:lnTo>
                  <a:pt x="18" y="23"/>
                </a:lnTo>
                <a:lnTo>
                  <a:pt x="21" y="26"/>
                </a:lnTo>
                <a:lnTo>
                  <a:pt x="26" y="29"/>
                </a:lnTo>
                <a:lnTo>
                  <a:pt x="29" y="26"/>
                </a:lnTo>
                <a:lnTo>
                  <a:pt x="26" y="20"/>
                </a:lnTo>
                <a:lnTo>
                  <a:pt x="23" y="14"/>
                </a:lnTo>
                <a:lnTo>
                  <a:pt x="21" y="11"/>
                </a:lnTo>
                <a:lnTo>
                  <a:pt x="23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99" name="Freeform 103"/>
          <p:cNvSpPr>
            <a:spLocks/>
          </p:cNvSpPr>
          <p:nvPr/>
        </p:nvSpPr>
        <p:spPr bwMode="gray">
          <a:xfrm>
            <a:off x="6805225" y="3319591"/>
            <a:ext cx="18004" cy="13500"/>
          </a:xfrm>
          <a:custGeom>
            <a:avLst/>
            <a:gdLst>
              <a:gd name="T0" fmla="*/ 2147483647 w 9"/>
              <a:gd name="T1" fmla="*/ 0 h 9"/>
              <a:gd name="T2" fmla="*/ 0 w 9"/>
              <a:gd name="T3" fmla="*/ 2147483647 h 9"/>
              <a:gd name="T4" fmla="*/ 2147483647 w 9"/>
              <a:gd name="T5" fmla="*/ 2147483647 h 9"/>
              <a:gd name="T6" fmla="*/ 2147483647 w 9"/>
              <a:gd name="T7" fmla="*/ 2147483647 h 9"/>
              <a:gd name="T8" fmla="*/ 2147483647 w 9"/>
              <a:gd name="T9" fmla="*/ 2147483647 h 9"/>
              <a:gd name="T10" fmla="*/ 2147483647 w 9"/>
              <a:gd name="T11" fmla="*/ 0 h 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9"/>
              <a:gd name="T19" fmla="*/ 0 h 9"/>
              <a:gd name="T20" fmla="*/ 9 w 9"/>
              <a:gd name="T21" fmla="*/ 9 h 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9" h="9">
                <a:moveTo>
                  <a:pt x="3" y="0"/>
                </a:moveTo>
                <a:lnTo>
                  <a:pt x="0" y="6"/>
                </a:lnTo>
                <a:lnTo>
                  <a:pt x="6" y="9"/>
                </a:lnTo>
                <a:lnTo>
                  <a:pt x="9" y="6"/>
                </a:lnTo>
                <a:lnTo>
                  <a:pt x="6" y="6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00" name="Freeform 104"/>
          <p:cNvSpPr>
            <a:spLocks/>
          </p:cNvSpPr>
          <p:nvPr/>
        </p:nvSpPr>
        <p:spPr bwMode="gray">
          <a:xfrm>
            <a:off x="6249126" y="2715074"/>
            <a:ext cx="6002" cy="4501"/>
          </a:xfrm>
          <a:custGeom>
            <a:avLst/>
            <a:gdLst>
              <a:gd name="T0" fmla="*/ 2147483647 w 3"/>
              <a:gd name="T1" fmla="*/ 0 h 3"/>
              <a:gd name="T2" fmla="*/ 0 w 3"/>
              <a:gd name="T3" fmla="*/ 0 h 3"/>
              <a:gd name="T4" fmla="*/ 0 w 3"/>
              <a:gd name="T5" fmla="*/ 2147483647 h 3"/>
              <a:gd name="T6" fmla="*/ 2147483647 w 3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3" y="0"/>
                </a:moveTo>
                <a:lnTo>
                  <a:pt x="0" y="0"/>
                </a:lnTo>
                <a:lnTo>
                  <a:pt x="0" y="3"/>
                </a:lnTo>
                <a:lnTo>
                  <a:pt x="3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19" name="Freeform 105"/>
          <p:cNvSpPr>
            <a:spLocks/>
          </p:cNvSpPr>
          <p:nvPr/>
        </p:nvSpPr>
        <p:spPr bwMode="gray">
          <a:xfrm>
            <a:off x="9567724" y="2209560"/>
            <a:ext cx="260047" cy="249007"/>
          </a:xfrm>
          <a:custGeom>
            <a:avLst/>
            <a:gdLst>
              <a:gd name="T0" fmla="*/ 2147483647 w 129"/>
              <a:gd name="T1" fmla="*/ 2147483647 h 164"/>
              <a:gd name="T2" fmla="*/ 2147483647 w 129"/>
              <a:gd name="T3" fmla="*/ 2147483647 h 164"/>
              <a:gd name="T4" fmla="*/ 2147483647 w 129"/>
              <a:gd name="T5" fmla="*/ 2147483647 h 164"/>
              <a:gd name="T6" fmla="*/ 2147483647 w 129"/>
              <a:gd name="T7" fmla="*/ 2147483647 h 164"/>
              <a:gd name="T8" fmla="*/ 2147483647 w 129"/>
              <a:gd name="T9" fmla="*/ 2147483647 h 164"/>
              <a:gd name="T10" fmla="*/ 2147483647 w 129"/>
              <a:gd name="T11" fmla="*/ 2147483647 h 164"/>
              <a:gd name="T12" fmla="*/ 2147483647 w 129"/>
              <a:gd name="T13" fmla="*/ 2147483647 h 164"/>
              <a:gd name="T14" fmla="*/ 2147483647 w 129"/>
              <a:gd name="T15" fmla="*/ 2147483647 h 164"/>
              <a:gd name="T16" fmla="*/ 2147483647 w 129"/>
              <a:gd name="T17" fmla="*/ 2147483647 h 164"/>
              <a:gd name="T18" fmla="*/ 2147483647 w 129"/>
              <a:gd name="T19" fmla="*/ 2147483647 h 164"/>
              <a:gd name="T20" fmla="*/ 2147483647 w 129"/>
              <a:gd name="T21" fmla="*/ 2147483647 h 164"/>
              <a:gd name="T22" fmla="*/ 2147483647 w 129"/>
              <a:gd name="T23" fmla="*/ 2147483647 h 164"/>
              <a:gd name="T24" fmla="*/ 2147483647 w 129"/>
              <a:gd name="T25" fmla="*/ 2147483647 h 164"/>
              <a:gd name="T26" fmla="*/ 2147483647 w 129"/>
              <a:gd name="T27" fmla="*/ 2147483647 h 164"/>
              <a:gd name="T28" fmla="*/ 2147483647 w 129"/>
              <a:gd name="T29" fmla="*/ 2147483647 h 164"/>
              <a:gd name="T30" fmla="*/ 2147483647 w 129"/>
              <a:gd name="T31" fmla="*/ 2147483647 h 164"/>
              <a:gd name="T32" fmla="*/ 2147483647 w 129"/>
              <a:gd name="T33" fmla="*/ 2147483647 h 164"/>
              <a:gd name="T34" fmla="*/ 2147483647 w 129"/>
              <a:gd name="T35" fmla="*/ 2147483647 h 164"/>
              <a:gd name="T36" fmla="*/ 2147483647 w 129"/>
              <a:gd name="T37" fmla="*/ 2147483647 h 164"/>
              <a:gd name="T38" fmla="*/ 2147483647 w 129"/>
              <a:gd name="T39" fmla="*/ 2147483647 h 164"/>
              <a:gd name="T40" fmla="*/ 2147483647 w 129"/>
              <a:gd name="T41" fmla="*/ 2147483647 h 164"/>
              <a:gd name="T42" fmla="*/ 2147483647 w 129"/>
              <a:gd name="T43" fmla="*/ 2147483647 h 164"/>
              <a:gd name="T44" fmla="*/ 2147483647 w 129"/>
              <a:gd name="T45" fmla="*/ 2147483647 h 164"/>
              <a:gd name="T46" fmla="*/ 2147483647 w 129"/>
              <a:gd name="T47" fmla="*/ 2147483647 h 164"/>
              <a:gd name="T48" fmla="*/ 2147483647 w 129"/>
              <a:gd name="T49" fmla="*/ 2147483647 h 164"/>
              <a:gd name="T50" fmla="*/ 2147483647 w 129"/>
              <a:gd name="T51" fmla="*/ 2147483647 h 164"/>
              <a:gd name="T52" fmla="*/ 2147483647 w 129"/>
              <a:gd name="T53" fmla="*/ 2147483647 h 164"/>
              <a:gd name="T54" fmla="*/ 2147483647 w 129"/>
              <a:gd name="T55" fmla="*/ 2147483647 h 164"/>
              <a:gd name="T56" fmla="*/ 2147483647 w 129"/>
              <a:gd name="T57" fmla="*/ 2147483647 h 164"/>
              <a:gd name="T58" fmla="*/ 2147483647 w 129"/>
              <a:gd name="T59" fmla="*/ 2147483647 h 164"/>
              <a:gd name="T60" fmla="*/ 2147483647 w 129"/>
              <a:gd name="T61" fmla="*/ 2147483647 h 164"/>
              <a:gd name="T62" fmla="*/ 2147483647 w 129"/>
              <a:gd name="T63" fmla="*/ 2147483647 h 164"/>
              <a:gd name="T64" fmla="*/ 2147483647 w 129"/>
              <a:gd name="T65" fmla="*/ 2147483647 h 164"/>
              <a:gd name="T66" fmla="*/ 2147483647 w 129"/>
              <a:gd name="T67" fmla="*/ 2147483647 h 164"/>
              <a:gd name="T68" fmla="*/ 2147483647 w 129"/>
              <a:gd name="T69" fmla="*/ 2147483647 h 164"/>
              <a:gd name="T70" fmla="*/ 2147483647 w 129"/>
              <a:gd name="T71" fmla="*/ 2147483647 h 164"/>
              <a:gd name="T72" fmla="*/ 2147483647 w 129"/>
              <a:gd name="T73" fmla="*/ 2147483647 h 164"/>
              <a:gd name="T74" fmla="*/ 2147483647 w 129"/>
              <a:gd name="T75" fmla="*/ 2147483647 h 164"/>
              <a:gd name="T76" fmla="*/ 2147483647 w 129"/>
              <a:gd name="T77" fmla="*/ 2147483647 h 164"/>
              <a:gd name="T78" fmla="*/ 2147483647 w 129"/>
              <a:gd name="T79" fmla="*/ 2147483647 h 164"/>
              <a:gd name="T80" fmla="*/ 2147483647 w 129"/>
              <a:gd name="T81" fmla="*/ 2147483647 h 164"/>
              <a:gd name="T82" fmla="*/ 2147483647 w 129"/>
              <a:gd name="T83" fmla="*/ 2147483647 h 164"/>
              <a:gd name="T84" fmla="*/ 2147483647 w 129"/>
              <a:gd name="T85" fmla="*/ 2147483647 h 164"/>
              <a:gd name="T86" fmla="*/ 2147483647 w 129"/>
              <a:gd name="T87" fmla="*/ 2147483647 h 164"/>
              <a:gd name="T88" fmla="*/ 2147483647 w 129"/>
              <a:gd name="T89" fmla="*/ 2147483647 h 164"/>
              <a:gd name="T90" fmla="*/ 2147483647 w 129"/>
              <a:gd name="T91" fmla="*/ 2147483647 h 164"/>
              <a:gd name="T92" fmla="*/ 2147483647 w 129"/>
              <a:gd name="T93" fmla="*/ 2147483647 h 164"/>
              <a:gd name="T94" fmla="*/ 2147483647 w 129"/>
              <a:gd name="T95" fmla="*/ 2147483647 h 164"/>
              <a:gd name="T96" fmla="*/ 2147483647 w 129"/>
              <a:gd name="T97" fmla="*/ 2147483647 h 164"/>
              <a:gd name="T98" fmla="*/ 2147483647 w 129"/>
              <a:gd name="T99" fmla="*/ 2147483647 h 164"/>
              <a:gd name="T100" fmla="*/ 2147483647 w 129"/>
              <a:gd name="T101" fmla="*/ 0 h 164"/>
              <a:gd name="T102" fmla="*/ 0 w 129"/>
              <a:gd name="T103" fmla="*/ 2147483647 h 164"/>
              <a:gd name="T104" fmla="*/ 0 w 129"/>
              <a:gd name="T105" fmla="*/ 2147483647 h 164"/>
              <a:gd name="T106" fmla="*/ 2147483647 w 129"/>
              <a:gd name="T107" fmla="*/ 2147483647 h 164"/>
              <a:gd name="T108" fmla="*/ 2147483647 w 129"/>
              <a:gd name="T109" fmla="*/ 2147483647 h 164"/>
              <a:gd name="T110" fmla="*/ 2147483647 w 129"/>
              <a:gd name="T111" fmla="*/ 2147483647 h 164"/>
              <a:gd name="T112" fmla="*/ 2147483647 w 129"/>
              <a:gd name="T113" fmla="*/ 2147483647 h 164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29"/>
              <a:gd name="T172" fmla="*/ 0 h 164"/>
              <a:gd name="T173" fmla="*/ 129 w 129"/>
              <a:gd name="T174" fmla="*/ 164 h 164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29" h="164">
                <a:moveTo>
                  <a:pt x="14" y="20"/>
                </a:moveTo>
                <a:lnTo>
                  <a:pt x="14" y="20"/>
                </a:lnTo>
                <a:lnTo>
                  <a:pt x="8" y="17"/>
                </a:lnTo>
                <a:lnTo>
                  <a:pt x="5" y="17"/>
                </a:lnTo>
                <a:lnTo>
                  <a:pt x="2" y="20"/>
                </a:lnTo>
                <a:lnTo>
                  <a:pt x="5" y="23"/>
                </a:lnTo>
                <a:lnTo>
                  <a:pt x="8" y="26"/>
                </a:lnTo>
                <a:lnTo>
                  <a:pt x="11" y="29"/>
                </a:lnTo>
                <a:lnTo>
                  <a:pt x="14" y="32"/>
                </a:lnTo>
                <a:lnTo>
                  <a:pt x="17" y="37"/>
                </a:lnTo>
                <a:lnTo>
                  <a:pt x="20" y="43"/>
                </a:lnTo>
                <a:lnTo>
                  <a:pt x="40" y="58"/>
                </a:lnTo>
                <a:lnTo>
                  <a:pt x="48" y="72"/>
                </a:lnTo>
                <a:lnTo>
                  <a:pt x="63" y="92"/>
                </a:lnTo>
                <a:lnTo>
                  <a:pt x="71" y="103"/>
                </a:lnTo>
                <a:lnTo>
                  <a:pt x="74" y="112"/>
                </a:lnTo>
                <a:lnTo>
                  <a:pt x="83" y="118"/>
                </a:lnTo>
                <a:lnTo>
                  <a:pt x="86" y="124"/>
                </a:lnTo>
                <a:lnTo>
                  <a:pt x="89" y="129"/>
                </a:lnTo>
                <a:lnTo>
                  <a:pt x="89" y="132"/>
                </a:lnTo>
                <a:lnTo>
                  <a:pt x="91" y="135"/>
                </a:lnTo>
                <a:lnTo>
                  <a:pt x="94" y="138"/>
                </a:lnTo>
                <a:lnTo>
                  <a:pt x="97" y="141"/>
                </a:lnTo>
                <a:lnTo>
                  <a:pt x="97" y="147"/>
                </a:lnTo>
                <a:lnTo>
                  <a:pt x="100" y="152"/>
                </a:lnTo>
                <a:lnTo>
                  <a:pt x="106" y="161"/>
                </a:lnTo>
                <a:lnTo>
                  <a:pt x="112" y="164"/>
                </a:lnTo>
                <a:lnTo>
                  <a:pt x="112" y="158"/>
                </a:lnTo>
                <a:lnTo>
                  <a:pt x="109" y="152"/>
                </a:lnTo>
                <a:lnTo>
                  <a:pt x="109" y="149"/>
                </a:lnTo>
                <a:lnTo>
                  <a:pt x="112" y="147"/>
                </a:lnTo>
                <a:lnTo>
                  <a:pt x="112" y="149"/>
                </a:lnTo>
                <a:lnTo>
                  <a:pt x="114" y="149"/>
                </a:lnTo>
                <a:lnTo>
                  <a:pt x="117" y="152"/>
                </a:lnTo>
                <a:lnTo>
                  <a:pt x="120" y="152"/>
                </a:lnTo>
                <a:lnTo>
                  <a:pt x="126" y="155"/>
                </a:lnTo>
                <a:lnTo>
                  <a:pt x="129" y="158"/>
                </a:lnTo>
                <a:lnTo>
                  <a:pt x="129" y="155"/>
                </a:lnTo>
                <a:lnTo>
                  <a:pt x="123" y="147"/>
                </a:lnTo>
                <a:lnTo>
                  <a:pt x="120" y="147"/>
                </a:lnTo>
                <a:lnTo>
                  <a:pt x="114" y="144"/>
                </a:lnTo>
                <a:lnTo>
                  <a:pt x="112" y="138"/>
                </a:lnTo>
                <a:lnTo>
                  <a:pt x="109" y="135"/>
                </a:lnTo>
                <a:lnTo>
                  <a:pt x="106" y="132"/>
                </a:lnTo>
                <a:lnTo>
                  <a:pt x="97" y="132"/>
                </a:lnTo>
                <a:lnTo>
                  <a:pt x="94" y="126"/>
                </a:lnTo>
                <a:lnTo>
                  <a:pt x="83" y="103"/>
                </a:lnTo>
                <a:lnTo>
                  <a:pt x="83" y="98"/>
                </a:lnTo>
                <a:lnTo>
                  <a:pt x="83" y="95"/>
                </a:lnTo>
                <a:lnTo>
                  <a:pt x="89" y="95"/>
                </a:lnTo>
                <a:lnTo>
                  <a:pt x="94" y="98"/>
                </a:lnTo>
                <a:lnTo>
                  <a:pt x="100" y="103"/>
                </a:lnTo>
                <a:lnTo>
                  <a:pt x="112" y="109"/>
                </a:lnTo>
                <a:lnTo>
                  <a:pt x="114" y="112"/>
                </a:lnTo>
                <a:lnTo>
                  <a:pt x="112" y="106"/>
                </a:lnTo>
                <a:lnTo>
                  <a:pt x="103" y="101"/>
                </a:lnTo>
                <a:lnTo>
                  <a:pt x="83" y="80"/>
                </a:lnTo>
                <a:lnTo>
                  <a:pt x="60" y="58"/>
                </a:lnTo>
                <a:lnTo>
                  <a:pt x="48" y="49"/>
                </a:lnTo>
                <a:lnTo>
                  <a:pt x="40" y="40"/>
                </a:lnTo>
                <a:lnTo>
                  <a:pt x="37" y="35"/>
                </a:lnTo>
                <a:lnTo>
                  <a:pt x="34" y="29"/>
                </a:lnTo>
                <a:lnTo>
                  <a:pt x="20" y="14"/>
                </a:lnTo>
                <a:lnTo>
                  <a:pt x="14" y="12"/>
                </a:lnTo>
                <a:lnTo>
                  <a:pt x="11" y="9"/>
                </a:lnTo>
                <a:lnTo>
                  <a:pt x="11" y="6"/>
                </a:lnTo>
                <a:lnTo>
                  <a:pt x="8" y="6"/>
                </a:lnTo>
                <a:lnTo>
                  <a:pt x="2" y="0"/>
                </a:lnTo>
                <a:lnTo>
                  <a:pt x="0" y="3"/>
                </a:lnTo>
                <a:lnTo>
                  <a:pt x="0" y="6"/>
                </a:lnTo>
                <a:lnTo>
                  <a:pt x="0" y="9"/>
                </a:lnTo>
                <a:lnTo>
                  <a:pt x="5" y="9"/>
                </a:lnTo>
                <a:lnTo>
                  <a:pt x="11" y="14"/>
                </a:lnTo>
                <a:lnTo>
                  <a:pt x="14" y="2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002" name="Freeform 106"/>
          <p:cNvSpPr>
            <a:spLocks/>
          </p:cNvSpPr>
          <p:nvPr/>
        </p:nvSpPr>
        <p:spPr bwMode="gray">
          <a:xfrm>
            <a:off x="9589727" y="3937607"/>
            <a:ext cx="40007" cy="43501"/>
          </a:xfrm>
          <a:custGeom>
            <a:avLst/>
            <a:gdLst>
              <a:gd name="T0" fmla="*/ 2147483647 w 20"/>
              <a:gd name="T1" fmla="*/ 2147483647 h 29"/>
              <a:gd name="T2" fmla="*/ 2147483647 w 20"/>
              <a:gd name="T3" fmla="*/ 2147483647 h 29"/>
              <a:gd name="T4" fmla="*/ 2147483647 w 20"/>
              <a:gd name="T5" fmla="*/ 2147483647 h 29"/>
              <a:gd name="T6" fmla="*/ 2147483647 w 20"/>
              <a:gd name="T7" fmla="*/ 2147483647 h 29"/>
              <a:gd name="T8" fmla="*/ 2147483647 w 20"/>
              <a:gd name="T9" fmla="*/ 2147483647 h 29"/>
              <a:gd name="T10" fmla="*/ 2147483647 w 20"/>
              <a:gd name="T11" fmla="*/ 2147483647 h 29"/>
              <a:gd name="T12" fmla="*/ 2147483647 w 20"/>
              <a:gd name="T13" fmla="*/ 2147483647 h 29"/>
              <a:gd name="T14" fmla="*/ 2147483647 w 20"/>
              <a:gd name="T15" fmla="*/ 2147483647 h 29"/>
              <a:gd name="T16" fmla="*/ 2147483647 w 20"/>
              <a:gd name="T17" fmla="*/ 2147483647 h 29"/>
              <a:gd name="T18" fmla="*/ 2147483647 w 20"/>
              <a:gd name="T19" fmla="*/ 2147483647 h 29"/>
              <a:gd name="T20" fmla="*/ 2147483647 w 20"/>
              <a:gd name="T21" fmla="*/ 2147483647 h 29"/>
              <a:gd name="T22" fmla="*/ 2147483647 w 20"/>
              <a:gd name="T23" fmla="*/ 2147483647 h 29"/>
              <a:gd name="T24" fmla="*/ 2147483647 w 20"/>
              <a:gd name="T25" fmla="*/ 2147483647 h 29"/>
              <a:gd name="T26" fmla="*/ 2147483647 w 20"/>
              <a:gd name="T27" fmla="*/ 2147483647 h 29"/>
              <a:gd name="T28" fmla="*/ 2147483647 w 20"/>
              <a:gd name="T29" fmla="*/ 2147483647 h 29"/>
              <a:gd name="T30" fmla="*/ 2147483647 w 20"/>
              <a:gd name="T31" fmla="*/ 2147483647 h 29"/>
              <a:gd name="T32" fmla="*/ 2147483647 w 20"/>
              <a:gd name="T33" fmla="*/ 2147483647 h 29"/>
              <a:gd name="T34" fmla="*/ 2147483647 w 20"/>
              <a:gd name="T35" fmla="*/ 2147483647 h 29"/>
              <a:gd name="T36" fmla="*/ 2147483647 w 20"/>
              <a:gd name="T37" fmla="*/ 2147483647 h 29"/>
              <a:gd name="T38" fmla="*/ 2147483647 w 20"/>
              <a:gd name="T39" fmla="*/ 2147483647 h 29"/>
              <a:gd name="T40" fmla="*/ 2147483647 w 20"/>
              <a:gd name="T41" fmla="*/ 2147483647 h 29"/>
              <a:gd name="T42" fmla="*/ 2147483647 w 20"/>
              <a:gd name="T43" fmla="*/ 0 h 29"/>
              <a:gd name="T44" fmla="*/ 2147483647 w 20"/>
              <a:gd name="T45" fmla="*/ 0 h 29"/>
              <a:gd name="T46" fmla="*/ 2147483647 w 20"/>
              <a:gd name="T47" fmla="*/ 0 h 29"/>
              <a:gd name="T48" fmla="*/ 2147483647 w 20"/>
              <a:gd name="T49" fmla="*/ 2147483647 h 29"/>
              <a:gd name="T50" fmla="*/ 2147483647 w 20"/>
              <a:gd name="T51" fmla="*/ 2147483647 h 29"/>
              <a:gd name="T52" fmla="*/ 2147483647 w 20"/>
              <a:gd name="T53" fmla="*/ 2147483647 h 29"/>
              <a:gd name="T54" fmla="*/ 2147483647 w 20"/>
              <a:gd name="T55" fmla="*/ 2147483647 h 29"/>
              <a:gd name="T56" fmla="*/ 2147483647 w 20"/>
              <a:gd name="T57" fmla="*/ 2147483647 h 29"/>
              <a:gd name="T58" fmla="*/ 2147483647 w 20"/>
              <a:gd name="T59" fmla="*/ 2147483647 h 29"/>
              <a:gd name="T60" fmla="*/ 2147483647 w 20"/>
              <a:gd name="T61" fmla="*/ 2147483647 h 29"/>
              <a:gd name="T62" fmla="*/ 2147483647 w 20"/>
              <a:gd name="T63" fmla="*/ 2147483647 h 29"/>
              <a:gd name="T64" fmla="*/ 0 w 20"/>
              <a:gd name="T65" fmla="*/ 2147483647 h 29"/>
              <a:gd name="T66" fmla="*/ 0 w 20"/>
              <a:gd name="T67" fmla="*/ 2147483647 h 29"/>
              <a:gd name="T68" fmla="*/ 2147483647 w 20"/>
              <a:gd name="T69" fmla="*/ 2147483647 h 29"/>
              <a:gd name="T70" fmla="*/ 2147483647 w 20"/>
              <a:gd name="T71" fmla="*/ 2147483647 h 29"/>
              <a:gd name="T72" fmla="*/ 2147483647 w 20"/>
              <a:gd name="T73" fmla="*/ 2147483647 h 29"/>
              <a:gd name="T74" fmla="*/ 2147483647 w 20"/>
              <a:gd name="T75" fmla="*/ 2147483647 h 29"/>
              <a:gd name="T76" fmla="*/ 2147483647 w 20"/>
              <a:gd name="T77" fmla="*/ 2147483647 h 29"/>
              <a:gd name="T78" fmla="*/ 2147483647 w 20"/>
              <a:gd name="T79" fmla="*/ 2147483647 h 29"/>
              <a:gd name="T80" fmla="*/ 2147483647 w 20"/>
              <a:gd name="T81" fmla="*/ 2147483647 h 29"/>
              <a:gd name="T82" fmla="*/ 2147483647 w 20"/>
              <a:gd name="T83" fmla="*/ 2147483647 h 29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0"/>
              <a:gd name="T127" fmla="*/ 0 h 29"/>
              <a:gd name="T128" fmla="*/ 20 w 20"/>
              <a:gd name="T129" fmla="*/ 29 h 29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0" h="29">
                <a:moveTo>
                  <a:pt x="9" y="26"/>
                </a:moveTo>
                <a:lnTo>
                  <a:pt x="9" y="26"/>
                </a:lnTo>
                <a:lnTo>
                  <a:pt x="12" y="29"/>
                </a:lnTo>
                <a:lnTo>
                  <a:pt x="14" y="26"/>
                </a:lnTo>
                <a:lnTo>
                  <a:pt x="14" y="23"/>
                </a:lnTo>
                <a:lnTo>
                  <a:pt x="17" y="20"/>
                </a:lnTo>
                <a:lnTo>
                  <a:pt x="17" y="17"/>
                </a:lnTo>
                <a:lnTo>
                  <a:pt x="17" y="14"/>
                </a:lnTo>
                <a:lnTo>
                  <a:pt x="14" y="14"/>
                </a:lnTo>
                <a:lnTo>
                  <a:pt x="12" y="17"/>
                </a:lnTo>
                <a:lnTo>
                  <a:pt x="14" y="11"/>
                </a:lnTo>
                <a:lnTo>
                  <a:pt x="17" y="11"/>
                </a:lnTo>
                <a:lnTo>
                  <a:pt x="20" y="9"/>
                </a:lnTo>
                <a:lnTo>
                  <a:pt x="20" y="0"/>
                </a:lnTo>
                <a:lnTo>
                  <a:pt x="17" y="3"/>
                </a:lnTo>
                <a:lnTo>
                  <a:pt x="14" y="6"/>
                </a:lnTo>
                <a:lnTo>
                  <a:pt x="9" y="6"/>
                </a:lnTo>
                <a:lnTo>
                  <a:pt x="6" y="6"/>
                </a:lnTo>
                <a:lnTo>
                  <a:pt x="3" y="14"/>
                </a:lnTo>
                <a:lnTo>
                  <a:pt x="0" y="17"/>
                </a:lnTo>
                <a:lnTo>
                  <a:pt x="0" y="20"/>
                </a:lnTo>
                <a:lnTo>
                  <a:pt x="3" y="20"/>
                </a:lnTo>
                <a:lnTo>
                  <a:pt x="9" y="20"/>
                </a:lnTo>
                <a:lnTo>
                  <a:pt x="12" y="17"/>
                </a:lnTo>
                <a:lnTo>
                  <a:pt x="9" y="23"/>
                </a:lnTo>
                <a:lnTo>
                  <a:pt x="9" y="2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03" name="Freeform 107"/>
          <p:cNvSpPr>
            <a:spLocks/>
          </p:cNvSpPr>
          <p:nvPr/>
        </p:nvSpPr>
        <p:spPr bwMode="gray">
          <a:xfrm>
            <a:off x="9703748" y="3598598"/>
            <a:ext cx="14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0 h 6"/>
              <a:gd name="T4" fmla="*/ 0 w 6"/>
              <a:gd name="T5" fmla="*/ 0 h 6"/>
              <a:gd name="T6" fmla="*/ 2147483647 w 6"/>
              <a:gd name="T7" fmla="*/ 2147483647 h 6"/>
              <a:gd name="T8" fmla="*/ 2147483647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6" y="6"/>
                </a:moveTo>
                <a:lnTo>
                  <a:pt x="6" y="0"/>
                </a:lnTo>
                <a:lnTo>
                  <a:pt x="0" y="0"/>
                </a:lnTo>
                <a:lnTo>
                  <a:pt x="3" y="3"/>
                </a:lnTo>
                <a:lnTo>
                  <a:pt x="6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04" name="Freeform 108"/>
          <p:cNvSpPr>
            <a:spLocks/>
          </p:cNvSpPr>
          <p:nvPr/>
        </p:nvSpPr>
        <p:spPr bwMode="gray">
          <a:xfrm>
            <a:off x="9577725" y="3498094"/>
            <a:ext cx="164030" cy="144004"/>
          </a:xfrm>
          <a:custGeom>
            <a:avLst/>
            <a:gdLst>
              <a:gd name="T0" fmla="*/ 2147483647 w 81"/>
              <a:gd name="T1" fmla="*/ 2147483647 h 95"/>
              <a:gd name="T2" fmla="*/ 2147483647 w 81"/>
              <a:gd name="T3" fmla="*/ 2147483647 h 95"/>
              <a:gd name="T4" fmla="*/ 2147483647 w 81"/>
              <a:gd name="T5" fmla="*/ 2147483647 h 95"/>
              <a:gd name="T6" fmla="*/ 2147483647 w 81"/>
              <a:gd name="T7" fmla="*/ 2147483647 h 95"/>
              <a:gd name="T8" fmla="*/ 2147483647 w 81"/>
              <a:gd name="T9" fmla="*/ 2147483647 h 95"/>
              <a:gd name="T10" fmla="*/ 2147483647 w 81"/>
              <a:gd name="T11" fmla="*/ 2147483647 h 95"/>
              <a:gd name="T12" fmla="*/ 2147483647 w 81"/>
              <a:gd name="T13" fmla="*/ 2147483647 h 95"/>
              <a:gd name="T14" fmla="*/ 2147483647 w 81"/>
              <a:gd name="T15" fmla="*/ 2147483647 h 95"/>
              <a:gd name="T16" fmla="*/ 2147483647 w 81"/>
              <a:gd name="T17" fmla="*/ 2147483647 h 95"/>
              <a:gd name="T18" fmla="*/ 2147483647 w 81"/>
              <a:gd name="T19" fmla="*/ 2147483647 h 95"/>
              <a:gd name="T20" fmla="*/ 2147483647 w 81"/>
              <a:gd name="T21" fmla="*/ 2147483647 h 95"/>
              <a:gd name="T22" fmla="*/ 2147483647 w 81"/>
              <a:gd name="T23" fmla="*/ 2147483647 h 95"/>
              <a:gd name="T24" fmla="*/ 2147483647 w 81"/>
              <a:gd name="T25" fmla="*/ 2147483647 h 95"/>
              <a:gd name="T26" fmla="*/ 2147483647 w 81"/>
              <a:gd name="T27" fmla="*/ 2147483647 h 95"/>
              <a:gd name="T28" fmla="*/ 2147483647 w 81"/>
              <a:gd name="T29" fmla="*/ 2147483647 h 95"/>
              <a:gd name="T30" fmla="*/ 2147483647 w 81"/>
              <a:gd name="T31" fmla="*/ 2147483647 h 95"/>
              <a:gd name="T32" fmla="*/ 2147483647 w 81"/>
              <a:gd name="T33" fmla="*/ 2147483647 h 95"/>
              <a:gd name="T34" fmla="*/ 2147483647 w 81"/>
              <a:gd name="T35" fmla="*/ 2147483647 h 95"/>
              <a:gd name="T36" fmla="*/ 2147483647 w 81"/>
              <a:gd name="T37" fmla="*/ 2147483647 h 95"/>
              <a:gd name="T38" fmla="*/ 2147483647 w 81"/>
              <a:gd name="T39" fmla="*/ 2147483647 h 95"/>
              <a:gd name="T40" fmla="*/ 2147483647 w 81"/>
              <a:gd name="T41" fmla="*/ 2147483647 h 95"/>
              <a:gd name="T42" fmla="*/ 2147483647 w 81"/>
              <a:gd name="T43" fmla="*/ 2147483647 h 95"/>
              <a:gd name="T44" fmla="*/ 2147483647 w 81"/>
              <a:gd name="T45" fmla="*/ 2147483647 h 95"/>
              <a:gd name="T46" fmla="*/ 2147483647 w 81"/>
              <a:gd name="T47" fmla="*/ 2147483647 h 95"/>
              <a:gd name="T48" fmla="*/ 2147483647 w 81"/>
              <a:gd name="T49" fmla="*/ 2147483647 h 95"/>
              <a:gd name="T50" fmla="*/ 2147483647 w 81"/>
              <a:gd name="T51" fmla="*/ 2147483647 h 95"/>
              <a:gd name="T52" fmla="*/ 2147483647 w 81"/>
              <a:gd name="T53" fmla="*/ 2147483647 h 95"/>
              <a:gd name="T54" fmla="*/ 2147483647 w 81"/>
              <a:gd name="T55" fmla="*/ 2147483647 h 95"/>
              <a:gd name="T56" fmla="*/ 2147483647 w 81"/>
              <a:gd name="T57" fmla="*/ 2147483647 h 95"/>
              <a:gd name="T58" fmla="*/ 2147483647 w 81"/>
              <a:gd name="T59" fmla="*/ 2147483647 h 95"/>
              <a:gd name="T60" fmla="*/ 2147483647 w 81"/>
              <a:gd name="T61" fmla="*/ 2147483647 h 95"/>
              <a:gd name="T62" fmla="*/ 2147483647 w 81"/>
              <a:gd name="T63" fmla="*/ 2147483647 h 95"/>
              <a:gd name="T64" fmla="*/ 2147483647 w 81"/>
              <a:gd name="T65" fmla="*/ 2147483647 h 95"/>
              <a:gd name="T66" fmla="*/ 2147483647 w 81"/>
              <a:gd name="T67" fmla="*/ 2147483647 h 95"/>
              <a:gd name="T68" fmla="*/ 2147483647 w 81"/>
              <a:gd name="T69" fmla="*/ 2147483647 h 95"/>
              <a:gd name="T70" fmla="*/ 2147483647 w 81"/>
              <a:gd name="T71" fmla="*/ 2147483647 h 95"/>
              <a:gd name="T72" fmla="*/ 2147483647 w 81"/>
              <a:gd name="T73" fmla="*/ 2147483647 h 95"/>
              <a:gd name="T74" fmla="*/ 2147483647 w 81"/>
              <a:gd name="T75" fmla="*/ 2147483647 h 95"/>
              <a:gd name="T76" fmla="*/ 2147483647 w 81"/>
              <a:gd name="T77" fmla="*/ 2147483647 h 95"/>
              <a:gd name="T78" fmla="*/ 2147483647 w 81"/>
              <a:gd name="T79" fmla="*/ 2147483647 h 95"/>
              <a:gd name="T80" fmla="*/ 2147483647 w 81"/>
              <a:gd name="T81" fmla="*/ 2147483647 h 95"/>
              <a:gd name="T82" fmla="*/ 2147483647 w 81"/>
              <a:gd name="T83" fmla="*/ 2147483647 h 95"/>
              <a:gd name="T84" fmla="*/ 2147483647 w 81"/>
              <a:gd name="T85" fmla="*/ 2147483647 h 9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81"/>
              <a:gd name="T130" fmla="*/ 0 h 95"/>
              <a:gd name="T131" fmla="*/ 81 w 81"/>
              <a:gd name="T132" fmla="*/ 95 h 9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81" h="95">
                <a:moveTo>
                  <a:pt x="81" y="57"/>
                </a:moveTo>
                <a:lnTo>
                  <a:pt x="81" y="57"/>
                </a:lnTo>
                <a:lnTo>
                  <a:pt x="78" y="40"/>
                </a:lnTo>
                <a:lnTo>
                  <a:pt x="75" y="32"/>
                </a:lnTo>
                <a:lnTo>
                  <a:pt x="72" y="29"/>
                </a:lnTo>
                <a:lnTo>
                  <a:pt x="72" y="20"/>
                </a:lnTo>
                <a:lnTo>
                  <a:pt x="69" y="23"/>
                </a:lnTo>
                <a:lnTo>
                  <a:pt x="66" y="17"/>
                </a:lnTo>
                <a:lnTo>
                  <a:pt x="72" y="14"/>
                </a:lnTo>
                <a:lnTo>
                  <a:pt x="69" y="9"/>
                </a:lnTo>
                <a:lnTo>
                  <a:pt x="66" y="9"/>
                </a:lnTo>
                <a:lnTo>
                  <a:pt x="63" y="14"/>
                </a:lnTo>
                <a:lnTo>
                  <a:pt x="63" y="17"/>
                </a:lnTo>
                <a:lnTo>
                  <a:pt x="61" y="14"/>
                </a:lnTo>
                <a:lnTo>
                  <a:pt x="61" y="9"/>
                </a:lnTo>
                <a:lnTo>
                  <a:pt x="61" y="0"/>
                </a:lnTo>
                <a:lnTo>
                  <a:pt x="55" y="6"/>
                </a:lnTo>
                <a:lnTo>
                  <a:pt x="58" y="14"/>
                </a:lnTo>
                <a:lnTo>
                  <a:pt x="58" y="17"/>
                </a:lnTo>
                <a:lnTo>
                  <a:pt x="58" y="20"/>
                </a:lnTo>
                <a:lnTo>
                  <a:pt x="61" y="26"/>
                </a:lnTo>
                <a:lnTo>
                  <a:pt x="61" y="29"/>
                </a:lnTo>
                <a:lnTo>
                  <a:pt x="55" y="29"/>
                </a:lnTo>
                <a:lnTo>
                  <a:pt x="55" y="32"/>
                </a:lnTo>
                <a:lnTo>
                  <a:pt x="49" y="29"/>
                </a:lnTo>
                <a:lnTo>
                  <a:pt x="49" y="34"/>
                </a:lnTo>
                <a:lnTo>
                  <a:pt x="46" y="37"/>
                </a:lnTo>
                <a:lnTo>
                  <a:pt x="43" y="37"/>
                </a:lnTo>
                <a:lnTo>
                  <a:pt x="41" y="43"/>
                </a:lnTo>
                <a:lnTo>
                  <a:pt x="38" y="46"/>
                </a:lnTo>
                <a:lnTo>
                  <a:pt x="35" y="46"/>
                </a:lnTo>
                <a:lnTo>
                  <a:pt x="32" y="40"/>
                </a:lnTo>
                <a:lnTo>
                  <a:pt x="32" y="37"/>
                </a:lnTo>
                <a:lnTo>
                  <a:pt x="29" y="37"/>
                </a:lnTo>
                <a:lnTo>
                  <a:pt x="23" y="37"/>
                </a:lnTo>
                <a:lnTo>
                  <a:pt x="20" y="40"/>
                </a:lnTo>
                <a:lnTo>
                  <a:pt x="15" y="46"/>
                </a:lnTo>
                <a:lnTo>
                  <a:pt x="12" y="46"/>
                </a:lnTo>
                <a:lnTo>
                  <a:pt x="6" y="49"/>
                </a:lnTo>
                <a:lnTo>
                  <a:pt x="6" y="52"/>
                </a:lnTo>
                <a:lnTo>
                  <a:pt x="3" y="57"/>
                </a:lnTo>
                <a:lnTo>
                  <a:pt x="0" y="66"/>
                </a:lnTo>
                <a:lnTo>
                  <a:pt x="0" y="69"/>
                </a:lnTo>
                <a:lnTo>
                  <a:pt x="3" y="72"/>
                </a:lnTo>
                <a:lnTo>
                  <a:pt x="6" y="69"/>
                </a:lnTo>
                <a:lnTo>
                  <a:pt x="9" y="66"/>
                </a:lnTo>
                <a:lnTo>
                  <a:pt x="9" y="60"/>
                </a:lnTo>
                <a:lnTo>
                  <a:pt x="12" y="54"/>
                </a:lnTo>
                <a:lnTo>
                  <a:pt x="15" y="52"/>
                </a:lnTo>
                <a:lnTo>
                  <a:pt x="15" y="54"/>
                </a:lnTo>
                <a:lnTo>
                  <a:pt x="15" y="63"/>
                </a:lnTo>
                <a:lnTo>
                  <a:pt x="18" y="66"/>
                </a:lnTo>
                <a:lnTo>
                  <a:pt x="18" y="63"/>
                </a:lnTo>
                <a:lnTo>
                  <a:pt x="20" y="57"/>
                </a:lnTo>
                <a:lnTo>
                  <a:pt x="20" y="54"/>
                </a:lnTo>
                <a:lnTo>
                  <a:pt x="23" y="60"/>
                </a:lnTo>
                <a:lnTo>
                  <a:pt x="26" y="63"/>
                </a:lnTo>
                <a:lnTo>
                  <a:pt x="26" y="57"/>
                </a:lnTo>
                <a:lnTo>
                  <a:pt x="29" y="54"/>
                </a:lnTo>
                <a:lnTo>
                  <a:pt x="38" y="57"/>
                </a:lnTo>
                <a:lnTo>
                  <a:pt x="41" y="60"/>
                </a:lnTo>
                <a:lnTo>
                  <a:pt x="38" y="63"/>
                </a:lnTo>
                <a:lnTo>
                  <a:pt x="35" y="66"/>
                </a:lnTo>
                <a:lnTo>
                  <a:pt x="38" y="69"/>
                </a:lnTo>
                <a:lnTo>
                  <a:pt x="41" y="83"/>
                </a:lnTo>
                <a:lnTo>
                  <a:pt x="46" y="83"/>
                </a:lnTo>
                <a:lnTo>
                  <a:pt x="46" y="86"/>
                </a:lnTo>
                <a:lnTo>
                  <a:pt x="49" y="89"/>
                </a:lnTo>
                <a:lnTo>
                  <a:pt x="52" y="89"/>
                </a:lnTo>
                <a:lnTo>
                  <a:pt x="58" y="89"/>
                </a:lnTo>
                <a:lnTo>
                  <a:pt x="58" y="86"/>
                </a:lnTo>
                <a:lnTo>
                  <a:pt x="61" y="86"/>
                </a:lnTo>
                <a:lnTo>
                  <a:pt x="61" y="95"/>
                </a:lnTo>
                <a:lnTo>
                  <a:pt x="63" y="95"/>
                </a:lnTo>
                <a:lnTo>
                  <a:pt x="66" y="92"/>
                </a:lnTo>
                <a:lnTo>
                  <a:pt x="66" y="83"/>
                </a:lnTo>
                <a:lnTo>
                  <a:pt x="63" y="77"/>
                </a:lnTo>
                <a:lnTo>
                  <a:pt x="61" y="75"/>
                </a:lnTo>
                <a:lnTo>
                  <a:pt x="61" y="72"/>
                </a:lnTo>
                <a:lnTo>
                  <a:pt x="63" y="66"/>
                </a:lnTo>
                <a:lnTo>
                  <a:pt x="66" y="66"/>
                </a:lnTo>
                <a:lnTo>
                  <a:pt x="69" y="69"/>
                </a:lnTo>
                <a:lnTo>
                  <a:pt x="72" y="83"/>
                </a:lnTo>
                <a:lnTo>
                  <a:pt x="75" y="80"/>
                </a:lnTo>
                <a:lnTo>
                  <a:pt x="78" y="75"/>
                </a:lnTo>
                <a:lnTo>
                  <a:pt x="81" y="66"/>
                </a:lnTo>
                <a:lnTo>
                  <a:pt x="81" y="60"/>
                </a:lnTo>
                <a:lnTo>
                  <a:pt x="81" y="5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23" name="Freeform 109"/>
          <p:cNvSpPr>
            <a:spLocks/>
          </p:cNvSpPr>
          <p:nvPr/>
        </p:nvSpPr>
        <p:spPr bwMode="gray">
          <a:xfrm>
            <a:off x="9167652" y="3598598"/>
            <a:ext cx="322057" cy="183005"/>
          </a:xfrm>
          <a:custGeom>
            <a:avLst/>
            <a:gdLst>
              <a:gd name="T0" fmla="*/ 2147483647 w 160"/>
              <a:gd name="T1" fmla="*/ 2147483647 h 121"/>
              <a:gd name="T2" fmla="*/ 2147483647 w 160"/>
              <a:gd name="T3" fmla="*/ 2147483647 h 121"/>
              <a:gd name="T4" fmla="*/ 2147483647 w 160"/>
              <a:gd name="T5" fmla="*/ 2147483647 h 121"/>
              <a:gd name="T6" fmla="*/ 2147483647 w 160"/>
              <a:gd name="T7" fmla="*/ 2147483647 h 121"/>
              <a:gd name="T8" fmla="*/ 2147483647 w 160"/>
              <a:gd name="T9" fmla="*/ 2147483647 h 121"/>
              <a:gd name="T10" fmla="*/ 2147483647 w 160"/>
              <a:gd name="T11" fmla="*/ 2147483647 h 121"/>
              <a:gd name="T12" fmla="*/ 2147483647 w 160"/>
              <a:gd name="T13" fmla="*/ 2147483647 h 121"/>
              <a:gd name="T14" fmla="*/ 2147483647 w 160"/>
              <a:gd name="T15" fmla="*/ 2147483647 h 121"/>
              <a:gd name="T16" fmla="*/ 2147483647 w 160"/>
              <a:gd name="T17" fmla="*/ 2147483647 h 121"/>
              <a:gd name="T18" fmla="*/ 2147483647 w 160"/>
              <a:gd name="T19" fmla="*/ 2147483647 h 121"/>
              <a:gd name="T20" fmla="*/ 2147483647 w 160"/>
              <a:gd name="T21" fmla="*/ 2147483647 h 121"/>
              <a:gd name="T22" fmla="*/ 2147483647 w 160"/>
              <a:gd name="T23" fmla="*/ 2147483647 h 121"/>
              <a:gd name="T24" fmla="*/ 2147483647 w 160"/>
              <a:gd name="T25" fmla="*/ 2147483647 h 121"/>
              <a:gd name="T26" fmla="*/ 2147483647 w 160"/>
              <a:gd name="T27" fmla="*/ 2147483647 h 121"/>
              <a:gd name="T28" fmla="*/ 2147483647 w 160"/>
              <a:gd name="T29" fmla="*/ 2147483647 h 121"/>
              <a:gd name="T30" fmla="*/ 2147483647 w 160"/>
              <a:gd name="T31" fmla="*/ 2147483647 h 121"/>
              <a:gd name="T32" fmla="*/ 2147483647 w 160"/>
              <a:gd name="T33" fmla="*/ 2147483647 h 121"/>
              <a:gd name="T34" fmla="*/ 2147483647 w 160"/>
              <a:gd name="T35" fmla="*/ 2147483647 h 121"/>
              <a:gd name="T36" fmla="*/ 2147483647 w 160"/>
              <a:gd name="T37" fmla="*/ 2147483647 h 121"/>
              <a:gd name="T38" fmla="*/ 2147483647 w 160"/>
              <a:gd name="T39" fmla="*/ 2147483647 h 121"/>
              <a:gd name="T40" fmla="*/ 2147483647 w 160"/>
              <a:gd name="T41" fmla="*/ 2147483647 h 121"/>
              <a:gd name="T42" fmla="*/ 2147483647 w 160"/>
              <a:gd name="T43" fmla="*/ 2147483647 h 121"/>
              <a:gd name="T44" fmla="*/ 2147483647 w 160"/>
              <a:gd name="T45" fmla="*/ 2147483647 h 121"/>
              <a:gd name="T46" fmla="*/ 2147483647 w 160"/>
              <a:gd name="T47" fmla="*/ 2147483647 h 121"/>
              <a:gd name="T48" fmla="*/ 2147483647 w 160"/>
              <a:gd name="T49" fmla="*/ 2147483647 h 121"/>
              <a:gd name="T50" fmla="*/ 2147483647 w 160"/>
              <a:gd name="T51" fmla="*/ 2147483647 h 121"/>
              <a:gd name="T52" fmla="*/ 2147483647 w 160"/>
              <a:gd name="T53" fmla="*/ 2147483647 h 121"/>
              <a:gd name="T54" fmla="*/ 2147483647 w 160"/>
              <a:gd name="T55" fmla="*/ 2147483647 h 121"/>
              <a:gd name="T56" fmla="*/ 2147483647 w 160"/>
              <a:gd name="T57" fmla="*/ 2147483647 h 121"/>
              <a:gd name="T58" fmla="*/ 2147483647 w 160"/>
              <a:gd name="T59" fmla="*/ 2147483647 h 121"/>
              <a:gd name="T60" fmla="*/ 2147483647 w 160"/>
              <a:gd name="T61" fmla="*/ 2147483647 h 121"/>
              <a:gd name="T62" fmla="*/ 2147483647 w 160"/>
              <a:gd name="T63" fmla="*/ 2147483647 h 121"/>
              <a:gd name="T64" fmla="*/ 2147483647 w 160"/>
              <a:gd name="T65" fmla="*/ 2147483647 h 121"/>
              <a:gd name="T66" fmla="*/ 0 w 160"/>
              <a:gd name="T67" fmla="*/ 2147483647 h 121"/>
              <a:gd name="T68" fmla="*/ 2147483647 w 160"/>
              <a:gd name="T69" fmla="*/ 2147483647 h 121"/>
              <a:gd name="T70" fmla="*/ 2147483647 w 160"/>
              <a:gd name="T71" fmla="*/ 2147483647 h 121"/>
              <a:gd name="T72" fmla="*/ 2147483647 w 160"/>
              <a:gd name="T73" fmla="*/ 2147483647 h 121"/>
              <a:gd name="T74" fmla="*/ 2147483647 w 160"/>
              <a:gd name="T75" fmla="*/ 2147483647 h 121"/>
              <a:gd name="T76" fmla="*/ 2147483647 w 160"/>
              <a:gd name="T77" fmla="*/ 2147483647 h 121"/>
              <a:gd name="T78" fmla="*/ 2147483647 w 160"/>
              <a:gd name="T79" fmla="*/ 2147483647 h 121"/>
              <a:gd name="T80" fmla="*/ 2147483647 w 160"/>
              <a:gd name="T81" fmla="*/ 2147483647 h 121"/>
              <a:gd name="T82" fmla="*/ 2147483647 w 160"/>
              <a:gd name="T83" fmla="*/ 2147483647 h 121"/>
              <a:gd name="T84" fmla="*/ 2147483647 w 160"/>
              <a:gd name="T85" fmla="*/ 2147483647 h 121"/>
              <a:gd name="T86" fmla="*/ 2147483647 w 160"/>
              <a:gd name="T87" fmla="*/ 2147483647 h 121"/>
              <a:gd name="T88" fmla="*/ 2147483647 w 160"/>
              <a:gd name="T89" fmla="*/ 2147483647 h 121"/>
              <a:gd name="T90" fmla="*/ 2147483647 w 160"/>
              <a:gd name="T91" fmla="*/ 2147483647 h 121"/>
              <a:gd name="T92" fmla="*/ 2147483647 w 160"/>
              <a:gd name="T93" fmla="*/ 2147483647 h 121"/>
              <a:gd name="T94" fmla="*/ 2147483647 w 160"/>
              <a:gd name="T95" fmla="*/ 2147483647 h 121"/>
              <a:gd name="T96" fmla="*/ 2147483647 w 160"/>
              <a:gd name="T97" fmla="*/ 2147483647 h 121"/>
              <a:gd name="T98" fmla="*/ 2147483647 w 160"/>
              <a:gd name="T99" fmla="*/ 2147483647 h 121"/>
              <a:gd name="T100" fmla="*/ 2147483647 w 160"/>
              <a:gd name="T101" fmla="*/ 2147483647 h 121"/>
              <a:gd name="T102" fmla="*/ 2147483647 w 160"/>
              <a:gd name="T103" fmla="*/ 2147483647 h 121"/>
              <a:gd name="T104" fmla="*/ 2147483647 w 160"/>
              <a:gd name="T105" fmla="*/ 2147483647 h 121"/>
              <a:gd name="T106" fmla="*/ 2147483647 w 160"/>
              <a:gd name="T107" fmla="*/ 2147483647 h 121"/>
              <a:gd name="T108" fmla="*/ 2147483647 w 160"/>
              <a:gd name="T109" fmla="*/ 2147483647 h 121"/>
              <a:gd name="T110" fmla="*/ 2147483647 w 160"/>
              <a:gd name="T111" fmla="*/ 2147483647 h 121"/>
              <a:gd name="T112" fmla="*/ 2147483647 w 160"/>
              <a:gd name="T113" fmla="*/ 2147483647 h 121"/>
              <a:gd name="T114" fmla="*/ 2147483647 w 160"/>
              <a:gd name="T115" fmla="*/ 2147483647 h 121"/>
              <a:gd name="T116" fmla="*/ 2147483647 w 160"/>
              <a:gd name="T117" fmla="*/ 2147483647 h 12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60"/>
              <a:gd name="T178" fmla="*/ 0 h 121"/>
              <a:gd name="T179" fmla="*/ 160 w 160"/>
              <a:gd name="T180" fmla="*/ 121 h 121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60" h="121">
                <a:moveTo>
                  <a:pt x="160" y="34"/>
                </a:moveTo>
                <a:lnTo>
                  <a:pt x="160" y="34"/>
                </a:lnTo>
                <a:lnTo>
                  <a:pt x="157" y="34"/>
                </a:lnTo>
                <a:lnTo>
                  <a:pt x="155" y="32"/>
                </a:lnTo>
                <a:lnTo>
                  <a:pt x="143" y="26"/>
                </a:lnTo>
                <a:lnTo>
                  <a:pt x="140" y="20"/>
                </a:lnTo>
                <a:lnTo>
                  <a:pt x="137" y="20"/>
                </a:lnTo>
                <a:lnTo>
                  <a:pt x="134" y="23"/>
                </a:lnTo>
                <a:lnTo>
                  <a:pt x="132" y="17"/>
                </a:lnTo>
                <a:lnTo>
                  <a:pt x="134" y="14"/>
                </a:lnTo>
                <a:lnTo>
                  <a:pt x="126" y="9"/>
                </a:lnTo>
                <a:lnTo>
                  <a:pt x="126" y="0"/>
                </a:lnTo>
                <a:lnTo>
                  <a:pt x="123" y="3"/>
                </a:lnTo>
                <a:lnTo>
                  <a:pt x="120" y="6"/>
                </a:lnTo>
                <a:lnTo>
                  <a:pt x="117" y="9"/>
                </a:lnTo>
                <a:lnTo>
                  <a:pt x="117" y="3"/>
                </a:lnTo>
                <a:lnTo>
                  <a:pt x="109" y="17"/>
                </a:lnTo>
                <a:lnTo>
                  <a:pt x="100" y="32"/>
                </a:lnTo>
                <a:lnTo>
                  <a:pt x="97" y="32"/>
                </a:lnTo>
                <a:lnTo>
                  <a:pt x="94" y="37"/>
                </a:lnTo>
                <a:lnTo>
                  <a:pt x="94" y="40"/>
                </a:lnTo>
                <a:lnTo>
                  <a:pt x="97" y="46"/>
                </a:lnTo>
                <a:lnTo>
                  <a:pt x="94" y="57"/>
                </a:lnTo>
                <a:lnTo>
                  <a:pt x="91" y="57"/>
                </a:lnTo>
                <a:lnTo>
                  <a:pt x="89" y="52"/>
                </a:lnTo>
                <a:lnTo>
                  <a:pt x="86" y="46"/>
                </a:lnTo>
                <a:lnTo>
                  <a:pt x="86" y="49"/>
                </a:lnTo>
                <a:lnTo>
                  <a:pt x="89" y="57"/>
                </a:lnTo>
                <a:lnTo>
                  <a:pt x="86" y="60"/>
                </a:lnTo>
                <a:lnTo>
                  <a:pt x="80" y="60"/>
                </a:lnTo>
                <a:lnTo>
                  <a:pt x="74" y="52"/>
                </a:lnTo>
                <a:lnTo>
                  <a:pt x="71" y="52"/>
                </a:lnTo>
                <a:lnTo>
                  <a:pt x="68" y="57"/>
                </a:lnTo>
                <a:lnTo>
                  <a:pt x="63" y="69"/>
                </a:lnTo>
                <a:lnTo>
                  <a:pt x="54" y="77"/>
                </a:lnTo>
                <a:lnTo>
                  <a:pt x="51" y="77"/>
                </a:lnTo>
                <a:lnTo>
                  <a:pt x="43" y="80"/>
                </a:lnTo>
                <a:lnTo>
                  <a:pt x="28" y="83"/>
                </a:lnTo>
                <a:lnTo>
                  <a:pt x="25" y="89"/>
                </a:lnTo>
                <a:lnTo>
                  <a:pt x="22" y="98"/>
                </a:lnTo>
                <a:lnTo>
                  <a:pt x="25" y="109"/>
                </a:lnTo>
                <a:lnTo>
                  <a:pt x="22" y="112"/>
                </a:lnTo>
                <a:lnTo>
                  <a:pt x="20" y="112"/>
                </a:lnTo>
                <a:lnTo>
                  <a:pt x="11" y="106"/>
                </a:lnTo>
                <a:lnTo>
                  <a:pt x="2" y="106"/>
                </a:lnTo>
                <a:lnTo>
                  <a:pt x="0" y="103"/>
                </a:lnTo>
                <a:lnTo>
                  <a:pt x="5" y="112"/>
                </a:lnTo>
                <a:lnTo>
                  <a:pt x="14" y="121"/>
                </a:lnTo>
                <a:lnTo>
                  <a:pt x="25" y="118"/>
                </a:lnTo>
                <a:lnTo>
                  <a:pt x="28" y="118"/>
                </a:lnTo>
                <a:lnTo>
                  <a:pt x="37" y="118"/>
                </a:lnTo>
                <a:lnTo>
                  <a:pt x="43" y="109"/>
                </a:lnTo>
                <a:lnTo>
                  <a:pt x="54" y="109"/>
                </a:lnTo>
                <a:lnTo>
                  <a:pt x="66" y="112"/>
                </a:lnTo>
                <a:lnTo>
                  <a:pt x="74" y="109"/>
                </a:lnTo>
                <a:lnTo>
                  <a:pt x="83" y="109"/>
                </a:lnTo>
                <a:lnTo>
                  <a:pt x="86" y="100"/>
                </a:lnTo>
                <a:lnTo>
                  <a:pt x="83" y="92"/>
                </a:lnTo>
                <a:lnTo>
                  <a:pt x="91" y="89"/>
                </a:lnTo>
                <a:lnTo>
                  <a:pt x="89" y="80"/>
                </a:lnTo>
                <a:lnTo>
                  <a:pt x="91" y="80"/>
                </a:lnTo>
                <a:lnTo>
                  <a:pt x="97" y="77"/>
                </a:lnTo>
                <a:lnTo>
                  <a:pt x="97" y="75"/>
                </a:lnTo>
                <a:lnTo>
                  <a:pt x="97" y="63"/>
                </a:lnTo>
                <a:lnTo>
                  <a:pt x="97" y="60"/>
                </a:lnTo>
                <a:lnTo>
                  <a:pt x="103" y="52"/>
                </a:lnTo>
                <a:lnTo>
                  <a:pt x="114" y="52"/>
                </a:lnTo>
                <a:lnTo>
                  <a:pt x="134" y="57"/>
                </a:lnTo>
                <a:lnTo>
                  <a:pt x="146" y="55"/>
                </a:lnTo>
                <a:lnTo>
                  <a:pt x="152" y="55"/>
                </a:lnTo>
                <a:lnTo>
                  <a:pt x="152" y="52"/>
                </a:lnTo>
                <a:lnTo>
                  <a:pt x="143" y="46"/>
                </a:lnTo>
                <a:lnTo>
                  <a:pt x="146" y="43"/>
                </a:lnTo>
                <a:lnTo>
                  <a:pt x="152" y="43"/>
                </a:lnTo>
                <a:lnTo>
                  <a:pt x="157" y="40"/>
                </a:lnTo>
                <a:lnTo>
                  <a:pt x="160" y="34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006" name="Freeform 110"/>
          <p:cNvSpPr>
            <a:spLocks/>
          </p:cNvSpPr>
          <p:nvPr/>
        </p:nvSpPr>
        <p:spPr bwMode="gray">
          <a:xfrm>
            <a:off x="9577726" y="3958608"/>
            <a:ext cx="12002" cy="13500"/>
          </a:xfrm>
          <a:custGeom>
            <a:avLst/>
            <a:gdLst>
              <a:gd name="T0" fmla="*/ 2147483647 w 6"/>
              <a:gd name="T1" fmla="*/ 0 h 9"/>
              <a:gd name="T2" fmla="*/ 2147483647 w 6"/>
              <a:gd name="T3" fmla="*/ 0 h 9"/>
              <a:gd name="T4" fmla="*/ 0 w 6"/>
              <a:gd name="T5" fmla="*/ 0 h 9"/>
              <a:gd name="T6" fmla="*/ 0 w 6"/>
              <a:gd name="T7" fmla="*/ 2147483647 h 9"/>
              <a:gd name="T8" fmla="*/ 0 w 6"/>
              <a:gd name="T9" fmla="*/ 2147483647 h 9"/>
              <a:gd name="T10" fmla="*/ 0 w 6"/>
              <a:gd name="T11" fmla="*/ 2147483647 h 9"/>
              <a:gd name="T12" fmla="*/ 2147483647 w 6"/>
              <a:gd name="T13" fmla="*/ 2147483647 h 9"/>
              <a:gd name="T14" fmla="*/ 2147483647 w 6"/>
              <a:gd name="T15" fmla="*/ 2147483647 h 9"/>
              <a:gd name="T16" fmla="*/ 2147483647 w 6"/>
              <a:gd name="T17" fmla="*/ 2147483647 h 9"/>
              <a:gd name="T18" fmla="*/ 2147483647 w 6"/>
              <a:gd name="T19" fmla="*/ 2147483647 h 9"/>
              <a:gd name="T20" fmla="*/ 2147483647 w 6"/>
              <a:gd name="T21" fmla="*/ 2147483647 h 9"/>
              <a:gd name="T22" fmla="*/ 2147483647 w 6"/>
              <a:gd name="T23" fmla="*/ 0 h 9"/>
              <a:gd name="T24" fmla="*/ 2147483647 w 6"/>
              <a:gd name="T25" fmla="*/ 0 h 9"/>
              <a:gd name="T26" fmla="*/ 2147483647 w 6"/>
              <a:gd name="T27" fmla="*/ 0 h 9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6"/>
              <a:gd name="T43" fmla="*/ 0 h 9"/>
              <a:gd name="T44" fmla="*/ 6 w 6"/>
              <a:gd name="T45" fmla="*/ 9 h 9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6" h="9">
                <a:moveTo>
                  <a:pt x="3" y="0"/>
                </a:move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lnTo>
                  <a:pt x="0" y="9"/>
                </a:lnTo>
                <a:lnTo>
                  <a:pt x="3" y="9"/>
                </a:lnTo>
                <a:lnTo>
                  <a:pt x="6" y="6"/>
                </a:lnTo>
                <a:lnTo>
                  <a:pt x="6" y="3"/>
                </a:lnTo>
                <a:lnTo>
                  <a:pt x="6" y="0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07" name="Freeform 111"/>
          <p:cNvSpPr>
            <a:spLocks/>
          </p:cNvSpPr>
          <p:nvPr/>
        </p:nvSpPr>
        <p:spPr bwMode="gray">
          <a:xfrm>
            <a:off x="9479708" y="3754602"/>
            <a:ext cx="224040" cy="222006"/>
          </a:xfrm>
          <a:custGeom>
            <a:avLst/>
            <a:gdLst>
              <a:gd name="T0" fmla="*/ 2147483647 w 111"/>
              <a:gd name="T1" fmla="*/ 2147483647 h 147"/>
              <a:gd name="T2" fmla="*/ 2147483647 w 111"/>
              <a:gd name="T3" fmla="*/ 2147483647 h 147"/>
              <a:gd name="T4" fmla="*/ 2147483647 w 111"/>
              <a:gd name="T5" fmla="*/ 2147483647 h 147"/>
              <a:gd name="T6" fmla="*/ 2147483647 w 111"/>
              <a:gd name="T7" fmla="*/ 2147483647 h 147"/>
              <a:gd name="T8" fmla="*/ 2147483647 w 111"/>
              <a:gd name="T9" fmla="*/ 2147483647 h 147"/>
              <a:gd name="T10" fmla="*/ 2147483647 w 111"/>
              <a:gd name="T11" fmla="*/ 2147483647 h 147"/>
              <a:gd name="T12" fmla="*/ 2147483647 w 111"/>
              <a:gd name="T13" fmla="*/ 2147483647 h 147"/>
              <a:gd name="T14" fmla="*/ 2147483647 w 111"/>
              <a:gd name="T15" fmla="*/ 2147483647 h 147"/>
              <a:gd name="T16" fmla="*/ 2147483647 w 111"/>
              <a:gd name="T17" fmla="*/ 2147483647 h 147"/>
              <a:gd name="T18" fmla="*/ 2147483647 w 111"/>
              <a:gd name="T19" fmla="*/ 2147483647 h 147"/>
              <a:gd name="T20" fmla="*/ 2147483647 w 111"/>
              <a:gd name="T21" fmla="*/ 2147483647 h 147"/>
              <a:gd name="T22" fmla="*/ 2147483647 w 111"/>
              <a:gd name="T23" fmla="*/ 2147483647 h 147"/>
              <a:gd name="T24" fmla="*/ 2147483647 w 111"/>
              <a:gd name="T25" fmla="*/ 2147483647 h 147"/>
              <a:gd name="T26" fmla="*/ 2147483647 w 111"/>
              <a:gd name="T27" fmla="*/ 2147483647 h 147"/>
              <a:gd name="T28" fmla="*/ 2147483647 w 111"/>
              <a:gd name="T29" fmla="*/ 2147483647 h 147"/>
              <a:gd name="T30" fmla="*/ 2147483647 w 111"/>
              <a:gd name="T31" fmla="*/ 2147483647 h 147"/>
              <a:gd name="T32" fmla="*/ 0 w 111"/>
              <a:gd name="T33" fmla="*/ 2147483647 h 147"/>
              <a:gd name="T34" fmla="*/ 2147483647 w 111"/>
              <a:gd name="T35" fmla="*/ 2147483647 h 147"/>
              <a:gd name="T36" fmla="*/ 2147483647 w 111"/>
              <a:gd name="T37" fmla="*/ 2147483647 h 147"/>
              <a:gd name="T38" fmla="*/ 2147483647 w 111"/>
              <a:gd name="T39" fmla="*/ 2147483647 h 147"/>
              <a:gd name="T40" fmla="*/ 2147483647 w 111"/>
              <a:gd name="T41" fmla="*/ 2147483647 h 147"/>
              <a:gd name="T42" fmla="*/ 2147483647 w 111"/>
              <a:gd name="T43" fmla="*/ 2147483647 h 147"/>
              <a:gd name="T44" fmla="*/ 2147483647 w 111"/>
              <a:gd name="T45" fmla="*/ 2147483647 h 147"/>
              <a:gd name="T46" fmla="*/ 2147483647 w 111"/>
              <a:gd name="T47" fmla="*/ 2147483647 h 147"/>
              <a:gd name="T48" fmla="*/ 2147483647 w 111"/>
              <a:gd name="T49" fmla="*/ 2147483647 h 147"/>
              <a:gd name="T50" fmla="*/ 2147483647 w 111"/>
              <a:gd name="T51" fmla="*/ 2147483647 h 147"/>
              <a:gd name="T52" fmla="*/ 2147483647 w 111"/>
              <a:gd name="T53" fmla="*/ 2147483647 h 147"/>
              <a:gd name="T54" fmla="*/ 2147483647 w 111"/>
              <a:gd name="T55" fmla="*/ 2147483647 h 147"/>
              <a:gd name="T56" fmla="*/ 2147483647 w 111"/>
              <a:gd name="T57" fmla="*/ 2147483647 h 147"/>
              <a:gd name="T58" fmla="*/ 2147483647 w 111"/>
              <a:gd name="T59" fmla="*/ 2147483647 h 147"/>
              <a:gd name="T60" fmla="*/ 2147483647 w 111"/>
              <a:gd name="T61" fmla="*/ 2147483647 h 147"/>
              <a:gd name="T62" fmla="*/ 2147483647 w 111"/>
              <a:gd name="T63" fmla="*/ 2147483647 h 147"/>
              <a:gd name="T64" fmla="*/ 2147483647 w 111"/>
              <a:gd name="T65" fmla="*/ 2147483647 h 147"/>
              <a:gd name="T66" fmla="*/ 2147483647 w 111"/>
              <a:gd name="T67" fmla="*/ 2147483647 h 147"/>
              <a:gd name="T68" fmla="*/ 2147483647 w 111"/>
              <a:gd name="T69" fmla="*/ 2147483647 h 147"/>
              <a:gd name="T70" fmla="*/ 2147483647 w 111"/>
              <a:gd name="T71" fmla="*/ 2147483647 h 147"/>
              <a:gd name="T72" fmla="*/ 2147483647 w 111"/>
              <a:gd name="T73" fmla="*/ 2147483647 h 147"/>
              <a:gd name="T74" fmla="*/ 2147483647 w 111"/>
              <a:gd name="T75" fmla="*/ 2147483647 h 147"/>
              <a:gd name="T76" fmla="*/ 2147483647 w 111"/>
              <a:gd name="T77" fmla="*/ 2147483647 h 147"/>
              <a:gd name="T78" fmla="*/ 2147483647 w 111"/>
              <a:gd name="T79" fmla="*/ 2147483647 h 147"/>
              <a:gd name="T80" fmla="*/ 2147483647 w 111"/>
              <a:gd name="T81" fmla="*/ 2147483647 h 147"/>
              <a:gd name="T82" fmla="*/ 2147483647 w 111"/>
              <a:gd name="T83" fmla="*/ 2147483647 h 147"/>
              <a:gd name="T84" fmla="*/ 2147483647 w 111"/>
              <a:gd name="T85" fmla="*/ 2147483647 h 147"/>
              <a:gd name="T86" fmla="*/ 2147483647 w 111"/>
              <a:gd name="T87" fmla="*/ 2147483647 h 147"/>
              <a:gd name="T88" fmla="*/ 2147483647 w 111"/>
              <a:gd name="T89" fmla="*/ 2147483647 h 147"/>
              <a:gd name="T90" fmla="*/ 2147483647 w 111"/>
              <a:gd name="T91" fmla="*/ 2147483647 h 147"/>
              <a:gd name="T92" fmla="*/ 2147483647 w 111"/>
              <a:gd name="T93" fmla="*/ 2147483647 h 147"/>
              <a:gd name="T94" fmla="*/ 2147483647 w 111"/>
              <a:gd name="T95" fmla="*/ 2147483647 h 147"/>
              <a:gd name="T96" fmla="*/ 2147483647 w 111"/>
              <a:gd name="T97" fmla="*/ 2147483647 h 147"/>
              <a:gd name="T98" fmla="*/ 2147483647 w 111"/>
              <a:gd name="T99" fmla="*/ 2147483647 h 147"/>
              <a:gd name="T100" fmla="*/ 2147483647 w 111"/>
              <a:gd name="T101" fmla="*/ 2147483647 h 147"/>
              <a:gd name="T102" fmla="*/ 2147483647 w 111"/>
              <a:gd name="T103" fmla="*/ 2147483647 h 147"/>
              <a:gd name="T104" fmla="*/ 2147483647 w 111"/>
              <a:gd name="T105" fmla="*/ 2147483647 h 147"/>
              <a:gd name="T106" fmla="*/ 2147483647 w 111"/>
              <a:gd name="T107" fmla="*/ 2147483647 h 147"/>
              <a:gd name="T108" fmla="*/ 2147483647 w 111"/>
              <a:gd name="T109" fmla="*/ 2147483647 h 147"/>
              <a:gd name="T110" fmla="*/ 2147483647 w 111"/>
              <a:gd name="T111" fmla="*/ 2147483647 h 147"/>
              <a:gd name="T112" fmla="*/ 2147483647 w 111"/>
              <a:gd name="T113" fmla="*/ 2147483647 h 147"/>
              <a:gd name="T114" fmla="*/ 2147483647 w 111"/>
              <a:gd name="T115" fmla="*/ 2147483647 h 147"/>
              <a:gd name="T116" fmla="*/ 2147483647 w 111"/>
              <a:gd name="T117" fmla="*/ 2147483647 h 147"/>
              <a:gd name="T118" fmla="*/ 2147483647 w 111"/>
              <a:gd name="T119" fmla="*/ 2147483647 h 147"/>
              <a:gd name="T120" fmla="*/ 2147483647 w 111"/>
              <a:gd name="T121" fmla="*/ 2147483647 h 147"/>
              <a:gd name="T122" fmla="*/ 2147483647 w 111"/>
              <a:gd name="T123" fmla="*/ 2147483647 h 147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11"/>
              <a:gd name="T187" fmla="*/ 0 h 147"/>
              <a:gd name="T188" fmla="*/ 111 w 111"/>
              <a:gd name="T189" fmla="*/ 147 h 147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11" h="147">
                <a:moveTo>
                  <a:pt x="97" y="26"/>
                </a:moveTo>
                <a:lnTo>
                  <a:pt x="97" y="26"/>
                </a:lnTo>
                <a:lnTo>
                  <a:pt x="100" y="23"/>
                </a:lnTo>
                <a:lnTo>
                  <a:pt x="106" y="18"/>
                </a:lnTo>
                <a:lnTo>
                  <a:pt x="109" y="12"/>
                </a:lnTo>
                <a:lnTo>
                  <a:pt x="109" y="9"/>
                </a:lnTo>
                <a:lnTo>
                  <a:pt x="111" y="3"/>
                </a:lnTo>
                <a:lnTo>
                  <a:pt x="109" y="0"/>
                </a:lnTo>
                <a:lnTo>
                  <a:pt x="106" y="3"/>
                </a:lnTo>
                <a:lnTo>
                  <a:pt x="100" y="9"/>
                </a:lnTo>
                <a:lnTo>
                  <a:pt x="97" y="15"/>
                </a:lnTo>
                <a:lnTo>
                  <a:pt x="91" y="18"/>
                </a:lnTo>
                <a:lnTo>
                  <a:pt x="80" y="18"/>
                </a:lnTo>
                <a:lnTo>
                  <a:pt x="71" y="18"/>
                </a:lnTo>
                <a:lnTo>
                  <a:pt x="66" y="15"/>
                </a:lnTo>
                <a:lnTo>
                  <a:pt x="60" y="15"/>
                </a:lnTo>
                <a:lnTo>
                  <a:pt x="48" y="15"/>
                </a:lnTo>
                <a:lnTo>
                  <a:pt x="45" y="15"/>
                </a:lnTo>
                <a:lnTo>
                  <a:pt x="43" y="12"/>
                </a:lnTo>
                <a:lnTo>
                  <a:pt x="34" y="9"/>
                </a:lnTo>
                <a:lnTo>
                  <a:pt x="31" y="20"/>
                </a:lnTo>
                <a:lnTo>
                  <a:pt x="25" y="15"/>
                </a:lnTo>
                <a:lnTo>
                  <a:pt x="20" y="26"/>
                </a:lnTo>
                <a:lnTo>
                  <a:pt x="17" y="41"/>
                </a:lnTo>
                <a:lnTo>
                  <a:pt x="17" y="49"/>
                </a:lnTo>
                <a:lnTo>
                  <a:pt x="11" y="58"/>
                </a:lnTo>
                <a:lnTo>
                  <a:pt x="8" y="63"/>
                </a:lnTo>
                <a:lnTo>
                  <a:pt x="8" y="72"/>
                </a:lnTo>
                <a:lnTo>
                  <a:pt x="8" y="75"/>
                </a:lnTo>
                <a:lnTo>
                  <a:pt x="8" y="78"/>
                </a:lnTo>
                <a:lnTo>
                  <a:pt x="5" y="84"/>
                </a:lnTo>
                <a:lnTo>
                  <a:pt x="0" y="89"/>
                </a:lnTo>
                <a:lnTo>
                  <a:pt x="0" y="104"/>
                </a:lnTo>
                <a:lnTo>
                  <a:pt x="2" y="104"/>
                </a:lnTo>
                <a:lnTo>
                  <a:pt x="8" y="104"/>
                </a:lnTo>
                <a:lnTo>
                  <a:pt x="11" y="107"/>
                </a:lnTo>
                <a:lnTo>
                  <a:pt x="11" y="112"/>
                </a:lnTo>
                <a:lnTo>
                  <a:pt x="14" y="118"/>
                </a:lnTo>
                <a:lnTo>
                  <a:pt x="14" y="124"/>
                </a:lnTo>
                <a:lnTo>
                  <a:pt x="11" y="127"/>
                </a:lnTo>
                <a:lnTo>
                  <a:pt x="5" y="132"/>
                </a:lnTo>
                <a:lnTo>
                  <a:pt x="5" y="138"/>
                </a:lnTo>
                <a:lnTo>
                  <a:pt x="8" y="141"/>
                </a:lnTo>
                <a:lnTo>
                  <a:pt x="11" y="147"/>
                </a:lnTo>
                <a:lnTo>
                  <a:pt x="14" y="147"/>
                </a:lnTo>
                <a:lnTo>
                  <a:pt x="17" y="147"/>
                </a:lnTo>
                <a:lnTo>
                  <a:pt x="20" y="147"/>
                </a:lnTo>
                <a:lnTo>
                  <a:pt x="25" y="144"/>
                </a:lnTo>
                <a:lnTo>
                  <a:pt x="25" y="141"/>
                </a:lnTo>
                <a:lnTo>
                  <a:pt x="23" y="138"/>
                </a:lnTo>
                <a:lnTo>
                  <a:pt x="23" y="135"/>
                </a:lnTo>
                <a:lnTo>
                  <a:pt x="23" y="132"/>
                </a:lnTo>
                <a:lnTo>
                  <a:pt x="25" y="130"/>
                </a:lnTo>
                <a:lnTo>
                  <a:pt x="28" y="127"/>
                </a:lnTo>
                <a:lnTo>
                  <a:pt x="25" y="121"/>
                </a:lnTo>
                <a:lnTo>
                  <a:pt x="25" y="112"/>
                </a:lnTo>
                <a:lnTo>
                  <a:pt x="25" y="107"/>
                </a:lnTo>
                <a:lnTo>
                  <a:pt x="28" y="104"/>
                </a:lnTo>
                <a:lnTo>
                  <a:pt x="28" y="98"/>
                </a:lnTo>
                <a:lnTo>
                  <a:pt x="23" y="98"/>
                </a:lnTo>
                <a:lnTo>
                  <a:pt x="23" y="95"/>
                </a:lnTo>
                <a:lnTo>
                  <a:pt x="25" y="89"/>
                </a:lnTo>
                <a:lnTo>
                  <a:pt x="31" y="89"/>
                </a:lnTo>
                <a:lnTo>
                  <a:pt x="34" y="86"/>
                </a:lnTo>
                <a:lnTo>
                  <a:pt x="37" y="89"/>
                </a:lnTo>
                <a:lnTo>
                  <a:pt x="40" y="89"/>
                </a:lnTo>
                <a:lnTo>
                  <a:pt x="40" y="95"/>
                </a:lnTo>
                <a:lnTo>
                  <a:pt x="37" y="101"/>
                </a:lnTo>
                <a:lnTo>
                  <a:pt x="37" y="104"/>
                </a:lnTo>
                <a:lnTo>
                  <a:pt x="40" y="109"/>
                </a:lnTo>
                <a:lnTo>
                  <a:pt x="45" y="112"/>
                </a:lnTo>
                <a:lnTo>
                  <a:pt x="48" y="115"/>
                </a:lnTo>
                <a:lnTo>
                  <a:pt x="45" y="124"/>
                </a:lnTo>
                <a:lnTo>
                  <a:pt x="43" y="127"/>
                </a:lnTo>
                <a:lnTo>
                  <a:pt x="45" y="130"/>
                </a:lnTo>
                <a:lnTo>
                  <a:pt x="51" y="130"/>
                </a:lnTo>
                <a:lnTo>
                  <a:pt x="54" y="127"/>
                </a:lnTo>
                <a:lnTo>
                  <a:pt x="63" y="124"/>
                </a:lnTo>
                <a:lnTo>
                  <a:pt x="66" y="121"/>
                </a:lnTo>
                <a:lnTo>
                  <a:pt x="68" y="115"/>
                </a:lnTo>
                <a:lnTo>
                  <a:pt x="63" y="112"/>
                </a:lnTo>
                <a:lnTo>
                  <a:pt x="60" y="109"/>
                </a:lnTo>
                <a:lnTo>
                  <a:pt x="57" y="107"/>
                </a:lnTo>
                <a:lnTo>
                  <a:pt x="57" y="104"/>
                </a:lnTo>
                <a:lnTo>
                  <a:pt x="60" y="101"/>
                </a:lnTo>
                <a:lnTo>
                  <a:pt x="63" y="95"/>
                </a:lnTo>
                <a:lnTo>
                  <a:pt x="54" y="84"/>
                </a:lnTo>
                <a:lnTo>
                  <a:pt x="48" y="78"/>
                </a:lnTo>
                <a:lnTo>
                  <a:pt x="51" y="72"/>
                </a:lnTo>
                <a:lnTo>
                  <a:pt x="54" y="69"/>
                </a:lnTo>
                <a:lnTo>
                  <a:pt x="60" y="66"/>
                </a:lnTo>
                <a:lnTo>
                  <a:pt x="66" y="61"/>
                </a:lnTo>
                <a:lnTo>
                  <a:pt x="68" y="55"/>
                </a:lnTo>
                <a:lnTo>
                  <a:pt x="74" y="55"/>
                </a:lnTo>
                <a:lnTo>
                  <a:pt x="80" y="55"/>
                </a:lnTo>
                <a:lnTo>
                  <a:pt x="83" y="52"/>
                </a:lnTo>
                <a:lnTo>
                  <a:pt x="80" y="46"/>
                </a:lnTo>
                <a:lnTo>
                  <a:pt x="74" y="46"/>
                </a:lnTo>
                <a:lnTo>
                  <a:pt x="71" y="46"/>
                </a:lnTo>
                <a:lnTo>
                  <a:pt x="68" y="49"/>
                </a:lnTo>
                <a:lnTo>
                  <a:pt x="66" y="49"/>
                </a:lnTo>
                <a:lnTo>
                  <a:pt x="60" y="49"/>
                </a:lnTo>
                <a:lnTo>
                  <a:pt x="54" y="52"/>
                </a:lnTo>
                <a:lnTo>
                  <a:pt x="51" y="52"/>
                </a:lnTo>
                <a:lnTo>
                  <a:pt x="48" y="52"/>
                </a:lnTo>
                <a:lnTo>
                  <a:pt x="45" y="58"/>
                </a:lnTo>
                <a:lnTo>
                  <a:pt x="40" y="61"/>
                </a:lnTo>
                <a:lnTo>
                  <a:pt x="37" y="63"/>
                </a:lnTo>
                <a:lnTo>
                  <a:pt x="31" y="61"/>
                </a:lnTo>
                <a:lnTo>
                  <a:pt x="28" y="55"/>
                </a:lnTo>
                <a:lnTo>
                  <a:pt x="23" y="49"/>
                </a:lnTo>
                <a:lnTo>
                  <a:pt x="23" y="38"/>
                </a:lnTo>
                <a:lnTo>
                  <a:pt x="23" y="32"/>
                </a:lnTo>
                <a:lnTo>
                  <a:pt x="25" y="29"/>
                </a:lnTo>
                <a:lnTo>
                  <a:pt x="34" y="26"/>
                </a:lnTo>
                <a:lnTo>
                  <a:pt x="43" y="26"/>
                </a:lnTo>
                <a:lnTo>
                  <a:pt x="54" y="26"/>
                </a:lnTo>
                <a:lnTo>
                  <a:pt x="66" y="26"/>
                </a:lnTo>
                <a:lnTo>
                  <a:pt x="74" y="26"/>
                </a:lnTo>
                <a:lnTo>
                  <a:pt x="80" y="29"/>
                </a:lnTo>
                <a:lnTo>
                  <a:pt x="86" y="29"/>
                </a:lnTo>
                <a:lnTo>
                  <a:pt x="91" y="29"/>
                </a:lnTo>
                <a:lnTo>
                  <a:pt x="97" y="2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08" name="Freeform 112"/>
          <p:cNvSpPr>
            <a:spLocks/>
          </p:cNvSpPr>
          <p:nvPr/>
        </p:nvSpPr>
        <p:spPr bwMode="gray">
          <a:xfrm>
            <a:off x="9937790" y="2779575"/>
            <a:ext cx="12002" cy="4500"/>
          </a:xfrm>
          <a:custGeom>
            <a:avLst/>
            <a:gdLst>
              <a:gd name="T0" fmla="*/ 2147483647 w 6"/>
              <a:gd name="T1" fmla="*/ 2147483647 h 3"/>
              <a:gd name="T2" fmla="*/ 2147483647 w 6"/>
              <a:gd name="T3" fmla="*/ 0 h 3"/>
              <a:gd name="T4" fmla="*/ 0 w 6"/>
              <a:gd name="T5" fmla="*/ 0 h 3"/>
              <a:gd name="T6" fmla="*/ 2147483647 w 6"/>
              <a:gd name="T7" fmla="*/ 2147483647 h 3"/>
              <a:gd name="T8" fmla="*/ 2147483647 w 6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6" y="3"/>
                </a:moveTo>
                <a:lnTo>
                  <a:pt x="3" y="0"/>
                </a:lnTo>
                <a:lnTo>
                  <a:pt x="0" y="0"/>
                </a:lnTo>
                <a:lnTo>
                  <a:pt x="3" y="3"/>
                </a:lnTo>
                <a:lnTo>
                  <a:pt x="6" y="3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09" name="Freeform 113"/>
          <p:cNvSpPr>
            <a:spLocks/>
          </p:cNvSpPr>
          <p:nvPr/>
        </p:nvSpPr>
        <p:spPr bwMode="gray">
          <a:xfrm>
            <a:off x="9793764" y="2784075"/>
            <a:ext cx="10002" cy="18000"/>
          </a:xfrm>
          <a:custGeom>
            <a:avLst/>
            <a:gdLst>
              <a:gd name="T0" fmla="*/ 0 w 5"/>
              <a:gd name="T1" fmla="*/ 2147483647 h 12"/>
              <a:gd name="T2" fmla="*/ 0 w 5"/>
              <a:gd name="T3" fmla="*/ 2147483647 h 12"/>
              <a:gd name="T4" fmla="*/ 2147483647 w 5"/>
              <a:gd name="T5" fmla="*/ 2147483647 h 12"/>
              <a:gd name="T6" fmla="*/ 2147483647 w 5"/>
              <a:gd name="T7" fmla="*/ 2147483647 h 12"/>
              <a:gd name="T8" fmla="*/ 2147483647 w 5"/>
              <a:gd name="T9" fmla="*/ 2147483647 h 12"/>
              <a:gd name="T10" fmla="*/ 2147483647 w 5"/>
              <a:gd name="T11" fmla="*/ 0 h 12"/>
              <a:gd name="T12" fmla="*/ 0 w 5"/>
              <a:gd name="T13" fmla="*/ 2147483647 h 1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"/>
              <a:gd name="T22" fmla="*/ 0 h 12"/>
              <a:gd name="T23" fmla="*/ 5 w 5"/>
              <a:gd name="T24" fmla="*/ 12 h 1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" h="12">
                <a:moveTo>
                  <a:pt x="0" y="6"/>
                </a:moveTo>
                <a:lnTo>
                  <a:pt x="0" y="9"/>
                </a:lnTo>
                <a:lnTo>
                  <a:pt x="2" y="12"/>
                </a:lnTo>
                <a:lnTo>
                  <a:pt x="5" y="9"/>
                </a:lnTo>
                <a:lnTo>
                  <a:pt x="5" y="6"/>
                </a:lnTo>
                <a:lnTo>
                  <a:pt x="5" y="0"/>
                </a:lnTo>
                <a:lnTo>
                  <a:pt x="0" y="6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28" name="Freeform 114"/>
          <p:cNvSpPr>
            <a:spLocks/>
          </p:cNvSpPr>
          <p:nvPr/>
        </p:nvSpPr>
        <p:spPr bwMode="gray">
          <a:xfrm>
            <a:off x="7281312" y="1714547"/>
            <a:ext cx="10002" cy="4500"/>
          </a:xfrm>
          <a:custGeom>
            <a:avLst/>
            <a:gdLst>
              <a:gd name="T0" fmla="*/ 2147483647 w 5"/>
              <a:gd name="T1" fmla="*/ 0 h 3"/>
              <a:gd name="T2" fmla="*/ 0 w 5"/>
              <a:gd name="T3" fmla="*/ 0 h 3"/>
              <a:gd name="T4" fmla="*/ 2147483647 w 5"/>
              <a:gd name="T5" fmla="*/ 2147483647 h 3"/>
              <a:gd name="T6" fmla="*/ 2147483647 w 5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5"/>
              <a:gd name="T13" fmla="*/ 0 h 3"/>
              <a:gd name="T14" fmla="*/ 5 w 5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" h="3">
                <a:moveTo>
                  <a:pt x="5" y="0"/>
                </a:moveTo>
                <a:lnTo>
                  <a:pt x="0" y="0"/>
                </a:lnTo>
                <a:lnTo>
                  <a:pt x="5" y="3"/>
                </a:lnTo>
                <a:lnTo>
                  <a:pt x="5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29" name="Freeform 115"/>
          <p:cNvSpPr>
            <a:spLocks/>
          </p:cNvSpPr>
          <p:nvPr/>
        </p:nvSpPr>
        <p:spPr bwMode="gray">
          <a:xfrm>
            <a:off x="7241304" y="1723548"/>
            <a:ext cx="16003" cy="3000"/>
          </a:xfrm>
          <a:custGeom>
            <a:avLst/>
            <a:gdLst>
              <a:gd name="T0" fmla="*/ 2147483647 w 8"/>
              <a:gd name="T1" fmla="*/ 2147483647 h 2"/>
              <a:gd name="T2" fmla="*/ 2147483647 w 8"/>
              <a:gd name="T3" fmla="*/ 2147483647 h 2"/>
              <a:gd name="T4" fmla="*/ 2147483647 w 8"/>
              <a:gd name="T5" fmla="*/ 0 h 2"/>
              <a:gd name="T6" fmla="*/ 2147483647 w 8"/>
              <a:gd name="T7" fmla="*/ 0 h 2"/>
              <a:gd name="T8" fmla="*/ 2147483647 w 8"/>
              <a:gd name="T9" fmla="*/ 0 h 2"/>
              <a:gd name="T10" fmla="*/ 0 w 8"/>
              <a:gd name="T11" fmla="*/ 0 h 2"/>
              <a:gd name="T12" fmla="*/ 0 w 8"/>
              <a:gd name="T13" fmla="*/ 2147483647 h 2"/>
              <a:gd name="T14" fmla="*/ 2147483647 w 8"/>
              <a:gd name="T15" fmla="*/ 2147483647 h 2"/>
              <a:gd name="T16" fmla="*/ 2147483647 w 8"/>
              <a:gd name="T17" fmla="*/ 2147483647 h 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8"/>
              <a:gd name="T28" fmla="*/ 0 h 2"/>
              <a:gd name="T29" fmla="*/ 8 w 8"/>
              <a:gd name="T30" fmla="*/ 2 h 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8" h="2">
                <a:moveTo>
                  <a:pt x="8" y="2"/>
                </a:moveTo>
                <a:lnTo>
                  <a:pt x="8" y="2"/>
                </a:lnTo>
                <a:lnTo>
                  <a:pt x="8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5" y="2"/>
                </a:lnTo>
                <a:lnTo>
                  <a:pt x="8" y="2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30" name="Freeform 116"/>
          <p:cNvSpPr>
            <a:spLocks/>
          </p:cNvSpPr>
          <p:nvPr/>
        </p:nvSpPr>
        <p:spPr bwMode="gray">
          <a:xfrm>
            <a:off x="7285313" y="1719046"/>
            <a:ext cx="14003" cy="7501"/>
          </a:xfrm>
          <a:custGeom>
            <a:avLst/>
            <a:gdLst>
              <a:gd name="T0" fmla="*/ 0 w 6"/>
              <a:gd name="T1" fmla="*/ 2147483647 h 5"/>
              <a:gd name="T2" fmla="*/ 2147483647 w 6"/>
              <a:gd name="T3" fmla="*/ 2147483647 h 5"/>
              <a:gd name="T4" fmla="*/ 2147483647 w 6"/>
              <a:gd name="T5" fmla="*/ 0 h 5"/>
              <a:gd name="T6" fmla="*/ 0 w 6"/>
              <a:gd name="T7" fmla="*/ 2147483647 h 5"/>
              <a:gd name="T8" fmla="*/ 0 w 6"/>
              <a:gd name="T9" fmla="*/ 2147483647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5"/>
              <a:gd name="T17" fmla="*/ 6 w 6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5">
                <a:moveTo>
                  <a:pt x="0" y="5"/>
                </a:moveTo>
                <a:lnTo>
                  <a:pt x="6" y="3"/>
                </a:lnTo>
                <a:lnTo>
                  <a:pt x="6" y="0"/>
                </a:lnTo>
                <a:lnTo>
                  <a:pt x="0" y="3"/>
                </a:lnTo>
                <a:lnTo>
                  <a:pt x="0" y="5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31" name="Freeform 117"/>
          <p:cNvSpPr>
            <a:spLocks/>
          </p:cNvSpPr>
          <p:nvPr/>
        </p:nvSpPr>
        <p:spPr bwMode="gray">
          <a:xfrm>
            <a:off x="7263309" y="1710046"/>
            <a:ext cx="12002" cy="4501"/>
          </a:xfrm>
          <a:custGeom>
            <a:avLst/>
            <a:gdLst>
              <a:gd name="T0" fmla="*/ 2147483647 w 6"/>
              <a:gd name="T1" fmla="*/ 2147483647 h 3"/>
              <a:gd name="T2" fmla="*/ 2147483647 w 6"/>
              <a:gd name="T3" fmla="*/ 0 h 3"/>
              <a:gd name="T4" fmla="*/ 0 w 6"/>
              <a:gd name="T5" fmla="*/ 0 h 3"/>
              <a:gd name="T6" fmla="*/ 0 w 6"/>
              <a:gd name="T7" fmla="*/ 2147483647 h 3"/>
              <a:gd name="T8" fmla="*/ 2147483647 w 6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3" y="3"/>
                </a:moveTo>
                <a:lnTo>
                  <a:pt x="6" y="0"/>
                </a:lnTo>
                <a:lnTo>
                  <a:pt x="0" y="0"/>
                </a:lnTo>
                <a:lnTo>
                  <a:pt x="0" y="3"/>
                </a:lnTo>
                <a:lnTo>
                  <a:pt x="3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32" name="Freeform 118"/>
          <p:cNvSpPr>
            <a:spLocks/>
          </p:cNvSpPr>
          <p:nvPr/>
        </p:nvSpPr>
        <p:spPr bwMode="gray">
          <a:xfrm>
            <a:off x="7329320" y="1684546"/>
            <a:ext cx="10002" cy="4500"/>
          </a:xfrm>
          <a:custGeom>
            <a:avLst/>
            <a:gdLst>
              <a:gd name="T0" fmla="*/ 0 w 5"/>
              <a:gd name="T1" fmla="*/ 2147483647 h 3"/>
              <a:gd name="T2" fmla="*/ 2147483647 w 5"/>
              <a:gd name="T3" fmla="*/ 2147483647 h 3"/>
              <a:gd name="T4" fmla="*/ 2147483647 w 5"/>
              <a:gd name="T5" fmla="*/ 2147483647 h 3"/>
              <a:gd name="T6" fmla="*/ 0 w 5"/>
              <a:gd name="T7" fmla="*/ 0 h 3"/>
              <a:gd name="T8" fmla="*/ 0 w 5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3"/>
              <a:gd name="T17" fmla="*/ 5 w 5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3">
                <a:moveTo>
                  <a:pt x="0" y="3"/>
                </a:moveTo>
                <a:lnTo>
                  <a:pt x="5" y="3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33" name="Freeform 119"/>
          <p:cNvSpPr>
            <a:spLocks/>
          </p:cNvSpPr>
          <p:nvPr/>
        </p:nvSpPr>
        <p:spPr bwMode="gray">
          <a:xfrm>
            <a:off x="7357325" y="1723547"/>
            <a:ext cx="18004" cy="7500"/>
          </a:xfrm>
          <a:custGeom>
            <a:avLst/>
            <a:gdLst>
              <a:gd name="T0" fmla="*/ 0 w 9"/>
              <a:gd name="T1" fmla="*/ 2147483647 h 5"/>
              <a:gd name="T2" fmla="*/ 2147483647 w 9"/>
              <a:gd name="T3" fmla="*/ 2147483647 h 5"/>
              <a:gd name="T4" fmla="*/ 2147483647 w 9"/>
              <a:gd name="T5" fmla="*/ 2147483647 h 5"/>
              <a:gd name="T6" fmla="*/ 2147483647 w 9"/>
              <a:gd name="T7" fmla="*/ 0 h 5"/>
              <a:gd name="T8" fmla="*/ 0 w 9"/>
              <a:gd name="T9" fmla="*/ 2147483647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5"/>
              <a:gd name="T17" fmla="*/ 9 w 9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5">
                <a:moveTo>
                  <a:pt x="0" y="5"/>
                </a:moveTo>
                <a:lnTo>
                  <a:pt x="9" y="5"/>
                </a:lnTo>
                <a:lnTo>
                  <a:pt x="9" y="2"/>
                </a:lnTo>
                <a:lnTo>
                  <a:pt x="3" y="0"/>
                </a:lnTo>
                <a:lnTo>
                  <a:pt x="0" y="5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016" name="Freeform 120"/>
          <p:cNvSpPr>
            <a:spLocks/>
          </p:cNvSpPr>
          <p:nvPr/>
        </p:nvSpPr>
        <p:spPr bwMode="gray">
          <a:xfrm>
            <a:off x="6665200" y="1810550"/>
            <a:ext cx="48009" cy="21001"/>
          </a:xfrm>
          <a:custGeom>
            <a:avLst/>
            <a:gdLst>
              <a:gd name="T0" fmla="*/ 2147483647 w 23"/>
              <a:gd name="T1" fmla="*/ 2147483647 h 14"/>
              <a:gd name="T2" fmla="*/ 2147483647 w 23"/>
              <a:gd name="T3" fmla="*/ 2147483647 h 14"/>
              <a:gd name="T4" fmla="*/ 2147483647 w 23"/>
              <a:gd name="T5" fmla="*/ 2147483647 h 14"/>
              <a:gd name="T6" fmla="*/ 2147483647 w 23"/>
              <a:gd name="T7" fmla="*/ 2147483647 h 14"/>
              <a:gd name="T8" fmla="*/ 2147483647 w 23"/>
              <a:gd name="T9" fmla="*/ 2147483647 h 14"/>
              <a:gd name="T10" fmla="*/ 2147483647 w 23"/>
              <a:gd name="T11" fmla="*/ 2147483647 h 14"/>
              <a:gd name="T12" fmla="*/ 2147483647 w 23"/>
              <a:gd name="T13" fmla="*/ 0 h 14"/>
              <a:gd name="T14" fmla="*/ 0 w 23"/>
              <a:gd name="T15" fmla="*/ 2147483647 h 14"/>
              <a:gd name="T16" fmla="*/ 0 w 23"/>
              <a:gd name="T17" fmla="*/ 2147483647 h 14"/>
              <a:gd name="T18" fmla="*/ 0 w 23"/>
              <a:gd name="T19" fmla="*/ 2147483647 h 14"/>
              <a:gd name="T20" fmla="*/ 0 w 23"/>
              <a:gd name="T21" fmla="*/ 2147483647 h 14"/>
              <a:gd name="T22" fmla="*/ 2147483647 w 23"/>
              <a:gd name="T23" fmla="*/ 2147483647 h 14"/>
              <a:gd name="T24" fmla="*/ 2147483647 w 23"/>
              <a:gd name="T25" fmla="*/ 2147483647 h 14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3"/>
              <a:gd name="T40" fmla="*/ 0 h 14"/>
              <a:gd name="T41" fmla="*/ 23 w 23"/>
              <a:gd name="T42" fmla="*/ 14 h 14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3" h="14">
                <a:moveTo>
                  <a:pt x="3" y="14"/>
                </a:moveTo>
                <a:lnTo>
                  <a:pt x="3" y="14"/>
                </a:lnTo>
                <a:lnTo>
                  <a:pt x="15" y="14"/>
                </a:lnTo>
                <a:lnTo>
                  <a:pt x="20" y="11"/>
                </a:lnTo>
                <a:lnTo>
                  <a:pt x="23" y="6"/>
                </a:lnTo>
                <a:lnTo>
                  <a:pt x="15" y="3"/>
                </a:lnTo>
                <a:lnTo>
                  <a:pt x="9" y="0"/>
                </a:lnTo>
                <a:lnTo>
                  <a:pt x="0" y="3"/>
                </a:lnTo>
                <a:lnTo>
                  <a:pt x="0" y="9"/>
                </a:lnTo>
                <a:lnTo>
                  <a:pt x="0" y="11"/>
                </a:lnTo>
                <a:lnTo>
                  <a:pt x="3" y="14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17" name="Freeform 121"/>
          <p:cNvSpPr>
            <a:spLocks/>
          </p:cNvSpPr>
          <p:nvPr/>
        </p:nvSpPr>
        <p:spPr bwMode="gray">
          <a:xfrm>
            <a:off x="7143288" y="1714547"/>
            <a:ext cx="34005" cy="9000"/>
          </a:xfrm>
          <a:custGeom>
            <a:avLst/>
            <a:gdLst>
              <a:gd name="T0" fmla="*/ 2147483647 w 17"/>
              <a:gd name="T1" fmla="*/ 0 h 6"/>
              <a:gd name="T2" fmla="*/ 2147483647 w 17"/>
              <a:gd name="T3" fmla="*/ 0 h 6"/>
              <a:gd name="T4" fmla="*/ 2147483647 w 17"/>
              <a:gd name="T5" fmla="*/ 0 h 6"/>
              <a:gd name="T6" fmla="*/ 0 w 17"/>
              <a:gd name="T7" fmla="*/ 0 h 6"/>
              <a:gd name="T8" fmla="*/ 0 w 17"/>
              <a:gd name="T9" fmla="*/ 2147483647 h 6"/>
              <a:gd name="T10" fmla="*/ 0 w 17"/>
              <a:gd name="T11" fmla="*/ 2147483647 h 6"/>
              <a:gd name="T12" fmla="*/ 2147483647 w 17"/>
              <a:gd name="T13" fmla="*/ 2147483647 h 6"/>
              <a:gd name="T14" fmla="*/ 2147483647 w 17"/>
              <a:gd name="T15" fmla="*/ 2147483647 h 6"/>
              <a:gd name="T16" fmla="*/ 2147483647 w 17"/>
              <a:gd name="T17" fmla="*/ 2147483647 h 6"/>
              <a:gd name="T18" fmla="*/ 2147483647 w 17"/>
              <a:gd name="T19" fmla="*/ 2147483647 h 6"/>
              <a:gd name="T20" fmla="*/ 2147483647 w 17"/>
              <a:gd name="T21" fmla="*/ 2147483647 h 6"/>
              <a:gd name="T22" fmla="*/ 2147483647 w 17"/>
              <a:gd name="T23" fmla="*/ 0 h 6"/>
              <a:gd name="T24" fmla="*/ 2147483647 w 17"/>
              <a:gd name="T25" fmla="*/ 0 h 6"/>
              <a:gd name="T26" fmla="*/ 2147483647 w 17"/>
              <a:gd name="T27" fmla="*/ 0 h 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17"/>
              <a:gd name="T43" fmla="*/ 0 h 6"/>
              <a:gd name="T44" fmla="*/ 17 w 17"/>
              <a:gd name="T45" fmla="*/ 6 h 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17" h="6">
                <a:moveTo>
                  <a:pt x="11" y="0"/>
                </a:moveTo>
                <a:lnTo>
                  <a:pt x="11" y="0"/>
                </a:lnTo>
                <a:lnTo>
                  <a:pt x="3" y="0"/>
                </a:lnTo>
                <a:lnTo>
                  <a:pt x="0" y="0"/>
                </a:lnTo>
                <a:lnTo>
                  <a:pt x="0" y="6"/>
                </a:lnTo>
                <a:lnTo>
                  <a:pt x="11" y="6"/>
                </a:lnTo>
                <a:lnTo>
                  <a:pt x="17" y="3"/>
                </a:lnTo>
                <a:lnTo>
                  <a:pt x="11" y="3"/>
                </a:lnTo>
                <a:lnTo>
                  <a:pt x="14" y="0"/>
                </a:lnTo>
                <a:lnTo>
                  <a:pt x="11" y="0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18" name="Freeform 122"/>
          <p:cNvSpPr>
            <a:spLocks/>
          </p:cNvSpPr>
          <p:nvPr/>
        </p:nvSpPr>
        <p:spPr bwMode="gray">
          <a:xfrm>
            <a:off x="6839233" y="1824050"/>
            <a:ext cx="12002" cy="3000"/>
          </a:xfrm>
          <a:custGeom>
            <a:avLst/>
            <a:gdLst>
              <a:gd name="T0" fmla="*/ 0 w 6"/>
              <a:gd name="T1" fmla="*/ 2147483647 h 2"/>
              <a:gd name="T2" fmla="*/ 2147483647 w 6"/>
              <a:gd name="T3" fmla="*/ 2147483647 h 2"/>
              <a:gd name="T4" fmla="*/ 2147483647 w 6"/>
              <a:gd name="T5" fmla="*/ 0 h 2"/>
              <a:gd name="T6" fmla="*/ 2147483647 w 6"/>
              <a:gd name="T7" fmla="*/ 0 h 2"/>
              <a:gd name="T8" fmla="*/ 0 w 6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2"/>
              <a:gd name="T17" fmla="*/ 6 w 6"/>
              <a:gd name="T18" fmla="*/ 2 h 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2">
                <a:moveTo>
                  <a:pt x="0" y="2"/>
                </a:moveTo>
                <a:lnTo>
                  <a:pt x="6" y="2"/>
                </a:lnTo>
                <a:lnTo>
                  <a:pt x="6" y="0"/>
                </a:lnTo>
                <a:lnTo>
                  <a:pt x="3" y="0"/>
                </a:lnTo>
                <a:lnTo>
                  <a:pt x="0" y="2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37" name="Rectangle 123"/>
          <p:cNvSpPr>
            <a:spLocks noChangeArrowheads="1"/>
          </p:cNvSpPr>
          <p:nvPr/>
        </p:nvSpPr>
        <p:spPr bwMode="gray">
          <a:xfrm>
            <a:off x="7375329" y="1710046"/>
            <a:ext cx="4001" cy="4501"/>
          </a:xfrm>
          <a:prstGeom prst="rect">
            <a:avLst/>
          </a:pr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38" name="Freeform 124"/>
          <p:cNvSpPr>
            <a:spLocks/>
          </p:cNvSpPr>
          <p:nvPr/>
        </p:nvSpPr>
        <p:spPr bwMode="gray">
          <a:xfrm>
            <a:off x="7663381" y="1641045"/>
            <a:ext cx="12002" cy="4501"/>
          </a:xfrm>
          <a:custGeom>
            <a:avLst/>
            <a:gdLst>
              <a:gd name="T0" fmla="*/ 2147483647 w 6"/>
              <a:gd name="T1" fmla="*/ 0 h 3"/>
              <a:gd name="T2" fmla="*/ 0 w 6"/>
              <a:gd name="T3" fmla="*/ 0 h 3"/>
              <a:gd name="T4" fmla="*/ 0 w 6"/>
              <a:gd name="T5" fmla="*/ 2147483647 h 3"/>
              <a:gd name="T6" fmla="*/ 2147483647 w 6"/>
              <a:gd name="T7" fmla="*/ 0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6" y="0"/>
                </a:moveTo>
                <a:lnTo>
                  <a:pt x="0" y="0"/>
                </a:lnTo>
                <a:lnTo>
                  <a:pt x="0" y="3"/>
                </a:lnTo>
                <a:lnTo>
                  <a:pt x="6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39" name="Freeform 125"/>
          <p:cNvSpPr>
            <a:spLocks/>
          </p:cNvSpPr>
          <p:nvPr/>
        </p:nvSpPr>
        <p:spPr bwMode="gray">
          <a:xfrm>
            <a:off x="7641377" y="1641045"/>
            <a:ext cx="4001" cy="4501"/>
          </a:xfrm>
          <a:custGeom>
            <a:avLst/>
            <a:gdLst>
              <a:gd name="T0" fmla="*/ 0 w 2"/>
              <a:gd name="T1" fmla="*/ 0 h 3"/>
              <a:gd name="T2" fmla="*/ 0 w 2"/>
              <a:gd name="T3" fmla="*/ 2147483647 h 3"/>
              <a:gd name="T4" fmla="*/ 2147483647 w 2"/>
              <a:gd name="T5" fmla="*/ 0 h 3"/>
              <a:gd name="T6" fmla="*/ 0 w 2"/>
              <a:gd name="T7" fmla="*/ 0 h 3"/>
              <a:gd name="T8" fmla="*/ 0 w 2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"/>
              <a:gd name="T16" fmla="*/ 0 h 3"/>
              <a:gd name="T17" fmla="*/ 2 w 2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" h="3">
                <a:moveTo>
                  <a:pt x="0" y="0"/>
                </a:move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40" name="Freeform 126"/>
          <p:cNvSpPr>
            <a:spLocks/>
          </p:cNvSpPr>
          <p:nvPr/>
        </p:nvSpPr>
        <p:spPr bwMode="gray">
          <a:xfrm>
            <a:off x="7617373" y="1641045"/>
            <a:ext cx="12002" cy="4501"/>
          </a:xfrm>
          <a:custGeom>
            <a:avLst/>
            <a:gdLst>
              <a:gd name="T0" fmla="*/ 2147483647 w 6"/>
              <a:gd name="T1" fmla="*/ 0 h 3"/>
              <a:gd name="T2" fmla="*/ 2147483647 w 6"/>
              <a:gd name="T3" fmla="*/ 0 h 3"/>
              <a:gd name="T4" fmla="*/ 0 w 6"/>
              <a:gd name="T5" fmla="*/ 0 h 3"/>
              <a:gd name="T6" fmla="*/ 0 w 6"/>
              <a:gd name="T7" fmla="*/ 2147483647 h 3"/>
              <a:gd name="T8" fmla="*/ 0 w 6"/>
              <a:gd name="T9" fmla="*/ 2147483647 h 3"/>
              <a:gd name="T10" fmla="*/ 2147483647 w 6"/>
              <a:gd name="T11" fmla="*/ 2147483647 h 3"/>
              <a:gd name="T12" fmla="*/ 2147483647 w 6"/>
              <a:gd name="T13" fmla="*/ 2147483647 h 3"/>
              <a:gd name="T14" fmla="*/ 2147483647 w 6"/>
              <a:gd name="T15" fmla="*/ 2147483647 h 3"/>
              <a:gd name="T16" fmla="*/ 2147483647 w 6"/>
              <a:gd name="T17" fmla="*/ 0 h 3"/>
              <a:gd name="T18" fmla="*/ 2147483647 w 6"/>
              <a:gd name="T19" fmla="*/ 0 h 3"/>
              <a:gd name="T20" fmla="*/ 2147483647 w 6"/>
              <a:gd name="T21" fmla="*/ 0 h 3"/>
              <a:gd name="T22" fmla="*/ 2147483647 w 6"/>
              <a:gd name="T23" fmla="*/ 0 h 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6"/>
              <a:gd name="T37" fmla="*/ 0 h 3"/>
              <a:gd name="T38" fmla="*/ 6 w 6"/>
              <a:gd name="T39" fmla="*/ 3 h 3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6" h="3">
                <a:moveTo>
                  <a:pt x="3" y="0"/>
                </a:move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lnTo>
                  <a:pt x="3" y="3"/>
                </a:lnTo>
                <a:lnTo>
                  <a:pt x="6" y="3"/>
                </a:lnTo>
                <a:lnTo>
                  <a:pt x="6" y="0"/>
                </a:lnTo>
                <a:lnTo>
                  <a:pt x="3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41" name="Freeform 127"/>
          <p:cNvSpPr>
            <a:spLocks/>
          </p:cNvSpPr>
          <p:nvPr/>
        </p:nvSpPr>
        <p:spPr bwMode="gray">
          <a:xfrm>
            <a:off x="7629374" y="1650044"/>
            <a:ext cx="6002" cy="7501"/>
          </a:xfrm>
          <a:custGeom>
            <a:avLst/>
            <a:gdLst>
              <a:gd name="T0" fmla="*/ 2147483647 w 3"/>
              <a:gd name="T1" fmla="*/ 2147483647 h 5"/>
              <a:gd name="T2" fmla="*/ 2147483647 w 3"/>
              <a:gd name="T3" fmla="*/ 2147483647 h 5"/>
              <a:gd name="T4" fmla="*/ 0 w 3"/>
              <a:gd name="T5" fmla="*/ 0 h 5"/>
              <a:gd name="T6" fmla="*/ 0 w 3"/>
              <a:gd name="T7" fmla="*/ 2147483647 h 5"/>
              <a:gd name="T8" fmla="*/ 2147483647 w 3"/>
              <a:gd name="T9" fmla="*/ 2147483647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5"/>
              <a:gd name="T17" fmla="*/ 3 w 3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5">
                <a:moveTo>
                  <a:pt x="3" y="3"/>
                </a:moveTo>
                <a:lnTo>
                  <a:pt x="3" y="3"/>
                </a:lnTo>
                <a:lnTo>
                  <a:pt x="0" y="0"/>
                </a:lnTo>
                <a:lnTo>
                  <a:pt x="0" y="5"/>
                </a:lnTo>
                <a:lnTo>
                  <a:pt x="3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42" name="Rectangle 128"/>
          <p:cNvSpPr>
            <a:spLocks noChangeArrowheads="1"/>
          </p:cNvSpPr>
          <p:nvPr/>
        </p:nvSpPr>
        <p:spPr bwMode="gray">
          <a:xfrm>
            <a:off x="7415337" y="1696546"/>
            <a:ext cx="4001" cy="4500"/>
          </a:xfrm>
          <a:prstGeom prst="rect">
            <a:avLst/>
          </a:pr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43" name="Freeform 129"/>
          <p:cNvSpPr>
            <a:spLocks/>
          </p:cNvSpPr>
          <p:nvPr/>
        </p:nvSpPr>
        <p:spPr bwMode="gray">
          <a:xfrm>
            <a:off x="7651379" y="1636545"/>
            <a:ext cx="6000" cy="9000"/>
          </a:xfrm>
          <a:custGeom>
            <a:avLst/>
            <a:gdLst>
              <a:gd name="T0" fmla="*/ 0 w 3"/>
              <a:gd name="T1" fmla="*/ 2147483647 h 6"/>
              <a:gd name="T2" fmla="*/ 2147483647 w 3"/>
              <a:gd name="T3" fmla="*/ 2147483647 h 6"/>
              <a:gd name="T4" fmla="*/ 2147483647 w 3"/>
              <a:gd name="T5" fmla="*/ 0 h 6"/>
              <a:gd name="T6" fmla="*/ 0 w 3"/>
              <a:gd name="T7" fmla="*/ 2147483647 h 6"/>
              <a:gd name="T8" fmla="*/ 0 w 3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0" y="6"/>
                </a:moveTo>
                <a:lnTo>
                  <a:pt x="3" y="3"/>
                </a:lnTo>
                <a:lnTo>
                  <a:pt x="3" y="0"/>
                </a:lnTo>
                <a:lnTo>
                  <a:pt x="0" y="3"/>
                </a:lnTo>
                <a:lnTo>
                  <a:pt x="0" y="6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44" name="Freeform 130"/>
          <p:cNvSpPr>
            <a:spLocks/>
          </p:cNvSpPr>
          <p:nvPr/>
        </p:nvSpPr>
        <p:spPr bwMode="gray">
          <a:xfrm>
            <a:off x="7687386" y="1636545"/>
            <a:ext cx="10001" cy="9000"/>
          </a:xfrm>
          <a:custGeom>
            <a:avLst/>
            <a:gdLst>
              <a:gd name="T0" fmla="*/ 2147483647 w 5"/>
              <a:gd name="T1" fmla="*/ 2147483647 h 6"/>
              <a:gd name="T2" fmla="*/ 2147483647 w 5"/>
              <a:gd name="T3" fmla="*/ 2147483647 h 6"/>
              <a:gd name="T4" fmla="*/ 2147483647 w 5"/>
              <a:gd name="T5" fmla="*/ 2147483647 h 6"/>
              <a:gd name="T6" fmla="*/ 2147483647 w 5"/>
              <a:gd name="T7" fmla="*/ 2147483647 h 6"/>
              <a:gd name="T8" fmla="*/ 2147483647 w 5"/>
              <a:gd name="T9" fmla="*/ 2147483647 h 6"/>
              <a:gd name="T10" fmla="*/ 2147483647 w 5"/>
              <a:gd name="T11" fmla="*/ 2147483647 h 6"/>
              <a:gd name="T12" fmla="*/ 2147483647 w 5"/>
              <a:gd name="T13" fmla="*/ 0 h 6"/>
              <a:gd name="T14" fmla="*/ 2147483647 w 5"/>
              <a:gd name="T15" fmla="*/ 0 h 6"/>
              <a:gd name="T16" fmla="*/ 0 w 5"/>
              <a:gd name="T17" fmla="*/ 0 h 6"/>
              <a:gd name="T18" fmla="*/ 0 w 5"/>
              <a:gd name="T19" fmla="*/ 2147483647 h 6"/>
              <a:gd name="T20" fmla="*/ 0 w 5"/>
              <a:gd name="T21" fmla="*/ 2147483647 h 6"/>
              <a:gd name="T22" fmla="*/ 2147483647 w 5"/>
              <a:gd name="T23" fmla="*/ 2147483647 h 6"/>
              <a:gd name="T24" fmla="*/ 2147483647 w 5"/>
              <a:gd name="T25" fmla="*/ 2147483647 h 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5"/>
              <a:gd name="T40" fmla="*/ 0 h 6"/>
              <a:gd name="T41" fmla="*/ 5 w 5"/>
              <a:gd name="T42" fmla="*/ 6 h 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5" h="6">
                <a:moveTo>
                  <a:pt x="2" y="6"/>
                </a:moveTo>
                <a:lnTo>
                  <a:pt x="5" y="6"/>
                </a:lnTo>
                <a:lnTo>
                  <a:pt x="5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6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45" name="Freeform 131"/>
          <p:cNvSpPr>
            <a:spLocks/>
          </p:cNvSpPr>
          <p:nvPr/>
        </p:nvSpPr>
        <p:spPr bwMode="gray">
          <a:xfrm>
            <a:off x="7641376" y="1650045"/>
            <a:ext cx="10002" cy="4501"/>
          </a:xfrm>
          <a:custGeom>
            <a:avLst/>
            <a:gdLst>
              <a:gd name="T0" fmla="*/ 2147483647 w 5"/>
              <a:gd name="T1" fmla="*/ 0 h 3"/>
              <a:gd name="T2" fmla="*/ 2147483647 w 5"/>
              <a:gd name="T3" fmla="*/ 0 h 3"/>
              <a:gd name="T4" fmla="*/ 0 w 5"/>
              <a:gd name="T5" fmla="*/ 0 h 3"/>
              <a:gd name="T6" fmla="*/ 2147483647 w 5"/>
              <a:gd name="T7" fmla="*/ 2147483647 h 3"/>
              <a:gd name="T8" fmla="*/ 2147483647 w 5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3"/>
              <a:gd name="T17" fmla="*/ 5 w 5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3">
                <a:moveTo>
                  <a:pt x="5" y="0"/>
                </a:moveTo>
                <a:lnTo>
                  <a:pt x="2" y="0"/>
                </a:lnTo>
                <a:lnTo>
                  <a:pt x="0" y="0"/>
                </a:lnTo>
                <a:lnTo>
                  <a:pt x="2" y="3"/>
                </a:lnTo>
                <a:lnTo>
                  <a:pt x="5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46" name="Freeform 132"/>
          <p:cNvSpPr>
            <a:spLocks/>
          </p:cNvSpPr>
          <p:nvPr/>
        </p:nvSpPr>
        <p:spPr bwMode="gray">
          <a:xfrm>
            <a:off x="7425337" y="1696546"/>
            <a:ext cx="18004" cy="4500"/>
          </a:xfrm>
          <a:custGeom>
            <a:avLst/>
            <a:gdLst>
              <a:gd name="T0" fmla="*/ 2147483647 w 9"/>
              <a:gd name="T1" fmla="*/ 2147483647 h 3"/>
              <a:gd name="T2" fmla="*/ 2147483647 w 9"/>
              <a:gd name="T3" fmla="*/ 0 h 3"/>
              <a:gd name="T4" fmla="*/ 0 w 9"/>
              <a:gd name="T5" fmla="*/ 0 h 3"/>
              <a:gd name="T6" fmla="*/ 0 w 9"/>
              <a:gd name="T7" fmla="*/ 2147483647 h 3"/>
              <a:gd name="T8" fmla="*/ 2147483647 w 9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3"/>
              <a:gd name="T17" fmla="*/ 9 w 9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3">
                <a:moveTo>
                  <a:pt x="6" y="3"/>
                </a:moveTo>
                <a:lnTo>
                  <a:pt x="9" y="0"/>
                </a:lnTo>
                <a:lnTo>
                  <a:pt x="0" y="0"/>
                </a:lnTo>
                <a:lnTo>
                  <a:pt x="0" y="3"/>
                </a:lnTo>
                <a:lnTo>
                  <a:pt x="6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47" name="Rectangle 133"/>
          <p:cNvSpPr>
            <a:spLocks noChangeArrowheads="1"/>
          </p:cNvSpPr>
          <p:nvPr/>
        </p:nvSpPr>
        <p:spPr bwMode="gray">
          <a:xfrm>
            <a:off x="7455343" y="1701046"/>
            <a:ext cx="6000" cy="1501"/>
          </a:xfrm>
          <a:prstGeom prst="rect">
            <a:avLst/>
          </a:pr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48" name="Freeform 134"/>
          <p:cNvSpPr>
            <a:spLocks/>
          </p:cNvSpPr>
          <p:nvPr/>
        </p:nvSpPr>
        <p:spPr bwMode="gray">
          <a:xfrm>
            <a:off x="7465345" y="1689046"/>
            <a:ext cx="12002" cy="3000"/>
          </a:xfrm>
          <a:custGeom>
            <a:avLst/>
            <a:gdLst>
              <a:gd name="T0" fmla="*/ 2147483647 w 6"/>
              <a:gd name="T1" fmla="*/ 2147483647 h 2"/>
              <a:gd name="T2" fmla="*/ 2147483647 w 6"/>
              <a:gd name="T3" fmla="*/ 0 h 2"/>
              <a:gd name="T4" fmla="*/ 2147483647 w 6"/>
              <a:gd name="T5" fmla="*/ 0 h 2"/>
              <a:gd name="T6" fmla="*/ 2147483647 w 6"/>
              <a:gd name="T7" fmla="*/ 0 h 2"/>
              <a:gd name="T8" fmla="*/ 2147483647 w 6"/>
              <a:gd name="T9" fmla="*/ 0 h 2"/>
              <a:gd name="T10" fmla="*/ 2147483647 w 6"/>
              <a:gd name="T11" fmla="*/ 0 h 2"/>
              <a:gd name="T12" fmla="*/ 0 w 6"/>
              <a:gd name="T13" fmla="*/ 0 h 2"/>
              <a:gd name="T14" fmla="*/ 0 w 6"/>
              <a:gd name="T15" fmla="*/ 2147483647 h 2"/>
              <a:gd name="T16" fmla="*/ 0 w 6"/>
              <a:gd name="T17" fmla="*/ 2147483647 h 2"/>
              <a:gd name="T18" fmla="*/ 2147483647 w 6"/>
              <a:gd name="T19" fmla="*/ 2147483647 h 2"/>
              <a:gd name="T20" fmla="*/ 2147483647 w 6"/>
              <a:gd name="T21" fmla="*/ 2147483647 h 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6"/>
              <a:gd name="T34" fmla="*/ 0 h 2"/>
              <a:gd name="T35" fmla="*/ 6 w 6"/>
              <a:gd name="T36" fmla="*/ 2 h 2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6" h="2">
                <a:moveTo>
                  <a:pt x="6" y="2"/>
                </a:moveTo>
                <a:lnTo>
                  <a:pt x="6" y="0"/>
                </a:lnTo>
                <a:lnTo>
                  <a:pt x="0" y="0"/>
                </a:lnTo>
                <a:lnTo>
                  <a:pt x="0" y="2"/>
                </a:lnTo>
                <a:lnTo>
                  <a:pt x="6" y="2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49" name="Freeform 135"/>
          <p:cNvSpPr>
            <a:spLocks/>
          </p:cNvSpPr>
          <p:nvPr/>
        </p:nvSpPr>
        <p:spPr bwMode="gray">
          <a:xfrm>
            <a:off x="7455344" y="1689046"/>
            <a:ext cx="10001" cy="3000"/>
          </a:xfrm>
          <a:custGeom>
            <a:avLst/>
            <a:gdLst>
              <a:gd name="T0" fmla="*/ 0 w 5"/>
              <a:gd name="T1" fmla="*/ 0 h 2"/>
              <a:gd name="T2" fmla="*/ 0 w 5"/>
              <a:gd name="T3" fmla="*/ 2147483647 h 2"/>
              <a:gd name="T4" fmla="*/ 2147483647 w 5"/>
              <a:gd name="T5" fmla="*/ 2147483647 h 2"/>
              <a:gd name="T6" fmla="*/ 2147483647 w 5"/>
              <a:gd name="T7" fmla="*/ 2147483647 h 2"/>
              <a:gd name="T8" fmla="*/ 0 w 5"/>
              <a:gd name="T9" fmla="*/ 0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2"/>
              <a:gd name="T17" fmla="*/ 5 w 5"/>
              <a:gd name="T18" fmla="*/ 2 h 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2">
                <a:moveTo>
                  <a:pt x="0" y="0"/>
                </a:moveTo>
                <a:lnTo>
                  <a:pt x="0" y="2"/>
                </a:lnTo>
                <a:lnTo>
                  <a:pt x="3" y="2"/>
                </a:lnTo>
                <a:lnTo>
                  <a:pt x="5" y="2"/>
                </a:lnTo>
                <a:lnTo>
                  <a:pt x="0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50" name="Freeform 136"/>
          <p:cNvSpPr>
            <a:spLocks/>
          </p:cNvSpPr>
          <p:nvPr/>
        </p:nvSpPr>
        <p:spPr bwMode="gray">
          <a:xfrm>
            <a:off x="7483349" y="1680046"/>
            <a:ext cx="12002" cy="12000"/>
          </a:xfrm>
          <a:custGeom>
            <a:avLst/>
            <a:gdLst>
              <a:gd name="T0" fmla="*/ 0 w 6"/>
              <a:gd name="T1" fmla="*/ 2147483647 h 8"/>
              <a:gd name="T2" fmla="*/ 0 w 6"/>
              <a:gd name="T3" fmla="*/ 2147483647 h 8"/>
              <a:gd name="T4" fmla="*/ 0 w 6"/>
              <a:gd name="T5" fmla="*/ 2147483647 h 8"/>
              <a:gd name="T6" fmla="*/ 2147483647 w 6"/>
              <a:gd name="T7" fmla="*/ 2147483647 h 8"/>
              <a:gd name="T8" fmla="*/ 2147483647 w 6"/>
              <a:gd name="T9" fmla="*/ 2147483647 h 8"/>
              <a:gd name="T10" fmla="*/ 2147483647 w 6"/>
              <a:gd name="T11" fmla="*/ 0 h 8"/>
              <a:gd name="T12" fmla="*/ 2147483647 w 6"/>
              <a:gd name="T13" fmla="*/ 0 h 8"/>
              <a:gd name="T14" fmla="*/ 0 w 6"/>
              <a:gd name="T15" fmla="*/ 2147483647 h 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"/>
              <a:gd name="T25" fmla="*/ 0 h 8"/>
              <a:gd name="T26" fmla="*/ 6 w 6"/>
              <a:gd name="T27" fmla="*/ 8 h 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" h="8">
                <a:moveTo>
                  <a:pt x="0" y="3"/>
                </a:moveTo>
                <a:lnTo>
                  <a:pt x="0" y="8"/>
                </a:lnTo>
                <a:lnTo>
                  <a:pt x="6" y="6"/>
                </a:lnTo>
                <a:lnTo>
                  <a:pt x="6" y="0"/>
                </a:lnTo>
                <a:lnTo>
                  <a:pt x="0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51" name="Freeform 137"/>
          <p:cNvSpPr>
            <a:spLocks/>
          </p:cNvSpPr>
          <p:nvPr/>
        </p:nvSpPr>
        <p:spPr bwMode="gray">
          <a:xfrm>
            <a:off x="7461344" y="1680046"/>
            <a:ext cx="10002" cy="4501"/>
          </a:xfrm>
          <a:custGeom>
            <a:avLst/>
            <a:gdLst>
              <a:gd name="T0" fmla="*/ 2147483647 w 5"/>
              <a:gd name="T1" fmla="*/ 2147483647 h 3"/>
              <a:gd name="T2" fmla="*/ 2147483647 w 5"/>
              <a:gd name="T3" fmla="*/ 0 h 3"/>
              <a:gd name="T4" fmla="*/ 2147483647 w 5"/>
              <a:gd name="T5" fmla="*/ 0 h 3"/>
              <a:gd name="T6" fmla="*/ 2147483647 w 5"/>
              <a:gd name="T7" fmla="*/ 2147483647 h 3"/>
              <a:gd name="T8" fmla="*/ 2147483647 w 5"/>
              <a:gd name="T9" fmla="*/ 2147483647 h 3"/>
              <a:gd name="T10" fmla="*/ 0 w 5"/>
              <a:gd name="T11" fmla="*/ 2147483647 h 3"/>
              <a:gd name="T12" fmla="*/ 2147483647 w 5"/>
              <a:gd name="T13" fmla="*/ 2147483647 h 3"/>
              <a:gd name="T14" fmla="*/ 2147483647 w 5"/>
              <a:gd name="T15" fmla="*/ 2147483647 h 3"/>
              <a:gd name="T16" fmla="*/ 2147483647 w 5"/>
              <a:gd name="T17" fmla="*/ 2147483647 h 3"/>
              <a:gd name="T18" fmla="*/ 2147483647 w 5"/>
              <a:gd name="T19" fmla="*/ 2147483647 h 3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5"/>
              <a:gd name="T31" fmla="*/ 0 h 3"/>
              <a:gd name="T32" fmla="*/ 5 w 5"/>
              <a:gd name="T33" fmla="*/ 3 h 3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5" h="3">
                <a:moveTo>
                  <a:pt x="5" y="3"/>
                </a:moveTo>
                <a:lnTo>
                  <a:pt x="5" y="0"/>
                </a:lnTo>
                <a:lnTo>
                  <a:pt x="2" y="3"/>
                </a:lnTo>
                <a:lnTo>
                  <a:pt x="0" y="3"/>
                </a:lnTo>
                <a:lnTo>
                  <a:pt x="2" y="3"/>
                </a:lnTo>
                <a:lnTo>
                  <a:pt x="5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034" name="Rectangle 138"/>
          <p:cNvSpPr>
            <a:spLocks noChangeArrowheads="1"/>
          </p:cNvSpPr>
          <p:nvPr/>
        </p:nvSpPr>
        <p:spPr bwMode="gray">
          <a:xfrm>
            <a:off x="6039089" y="1771548"/>
            <a:ext cx="12002" cy="4500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035" name="Freeform 139"/>
          <p:cNvSpPr>
            <a:spLocks/>
          </p:cNvSpPr>
          <p:nvPr/>
        </p:nvSpPr>
        <p:spPr bwMode="gray">
          <a:xfrm>
            <a:off x="5506992" y="2241061"/>
            <a:ext cx="104019" cy="73502"/>
          </a:xfrm>
          <a:custGeom>
            <a:avLst/>
            <a:gdLst>
              <a:gd name="T0" fmla="*/ 2147483647 w 52"/>
              <a:gd name="T1" fmla="*/ 2147483647 h 49"/>
              <a:gd name="T2" fmla="*/ 2147483647 w 52"/>
              <a:gd name="T3" fmla="*/ 2147483647 h 49"/>
              <a:gd name="T4" fmla="*/ 2147483647 w 52"/>
              <a:gd name="T5" fmla="*/ 2147483647 h 49"/>
              <a:gd name="T6" fmla="*/ 2147483647 w 52"/>
              <a:gd name="T7" fmla="*/ 2147483647 h 49"/>
              <a:gd name="T8" fmla="*/ 2147483647 w 52"/>
              <a:gd name="T9" fmla="*/ 2147483647 h 49"/>
              <a:gd name="T10" fmla="*/ 2147483647 w 52"/>
              <a:gd name="T11" fmla="*/ 2147483647 h 49"/>
              <a:gd name="T12" fmla="*/ 2147483647 w 52"/>
              <a:gd name="T13" fmla="*/ 2147483647 h 49"/>
              <a:gd name="T14" fmla="*/ 2147483647 w 52"/>
              <a:gd name="T15" fmla="*/ 2147483647 h 49"/>
              <a:gd name="T16" fmla="*/ 2147483647 w 52"/>
              <a:gd name="T17" fmla="*/ 2147483647 h 49"/>
              <a:gd name="T18" fmla="*/ 2147483647 w 52"/>
              <a:gd name="T19" fmla="*/ 2147483647 h 49"/>
              <a:gd name="T20" fmla="*/ 2147483647 w 52"/>
              <a:gd name="T21" fmla="*/ 2147483647 h 49"/>
              <a:gd name="T22" fmla="*/ 2147483647 w 52"/>
              <a:gd name="T23" fmla="*/ 2147483647 h 49"/>
              <a:gd name="T24" fmla="*/ 2147483647 w 52"/>
              <a:gd name="T25" fmla="*/ 2147483647 h 49"/>
              <a:gd name="T26" fmla="*/ 2147483647 w 52"/>
              <a:gd name="T27" fmla="*/ 2147483647 h 49"/>
              <a:gd name="T28" fmla="*/ 2147483647 w 52"/>
              <a:gd name="T29" fmla="*/ 2147483647 h 49"/>
              <a:gd name="T30" fmla="*/ 2147483647 w 52"/>
              <a:gd name="T31" fmla="*/ 2147483647 h 49"/>
              <a:gd name="T32" fmla="*/ 2147483647 w 52"/>
              <a:gd name="T33" fmla="*/ 2147483647 h 49"/>
              <a:gd name="T34" fmla="*/ 2147483647 w 52"/>
              <a:gd name="T35" fmla="*/ 2147483647 h 49"/>
              <a:gd name="T36" fmla="*/ 2147483647 w 52"/>
              <a:gd name="T37" fmla="*/ 2147483647 h 49"/>
              <a:gd name="T38" fmla="*/ 2147483647 w 52"/>
              <a:gd name="T39" fmla="*/ 2147483647 h 49"/>
              <a:gd name="T40" fmla="*/ 2147483647 w 52"/>
              <a:gd name="T41" fmla="*/ 2147483647 h 49"/>
              <a:gd name="T42" fmla="*/ 2147483647 w 52"/>
              <a:gd name="T43" fmla="*/ 2147483647 h 49"/>
              <a:gd name="T44" fmla="*/ 2147483647 w 52"/>
              <a:gd name="T45" fmla="*/ 2147483647 h 49"/>
              <a:gd name="T46" fmla="*/ 2147483647 w 52"/>
              <a:gd name="T47" fmla="*/ 2147483647 h 49"/>
              <a:gd name="T48" fmla="*/ 2147483647 w 52"/>
              <a:gd name="T49" fmla="*/ 0 h 49"/>
              <a:gd name="T50" fmla="*/ 2147483647 w 52"/>
              <a:gd name="T51" fmla="*/ 0 h 49"/>
              <a:gd name="T52" fmla="*/ 2147483647 w 52"/>
              <a:gd name="T53" fmla="*/ 0 h 49"/>
              <a:gd name="T54" fmla="*/ 2147483647 w 52"/>
              <a:gd name="T55" fmla="*/ 0 h 49"/>
              <a:gd name="T56" fmla="*/ 2147483647 w 52"/>
              <a:gd name="T57" fmla="*/ 0 h 49"/>
              <a:gd name="T58" fmla="*/ 2147483647 w 52"/>
              <a:gd name="T59" fmla="*/ 0 h 49"/>
              <a:gd name="T60" fmla="*/ 2147483647 w 52"/>
              <a:gd name="T61" fmla="*/ 0 h 49"/>
              <a:gd name="T62" fmla="*/ 2147483647 w 52"/>
              <a:gd name="T63" fmla="*/ 2147483647 h 49"/>
              <a:gd name="T64" fmla="*/ 2147483647 w 52"/>
              <a:gd name="T65" fmla="*/ 2147483647 h 49"/>
              <a:gd name="T66" fmla="*/ 2147483647 w 52"/>
              <a:gd name="T67" fmla="*/ 2147483647 h 49"/>
              <a:gd name="T68" fmla="*/ 2147483647 w 52"/>
              <a:gd name="T69" fmla="*/ 2147483647 h 49"/>
              <a:gd name="T70" fmla="*/ 2147483647 w 52"/>
              <a:gd name="T71" fmla="*/ 2147483647 h 49"/>
              <a:gd name="T72" fmla="*/ 2147483647 w 52"/>
              <a:gd name="T73" fmla="*/ 2147483647 h 49"/>
              <a:gd name="T74" fmla="*/ 2147483647 w 52"/>
              <a:gd name="T75" fmla="*/ 2147483647 h 49"/>
              <a:gd name="T76" fmla="*/ 2147483647 w 52"/>
              <a:gd name="T77" fmla="*/ 2147483647 h 49"/>
              <a:gd name="T78" fmla="*/ 2147483647 w 52"/>
              <a:gd name="T79" fmla="*/ 2147483647 h 49"/>
              <a:gd name="T80" fmla="*/ 2147483647 w 52"/>
              <a:gd name="T81" fmla="*/ 2147483647 h 49"/>
              <a:gd name="T82" fmla="*/ 2147483647 w 52"/>
              <a:gd name="T83" fmla="*/ 2147483647 h 49"/>
              <a:gd name="T84" fmla="*/ 2147483647 w 52"/>
              <a:gd name="T85" fmla="*/ 2147483647 h 49"/>
              <a:gd name="T86" fmla="*/ 2147483647 w 52"/>
              <a:gd name="T87" fmla="*/ 2147483647 h 49"/>
              <a:gd name="T88" fmla="*/ 2147483647 w 52"/>
              <a:gd name="T89" fmla="*/ 2147483647 h 49"/>
              <a:gd name="T90" fmla="*/ 2147483647 w 52"/>
              <a:gd name="T91" fmla="*/ 2147483647 h 49"/>
              <a:gd name="T92" fmla="*/ 2147483647 w 52"/>
              <a:gd name="T93" fmla="*/ 2147483647 h 49"/>
              <a:gd name="T94" fmla="*/ 2147483647 w 52"/>
              <a:gd name="T95" fmla="*/ 2147483647 h 49"/>
              <a:gd name="T96" fmla="*/ 2147483647 w 52"/>
              <a:gd name="T97" fmla="*/ 2147483647 h 49"/>
              <a:gd name="T98" fmla="*/ 2147483647 w 52"/>
              <a:gd name="T99" fmla="*/ 2147483647 h 49"/>
              <a:gd name="T100" fmla="*/ 2147483647 w 52"/>
              <a:gd name="T101" fmla="*/ 2147483647 h 49"/>
              <a:gd name="T102" fmla="*/ 0 w 52"/>
              <a:gd name="T103" fmla="*/ 2147483647 h 49"/>
              <a:gd name="T104" fmla="*/ 2147483647 w 52"/>
              <a:gd name="T105" fmla="*/ 2147483647 h 49"/>
              <a:gd name="T106" fmla="*/ 2147483647 w 52"/>
              <a:gd name="T107" fmla="*/ 2147483647 h 49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52"/>
              <a:gd name="T163" fmla="*/ 0 h 49"/>
              <a:gd name="T164" fmla="*/ 52 w 52"/>
              <a:gd name="T165" fmla="*/ 49 h 49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52" h="49">
                <a:moveTo>
                  <a:pt x="15" y="38"/>
                </a:moveTo>
                <a:lnTo>
                  <a:pt x="26" y="35"/>
                </a:lnTo>
                <a:lnTo>
                  <a:pt x="26" y="38"/>
                </a:lnTo>
                <a:lnTo>
                  <a:pt x="26" y="40"/>
                </a:lnTo>
                <a:lnTo>
                  <a:pt x="29" y="40"/>
                </a:lnTo>
                <a:lnTo>
                  <a:pt x="35" y="43"/>
                </a:lnTo>
                <a:lnTo>
                  <a:pt x="32" y="49"/>
                </a:lnTo>
                <a:lnTo>
                  <a:pt x="38" y="49"/>
                </a:lnTo>
                <a:lnTo>
                  <a:pt x="35" y="46"/>
                </a:lnTo>
                <a:lnTo>
                  <a:pt x="38" y="38"/>
                </a:lnTo>
                <a:lnTo>
                  <a:pt x="35" y="32"/>
                </a:lnTo>
                <a:lnTo>
                  <a:pt x="35" y="29"/>
                </a:lnTo>
                <a:lnTo>
                  <a:pt x="38" y="26"/>
                </a:lnTo>
                <a:lnTo>
                  <a:pt x="46" y="29"/>
                </a:lnTo>
                <a:lnTo>
                  <a:pt x="46" y="26"/>
                </a:lnTo>
                <a:lnTo>
                  <a:pt x="46" y="23"/>
                </a:lnTo>
                <a:lnTo>
                  <a:pt x="49" y="20"/>
                </a:lnTo>
                <a:lnTo>
                  <a:pt x="43" y="15"/>
                </a:lnTo>
                <a:lnTo>
                  <a:pt x="46" y="15"/>
                </a:lnTo>
                <a:lnTo>
                  <a:pt x="52" y="12"/>
                </a:lnTo>
                <a:lnTo>
                  <a:pt x="52" y="9"/>
                </a:lnTo>
                <a:lnTo>
                  <a:pt x="52" y="0"/>
                </a:lnTo>
                <a:lnTo>
                  <a:pt x="43" y="0"/>
                </a:lnTo>
                <a:lnTo>
                  <a:pt x="38" y="0"/>
                </a:lnTo>
                <a:lnTo>
                  <a:pt x="29" y="6"/>
                </a:lnTo>
                <a:lnTo>
                  <a:pt x="29" y="15"/>
                </a:lnTo>
                <a:lnTo>
                  <a:pt x="35" y="17"/>
                </a:lnTo>
                <a:lnTo>
                  <a:pt x="26" y="20"/>
                </a:lnTo>
                <a:lnTo>
                  <a:pt x="23" y="17"/>
                </a:lnTo>
                <a:lnTo>
                  <a:pt x="23" y="12"/>
                </a:lnTo>
                <a:lnTo>
                  <a:pt x="23" y="9"/>
                </a:lnTo>
                <a:lnTo>
                  <a:pt x="23" y="3"/>
                </a:lnTo>
                <a:lnTo>
                  <a:pt x="20" y="3"/>
                </a:lnTo>
                <a:lnTo>
                  <a:pt x="20" y="6"/>
                </a:lnTo>
                <a:lnTo>
                  <a:pt x="17" y="15"/>
                </a:lnTo>
                <a:lnTo>
                  <a:pt x="12" y="23"/>
                </a:lnTo>
                <a:lnTo>
                  <a:pt x="3" y="32"/>
                </a:lnTo>
                <a:lnTo>
                  <a:pt x="0" y="38"/>
                </a:lnTo>
                <a:lnTo>
                  <a:pt x="6" y="40"/>
                </a:lnTo>
                <a:lnTo>
                  <a:pt x="15" y="38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36" name="Freeform 140"/>
          <p:cNvSpPr>
            <a:spLocks/>
          </p:cNvSpPr>
          <p:nvPr/>
        </p:nvSpPr>
        <p:spPr bwMode="gray">
          <a:xfrm>
            <a:off x="5476986" y="2298062"/>
            <a:ext cx="106020" cy="55502"/>
          </a:xfrm>
          <a:custGeom>
            <a:avLst/>
            <a:gdLst>
              <a:gd name="T0" fmla="*/ 0 w 52"/>
              <a:gd name="T1" fmla="*/ 2147483647 h 37"/>
              <a:gd name="T2" fmla="*/ 0 w 52"/>
              <a:gd name="T3" fmla="*/ 2147483647 h 37"/>
              <a:gd name="T4" fmla="*/ 2147483647 w 52"/>
              <a:gd name="T5" fmla="*/ 2147483647 h 37"/>
              <a:gd name="T6" fmla="*/ 2147483647 w 52"/>
              <a:gd name="T7" fmla="*/ 2147483647 h 37"/>
              <a:gd name="T8" fmla="*/ 2147483647 w 52"/>
              <a:gd name="T9" fmla="*/ 2147483647 h 37"/>
              <a:gd name="T10" fmla="*/ 2147483647 w 52"/>
              <a:gd name="T11" fmla="*/ 2147483647 h 37"/>
              <a:gd name="T12" fmla="*/ 2147483647 w 52"/>
              <a:gd name="T13" fmla="*/ 2147483647 h 37"/>
              <a:gd name="T14" fmla="*/ 2147483647 w 52"/>
              <a:gd name="T15" fmla="*/ 2147483647 h 37"/>
              <a:gd name="T16" fmla="*/ 2147483647 w 52"/>
              <a:gd name="T17" fmla="*/ 2147483647 h 37"/>
              <a:gd name="T18" fmla="*/ 2147483647 w 52"/>
              <a:gd name="T19" fmla="*/ 2147483647 h 37"/>
              <a:gd name="T20" fmla="*/ 2147483647 w 52"/>
              <a:gd name="T21" fmla="*/ 2147483647 h 37"/>
              <a:gd name="T22" fmla="*/ 2147483647 w 52"/>
              <a:gd name="T23" fmla="*/ 2147483647 h 37"/>
              <a:gd name="T24" fmla="*/ 2147483647 w 52"/>
              <a:gd name="T25" fmla="*/ 2147483647 h 37"/>
              <a:gd name="T26" fmla="*/ 2147483647 w 52"/>
              <a:gd name="T27" fmla="*/ 2147483647 h 37"/>
              <a:gd name="T28" fmla="*/ 2147483647 w 52"/>
              <a:gd name="T29" fmla="*/ 2147483647 h 37"/>
              <a:gd name="T30" fmla="*/ 2147483647 w 52"/>
              <a:gd name="T31" fmla="*/ 2147483647 h 37"/>
              <a:gd name="T32" fmla="*/ 2147483647 w 52"/>
              <a:gd name="T33" fmla="*/ 2147483647 h 37"/>
              <a:gd name="T34" fmla="*/ 2147483647 w 52"/>
              <a:gd name="T35" fmla="*/ 2147483647 h 37"/>
              <a:gd name="T36" fmla="*/ 2147483647 w 52"/>
              <a:gd name="T37" fmla="*/ 2147483647 h 37"/>
              <a:gd name="T38" fmla="*/ 2147483647 w 52"/>
              <a:gd name="T39" fmla="*/ 2147483647 h 37"/>
              <a:gd name="T40" fmla="*/ 2147483647 w 52"/>
              <a:gd name="T41" fmla="*/ 2147483647 h 37"/>
              <a:gd name="T42" fmla="*/ 2147483647 w 52"/>
              <a:gd name="T43" fmla="*/ 2147483647 h 37"/>
              <a:gd name="T44" fmla="*/ 2147483647 w 52"/>
              <a:gd name="T45" fmla="*/ 2147483647 h 37"/>
              <a:gd name="T46" fmla="*/ 2147483647 w 52"/>
              <a:gd name="T47" fmla="*/ 2147483647 h 37"/>
              <a:gd name="T48" fmla="*/ 2147483647 w 52"/>
              <a:gd name="T49" fmla="*/ 2147483647 h 37"/>
              <a:gd name="T50" fmla="*/ 2147483647 w 52"/>
              <a:gd name="T51" fmla="*/ 2147483647 h 37"/>
              <a:gd name="T52" fmla="*/ 2147483647 w 52"/>
              <a:gd name="T53" fmla="*/ 2147483647 h 37"/>
              <a:gd name="T54" fmla="*/ 2147483647 w 52"/>
              <a:gd name="T55" fmla="*/ 0 h 37"/>
              <a:gd name="T56" fmla="*/ 2147483647 w 52"/>
              <a:gd name="T57" fmla="*/ 2147483647 h 37"/>
              <a:gd name="T58" fmla="*/ 2147483647 w 52"/>
              <a:gd name="T59" fmla="*/ 2147483647 h 37"/>
              <a:gd name="T60" fmla="*/ 2147483647 w 52"/>
              <a:gd name="T61" fmla="*/ 2147483647 h 37"/>
              <a:gd name="T62" fmla="*/ 2147483647 w 52"/>
              <a:gd name="T63" fmla="*/ 2147483647 h 37"/>
              <a:gd name="T64" fmla="*/ 2147483647 w 52"/>
              <a:gd name="T65" fmla="*/ 2147483647 h 37"/>
              <a:gd name="T66" fmla="*/ 2147483647 w 52"/>
              <a:gd name="T67" fmla="*/ 2147483647 h 37"/>
              <a:gd name="T68" fmla="*/ 2147483647 w 52"/>
              <a:gd name="T69" fmla="*/ 2147483647 h 37"/>
              <a:gd name="T70" fmla="*/ 0 w 52"/>
              <a:gd name="T71" fmla="*/ 2147483647 h 37"/>
              <a:gd name="T72" fmla="*/ 0 w 52"/>
              <a:gd name="T73" fmla="*/ 2147483647 h 37"/>
              <a:gd name="T74" fmla="*/ 0 w 52"/>
              <a:gd name="T75" fmla="*/ 2147483647 h 3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52"/>
              <a:gd name="T115" fmla="*/ 0 h 37"/>
              <a:gd name="T116" fmla="*/ 52 w 52"/>
              <a:gd name="T117" fmla="*/ 37 h 37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52" h="37">
                <a:moveTo>
                  <a:pt x="0" y="14"/>
                </a:moveTo>
                <a:lnTo>
                  <a:pt x="0" y="14"/>
                </a:lnTo>
                <a:lnTo>
                  <a:pt x="3" y="14"/>
                </a:lnTo>
                <a:lnTo>
                  <a:pt x="14" y="14"/>
                </a:lnTo>
                <a:lnTo>
                  <a:pt x="17" y="20"/>
                </a:lnTo>
                <a:lnTo>
                  <a:pt x="23" y="20"/>
                </a:lnTo>
                <a:lnTo>
                  <a:pt x="26" y="25"/>
                </a:lnTo>
                <a:lnTo>
                  <a:pt x="26" y="28"/>
                </a:lnTo>
                <a:lnTo>
                  <a:pt x="34" y="17"/>
                </a:lnTo>
                <a:lnTo>
                  <a:pt x="37" y="28"/>
                </a:lnTo>
                <a:lnTo>
                  <a:pt x="43" y="34"/>
                </a:lnTo>
                <a:lnTo>
                  <a:pt x="46" y="37"/>
                </a:lnTo>
                <a:lnTo>
                  <a:pt x="43" y="28"/>
                </a:lnTo>
                <a:lnTo>
                  <a:pt x="49" y="22"/>
                </a:lnTo>
                <a:lnTo>
                  <a:pt x="52" y="20"/>
                </a:lnTo>
                <a:lnTo>
                  <a:pt x="52" y="17"/>
                </a:lnTo>
                <a:lnTo>
                  <a:pt x="43" y="14"/>
                </a:lnTo>
                <a:lnTo>
                  <a:pt x="43" y="11"/>
                </a:lnTo>
                <a:lnTo>
                  <a:pt x="46" y="5"/>
                </a:lnTo>
                <a:lnTo>
                  <a:pt x="43" y="5"/>
                </a:lnTo>
                <a:lnTo>
                  <a:pt x="37" y="5"/>
                </a:lnTo>
                <a:lnTo>
                  <a:pt x="37" y="2"/>
                </a:lnTo>
                <a:lnTo>
                  <a:pt x="34" y="0"/>
                </a:lnTo>
                <a:lnTo>
                  <a:pt x="29" y="2"/>
                </a:lnTo>
                <a:lnTo>
                  <a:pt x="20" y="5"/>
                </a:lnTo>
                <a:lnTo>
                  <a:pt x="11" y="2"/>
                </a:lnTo>
                <a:lnTo>
                  <a:pt x="8" y="2"/>
                </a:lnTo>
                <a:lnTo>
                  <a:pt x="0" y="5"/>
                </a:lnTo>
                <a:lnTo>
                  <a:pt x="0" y="11"/>
                </a:lnTo>
                <a:lnTo>
                  <a:pt x="0" y="14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37" name="Freeform 141"/>
          <p:cNvSpPr>
            <a:spLocks/>
          </p:cNvSpPr>
          <p:nvPr/>
        </p:nvSpPr>
        <p:spPr bwMode="gray">
          <a:xfrm>
            <a:off x="5559003" y="1771549"/>
            <a:ext cx="666119" cy="343509"/>
          </a:xfrm>
          <a:custGeom>
            <a:avLst/>
            <a:gdLst>
              <a:gd name="T0" fmla="*/ 2147483647 w 330"/>
              <a:gd name="T1" fmla="*/ 2147483647 h 227"/>
              <a:gd name="T2" fmla="*/ 2147483647 w 330"/>
              <a:gd name="T3" fmla="*/ 2147483647 h 227"/>
              <a:gd name="T4" fmla="*/ 2147483647 w 330"/>
              <a:gd name="T5" fmla="*/ 2147483647 h 227"/>
              <a:gd name="T6" fmla="*/ 2147483647 w 330"/>
              <a:gd name="T7" fmla="*/ 2147483647 h 227"/>
              <a:gd name="T8" fmla="*/ 2147483647 w 330"/>
              <a:gd name="T9" fmla="*/ 2147483647 h 227"/>
              <a:gd name="T10" fmla="*/ 2147483647 w 330"/>
              <a:gd name="T11" fmla="*/ 2147483647 h 227"/>
              <a:gd name="T12" fmla="*/ 2147483647 w 330"/>
              <a:gd name="T13" fmla="*/ 2147483647 h 227"/>
              <a:gd name="T14" fmla="*/ 2147483647 w 330"/>
              <a:gd name="T15" fmla="*/ 2147483647 h 227"/>
              <a:gd name="T16" fmla="*/ 2147483647 w 330"/>
              <a:gd name="T17" fmla="*/ 2147483647 h 227"/>
              <a:gd name="T18" fmla="*/ 2147483647 w 330"/>
              <a:gd name="T19" fmla="*/ 2147483647 h 227"/>
              <a:gd name="T20" fmla="*/ 2147483647 w 330"/>
              <a:gd name="T21" fmla="*/ 2147483647 h 227"/>
              <a:gd name="T22" fmla="*/ 2147483647 w 330"/>
              <a:gd name="T23" fmla="*/ 2147483647 h 227"/>
              <a:gd name="T24" fmla="*/ 2147483647 w 330"/>
              <a:gd name="T25" fmla="*/ 2147483647 h 227"/>
              <a:gd name="T26" fmla="*/ 2147483647 w 330"/>
              <a:gd name="T27" fmla="*/ 2147483647 h 227"/>
              <a:gd name="T28" fmla="*/ 2147483647 w 330"/>
              <a:gd name="T29" fmla="*/ 2147483647 h 227"/>
              <a:gd name="T30" fmla="*/ 2147483647 w 330"/>
              <a:gd name="T31" fmla="*/ 2147483647 h 227"/>
              <a:gd name="T32" fmla="*/ 2147483647 w 330"/>
              <a:gd name="T33" fmla="*/ 2147483647 h 227"/>
              <a:gd name="T34" fmla="*/ 2147483647 w 330"/>
              <a:gd name="T35" fmla="*/ 2147483647 h 227"/>
              <a:gd name="T36" fmla="*/ 2147483647 w 330"/>
              <a:gd name="T37" fmla="*/ 2147483647 h 227"/>
              <a:gd name="T38" fmla="*/ 2147483647 w 330"/>
              <a:gd name="T39" fmla="*/ 2147483647 h 227"/>
              <a:gd name="T40" fmla="*/ 2147483647 w 330"/>
              <a:gd name="T41" fmla="*/ 2147483647 h 227"/>
              <a:gd name="T42" fmla="*/ 2147483647 w 330"/>
              <a:gd name="T43" fmla="*/ 2147483647 h 227"/>
              <a:gd name="T44" fmla="*/ 2147483647 w 330"/>
              <a:gd name="T45" fmla="*/ 2147483647 h 227"/>
              <a:gd name="T46" fmla="*/ 2147483647 w 330"/>
              <a:gd name="T47" fmla="*/ 2147483647 h 227"/>
              <a:gd name="T48" fmla="*/ 2147483647 w 330"/>
              <a:gd name="T49" fmla="*/ 2147483647 h 227"/>
              <a:gd name="T50" fmla="*/ 2147483647 w 330"/>
              <a:gd name="T51" fmla="*/ 2147483647 h 227"/>
              <a:gd name="T52" fmla="*/ 2147483647 w 330"/>
              <a:gd name="T53" fmla="*/ 2147483647 h 227"/>
              <a:gd name="T54" fmla="*/ 2147483647 w 330"/>
              <a:gd name="T55" fmla="*/ 2147483647 h 227"/>
              <a:gd name="T56" fmla="*/ 2147483647 w 330"/>
              <a:gd name="T57" fmla="*/ 2147483647 h 227"/>
              <a:gd name="T58" fmla="*/ 2147483647 w 330"/>
              <a:gd name="T59" fmla="*/ 2147483647 h 227"/>
              <a:gd name="T60" fmla="*/ 2147483647 w 330"/>
              <a:gd name="T61" fmla="*/ 2147483647 h 227"/>
              <a:gd name="T62" fmla="*/ 2147483647 w 330"/>
              <a:gd name="T63" fmla="*/ 2147483647 h 227"/>
              <a:gd name="T64" fmla="*/ 2147483647 w 330"/>
              <a:gd name="T65" fmla="*/ 2147483647 h 227"/>
              <a:gd name="T66" fmla="*/ 2147483647 w 330"/>
              <a:gd name="T67" fmla="*/ 2147483647 h 227"/>
              <a:gd name="T68" fmla="*/ 2147483647 w 330"/>
              <a:gd name="T69" fmla="*/ 0 h 227"/>
              <a:gd name="T70" fmla="*/ 2147483647 w 330"/>
              <a:gd name="T71" fmla="*/ 2147483647 h 227"/>
              <a:gd name="T72" fmla="*/ 2147483647 w 330"/>
              <a:gd name="T73" fmla="*/ 2147483647 h 227"/>
              <a:gd name="T74" fmla="*/ 2147483647 w 330"/>
              <a:gd name="T75" fmla="*/ 2147483647 h 227"/>
              <a:gd name="T76" fmla="*/ 2147483647 w 330"/>
              <a:gd name="T77" fmla="*/ 2147483647 h 227"/>
              <a:gd name="T78" fmla="*/ 2147483647 w 330"/>
              <a:gd name="T79" fmla="*/ 2147483647 h 227"/>
              <a:gd name="T80" fmla="*/ 2147483647 w 330"/>
              <a:gd name="T81" fmla="*/ 2147483647 h 227"/>
              <a:gd name="T82" fmla="*/ 2147483647 w 330"/>
              <a:gd name="T83" fmla="*/ 2147483647 h 227"/>
              <a:gd name="T84" fmla="*/ 2147483647 w 330"/>
              <a:gd name="T85" fmla="*/ 2147483647 h 227"/>
              <a:gd name="T86" fmla="*/ 2147483647 w 330"/>
              <a:gd name="T87" fmla="*/ 2147483647 h 227"/>
              <a:gd name="T88" fmla="*/ 2147483647 w 330"/>
              <a:gd name="T89" fmla="*/ 2147483647 h 227"/>
              <a:gd name="T90" fmla="*/ 2147483647 w 330"/>
              <a:gd name="T91" fmla="*/ 2147483647 h 227"/>
              <a:gd name="T92" fmla="*/ 2147483647 w 330"/>
              <a:gd name="T93" fmla="*/ 2147483647 h 227"/>
              <a:gd name="T94" fmla="*/ 2147483647 w 330"/>
              <a:gd name="T95" fmla="*/ 2147483647 h 227"/>
              <a:gd name="T96" fmla="*/ 2147483647 w 330"/>
              <a:gd name="T97" fmla="*/ 2147483647 h 227"/>
              <a:gd name="T98" fmla="*/ 2147483647 w 330"/>
              <a:gd name="T99" fmla="*/ 2147483647 h 227"/>
              <a:gd name="T100" fmla="*/ 2147483647 w 330"/>
              <a:gd name="T101" fmla="*/ 2147483647 h 227"/>
              <a:gd name="T102" fmla="*/ 2147483647 w 330"/>
              <a:gd name="T103" fmla="*/ 2147483647 h 227"/>
              <a:gd name="T104" fmla="*/ 2147483647 w 330"/>
              <a:gd name="T105" fmla="*/ 2147483647 h 227"/>
              <a:gd name="T106" fmla="*/ 2147483647 w 330"/>
              <a:gd name="T107" fmla="*/ 2147483647 h 227"/>
              <a:gd name="T108" fmla="*/ 2147483647 w 330"/>
              <a:gd name="T109" fmla="*/ 2147483647 h 227"/>
              <a:gd name="T110" fmla="*/ 2147483647 w 330"/>
              <a:gd name="T111" fmla="*/ 2147483647 h 227"/>
              <a:gd name="T112" fmla="*/ 2147483647 w 330"/>
              <a:gd name="T113" fmla="*/ 2147483647 h 227"/>
              <a:gd name="T114" fmla="*/ 2147483647 w 330"/>
              <a:gd name="T115" fmla="*/ 2147483647 h 227"/>
              <a:gd name="T116" fmla="*/ 2147483647 w 330"/>
              <a:gd name="T117" fmla="*/ 2147483647 h 227"/>
              <a:gd name="T118" fmla="*/ 2147483647 w 330"/>
              <a:gd name="T119" fmla="*/ 2147483647 h 227"/>
              <a:gd name="T120" fmla="*/ 2147483647 w 330"/>
              <a:gd name="T121" fmla="*/ 2147483647 h 22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330"/>
              <a:gd name="T184" fmla="*/ 0 h 227"/>
              <a:gd name="T185" fmla="*/ 330 w 330"/>
              <a:gd name="T186" fmla="*/ 227 h 227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330" h="227">
                <a:moveTo>
                  <a:pt x="6" y="158"/>
                </a:moveTo>
                <a:lnTo>
                  <a:pt x="12" y="155"/>
                </a:lnTo>
                <a:lnTo>
                  <a:pt x="20" y="158"/>
                </a:lnTo>
                <a:lnTo>
                  <a:pt x="14" y="161"/>
                </a:lnTo>
                <a:lnTo>
                  <a:pt x="9" y="161"/>
                </a:lnTo>
                <a:lnTo>
                  <a:pt x="3" y="164"/>
                </a:lnTo>
                <a:lnTo>
                  <a:pt x="3" y="170"/>
                </a:lnTo>
                <a:lnTo>
                  <a:pt x="9" y="170"/>
                </a:lnTo>
                <a:lnTo>
                  <a:pt x="12" y="170"/>
                </a:lnTo>
                <a:lnTo>
                  <a:pt x="12" y="172"/>
                </a:lnTo>
                <a:lnTo>
                  <a:pt x="3" y="175"/>
                </a:lnTo>
                <a:lnTo>
                  <a:pt x="3" y="187"/>
                </a:lnTo>
                <a:lnTo>
                  <a:pt x="12" y="190"/>
                </a:lnTo>
                <a:lnTo>
                  <a:pt x="20" y="184"/>
                </a:lnTo>
                <a:lnTo>
                  <a:pt x="20" y="190"/>
                </a:lnTo>
                <a:lnTo>
                  <a:pt x="12" y="190"/>
                </a:lnTo>
                <a:lnTo>
                  <a:pt x="6" y="192"/>
                </a:lnTo>
                <a:lnTo>
                  <a:pt x="3" y="201"/>
                </a:lnTo>
                <a:lnTo>
                  <a:pt x="3" y="207"/>
                </a:lnTo>
                <a:lnTo>
                  <a:pt x="12" y="204"/>
                </a:lnTo>
                <a:lnTo>
                  <a:pt x="14" y="204"/>
                </a:lnTo>
                <a:lnTo>
                  <a:pt x="14" y="207"/>
                </a:lnTo>
                <a:lnTo>
                  <a:pt x="12" y="210"/>
                </a:lnTo>
                <a:lnTo>
                  <a:pt x="9" y="213"/>
                </a:lnTo>
                <a:lnTo>
                  <a:pt x="9" y="215"/>
                </a:lnTo>
                <a:lnTo>
                  <a:pt x="17" y="221"/>
                </a:lnTo>
                <a:lnTo>
                  <a:pt x="26" y="224"/>
                </a:lnTo>
                <a:lnTo>
                  <a:pt x="37" y="227"/>
                </a:lnTo>
                <a:lnTo>
                  <a:pt x="43" y="224"/>
                </a:lnTo>
                <a:lnTo>
                  <a:pt x="49" y="224"/>
                </a:lnTo>
                <a:lnTo>
                  <a:pt x="52" y="221"/>
                </a:lnTo>
                <a:lnTo>
                  <a:pt x="63" y="210"/>
                </a:lnTo>
                <a:lnTo>
                  <a:pt x="63" y="207"/>
                </a:lnTo>
                <a:lnTo>
                  <a:pt x="66" y="207"/>
                </a:lnTo>
                <a:lnTo>
                  <a:pt x="72" y="207"/>
                </a:lnTo>
                <a:lnTo>
                  <a:pt x="75" y="207"/>
                </a:lnTo>
                <a:lnTo>
                  <a:pt x="75" y="201"/>
                </a:lnTo>
                <a:lnTo>
                  <a:pt x="75" y="198"/>
                </a:lnTo>
                <a:lnTo>
                  <a:pt x="78" y="195"/>
                </a:lnTo>
                <a:lnTo>
                  <a:pt x="80" y="201"/>
                </a:lnTo>
                <a:lnTo>
                  <a:pt x="80" y="204"/>
                </a:lnTo>
                <a:lnTo>
                  <a:pt x="83" y="207"/>
                </a:lnTo>
                <a:lnTo>
                  <a:pt x="89" y="204"/>
                </a:lnTo>
                <a:lnTo>
                  <a:pt x="92" y="207"/>
                </a:lnTo>
                <a:lnTo>
                  <a:pt x="95" y="192"/>
                </a:lnTo>
                <a:lnTo>
                  <a:pt x="98" y="192"/>
                </a:lnTo>
                <a:lnTo>
                  <a:pt x="101" y="190"/>
                </a:lnTo>
                <a:lnTo>
                  <a:pt x="103" y="190"/>
                </a:lnTo>
                <a:lnTo>
                  <a:pt x="103" y="184"/>
                </a:lnTo>
                <a:lnTo>
                  <a:pt x="101" y="178"/>
                </a:lnTo>
                <a:lnTo>
                  <a:pt x="101" y="175"/>
                </a:lnTo>
                <a:lnTo>
                  <a:pt x="101" y="172"/>
                </a:lnTo>
                <a:lnTo>
                  <a:pt x="103" y="170"/>
                </a:lnTo>
                <a:lnTo>
                  <a:pt x="109" y="170"/>
                </a:lnTo>
                <a:lnTo>
                  <a:pt x="109" y="167"/>
                </a:lnTo>
                <a:lnTo>
                  <a:pt x="106" y="167"/>
                </a:lnTo>
                <a:lnTo>
                  <a:pt x="98" y="161"/>
                </a:lnTo>
                <a:lnTo>
                  <a:pt x="98" y="158"/>
                </a:lnTo>
                <a:lnTo>
                  <a:pt x="98" y="149"/>
                </a:lnTo>
                <a:lnTo>
                  <a:pt x="95" y="141"/>
                </a:lnTo>
                <a:lnTo>
                  <a:pt x="95" y="138"/>
                </a:lnTo>
                <a:lnTo>
                  <a:pt x="98" y="135"/>
                </a:lnTo>
                <a:lnTo>
                  <a:pt x="95" y="132"/>
                </a:lnTo>
                <a:lnTo>
                  <a:pt x="98" y="126"/>
                </a:lnTo>
                <a:lnTo>
                  <a:pt x="101" y="121"/>
                </a:lnTo>
                <a:lnTo>
                  <a:pt x="106" y="118"/>
                </a:lnTo>
                <a:lnTo>
                  <a:pt x="112" y="118"/>
                </a:lnTo>
                <a:lnTo>
                  <a:pt x="121" y="118"/>
                </a:lnTo>
                <a:lnTo>
                  <a:pt x="123" y="115"/>
                </a:lnTo>
                <a:lnTo>
                  <a:pt x="118" y="112"/>
                </a:lnTo>
                <a:lnTo>
                  <a:pt x="126" y="98"/>
                </a:lnTo>
                <a:lnTo>
                  <a:pt x="129" y="81"/>
                </a:lnTo>
                <a:lnTo>
                  <a:pt x="141" y="81"/>
                </a:lnTo>
                <a:lnTo>
                  <a:pt x="141" y="75"/>
                </a:lnTo>
                <a:lnTo>
                  <a:pt x="138" y="75"/>
                </a:lnTo>
                <a:lnTo>
                  <a:pt x="149" y="66"/>
                </a:lnTo>
                <a:lnTo>
                  <a:pt x="146" y="60"/>
                </a:lnTo>
                <a:lnTo>
                  <a:pt x="152" y="58"/>
                </a:lnTo>
                <a:lnTo>
                  <a:pt x="155" y="55"/>
                </a:lnTo>
                <a:lnTo>
                  <a:pt x="158" y="52"/>
                </a:lnTo>
                <a:lnTo>
                  <a:pt x="164" y="49"/>
                </a:lnTo>
                <a:lnTo>
                  <a:pt x="169" y="52"/>
                </a:lnTo>
                <a:lnTo>
                  <a:pt x="172" y="40"/>
                </a:lnTo>
                <a:lnTo>
                  <a:pt x="178" y="40"/>
                </a:lnTo>
                <a:lnTo>
                  <a:pt x="184" y="40"/>
                </a:lnTo>
                <a:lnTo>
                  <a:pt x="190" y="43"/>
                </a:lnTo>
                <a:lnTo>
                  <a:pt x="195" y="43"/>
                </a:lnTo>
                <a:lnTo>
                  <a:pt x="198" y="43"/>
                </a:lnTo>
                <a:lnTo>
                  <a:pt x="198" y="35"/>
                </a:lnTo>
                <a:lnTo>
                  <a:pt x="198" y="32"/>
                </a:lnTo>
                <a:lnTo>
                  <a:pt x="207" y="32"/>
                </a:lnTo>
                <a:lnTo>
                  <a:pt x="210" y="29"/>
                </a:lnTo>
                <a:lnTo>
                  <a:pt x="215" y="26"/>
                </a:lnTo>
                <a:lnTo>
                  <a:pt x="218" y="29"/>
                </a:lnTo>
                <a:lnTo>
                  <a:pt x="224" y="35"/>
                </a:lnTo>
                <a:lnTo>
                  <a:pt x="227" y="37"/>
                </a:lnTo>
                <a:lnTo>
                  <a:pt x="241" y="37"/>
                </a:lnTo>
                <a:lnTo>
                  <a:pt x="244" y="37"/>
                </a:lnTo>
                <a:lnTo>
                  <a:pt x="247" y="37"/>
                </a:lnTo>
                <a:lnTo>
                  <a:pt x="250" y="37"/>
                </a:lnTo>
                <a:lnTo>
                  <a:pt x="256" y="40"/>
                </a:lnTo>
                <a:lnTo>
                  <a:pt x="261" y="35"/>
                </a:lnTo>
                <a:lnTo>
                  <a:pt x="264" y="35"/>
                </a:lnTo>
                <a:lnTo>
                  <a:pt x="267" y="35"/>
                </a:lnTo>
                <a:lnTo>
                  <a:pt x="267" y="29"/>
                </a:lnTo>
                <a:lnTo>
                  <a:pt x="267" y="23"/>
                </a:lnTo>
                <a:lnTo>
                  <a:pt x="278" y="17"/>
                </a:lnTo>
                <a:lnTo>
                  <a:pt x="290" y="14"/>
                </a:lnTo>
                <a:lnTo>
                  <a:pt x="299" y="17"/>
                </a:lnTo>
                <a:lnTo>
                  <a:pt x="310" y="20"/>
                </a:lnTo>
                <a:lnTo>
                  <a:pt x="310" y="23"/>
                </a:lnTo>
                <a:lnTo>
                  <a:pt x="313" y="29"/>
                </a:lnTo>
                <a:lnTo>
                  <a:pt x="310" y="29"/>
                </a:lnTo>
                <a:lnTo>
                  <a:pt x="307" y="32"/>
                </a:lnTo>
                <a:lnTo>
                  <a:pt x="307" y="35"/>
                </a:lnTo>
                <a:lnTo>
                  <a:pt x="310" y="32"/>
                </a:lnTo>
                <a:lnTo>
                  <a:pt x="319" y="26"/>
                </a:lnTo>
                <a:lnTo>
                  <a:pt x="324" y="23"/>
                </a:lnTo>
                <a:lnTo>
                  <a:pt x="327" y="23"/>
                </a:lnTo>
                <a:lnTo>
                  <a:pt x="330" y="20"/>
                </a:lnTo>
                <a:lnTo>
                  <a:pt x="322" y="20"/>
                </a:lnTo>
                <a:lnTo>
                  <a:pt x="316" y="17"/>
                </a:lnTo>
                <a:lnTo>
                  <a:pt x="322" y="14"/>
                </a:lnTo>
                <a:lnTo>
                  <a:pt x="327" y="14"/>
                </a:lnTo>
                <a:lnTo>
                  <a:pt x="330" y="12"/>
                </a:lnTo>
                <a:lnTo>
                  <a:pt x="319" y="9"/>
                </a:lnTo>
                <a:lnTo>
                  <a:pt x="307" y="6"/>
                </a:lnTo>
                <a:lnTo>
                  <a:pt x="301" y="3"/>
                </a:lnTo>
                <a:lnTo>
                  <a:pt x="296" y="9"/>
                </a:lnTo>
                <a:lnTo>
                  <a:pt x="293" y="6"/>
                </a:lnTo>
                <a:lnTo>
                  <a:pt x="296" y="0"/>
                </a:lnTo>
                <a:lnTo>
                  <a:pt x="281" y="0"/>
                </a:lnTo>
                <a:lnTo>
                  <a:pt x="281" y="6"/>
                </a:lnTo>
                <a:lnTo>
                  <a:pt x="278" y="9"/>
                </a:lnTo>
                <a:lnTo>
                  <a:pt x="276" y="12"/>
                </a:lnTo>
                <a:lnTo>
                  <a:pt x="273" y="9"/>
                </a:lnTo>
                <a:lnTo>
                  <a:pt x="276" y="3"/>
                </a:lnTo>
                <a:lnTo>
                  <a:pt x="267" y="6"/>
                </a:lnTo>
                <a:lnTo>
                  <a:pt x="258" y="17"/>
                </a:lnTo>
                <a:lnTo>
                  <a:pt x="256" y="14"/>
                </a:lnTo>
                <a:lnTo>
                  <a:pt x="256" y="12"/>
                </a:lnTo>
                <a:lnTo>
                  <a:pt x="264" y="6"/>
                </a:lnTo>
                <a:lnTo>
                  <a:pt x="267" y="0"/>
                </a:lnTo>
                <a:lnTo>
                  <a:pt x="261" y="0"/>
                </a:lnTo>
                <a:lnTo>
                  <a:pt x="258" y="3"/>
                </a:lnTo>
                <a:lnTo>
                  <a:pt x="253" y="3"/>
                </a:lnTo>
                <a:lnTo>
                  <a:pt x="247" y="0"/>
                </a:lnTo>
                <a:lnTo>
                  <a:pt x="247" y="6"/>
                </a:lnTo>
                <a:lnTo>
                  <a:pt x="244" y="12"/>
                </a:lnTo>
                <a:lnTo>
                  <a:pt x="238" y="17"/>
                </a:lnTo>
                <a:lnTo>
                  <a:pt x="235" y="12"/>
                </a:lnTo>
                <a:lnTo>
                  <a:pt x="241" y="9"/>
                </a:lnTo>
                <a:lnTo>
                  <a:pt x="238" y="9"/>
                </a:lnTo>
                <a:lnTo>
                  <a:pt x="233" y="9"/>
                </a:lnTo>
                <a:lnTo>
                  <a:pt x="235" y="6"/>
                </a:lnTo>
                <a:lnTo>
                  <a:pt x="230" y="6"/>
                </a:lnTo>
                <a:lnTo>
                  <a:pt x="221" y="6"/>
                </a:lnTo>
                <a:lnTo>
                  <a:pt x="215" y="9"/>
                </a:lnTo>
                <a:lnTo>
                  <a:pt x="221" y="9"/>
                </a:lnTo>
                <a:lnTo>
                  <a:pt x="224" y="12"/>
                </a:lnTo>
                <a:lnTo>
                  <a:pt x="221" y="14"/>
                </a:lnTo>
                <a:lnTo>
                  <a:pt x="215" y="12"/>
                </a:lnTo>
                <a:lnTo>
                  <a:pt x="210" y="14"/>
                </a:lnTo>
                <a:lnTo>
                  <a:pt x="207" y="20"/>
                </a:lnTo>
                <a:lnTo>
                  <a:pt x="204" y="17"/>
                </a:lnTo>
                <a:lnTo>
                  <a:pt x="201" y="14"/>
                </a:lnTo>
                <a:lnTo>
                  <a:pt x="198" y="17"/>
                </a:lnTo>
                <a:lnTo>
                  <a:pt x="195" y="20"/>
                </a:lnTo>
                <a:lnTo>
                  <a:pt x="192" y="23"/>
                </a:lnTo>
                <a:lnTo>
                  <a:pt x="190" y="23"/>
                </a:lnTo>
                <a:lnTo>
                  <a:pt x="192" y="20"/>
                </a:lnTo>
                <a:lnTo>
                  <a:pt x="192" y="17"/>
                </a:lnTo>
                <a:lnTo>
                  <a:pt x="192" y="14"/>
                </a:lnTo>
                <a:lnTo>
                  <a:pt x="187" y="17"/>
                </a:lnTo>
                <a:lnTo>
                  <a:pt x="184" y="14"/>
                </a:lnTo>
                <a:lnTo>
                  <a:pt x="181" y="17"/>
                </a:lnTo>
                <a:lnTo>
                  <a:pt x="178" y="17"/>
                </a:lnTo>
                <a:lnTo>
                  <a:pt x="178" y="20"/>
                </a:lnTo>
                <a:lnTo>
                  <a:pt x="172" y="26"/>
                </a:lnTo>
                <a:lnTo>
                  <a:pt x="169" y="29"/>
                </a:lnTo>
                <a:lnTo>
                  <a:pt x="167" y="26"/>
                </a:lnTo>
                <a:lnTo>
                  <a:pt x="167" y="23"/>
                </a:lnTo>
                <a:lnTo>
                  <a:pt x="164" y="26"/>
                </a:lnTo>
                <a:lnTo>
                  <a:pt x="158" y="29"/>
                </a:lnTo>
                <a:lnTo>
                  <a:pt x="158" y="35"/>
                </a:lnTo>
                <a:lnTo>
                  <a:pt x="161" y="32"/>
                </a:lnTo>
                <a:lnTo>
                  <a:pt x="164" y="29"/>
                </a:lnTo>
                <a:lnTo>
                  <a:pt x="164" y="35"/>
                </a:lnTo>
                <a:lnTo>
                  <a:pt x="164" y="37"/>
                </a:lnTo>
                <a:lnTo>
                  <a:pt x="161" y="35"/>
                </a:lnTo>
                <a:lnTo>
                  <a:pt x="155" y="40"/>
                </a:lnTo>
                <a:lnTo>
                  <a:pt x="152" y="37"/>
                </a:lnTo>
                <a:lnTo>
                  <a:pt x="146" y="37"/>
                </a:lnTo>
                <a:lnTo>
                  <a:pt x="144" y="37"/>
                </a:lnTo>
                <a:lnTo>
                  <a:pt x="146" y="32"/>
                </a:lnTo>
                <a:lnTo>
                  <a:pt x="144" y="29"/>
                </a:lnTo>
                <a:lnTo>
                  <a:pt x="138" y="35"/>
                </a:lnTo>
                <a:lnTo>
                  <a:pt x="135" y="37"/>
                </a:lnTo>
                <a:lnTo>
                  <a:pt x="135" y="35"/>
                </a:lnTo>
                <a:lnTo>
                  <a:pt x="123" y="37"/>
                </a:lnTo>
                <a:lnTo>
                  <a:pt x="126" y="40"/>
                </a:lnTo>
                <a:lnTo>
                  <a:pt x="126" y="43"/>
                </a:lnTo>
                <a:lnTo>
                  <a:pt x="123" y="43"/>
                </a:lnTo>
                <a:lnTo>
                  <a:pt x="118" y="46"/>
                </a:lnTo>
                <a:lnTo>
                  <a:pt x="106" y="52"/>
                </a:lnTo>
                <a:lnTo>
                  <a:pt x="118" y="52"/>
                </a:lnTo>
                <a:lnTo>
                  <a:pt x="123" y="49"/>
                </a:lnTo>
                <a:lnTo>
                  <a:pt x="126" y="49"/>
                </a:lnTo>
                <a:lnTo>
                  <a:pt x="135" y="46"/>
                </a:lnTo>
                <a:lnTo>
                  <a:pt x="141" y="46"/>
                </a:lnTo>
                <a:lnTo>
                  <a:pt x="144" y="43"/>
                </a:lnTo>
                <a:lnTo>
                  <a:pt x="149" y="46"/>
                </a:lnTo>
                <a:lnTo>
                  <a:pt x="146" y="46"/>
                </a:lnTo>
                <a:lnTo>
                  <a:pt x="144" y="49"/>
                </a:lnTo>
                <a:lnTo>
                  <a:pt x="135" y="52"/>
                </a:lnTo>
                <a:lnTo>
                  <a:pt x="132" y="52"/>
                </a:lnTo>
                <a:lnTo>
                  <a:pt x="129" y="55"/>
                </a:lnTo>
                <a:lnTo>
                  <a:pt x="132" y="60"/>
                </a:lnTo>
                <a:lnTo>
                  <a:pt x="123" y="66"/>
                </a:lnTo>
                <a:lnTo>
                  <a:pt x="112" y="75"/>
                </a:lnTo>
                <a:lnTo>
                  <a:pt x="109" y="81"/>
                </a:lnTo>
                <a:lnTo>
                  <a:pt x="106" y="83"/>
                </a:lnTo>
                <a:lnTo>
                  <a:pt x="103" y="81"/>
                </a:lnTo>
                <a:lnTo>
                  <a:pt x="101" y="83"/>
                </a:lnTo>
                <a:lnTo>
                  <a:pt x="101" y="89"/>
                </a:lnTo>
                <a:lnTo>
                  <a:pt x="98" y="98"/>
                </a:lnTo>
                <a:lnTo>
                  <a:pt x="92" y="101"/>
                </a:lnTo>
                <a:lnTo>
                  <a:pt x="89" y="103"/>
                </a:lnTo>
                <a:lnTo>
                  <a:pt x="80" y="103"/>
                </a:lnTo>
                <a:lnTo>
                  <a:pt x="86" y="106"/>
                </a:lnTo>
                <a:lnTo>
                  <a:pt x="83" y="109"/>
                </a:lnTo>
                <a:lnTo>
                  <a:pt x="80" y="109"/>
                </a:lnTo>
                <a:lnTo>
                  <a:pt x="75" y="115"/>
                </a:lnTo>
                <a:lnTo>
                  <a:pt x="72" y="118"/>
                </a:lnTo>
                <a:lnTo>
                  <a:pt x="69" y="121"/>
                </a:lnTo>
                <a:lnTo>
                  <a:pt x="63" y="124"/>
                </a:lnTo>
                <a:lnTo>
                  <a:pt x="63" y="126"/>
                </a:lnTo>
                <a:lnTo>
                  <a:pt x="57" y="132"/>
                </a:lnTo>
                <a:lnTo>
                  <a:pt x="57" y="126"/>
                </a:lnTo>
                <a:lnTo>
                  <a:pt x="52" y="124"/>
                </a:lnTo>
                <a:lnTo>
                  <a:pt x="46" y="124"/>
                </a:lnTo>
                <a:lnTo>
                  <a:pt x="49" y="129"/>
                </a:lnTo>
                <a:lnTo>
                  <a:pt x="55" y="132"/>
                </a:lnTo>
                <a:lnTo>
                  <a:pt x="46" y="135"/>
                </a:lnTo>
                <a:lnTo>
                  <a:pt x="43" y="129"/>
                </a:lnTo>
                <a:lnTo>
                  <a:pt x="40" y="132"/>
                </a:lnTo>
                <a:lnTo>
                  <a:pt x="43" y="135"/>
                </a:lnTo>
                <a:lnTo>
                  <a:pt x="37" y="132"/>
                </a:lnTo>
                <a:lnTo>
                  <a:pt x="37" y="138"/>
                </a:lnTo>
                <a:lnTo>
                  <a:pt x="40" y="138"/>
                </a:lnTo>
                <a:lnTo>
                  <a:pt x="40" y="141"/>
                </a:lnTo>
                <a:lnTo>
                  <a:pt x="32" y="141"/>
                </a:lnTo>
                <a:lnTo>
                  <a:pt x="32" y="135"/>
                </a:lnTo>
                <a:lnTo>
                  <a:pt x="26" y="141"/>
                </a:lnTo>
                <a:lnTo>
                  <a:pt x="20" y="144"/>
                </a:lnTo>
                <a:lnTo>
                  <a:pt x="20" y="149"/>
                </a:lnTo>
                <a:lnTo>
                  <a:pt x="23" y="149"/>
                </a:lnTo>
                <a:lnTo>
                  <a:pt x="20" y="152"/>
                </a:lnTo>
                <a:lnTo>
                  <a:pt x="17" y="147"/>
                </a:lnTo>
                <a:lnTo>
                  <a:pt x="9" y="152"/>
                </a:lnTo>
                <a:lnTo>
                  <a:pt x="3" y="149"/>
                </a:lnTo>
                <a:lnTo>
                  <a:pt x="3" y="155"/>
                </a:lnTo>
                <a:lnTo>
                  <a:pt x="0" y="161"/>
                </a:lnTo>
                <a:lnTo>
                  <a:pt x="6" y="158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38" name="Freeform 142"/>
          <p:cNvSpPr>
            <a:spLocks/>
          </p:cNvSpPr>
          <p:nvPr/>
        </p:nvSpPr>
        <p:spPr bwMode="gray">
          <a:xfrm>
            <a:off x="5262948" y="2215561"/>
            <a:ext cx="16003" cy="9000"/>
          </a:xfrm>
          <a:custGeom>
            <a:avLst/>
            <a:gdLst>
              <a:gd name="T0" fmla="*/ 2147483647 w 8"/>
              <a:gd name="T1" fmla="*/ 0 h 6"/>
              <a:gd name="T2" fmla="*/ 0 w 8"/>
              <a:gd name="T3" fmla="*/ 2147483647 h 6"/>
              <a:gd name="T4" fmla="*/ 2147483647 w 8"/>
              <a:gd name="T5" fmla="*/ 2147483647 h 6"/>
              <a:gd name="T6" fmla="*/ 2147483647 w 8"/>
              <a:gd name="T7" fmla="*/ 2147483647 h 6"/>
              <a:gd name="T8" fmla="*/ 2147483647 w 8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"/>
              <a:gd name="T16" fmla="*/ 0 h 6"/>
              <a:gd name="T17" fmla="*/ 8 w 8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" h="6">
                <a:moveTo>
                  <a:pt x="5" y="0"/>
                </a:moveTo>
                <a:lnTo>
                  <a:pt x="0" y="6"/>
                </a:lnTo>
                <a:lnTo>
                  <a:pt x="5" y="6"/>
                </a:lnTo>
                <a:lnTo>
                  <a:pt x="8" y="3"/>
                </a:lnTo>
                <a:lnTo>
                  <a:pt x="5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39" name="Freeform 143"/>
          <p:cNvSpPr>
            <a:spLocks/>
          </p:cNvSpPr>
          <p:nvPr/>
        </p:nvSpPr>
        <p:spPr bwMode="gray">
          <a:xfrm>
            <a:off x="5082916" y="1527042"/>
            <a:ext cx="18003" cy="9000"/>
          </a:xfrm>
          <a:custGeom>
            <a:avLst/>
            <a:gdLst>
              <a:gd name="T0" fmla="*/ 2147483647 w 8"/>
              <a:gd name="T1" fmla="*/ 2147483647 h 6"/>
              <a:gd name="T2" fmla="*/ 2147483647 w 8"/>
              <a:gd name="T3" fmla="*/ 0 h 6"/>
              <a:gd name="T4" fmla="*/ 0 w 8"/>
              <a:gd name="T5" fmla="*/ 2147483647 h 6"/>
              <a:gd name="T6" fmla="*/ 2147483647 w 8"/>
              <a:gd name="T7" fmla="*/ 2147483647 h 6"/>
              <a:gd name="T8" fmla="*/ 2147483647 w 8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"/>
              <a:gd name="T16" fmla="*/ 0 h 6"/>
              <a:gd name="T17" fmla="*/ 8 w 8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" h="6">
                <a:moveTo>
                  <a:pt x="8" y="6"/>
                </a:moveTo>
                <a:lnTo>
                  <a:pt x="5" y="0"/>
                </a:lnTo>
                <a:lnTo>
                  <a:pt x="0" y="3"/>
                </a:lnTo>
                <a:lnTo>
                  <a:pt x="3" y="6"/>
                </a:lnTo>
                <a:lnTo>
                  <a:pt x="8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40" name="Freeform 144"/>
          <p:cNvSpPr>
            <a:spLocks/>
          </p:cNvSpPr>
          <p:nvPr/>
        </p:nvSpPr>
        <p:spPr bwMode="gray">
          <a:xfrm>
            <a:off x="5058912" y="1522542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0 h 6"/>
              <a:gd name="T4" fmla="*/ 0 w 6"/>
              <a:gd name="T5" fmla="*/ 2147483647 h 6"/>
              <a:gd name="T6" fmla="*/ 2147483647 w 6"/>
              <a:gd name="T7" fmla="*/ 2147483647 h 6"/>
              <a:gd name="T8" fmla="*/ 2147483647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6" y="6"/>
                </a:move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lnTo>
                  <a:pt x="6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41" name="Freeform 145"/>
          <p:cNvSpPr>
            <a:spLocks/>
          </p:cNvSpPr>
          <p:nvPr/>
        </p:nvSpPr>
        <p:spPr bwMode="gray">
          <a:xfrm>
            <a:off x="5226943" y="2101557"/>
            <a:ext cx="226040" cy="234006"/>
          </a:xfrm>
          <a:custGeom>
            <a:avLst/>
            <a:gdLst>
              <a:gd name="T0" fmla="*/ 2147483647 w 112"/>
              <a:gd name="T1" fmla="*/ 2147483647 h 155"/>
              <a:gd name="T2" fmla="*/ 2147483647 w 112"/>
              <a:gd name="T3" fmla="*/ 2147483647 h 155"/>
              <a:gd name="T4" fmla="*/ 2147483647 w 112"/>
              <a:gd name="T5" fmla="*/ 2147483647 h 155"/>
              <a:gd name="T6" fmla="*/ 2147483647 w 112"/>
              <a:gd name="T7" fmla="*/ 2147483647 h 155"/>
              <a:gd name="T8" fmla="*/ 0 w 112"/>
              <a:gd name="T9" fmla="*/ 2147483647 h 155"/>
              <a:gd name="T10" fmla="*/ 2147483647 w 112"/>
              <a:gd name="T11" fmla="*/ 2147483647 h 155"/>
              <a:gd name="T12" fmla="*/ 2147483647 w 112"/>
              <a:gd name="T13" fmla="*/ 2147483647 h 155"/>
              <a:gd name="T14" fmla="*/ 2147483647 w 112"/>
              <a:gd name="T15" fmla="*/ 2147483647 h 155"/>
              <a:gd name="T16" fmla="*/ 2147483647 w 112"/>
              <a:gd name="T17" fmla="*/ 2147483647 h 155"/>
              <a:gd name="T18" fmla="*/ 2147483647 w 112"/>
              <a:gd name="T19" fmla="*/ 2147483647 h 155"/>
              <a:gd name="T20" fmla="*/ 2147483647 w 112"/>
              <a:gd name="T21" fmla="*/ 2147483647 h 155"/>
              <a:gd name="T22" fmla="*/ 2147483647 w 112"/>
              <a:gd name="T23" fmla="*/ 2147483647 h 155"/>
              <a:gd name="T24" fmla="*/ 2147483647 w 112"/>
              <a:gd name="T25" fmla="*/ 2147483647 h 155"/>
              <a:gd name="T26" fmla="*/ 2147483647 w 112"/>
              <a:gd name="T27" fmla="*/ 2147483647 h 155"/>
              <a:gd name="T28" fmla="*/ 2147483647 w 112"/>
              <a:gd name="T29" fmla="*/ 2147483647 h 155"/>
              <a:gd name="T30" fmla="*/ 2147483647 w 112"/>
              <a:gd name="T31" fmla="*/ 2147483647 h 155"/>
              <a:gd name="T32" fmla="*/ 2147483647 w 112"/>
              <a:gd name="T33" fmla="*/ 2147483647 h 155"/>
              <a:gd name="T34" fmla="*/ 2147483647 w 112"/>
              <a:gd name="T35" fmla="*/ 2147483647 h 155"/>
              <a:gd name="T36" fmla="*/ 2147483647 w 112"/>
              <a:gd name="T37" fmla="*/ 2147483647 h 155"/>
              <a:gd name="T38" fmla="*/ 2147483647 w 112"/>
              <a:gd name="T39" fmla="*/ 2147483647 h 155"/>
              <a:gd name="T40" fmla="*/ 2147483647 w 112"/>
              <a:gd name="T41" fmla="*/ 2147483647 h 155"/>
              <a:gd name="T42" fmla="*/ 2147483647 w 112"/>
              <a:gd name="T43" fmla="*/ 2147483647 h 155"/>
              <a:gd name="T44" fmla="*/ 2147483647 w 112"/>
              <a:gd name="T45" fmla="*/ 2147483647 h 155"/>
              <a:gd name="T46" fmla="*/ 2147483647 w 112"/>
              <a:gd name="T47" fmla="*/ 2147483647 h 155"/>
              <a:gd name="T48" fmla="*/ 2147483647 w 112"/>
              <a:gd name="T49" fmla="*/ 2147483647 h 155"/>
              <a:gd name="T50" fmla="*/ 2147483647 w 112"/>
              <a:gd name="T51" fmla="*/ 2147483647 h 155"/>
              <a:gd name="T52" fmla="*/ 2147483647 w 112"/>
              <a:gd name="T53" fmla="*/ 2147483647 h 155"/>
              <a:gd name="T54" fmla="*/ 0 w 112"/>
              <a:gd name="T55" fmla="*/ 2147483647 h 155"/>
              <a:gd name="T56" fmla="*/ 2147483647 w 112"/>
              <a:gd name="T57" fmla="*/ 2147483647 h 155"/>
              <a:gd name="T58" fmla="*/ 2147483647 w 112"/>
              <a:gd name="T59" fmla="*/ 2147483647 h 155"/>
              <a:gd name="T60" fmla="*/ 2147483647 w 112"/>
              <a:gd name="T61" fmla="*/ 2147483647 h 155"/>
              <a:gd name="T62" fmla="*/ 2147483647 w 112"/>
              <a:gd name="T63" fmla="*/ 2147483647 h 155"/>
              <a:gd name="T64" fmla="*/ 2147483647 w 112"/>
              <a:gd name="T65" fmla="*/ 2147483647 h 155"/>
              <a:gd name="T66" fmla="*/ 2147483647 w 112"/>
              <a:gd name="T67" fmla="*/ 2147483647 h 155"/>
              <a:gd name="T68" fmla="*/ 2147483647 w 112"/>
              <a:gd name="T69" fmla="*/ 2147483647 h 155"/>
              <a:gd name="T70" fmla="*/ 2147483647 w 112"/>
              <a:gd name="T71" fmla="*/ 2147483647 h 155"/>
              <a:gd name="T72" fmla="*/ 2147483647 w 112"/>
              <a:gd name="T73" fmla="*/ 2147483647 h 155"/>
              <a:gd name="T74" fmla="*/ 2147483647 w 112"/>
              <a:gd name="T75" fmla="*/ 2147483647 h 155"/>
              <a:gd name="T76" fmla="*/ 2147483647 w 112"/>
              <a:gd name="T77" fmla="*/ 2147483647 h 155"/>
              <a:gd name="T78" fmla="*/ 2147483647 w 112"/>
              <a:gd name="T79" fmla="*/ 2147483647 h 155"/>
              <a:gd name="T80" fmla="*/ 2147483647 w 112"/>
              <a:gd name="T81" fmla="*/ 2147483647 h 155"/>
              <a:gd name="T82" fmla="*/ 2147483647 w 112"/>
              <a:gd name="T83" fmla="*/ 2147483647 h 155"/>
              <a:gd name="T84" fmla="*/ 2147483647 w 112"/>
              <a:gd name="T85" fmla="*/ 2147483647 h 155"/>
              <a:gd name="T86" fmla="*/ 2147483647 w 112"/>
              <a:gd name="T87" fmla="*/ 2147483647 h 155"/>
              <a:gd name="T88" fmla="*/ 2147483647 w 112"/>
              <a:gd name="T89" fmla="*/ 2147483647 h 155"/>
              <a:gd name="T90" fmla="*/ 2147483647 w 112"/>
              <a:gd name="T91" fmla="*/ 2147483647 h 155"/>
              <a:gd name="T92" fmla="*/ 2147483647 w 112"/>
              <a:gd name="T93" fmla="*/ 2147483647 h 155"/>
              <a:gd name="T94" fmla="*/ 2147483647 w 112"/>
              <a:gd name="T95" fmla="*/ 2147483647 h 155"/>
              <a:gd name="T96" fmla="*/ 2147483647 w 112"/>
              <a:gd name="T97" fmla="*/ 2147483647 h 155"/>
              <a:gd name="T98" fmla="*/ 2147483647 w 112"/>
              <a:gd name="T99" fmla="*/ 2147483647 h 155"/>
              <a:gd name="T100" fmla="*/ 2147483647 w 112"/>
              <a:gd name="T101" fmla="*/ 2147483647 h 155"/>
              <a:gd name="T102" fmla="*/ 2147483647 w 112"/>
              <a:gd name="T103" fmla="*/ 2147483647 h 155"/>
              <a:gd name="T104" fmla="*/ 2147483647 w 112"/>
              <a:gd name="T105" fmla="*/ 2147483647 h 155"/>
              <a:gd name="T106" fmla="*/ 2147483647 w 112"/>
              <a:gd name="T107" fmla="*/ 2147483647 h 155"/>
              <a:gd name="T108" fmla="*/ 2147483647 w 112"/>
              <a:gd name="T109" fmla="*/ 2147483647 h 155"/>
              <a:gd name="T110" fmla="*/ 2147483647 w 112"/>
              <a:gd name="T111" fmla="*/ 2147483647 h 155"/>
              <a:gd name="T112" fmla="*/ 2147483647 w 112"/>
              <a:gd name="T113" fmla="*/ 2147483647 h 155"/>
              <a:gd name="T114" fmla="*/ 2147483647 w 112"/>
              <a:gd name="T115" fmla="*/ 2147483647 h 155"/>
              <a:gd name="T116" fmla="*/ 2147483647 w 112"/>
              <a:gd name="T117" fmla="*/ 0 h 155"/>
              <a:gd name="T118" fmla="*/ 2147483647 w 112"/>
              <a:gd name="T119" fmla="*/ 0 h 155"/>
              <a:gd name="T120" fmla="*/ 2147483647 w 112"/>
              <a:gd name="T121" fmla="*/ 2147483647 h 155"/>
              <a:gd name="T122" fmla="*/ 2147483647 w 112"/>
              <a:gd name="T123" fmla="*/ 2147483647 h 15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12"/>
              <a:gd name="T187" fmla="*/ 0 h 155"/>
              <a:gd name="T188" fmla="*/ 112 w 112"/>
              <a:gd name="T189" fmla="*/ 155 h 155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12" h="155">
                <a:moveTo>
                  <a:pt x="12" y="15"/>
                </a:moveTo>
                <a:lnTo>
                  <a:pt x="12" y="20"/>
                </a:lnTo>
                <a:lnTo>
                  <a:pt x="9" y="23"/>
                </a:lnTo>
                <a:lnTo>
                  <a:pt x="9" y="29"/>
                </a:lnTo>
                <a:lnTo>
                  <a:pt x="6" y="35"/>
                </a:lnTo>
                <a:lnTo>
                  <a:pt x="3" y="35"/>
                </a:lnTo>
                <a:lnTo>
                  <a:pt x="3" y="41"/>
                </a:lnTo>
                <a:lnTo>
                  <a:pt x="9" y="38"/>
                </a:lnTo>
                <a:lnTo>
                  <a:pt x="18" y="38"/>
                </a:lnTo>
                <a:lnTo>
                  <a:pt x="15" y="41"/>
                </a:lnTo>
                <a:lnTo>
                  <a:pt x="12" y="43"/>
                </a:lnTo>
                <a:lnTo>
                  <a:pt x="6" y="43"/>
                </a:lnTo>
                <a:lnTo>
                  <a:pt x="0" y="49"/>
                </a:lnTo>
                <a:lnTo>
                  <a:pt x="0" y="52"/>
                </a:lnTo>
                <a:lnTo>
                  <a:pt x="6" y="49"/>
                </a:lnTo>
                <a:lnTo>
                  <a:pt x="9" y="52"/>
                </a:lnTo>
                <a:lnTo>
                  <a:pt x="9" y="55"/>
                </a:lnTo>
                <a:lnTo>
                  <a:pt x="6" y="61"/>
                </a:lnTo>
                <a:lnTo>
                  <a:pt x="15" y="55"/>
                </a:lnTo>
                <a:lnTo>
                  <a:pt x="15" y="58"/>
                </a:lnTo>
                <a:lnTo>
                  <a:pt x="18" y="55"/>
                </a:lnTo>
                <a:lnTo>
                  <a:pt x="23" y="49"/>
                </a:lnTo>
                <a:lnTo>
                  <a:pt x="21" y="58"/>
                </a:lnTo>
                <a:lnTo>
                  <a:pt x="21" y="61"/>
                </a:lnTo>
                <a:lnTo>
                  <a:pt x="18" y="63"/>
                </a:lnTo>
                <a:lnTo>
                  <a:pt x="15" y="66"/>
                </a:lnTo>
                <a:lnTo>
                  <a:pt x="18" y="69"/>
                </a:lnTo>
                <a:lnTo>
                  <a:pt x="21" y="66"/>
                </a:lnTo>
                <a:lnTo>
                  <a:pt x="23" y="69"/>
                </a:lnTo>
                <a:lnTo>
                  <a:pt x="26" y="66"/>
                </a:lnTo>
                <a:lnTo>
                  <a:pt x="32" y="66"/>
                </a:lnTo>
                <a:lnTo>
                  <a:pt x="35" y="66"/>
                </a:lnTo>
                <a:lnTo>
                  <a:pt x="41" y="63"/>
                </a:lnTo>
                <a:lnTo>
                  <a:pt x="38" y="69"/>
                </a:lnTo>
                <a:lnTo>
                  <a:pt x="38" y="78"/>
                </a:lnTo>
                <a:lnTo>
                  <a:pt x="43" y="78"/>
                </a:lnTo>
                <a:lnTo>
                  <a:pt x="43" y="84"/>
                </a:lnTo>
                <a:lnTo>
                  <a:pt x="43" y="92"/>
                </a:lnTo>
                <a:lnTo>
                  <a:pt x="41" y="95"/>
                </a:lnTo>
                <a:lnTo>
                  <a:pt x="35" y="95"/>
                </a:lnTo>
                <a:lnTo>
                  <a:pt x="23" y="95"/>
                </a:lnTo>
                <a:lnTo>
                  <a:pt x="18" y="95"/>
                </a:lnTo>
                <a:lnTo>
                  <a:pt x="12" y="98"/>
                </a:lnTo>
                <a:lnTo>
                  <a:pt x="21" y="98"/>
                </a:lnTo>
                <a:lnTo>
                  <a:pt x="26" y="98"/>
                </a:lnTo>
                <a:lnTo>
                  <a:pt x="29" y="101"/>
                </a:lnTo>
                <a:lnTo>
                  <a:pt x="23" y="101"/>
                </a:lnTo>
                <a:lnTo>
                  <a:pt x="21" y="104"/>
                </a:lnTo>
                <a:lnTo>
                  <a:pt x="26" y="104"/>
                </a:lnTo>
                <a:lnTo>
                  <a:pt x="26" y="109"/>
                </a:lnTo>
                <a:lnTo>
                  <a:pt x="26" y="115"/>
                </a:lnTo>
                <a:lnTo>
                  <a:pt x="21" y="118"/>
                </a:lnTo>
                <a:lnTo>
                  <a:pt x="12" y="118"/>
                </a:lnTo>
                <a:lnTo>
                  <a:pt x="12" y="127"/>
                </a:lnTo>
                <a:lnTo>
                  <a:pt x="21" y="127"/>
                </a:lnTo>
                <a:lnTo>
                  <a:pt x="26" y="127"/>
                </a:lnTo>
                <a:lnTo>
                  <a:pt x="32" y="130"/>
                </a:lnTo>
                <a:lnTo>
                  <a:pt x="35" y="130"/>
                </a:lnTo>
                <a:lnTo>
                  <a:pt x="41" y="132"/>
                </a:lnTo>
                <a:lnTo>
                  <a:pt x="43" y="130"/>
                </a:lnTo>
                <a:lnTo>
                  <a:pt x="46" y="127"/>
                </a:lnTo>
                <a:lnTo>
                  <a:pt x="41" y="132"/>
                </a:lnTo>
                <a:lnTo>
                  <a:pt x="35" y="135"/>
                </a:lnTo>
                <a:lnTo>
                  <a:pt x="29" y="132"/>
                </a:lnTo>
                <a:lnTo>
                  <a:pt x="21" y="141"/>
                </a:lnTo>
                <a:lnTo>
                  <a:pt x="15" y="147"/>
                </a:lnTo>
                <a:lnTo>
                  <a:pt x="6" y="152"/>
                </a:lnTo>
                <a:lnTo>
                  <a:pt x="0" y="155"/>
                </a:lnTo>
                <a:lnTo>
                  <a:pt x="6" y="155"/>
                </a:lnTo>
                <a:lnTo>
                  <a:pt x="15" y="150"/>
                </a:lnTo>
                <a:lnTo>
                  <a:pt x="21" y="150"/>
                </a:lnTo>
                <a:lnTo>
                  <a:pt x="26" y="152"/>
                </a:lnTo>
                <a:lnTo>
                  <a:pt x="32" y="147"/>
                </a:lnTo>
                <a:lnTo>
                  <a:pt x="43" y="144"/>
                </a:lnTo>
                <a:lnTo>
                  <a:pt x="52" y="144"/>
                </a:lnTo>
                <a:lnTo>
                  <a:pt x="58" y="144"/>
                </a:lnTo>
                <a:lnTo>
                  <a:pt x="61" y="144"/>
                </a:lnTo>
                <a:lnTo>
                  <a:pt x="66" y="147"/>
                </a:lnTo>
                <a:lnTo>
                  <a:pt x="72" y="144"/>
                </a:lnTo>
                <a:lnTo>
                  <a:pt x="87" y="144"/>
                </a:lnTo>
                <a:lnTo>
                  <a:pt x="89" y="144"/>
                </a:lnTo>
                <a:lnTo>
                  <a:pt x="95" y="141"/>
                </a:lnTo>
                <a:lnTo>
                  <a:pt x="107" y="135"/>
                </a:lnTo>
                <a:lnTo>
                  <a:pt x="110" y="132"/>
                </a:lnTo>
                <a:lnTo>
                  <a:pt x="110" y="130"/>
                </a:lnTo>
                <a:lnTo>
                  <a:pt x="107" y="130"/>
                </a:lnTo>
                <a:lnTo>
                  <a:pt x="95" y="130"/>
                </a:lnTo>
                <a:lnTo>
                  <a:pt x="104" y="124"/>
                </a:lnTo>
                <a:lnTo>
                  <a:pt x="112" y="115"/>
                </a:lnTo>
                <a:lnTo>
                  <a:pt x="112" y="109"/>
                </a:lnTo>
                <a:lnTo>
                  <a:pt x="110" y="101"/>
                </a:lnTo>
                <a:lnTo>
                  <a:pt x="107" y="101"/>
                </a:lnTo>
                <a:lnTo>
                  <a:pt x="98" y="101"/>
                </a:lnTo>
                <a:lnTo>
                  <a:pt x="92" y="104"/>
                </a:lnTo>
                <a:lnTo>
                  <a:pt x="89" y="104"/>
                </a:lnTo>
                <a:lnTo>
                  <a:pt x="87" y="104"/>
                </a:lnTo>
                <a:lnTo>
                  <a:pt x="89" y="101"/>
                </a:lnTo>
                <a:lnTo>
                  <a:pt x="92" y="101"/>
                </a:lnTo>
                <a:lnTo>
                  <a:pt x="92" y="98"/>
                </a:lnTo>
                <a:lnTo>
                  <a:pt x="92" y="92"/>
                </a:lnTo>
                <a:lnTo>
                  <a:pt x="89" y="89"/>
                </a:lnTo>
                <a:lnTo>
                  <a:pt x="87" y="86"/>
                </a:lnTo>
                <a:lnTo>
                  <a:pt x="87" y="81"/>
                </a:lnTo>
                <a:lnTo>
                  <a:pt x="84" y="78"/>
                </a:lnTo>
                <a:lnTo>
                  <a:pt x="84" y="75"/>
                </a:lnTo>
                <a:lnTo>
                  <a:pt x="81" y="72"/>
                </a:lnTo>
                <a:lnTo>
                  <a:pt x="72" y="72"/>
                </a:lnTo>
                <a:lnTo>
                  <a:pt x="69" y="66"/>
                </a:lnTo>
                <a:lnTo>
                  <a:pt x="69" y="58"/>
                </a:lnTo>
                <a:lnTo>
                  <a:pt x="66" y="52"/>
                </a:lnTo>
                <a:lnTo>
                  <a:pt x="55" y="43"/>
                </a:lnTo>
                <a:lnTo>
                  <a:pt x="46" y="46"/>
                </a:lnTo>
                <a:lnTo>
                  <a:pt x="41" y="43"/>
                </a:lnTo>
                <a:lnTo>
                  <a:pt x="43" y="43"/>
                </a:lnTo>
                <a:lnTo>
                  <a:pt x="46" y="41"/>
                </a:lnTo>
                <a:lnTo>
                  <a:pt x="52" y="41"/>
                </a:lnTo>
                <a:lnTo>
                  <a:pt x="46" y="38"/>
                </a:lnTo>
                <a:lnTo>
                  <a:pt x="55" y="35"/>
                </a:lnTo>
                <a:lnTo>
                  <a:pt x="58" y="29"/>
                </a:lnTo>
                <a:lnTo>
                  <a:pt x="61" y="29"/>
                </a:lnTo>
                <a:lnTo>
                  <a:pt x="64" y="26"/>
                </a:lnTo>
                <a:lnTo>
                  <a:pt x="66" y="23"/>
                </a:lnTo>
                <a:lnTo>
                  <a:pt x="66" y="20"/>
                </a:lnTo>
                <a:lnTo>
                  <a:pt x="69" y="18"/>
                </a:lnTo>
                <a:lnTo>
                  <a:pt x="66" y="15"/>
                </a:lnTo>
                <a:lnTo>
                  <a:pt x="61" y="15"/>
                </a:lnTo>
                <a:lnTo>
                  <a:pt x="52" y="15"/>
                </a:lnTo>
                <a:lnTo>
                  <a:pt x="46" y="15"/>
                </a:lnTo>
                <a:lnTo>
                  <a:pt x="41" y="18"/>
                </a:lnTo>
                <a:lnTo>
                  <a:pt x="38" y="18"/>
                </a:lnTo>
                <a:lnTo>
                  <a:pt x="32" y="20"/>
                </a:lnTo>
                <a:lnTo>
                  <a:pt x="32" y="12"/>
                </a:lnTo>
                <a:lnTo>
                  <a:pt x="41" y="6"/>
                </a:lnTo>
                <a:lnTo>
                  <a:pt x="49" y="3"/>
                </a:lnTo>
                <a:lnTo>
                  <a:pt x="49" y="0"/>
                </a:lnTo>
                <a:lnTo>
                  <a:pt x="41" y="0"/>
                </a:lnTo>
                <a:lnTo>
                  <a:pt x="26" y="0"/>
                </a:lnTo>
                <a:lnTo>
                  <a:pt x="23" y="3"/>
                </a:lnTo>
                <a:lnTo>
                  <a:pt x="21" y="9"/>
                </a:lnTo>
                <a:lnTo>
                  <a:pt x="21" y="12"/>
                </a:lnTo>
                <a:lnTo>
                  <a:pt x="15" y="12"/>
                </a:lnTo>
                <a:lnTo>
                  <a:pt x="12" y="15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42" name="Freeform 146"/>
          <p:cNvSpPr>
            <a:spLocks/>
          </p:cNvSpPr>
          <p:nvPr/>
        </p:nvSpPr>
        <p:spPr bwMode="gray">
          <a:xfrm>
            <a:off x="5250947" y="2310063"/>
            <a:ext cx="388070" cy="249007"/>
          </a:xfrm>
          <a:custGeom>
            <a:avLst/>
            <a:gdLst>
              <a:gd name="T0" fmla="*/ 2147483647 w 192"/>
              <a:gd name="T1" fmla="*/ 2147483647 h 164"/>
              <a:gd name="T2" fmla="*/ 2147483647 w 192"/>
              <a:gd name="T3" fmla="*/ 2147483647 h 164"/>
              <a:gd name="T4" fmla="*/ 2147483647 w 192"/>
              <a:gd name="T5" fmla="*/ 2147483647 h 164"/>
              <a:gd name="T6" fmla="*/ 2147483647 w 192"/>
              <a:gd name="T7" fmla="*/ 2147483647 h 164"/>
              <a:gd name="T8" fmla="*/ 2147483647 w 192"/>
              <a:gd name="T9" fmla="*/ 2147483647 h 164"/>
              <a:gd name="T10" fmla="*/ 2147483647 w 192"/>
              <a:gd name="T11" fmla="*/ 2147483647 h 164"/>
              <a:gd name="T12" fmla="*/ 2147483647 w 192"/>
              <a:gd name="T13" fmla="*/ 2147483647 h 164"/>
              <a:gd name="T14" fmla="*/ 2147483647 w 192"/>
              <a:gd name="T15" fmla="*/ 2147483647 h 164"/>
              <a:gd name="T16" fmla="*/ 2147483647 w 192"/>
              <a:gd name="T17" fmla="*/ 2147483647 h 164"/>
              <a:gd name="T18" fmla="*/ 2147483647 w 192"/>
              <a:gd name="T19" fmla="*/ 2147483647 h 164"/>
              <a:gd name="T20" fmla="*/ 2147483647 w 192"/>
              <a:gd name="T21" fmla="*/ 2147483647 h 164"/>
              <a:gd name="T22" fmla="*/ 0 w 192"/>
              <a:gd name="T23" fmla="*/ 2147483647 h 164"/>
              <a:gd name="T24" fmla="*/ 2147483647 w 192"/>
              <a:gd name="T25" fmla="*/ 2147483647 h 164"/>
              <a:gd name="T26" fmla="*/ 2147483647 w 192"/>
              <a:gd name="T27" fmla="*/ 2147483647 h 164"/>
              <a:gd name="T28" fmla="*/ 2147483647 w 192"/>
              <a:gd name="T29" fmla="*/ 2147483647 h 164"/>
              <a:gd name="T30" fmla="*/ 2147483647 w 192"/>
              <a:gd name="T31" fmla="*/ 2147483647 h 164"/>
              <a:gd name="T32" fmla="*/ 2147483647 w 192"/>
              <a:gd name="T33" fmla="*/ 2147483647 h 164"/>
              <a:gd name="T34" fmla="*/ 2147483647 w 192"/>
              <a:gd name="T35" fmla="*/ 2147483647 h 164"/>
              <a:gd name="T36" fmla="*/ 2147483647 w 192"/>
              <a:gd name="T37" fmla="*/ 2147483647 h 164"/>
              <a:gd name="T38" fmla="*/ 2147483647 w 192"/>
              <a:gd name="T39" fmla="*/ 2147483647 h 164"/>
              <a:gd name="T40" fmla="*/ 2147483647 w 192"/>
              <a:gd name="T41" fmla="*/ 2147483647 h 164"/>
              <a:gd name="T42" fmla="*/ 2147483647 w 192"/>
              <a:gd name="T43" fmla="*/ 2147483647 h 164"/>
              <a:gd name="T44" fmla="*/ 2147483647 w 192"/>
              <a:gd name="T45" fmla="*/ 2147483647 h 164"/>
              <a:gd name="T46" fmla="*/ 2147483647 w 192"/>
              <a:gd name="T47" fmla="*/ 2147483647 h 164"/>
              <a:gd name="T48" fmla="*/ 2147483647 w 192"/>
              <a:gd name="T49" fmla="*/ 2147483647 h 164"/>
              <a:gd name="T50" fmla="*/ 2147483647 w 192"/>
              <a:gd name="T51" fmla="*/ 2147483647 h 164"/>
              <a:gd name="T52" fmla="*/ 2147483647 w 192"/>
              <a:gd name="T53" fmla="*/ 2147483647 h 164"/>
              <a:gd name="T54" fmla="*/ 2147483647 w 192"/>
              <a:gd name="T55" fmla="*/ 2147483647 h 164"/>
              <a:gd name="T56" fmla="*/ 2147483647 w 192"/>
              <a:gd name="T57" fmla="*/ 2147483647 h 164"/>
              <a:gd name="T58" fmla="*/ 2147483647 w 192"/>
              <a:gd name="T59" fmla="*/ 2147483647 h 164"/>
              <a:gd name="T60" fmla="*/ 2147483647 w 192"/>
              <a:gd name="T61" fmla="*/ 2147483647 h 164"/>
              <a:gd name="T62" fmla="*/ 2147483647 w 192"/>
              <a:gd name="T63" fmla="*/ 2147483647 h 164"/>
              <a:gd name="T64" fmla="*/ 2147483647 w 192"/>
              <a:gd name="T65" fmla="*/ 2147483647 h 164"/>
              <a:gd name="T66" fmla="*/ 2147483647 w 192"/>
              <a:gd name="T67" fmla="*/ 2147483647 h 164"/>
              <a:gd name="T68" fmla="*/ 2147483647 w 192"/>
              <a:gd name="T69" fmla="*/ 2147483647 h 164"/>
              <a:gd name="T70" fmla="*/ 2147483647 w 192"/>
              <a:gd name="T71" fmla="*/ 2147483647 h 164"/>
              <a:gd name="T72" fmla="*/ 2147483647 w 192"/>
              <a:gd name="T73" fmla="*/ 2147483647 h 164"/>
              <a:gd name="T74" fmla="*/ 2147483647 w 192"/>
              <a:gd name="T75" fmla="*/ 2147483647 h 164"/>
              <a:gd name="T76" fmla="*/ 2147483647 w 192"/>
              <a:gd name="T77" fmla="*/ 2147483647 h 164"/>
              <a:gd name="T78" fmla="*/ 2147483647 w 192"/>
              <a:gd name="T79" fmla="*/ 2147483647 h 164"/>
              <a:gd name="T80" fmla="*/ 2147483647 w 192"/>
              <a:gd name="T81" fmla="*/ 2147483647 h 164"/>
              <a:gd name="T82" fmla="*/ 2147483647 w 192"/>
              <a:gd name="T83" fmla="*/ 2147483647 h 164"/>
              <a:gd name="T84" fmla="*/ 2147483647 w 192"/>
              <a:gd name="T85" fmla="*/ 2147483647 h 164"/>
              <a:gd name="T86" fmla="*/ 2147483647 w 192"/>
              <a:gd name="T87" fmla="*/ 2147483647 h 164"/>
              <a:gd name="T88" fmla="*/ 2147483647 w 192"/>
              <a:gd name="T89" fmla="*/ 2147483647 h 164"/>
              <a:gd name="T90" fmla="*/ 2147483647 w 192"/>
              <a:gd name="T91" fmla="*/ 2147483647 h 164"/>
              <a:gd name="T92" fmla="*/ 2147483647 w 192"/>
              <a:gd name="T93" fmla="*/ 2147483647 h 164"/>
              <a:gd name="T94" fmla="*/ 2147483647 w 192"/>
              <a:gd name="T95" fmla="*/ 2147483647 h 164"/>
              <a:gd name="T96" fmla="*/ 2147483647 w 192"/>
              <a:gd name="T97" fmla="*/ 2147483647 h 164"/>
              <a:gd name="T98" fmla="*/ 2147483647 w 192"/>
              <a:gd name="T99" fmla="*/ 2147483647 h 164"/>
              <a:gd name="T100" fmla="*/ 2147483647 w 192"/>
              <a:gd name="T101" fmla="*/ 2147483647 h 164"/>
              <a:gd name="T102" fmla="*/ 2147483647 w 192"/>
              <a:gd name="T103" fmla="*/ 2147483647 h 164"/>
              <a:gd name="T104" fmla="*/ 2147483647 w 192"/>
              <a:gd name="T105" fmla="*/ 2147483647 h 164"/>
              <a:gd name="T106" fmla="*/ 2147483647 w 192"/>
              <a:gd name="T107" fmla="*/ 0 h 164"/>
              <a:gd name="T108" fmla="*/ 2147483647 w 192"/>
              <a:gd name="T109" fmla="*/ 0 h 164"/>
              <a:gd name="T110" fmla="*/ 2147483647 w 192"/>
              <a:gd name="T111" fmla="*/ 2147483647 h 164"/>
              <a:gd name="T112" fmla="*/ 2147483647 w 192"/>
              <a:gd name="T113" fmla="*/ 2147483647 h 164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92"/>
              <a:gd name="T172" fmla="*/ 0 h 164"/>
              <a:gd name="T173" fmla="*/ 192 w 192"/>
              <a:gd name="T174" fmla="*/ 164 h 164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92" h="164">
                <a:moveTo>
                  <a:pt x="77" y="23"/>
                </a:moveTo>
                <a:lnTo>
                  <a:pt x="77" y="23"/>
                </a:lnTo>
                <a:lnTo>
                  <a:pt x="75" y="26"/>
                </a:lnTo>
                <a:lnTo>
                  <a:pt x="72" y="29"/>
                </a:lnTo>
                <a:lnTo>
                  <a:pt x="69" y="32"/>
                </a:lnTo>
                <a:lnTo>
                  <a:pt x="63" y="32"/>
                </a:lnTo>
                <a:lnTo>
                  <a:pt x="54" y="32"/>
                </a:lnTo>
                <a:lnTo>
                  <a:pt x="54" y="29"/>
                </a:lnTo>
                <a:lnTo>
                  <a:pt x="52" y="23"/>
                </a:lnTo>
                <a:lnTo>
                  <a:pt x="49" y="23"/>
                </a:lnTo>
                <a:lnTo>
                  <a:pt x="43" y="23"/>
                </a:lnTo>
                <a:lnTo>
                  <a:pt x="46" y="32"/>
                </a:lnTo>
                <a:lnTo>
                  <a:pt x="46" y="40"/>
                </a:lnTo>
                <a:lnTo>
                  <a:pt x="46" y="43"/>
                </a:lnTo>
                <a:lnTo>
                  <a:pt x="40" y="43"/>
                </a:lnTo>
                <a:lnTo>
                  <a:pt x="34" y="46"/>
                </a:lnTo>
                <a:lnTo>
                  <a:pt x="29" y="46"/>
                </a:lnTo>
                <a:lnTo>
                  <a:pt x="26" y="43"/>
                </a:lnTo>
                <a:lnTo>
                  <a:pt x="26" y="40"/>
                </a:lnTo>
                <a:lnTo>
                  <a:pt x="20" y="43"/>
                </a:lnTo>
                <a:lnTo>
                  <a:pt x="14" y="43"/>
                </a:lnTo>
                <a:lnTo>
                  <a:pt x="6" y="43"/>
                </a:lnTo>
                <a:lnTo>
                  <a:pt x="0" y="46"/>
                </a:lnTo>
                <a:lnTo>
                  <a:pt x="0" y="49"/>
                </a:lnTo>
                <a:lnTo>
                  <a:pt x="0" y="52"/>
                </a:lnTo>
                <a:lnTo>
                  <a:pt x="3" y="49"/>
                </a:lnTo>
                <a:lnTo>
                  <a:pt x="3" y="52"/>
                </a:lnTo>
                <a:lnTo>
                  <a:pt x="3" y="55"/>
                </a:lnTo>
                <a:lnTo>
                  <a:pt x="3" y="58"/>
                </a:lnTo>
                <a:lnTo>
                  <a:pt x="3" y="60"/>
                </a:lnTo>
                <a:lnTo>
                  <a:pt x="9" y="60"/>
                </a:lnTo>
                <a:lnTo>
                  <a:pt x="14" y="60"/>
                </a:lnTo>
                <a:lnTo>
                  <a:pt x="20" y="63"/>
                </a:lnTo>
                <a:lnTo>
                  <a:pt x="23" y="66"/>
                </a:lnTo>
                <a:lnTo>
                  <a:pt x="26" y="66"/>
                </a:lnTo>
                <a:lnTo>
                  <a:pt x="31" y="66"/>
                </a:lnTo>
                <a:lnTo>
                  <a:pt x="31" y="69"/>
                </a:lnTo>
                <a:lnTo>
                  <a:pt x="37" y="69"/>
                </a:lnTo>
                <a:lnTo>
                  <a:pt x="34" y="72"/>
                </a:lnTo>
                <a:lnTo>
                  <a:pt x="40" y="75"/>
                </a:lnTo>
                <a:lnTo>
                  <a:pt x="34" y="78"/>
                </a:lnTo>
                <a:lnTo>
                  <a:pt x="40" y="83"/>
                </a:lnTo>
                <a:lnTo>
                  <a:pt x="49" y="89"/>
                </a:lnTo>
                <a:lnTo>
                  <a:pt x="49" y="92"/>
                </a:lnTo>
                <a:lnTo>
                  <a:pt x="49" y="98"/>
                </a:lnTo>
                <a:lnTo>
                  <a:pt x="49" y="103"/>
                </a:lnTo>
                <a:lnTo>
                  <a:pt x="52" y="103"/>
                </a:lnTo>
                <a:lnTo>
                  <a:pt x="49" y="106"/>
                </a:lnTo>
                <a:lnTo>
                  <a:pt x="49" y="118"/>
                </a:lnTo>
                <a:lnTo>
                  <a:pt x="46" y="129"/>
                </a:lnTo>
                <a:lnTo>
                  <a:pt x="43" y="138"/>
                </a:lnTo>
                <a:lnTo>
                  <a:pt x="40" y="144"/>
                </a:lnTo>
                <a:lnTo>
                  <a:pt x="43" y="147"/>
                </a:lnTo>
                <a:lnTo>
                  <a:pt x="49" y="152"/>
                </a:lnTo>
                <a:lnTo>
                  <a:pt x="57" y="152"/>
                </a:lnTo>
                <a:lnTo>
                  <a:pt x="63" y="152"/>
                </a:lnTo>
                <a:lnTo>
                  <a:pt x="66" y="155"/>
                </a:lnTo>
                <a:lnTo>
                  <a:pt x="75" y="155"/>
                </a:lnTo>
                <a:lnTo>
                  <a:pt x="77" y="147"/>
                </a:lnTo>
                <a:lnTo>
                  <a:pt x="86" y="155"/>
                </a:lnTo>
                <a:lnTo>
                  <a:pt x="92" y="155"/>
                </a:lnTo>
                <a:lnTo>
                  <a:pt x="98" y="161"/>
                </a:lnTo>
                <a:lnTo>
                  <a:pt x="103" y="158"/>
                </a:lnTo>
                <a:lnTo>
                  <a:pt x="103" y="161"/>
                </a:lnTo>
                <a:lnTo>
                  <a:pt x="106" y="164"/>
                </a:lnTo>
                <a:lnTo>
                  <a:pt x="112" y="161"/>
                </a:lnTo>
                <a:lnTo>
                  <a:pt x="115" y="164"/>
                </a:lnTo>
                <a:lnTo>
                  <a:pt x="115" y="155"/>
                </a:lnTo>
                <a:lnTo>
                  <a:pt x="118" y="149"/>
                </a:lnTo>
                <a:lnTo>
                  <a:pt x="129" y="144"/>
                </a:lnTo>
                <a:lnTo>
                  <a:pt x="143" y="147"/>
                </a:lnTo>
                <a:lnTo>
                  <a:pt x="164" y="149"/>
                </a:lnTo>
                <a:lnTo>
                  <a:pt x="172" y="147"/>
                </a:lnTo>
                <a:lnTo>
                  <a:pt x="175" y="147"/>
                </a:lnTo>
                <a:lnTo>
                  <a:pt x="181" y="147"/>
                </a:lnTo>
                <a:lnTo>
                  <a:pt x="184" y="141"/>
                </a:lnTo>
                <a:lnTo>
                  <a:pt x="181" y="135"/>
                </a:lnTo>
                <a:lnTo>
                  <a:pt x="184" y="135"/>
                </a:lnTo>
                <a:lnTo>
                  <a:pt x="184" y="132"/>
                </a:lnTo>
                <a:lnTo>
                  <a:pt x="175" y="129"/>
                </a:lnTo>
                <a:lnTo>
                  <a:pt x="169" y="129"/>
                </a:lnTo>
                <a:lnTo>
                  <a:pt x="172" y="118"/>
                </a:lnTo>
                <a:lnTo>
                  <a:pt x="169" y="109"/>
                </a:lnTo>
                <a:lnTo>
                  <a:pt x="172" y="106"/>
                </a:lnTo>
                <a:lnTo>
                  <a:pt x="175" y="106"/>
                </a:lnTo>
                <a:lnTo>
                  <a:pt x="169" y="101"/>
                </a:lnTo>
                <a:lnTo>
                  <a:pt x="175" y="95"/>
                </a:lnTo>
                <a:lnTo>
                  <a:pt x="172" y="92"/>
                </a:lnTo>
                <a:lnTo>
                  <a:pt x="169" y="89"/>
                </a:lnTo>
                <a:lnTo>
                  <a:pt x="166" y="95"/>
                </a:lnTo>
                <a:lnTo>
                  <a:pt x="155" y="92"/>
                </a:lnTo>
                <a:lnTo>
                  <a:pt x="164" y="81"/>
                </a:lnTo>
                <a:lnTo>
                  <a:pt x="172" y="69"/>
                </a:lnTo>
                <a:lnTo>
                  <a:pt x="175" y="63"/>
                </a:lnTo>
                <a:lnTo>
                  <a:pt x="181" y="66"/>
                </a:lnTo>
                <a:lnTo>
                  <a:pt x="184" y="60"/>
                </a:lnTo>
                <a:lnTo>
                  <a:pt x="184" y="63"/>
                </a:lnTo>
                <a:lnTo>
                  <a:pt x="186" y="46"/>
                </a:lnTo>
                <a:lnTo>
                  <a:pt x="192" y="37"/>
                </a:lnTo>
                <a:lnTo>
                  <a:pt x="189" y="37"/>
                </a:lnTo>
                <a:lnTo>
                  <a:pt x="184" y="35"/>
                </a:lnTo>
                <a:lnTo>
                  <a:pt x="181" y="37"/>
                </a:lnTo>
                <a:lnTo>
                  <a:pt x="178" y="35"/>
                </a:lnTo>
                <a:lnTo>
                  <a:pt x="172" y="35"/>
                </a:lnTo>
                <a:lnTo>
                  <a:pt x="166" y="32"/>
                </a:lnTo>
                <a:lnTo>
                  <a:pt x="158" y="32"/>
                </a:lnTo>
                <a:lnTo>
                  <a:pt x="152" y="29"/>
                </a:lnTo>
                <a:lnTo>
                  <a:pt x="143" y="23"/>
                </a:lnTo>
                <a:lnTo>
                  <a:pt x="143" y="17"/>
                </a:lnTo>
                <a:lnTo>
                  <a:pt x="141" y="23"/>
                </a:lnTo>
                <a:lnTo>
                  <a:pt x="138" y="23"/>
                </a:lnTo>
                <a:lnTo>
                  <a:pt x="135" y="20"/>
                </a:lnTo>
                <a:lnTo>
                  <a:pt x="132" y="14"/>
                </a:lnTo>
                <a:lnTo>
                  <a:pt x="126" y="14"/>
                </a:lnTo>
                <a:lnTo>
                  <a:pt x="126" y="12"/>
                </a:lnTo>
                <a:lnTo>
                  <a:pt x="123" y="9"/>
                </a:lnTo>
                <a:lnTo>
                  <a:pt x="115" y="12"/>
                </a:lnTo>
                <a:lnTo>
                  <a:pt x="103" y="3"/>
                </a:lnTo>
                <a:lnTo>
                  <a:pt x="106" y="3"/>
                </a:lnTo>
                <a:lnTo>
                  <a:pt x="109" y="3"/>
                </a:lnTo>
                <a:lnTo>
                  <a:pt x="109" y="0"/>
                </a:lnTo>
                <a:lnTo>
                  <a:pt x="103" y="0"/>
                </a:lnTo>
                <a:lnTo>
                  <a:pt x="100" y="3"/>
                </a:lnTo>
                <a:lnTo>
                  <a:pt x="98" y="9"/>
                </a:lnTo>
                <a:lnTo>
                  <a:pt x="95" y="14"/>
                </a:lnTo>
                <a:lnTo>
                  <a:pt x="89" y="17"/>
                </a:lnTo>
                <a:lnTo>
                  <a:pt x="77" y="2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43" name="Rectangle 147"/>
          <p:cNvSpPr>
            <a:spLocks noChangeArrowheads="1"/>
          </p:cNvSpPr>
          <p:nvPr/>
        </p:nvSpPr>
        <p:spPr bwMode="gray">
          <a:xfrm>
            <a:off x="6539178" y="1879551"/>
            <a:ext cx="6000" cy="4500"/>
          </a:xfrm>
          <a:prstGeom prst="rect">
            <a:avLst/>
          </a:pr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62" name="Freeform 148"/>
          <p:cNvSpPr>
            <a:spLocks/>
          </p:cNvSpPr>
          <p:nvPr/>
        </p:nvSpPr>
        <p:spPr bwMode="gray">
          <a:xfrm>
            <a:off x="7483349" y="1689046"/>
            <a:ext cx="20004" cy="12000"/>
          </a:xfrm>
          <a:custGeom>
            <a:avLst/>
            <a:gdLst>
              <a:gd name="T0" fmla="*/ 2147483647 w 9"/>
              <a:gd name="T1" fmla="*/ 2147483647 h 8"/>
              <a:gd name="T2" fmla="*/ 2147483647 w 9"/>
              <a:gd name="T3" fmla="*/ 2147483647 h 8"/>
              <a:gd name="T4" fmla="*/ 2147483647 w 9"/>
              <a:gd name="T5" fmla="*/ 2147483647 h 8"/>
              <a:gd name="T6" fmla="*/ 2147483647 w 9"/>
              <a:gd name="T7" fmla="*/ 2147483647 h 8"/>
              <a:gd name="T8" fmla="*/ 2147483647 w 9"/>
              <a:gd name="T9" fmla="*/ 2147483647 h 8"/>
              <a:gd name="T10" fmla="*/ 2147483647 w 9"/>
              <a:gd name="T11" fmla="*/ 2147483647 h 8"/>
              <a:gd name="T12" fmla="*/ 2147483647 w 9"/>
              <a:gd name="T13" fmla="*/ 0 h 8"/>
              <a:gd name="T14" fmla="*/ 0 w 9"/>
              <a:gd name="T15" fmla="*/ 2147483647 h 8"/>
              <a:gd name="T16" fmla="*/ 2147483647 w 9"/>
              <a:gd name="T17" fmla="*/ 2147483647 h 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9"/>
              <a:gd name="T28" fmla="*/ 0 h 8"/>
              <a:gd name="T29" fmla="*/ 9 w 9"/>
              <a:gd name="T30" fmla="*/ 8 h 8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9" h="8">
                <a:moveTo>
                  <a:pt x="3" y="8"/>
                </a:moveTo>
                <a:lnTo>
                  <a:pt x="3" y="5"/>
                </a:lnTo>
                <a:lnTo>
                  <a:pt x="6" y="5"/>
                </a:lnTo>
                <a:lnTo>
                  <a:pt x="9" y="5"/>
                </a:lnTo>
                <a:lnTo>
                  <a:pt x="9" y="2"/>
                </a:lnTo>
                <a:lnTo>
                  <a:pt x="6" y="0"/>
                </a:lnTo>
                <a:lnTo>
                  <a:pt x="0" y="5"/>
                </a:lnTo>
                <a:lnTo>
                  <a:pt x="3" y="8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63" name="Freeform 149"/>
          <p:cNvSpPr>
            <a:spLocks/>
          </p:cNvSpPr>
          <p:nvPr/>
        </p:nvSpPr>
        <p:spPr bwMode="gray">
          <a:xfrm>
            <a:off x="9415697" y="2209561"/>
            <a:ext cx="12002" cy="15000"/>
          </a:xfrm>
          <a:custGeom>
            <a:avLst/>
            <a:gdLst>
              <a:gd name="T0" fmla="*/ 0 w 6"/>
              <a:gd name="T1" fmla="*/ 2147483647 h 9"/>
              <a:gd name="T2" fmla="*/ 0 w 6"/>
              <a:gd name="T3" fmla="*/ 2147483647 h 9"/>
              <a:gd name="T4" fmla="*/ 2147483647 w 6"/>
              <a:gd name="T5" fmla="*/ 2147483647 h 9"/>
              <a:gd name="T6" fmla="*/ 2147483647 w 6"/>
              <a:gd name="T7" fmla="*/ 2147483647 h 9"/>
              <a:gd name="T8" fmla="*/ 2147483647 w 6"/>
              <a:gd name="T9" fmla="*/ 2147483647 h 9"/>
              <a:gd name="T10" fmla="*/ 2147483647 w 6"/>
              <a:gd name="T11" fmla="*/ 2147483647 h 9"/>
              <a:gd name="T12" fmla="*/ 2147483647 w 6"/>
              <a:gd name="T13" fmla="*/ 2147483647 h 9"/>
              <a:gd name="T14" fmla="*/ 2147483647 w 6"/>
              <a:gd name="T15" fmla="*/ 0 h 9"/>
              <a:gd name="T16" fmla="*/ 2147483647 w 6"/>
              <a:gd name="T17" fmla="*/ 0 h 9"/>
              <a:gd name="T18" fmla="*/ 2147483647 w 6"/>
              <a:gd name="T19" fmla="*/ 0 h 9"/>
              <a:gd name="T20" fmla="*/ 2147483647 w 6"/>
              <a:gd name="T21" fmla="*/ 0 h 9"/>
              <a:gd name="T22" fmla="*/ 0 w 6"/>
              <a:gd name="T23" fmla="*/ 2147483647 h 9"/>
              <a:gd name="T24" fmla="*/ 0 w 6"/>
              <a:gd name="T25" fmla="*/ 2147483647 h 9"/>
              <a:gd name="T26" fmla="*/ 0 w 6"/>
              <a:gd name="T27" fmla="*/ 2147483647 h 9"/>
              <a:gd name="T28" fmla="*/ 0 w 6"/>
              <a:gd name="T29" fmla="*/ 2147483647 h 9"/>
              <a:gd name="T30" fmla="*/ 0 w 6"/>
              <a:gd name="T31" fmla="*/ 2147483647 h 9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6"/>
              <a:gd name="T49" fmla="*/ 0 h 9"/>
              <a:gd name="T50" fmla="*/ 6 w 6"/>
              <a:gd name="T51" fmla="*/ 9 h 9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6" h="9">
                <a:moveTo>
                  <a:pt x="0" y="9"/>
                </a:moveTo>
                <a:lnTo>
                  <a:pt x="0" y="9"/>
                </a:lnTo>
                <a:lnTo>
                  <a:pt x="3" y="9"/>
                </a:lnTo>
                <a:lnTo>
                  <a:pt x="6" y="9"/>
                </a:lnTo>
                <a:lnTo>
                  <a:pt x="6" y="6"/>
                </a:lnTo>
                <a:lnTo>
                  <a:pt x="6" y="3"/>
                </a:ln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lnTo>
                  <a:pt x="0" y="6"/>
                </a:lnTo>
                <a:lnTo>
                  <a:pt x="0" y="9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64" name="Freeform 150"/>
          <p:cNvSpPr>
            <a:spLocks/>
          </p:cNvSpPr>
          <p:nvPr/>
        </p:nvSpPr>
        <p:spPr bwMode="gray">
          <a:xfrm>
            <a:off x="9375690" y="2193059"/>
            <a:ext cx="12002" cy="7501"/>
          </a:xfrm>
          <a:custGeom>
            <a:avLst/>
            <a:gdLst>
              <a:gd name="T0" fmla="*/ 2147483647 w 6"/>
              <a:gd name="T1" fmla="*/ 0 h 5"/>
              <a:gd name="T2" fmla="*/ 2147483647 w 6"/>
              <a:gd name="T3" fmla="*/ 0 h 5"/>
              <a:gd name="T4" fmla="*/ 0 w 6"/>
              <a:gd name="T5" fmla="*/ 2147483647 h 5"/>
              <a:gd name="T6" fmla="*/ 0 w 6"/>
              <a:gd name="T7" fmla="*/ 2147483647 h 5"/>
              <a:gd name="T8" fmla="*/ 2147483647 w 6"/>
              <a:gd name="T9" fmla="*/ 2147483647 h 5"/>
              <a:gd name="T10" fmla="*/ 2147483647 w 6"/>
              <a:gd name="T11" fmla="*/ 2147483647 h 5"/>
              <a:gd name="T12" fmla="*/ 2147483647 w 6"/>
              <a:gd name="T13" fmla="*/ 2147483647 h 5"/>
              <a:gd name="T14" fmla="*/ 2147483647 w 6"/>
              <a:gd name="T15" fmla="*/ 0 h 5"/>
              <a:gd name="T16" fmla="*/ 2147483647 w 6"/>
              <a:gd name="T17" fmla="*/ 0 h 5"/>
              <a:gd name="T18" fmla="*/ 2147483647 w 6"/>
              <a:gd name="T19" fmla="*/ 0 h 5"/>
              <a:gd name="T20" fmla="*/ 2147483647 w 6"/>
              <a:gd name="T21" fmla="*/ 0 h 5"/>
              <a:gd name="T22" fmla="*/ 2147483647 w 6"/>
              <a:gd name="T23" fmla="*/ 0 h 5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6"/>
              <a:gd name="T37" fmla="*/ 0 h 5"/>
              <a:gd name="T38" fmla="*/ 6 w 6"/>
              <a:gd name="T39" fmla="*/ 5 h 5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6" h="5">
                <a:moveTo>
                  <a:pt x="3" y="0"/>
                </a:moveTo>
                <a:lnTo>
                  <a:pt x="3" y="0"/>
                </a:lnTo>
                <a:lnTo>
                  <a:pt x="0" y="2"/>
                </a:lnTo>
                <a:lnTo>
                  <a:pt x="3" y="5"/>
                </a:lnTo>
                <a:lnTo>
                  <a:pt x="6" y="5"/>
                </a:lnTo>
                <a:lnTo>
                  <a:pt x="6" y="0"/>
                </a:lnTo>
                <a:lnTo>
                  <a:pt x="3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65" name="Freeform 151"/>
          <p:cNvSpPr>
            <a:spLocks/>
          </p:cNvSpPr>
          <p:nvPr/>
        </p:nvSpPr>
        <p:spPr bwMode="gray">
          <a:xfrm>
            <a:off x="9397693" y="2188560"/>
            <a:ext cx="24004" cy="16500"/>
          </a:xfrm>
          <a:custGeom>
            <a:avLst/>
            <a:gdLst>
              <a:gd name="T0" fmla="*/ 2147483647 w 12"/>
              <a:gd name="T1" fmla="*/ 2147483647 h 11"/>
              <a:gd name="T2" fmla="*/ 2147483647 w 12"/>
              <a:gd name="T3" fmla="*/ 2147483647 h 11"/>
              <a:gd name="T4" fmla="*/ 2147483647 w 12"/>
              <a:gd name="T5" fmla="*/ 2147483647 h 11"/>
              <a:gd name="T6" fmla="*/ 2147483647 w 12"/>
              <a:gd name="T7" fmla="*/ 2147483647 h 11"/>
              <a:gd name="T8" fmla="*/ 2147483647 w 12"/>
              <a:gd name="T9" fmla="*/ 2147483647 h 11"/>
              <a:gd name="T10" fmla="*/ 2147483647 w 12"/>
              <a:gd name="T11" fmla="*/ 2147483647 h 11"/>
              <a:gd name="T12" fmla="*/ 2147483647 w 12"/>
              <a:gd name="T13" fmla="*/ 0 h 11"/>
              <a:gd name="T14" fmla="*/ 2147483647 w 12"/>
              <a:gd name="T15" fmla="*/ 0 h 11"/>
              <a:gd name="T16" fmla="*/ 0 w 12"/>
              <a:gd name="T17" fmla="*/ 0 h 11"/>
              <a:gd name="T18" fmla="*/ 0 w 12"/>
              <a:gd name="T19" fmla="*/ 2147483647 h 11"/>
              <a:gd name="T20" fmla="*/ 0 w 12"/>
              <a:gd name="T21" fmla="*/ 2147483647 h 11"/>
              <a:gd name="T22" fmla="*/ 0 w 12"/>
              <a:gd name="T23" fmla="*/ 2147483647 h 11"/>
              <a:gd name="T24" fmla="*/ 0 w 12"/>
              <a:gd name="T25" fmla="*/ 2147483647 h 11"/>
              <a:gd name="T26" fmla="*/ 0 w 12"/>
              <a:gd name="T27" fmla="*/ 2147483647 h 11"/>
              <a:gd name="T28" fmla="*/ 2147483647 w 12"/>
              <a:gd name="T29" fmla="*/ 2147483647 h 11"/>
              <a:gd name="T30" fmla="*/ 2147483647 w 12"/>
              <a:gd name="T31" fmla="*/ 2147483647 h 11"/>
              <a:gd name="T32" fmla="*/ 2147483647 w 12"/>
              <a:gd name="T33" fmla="*/ 2147483647 h 11"/>
              <a:gd name="T34" fmla="*/ 2147483647 w 12"/>
              <a:gd name="T35" fmla="*/ 2147483647 h 11"/>
              <a:gd name="T36" fmla="*/ 2147483647 w 12"/>
              <a:gd name="T37" fmla="*/ 2147483647 h 11"/>
              <a:gd name="T38" fmla="*/ 2147483647 w 12"/>
              <a:gd name="T39" fmla="*/ 2147483647 h 11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12"/>
              <a:gd name="T61" fmla="*/ 0 h 11"/>
              <a:gd name="T62" fmla="*/ 12 w 12"/>
              <a:gd name="T63" fmla="*/ 11 h 11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12" h="11">
                <a:moveTo>
                  <a:pt x="9" y="11"/>
                </a:moveTo>
                <a:lnTo>
                  <a:pt x="9" y="11"/>
                </a:lnTo>
                <a:lnTo>
                  <a:pt x="12" y="8"/>
                </a:lnTo>
                <a:lnTo>
                  <a:pt x="9" y="5"/>
                </a:lnTo>
                <a:lnTo>
                  <a:pt x="6" y="3"/>
                </a:ln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lnTo>
                  <a:pt x="0" y="5"/>
                </a:lnTo>
                <a:lnTo>
                  <a:pt x="0" y="8"/>
                </a:lnTo>
                <a:lnTo>
                  <a:pt x="3" y="8"/>
                </a:lnTo>
                <a:lnTo>
                  <a:pt x="6" y="8"/>
                </a:lnTo>
                <a:lnTo>
                  <a:pt x="9" y="11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66" name="Freeform 152"/>
          <p:cNvSpPr>
            <a:spLocks noEditPoints="1"/>
          </p:cNvSpPr>
          <p:nvPr/>
        </p:nvSpPr>
        <p:spPr bwMode="gray">
          <a:xfrm>
            <a:off x="6179113" y="1620044"/>
            <a:ext cx="4240764" cy="1078530"/>
          </a:xfrm>
          <a:custGeom>
            <a:avLst/>
            <a:gdLst>
              <a:gd name="T0" fmla="*/ 2147483647 w 2099"/>
              <a:gd name="T1" fmla="*/ 2147483647 h 712"/>
              <a:gd name="T2" fmla="*/ 2147483647 w 2099"/>
              <a:gd name="T3" fmla="*/ 2147483647 h 712"/>
              <a:gd name="T4" fmla="*/ 2147483647 w 2099"/>
              <a:gd name="T5" fmla="*/ 2147483647 h 712"/>
              <a:gd name="T6" fmla="*/ 2147483647 w 2099"/>
              <a:gd name="T7" fmla="*/ 2147483647 h 712"/>
              <a:gd name="T8" fmla="*/ 2147483647 w 2099"/>
              <a:gd name="T9" fmla="*/ 2147483647 h 712"/>
              <a:gd name="T10" fmla="*/ 2147483647 w 2099"/>
              <a:gd name="T11" fmla="*/ 2147483647 h 712"/>
              <a:gd name="T12" fmla="*/ 2147483647 w 2099"/>
              <a:gd name="T13" fmla="*/ 2147483647 h 712"/>
              <a:gd name="T14" fmla="*/ 2147483647 w 2099"/>
              <a:gd name="T15" fmla="*/ 2147483647 h 712"/>
              <a:gd name="T16" fmla="*/ 2147483647 w 2099"/>
              <a:gd name="T17" fmla="*/ 2147483647 h 712"/>
              <a:gd name="T18" fmla="*/ 2147483647 w 2099"/>
              <a:gd name="T19" fmla="*/ 2147483647 h 712"/>
              <a:gd name="T20" fmla="*/ 2147483647 w 2099"/>
              <a:gd name="T21" fmla="*/ 2147483647 h 712"/>
              <a:gd name="T22" fmla="*/ 2147483647 w 2099"/>
              <a:gd name="T23" fmla="*/ 2147483647 h 712"/>
              <a:gd name="T24" fmla="*/ 2147483647 w 2099"/>
              <a:gd name="T25" fmla="*/ 2147483647 h 712"/>
              <a:gd name="T26" fmla="*/ 2147483647 w 2099"/>
              <a:gd name="T27" fmla="*/ 2147483647 h 712"/>
              <a:gd name="T28" fmla="*/ 2147483647 w 2099"/>
              <a:gd name="T29" fmla="*/ 2147483647 h 712"/>
              <a:gd name="T30" fmla="*/ 2147483647 w 2099"/>
              <a:gd name="T31" fmla="*/ 2147483647 h 712"/>
              <a:gd name="T32" fmla="*/ 2147483647 w 2099"/>
              <a:gd name="T33" fmla="*/ 2147483647 h 712"/>
              <a:gd name="T34" fmla="*/ 2147483647 w 2099"/>
              <a:gd name="T35" fmla="*/ 2147483647 h 712"/>
              <a:gd name="T36" fmla="*/ 2147483647 w 2099"/>
              <a:gd name="T37" fmla="*/ 2147483647 h 712"/>
              <a:gd name="T38" fmla="*/ 2147483647 w 2099"/>
              <a:gd name="T39" fmla="*/ 2147483647 h 712"/>
              <a:gd name="T40" fmla="*/ 2147483647 w 2099"/>
              <a:gd name="T41" fmla="*/ 2147483647 h 712"/>
              <a:gd name="T42" fmla="*/ 2147483647 w 2099"/>
              <a:gd name="T43" fmla="*/ 2147483647 h 712"/>
              <a:gd name="T44" fmla="*/ 2147483647 w 2099"/>
              <a:gd name="T45" fmla="*/ 2147483647 h 712"/>
              <a:gd name="T46" fmla="*/ 2147483647 w 2099"/>
              <a:gd name="T47" fmla="*/ 2147483647 h 712"/>
              <a:gd name="T48" fmla="*/ 0 w 2099"/>
              <a:gd name="T49" fmla="*/ 2147483647 h 712"/>
              <a:gd name="T50" fmla="*/ 2147483647 w 2099"/>
              <a:gd name="T51" fmla="*/ 2147483647 h 712"/>
              <a:gd name="T52" fmla="*/ 2147483647 w 2099"/>
              <a:gd name="T53" fmla="*/ 2147483647 h 712"/>
              <a:gd name="T54" fmla="*/ 2147483647 w 2099"/>
              <a:gd name="T55" fmla="*/ 2147483647 h 712"/>
              <a:gd name="T56" fmla="*/ 2147483647 w 2099"/>
              <a:gd name="T57" fmla="*/ 2147483647 h 712"/>
              <a:gd name="T58" fmla="*/ 2147483647 w 2099"/>
              <a:gd name="T59" fmla="*/ 2147483647 h 712"/>
              <a:gd name="T60" fmla="*/ 2147483647 w 2099"/>
              <a:gd name="T61" fmla="*/ 2147483647 h 712"/>
              <a:gd name="T62" fmla="*/ 2147483647 w 2099"/>
              <a:gd name="T63" fmla="*/ 2147483647 h 712"/>
              <a:gd name="T64" fmla="*/ 2147483647 w 2099"/>
              <a:gd name="T65" fmla="*/ 2147483647 h 712"/>
              <a:gd name="T66" fmla="*/ 2147483647 w 2099"/>
              <a:gd name="T67" fmla="*/ 2147483647 h 712"/>
              <a:gd name="T68" fmla="*/ 2147483647 w 2099"/>
              <a:gd name="T69" fmla="*/ 2147483647 h 712"/>
              <a:gd name="T70" fmla="*/ 2147483647 w 2099"/>
              <a:gd name="T71" fmla="*/ 2147483647 h 712"/>
              <a:gd name="T72" fmla="*/ 2147483647 w 2099"/>
              <a:gd name="T73" fmla="*/ 2147483647 h 712"/>
              <a:gd name="T74" fmla="*/ 2147483647 w 2099"/>
              <a:gd name="T75" fmla="*/ 2147483647 h 712"/>
              <a:gd name="T76" fmla="*/ 2147483647 w 2099"/>
              <a:gd name="T77" fmla="*/ 2147483647 h 712"/>
              <a:gd name="T78" fmla="*/ 2147483647 w 2099"/>
              <a:gd name="T79" fmla="*/ 2147483647 h 712"/>
              <a:gd name="T80" fmla="*/ 2147483647 w 2099"/>
              <a:gd name="T81" fmla="*/ 2147483647 h 712"/>
              <a:gd name="T82" fmla="*/ 2147483647 w 2099"/>
              <a:gd name="T83" fmla="*/ 2147483647 h 712"/>
              <a:gd name="T84" fmla="*/ 2147483647 w 2099"/>
              <a:gd name="T85" fmla="*/ 2147483647 h 712"/>
              <a:gd name="T86" fmla="*/ 2147483647 w 2099"/>
              <a:gd name="T87" fmla="*/ 2147483647 h 712"/>
              <a:gd name="T88" fmla="*/ 2147483647 w 2099"/>
              <a:gd name="T89" fmla="*/ 2147483647 h 712"/>
              <a:gd name="T90" fmla="*/ 2147483647 w 2099"/>
              <a:gd name="T91" fmla="*/ 2147483647 h 712"/>
              <a:gd name="T92" fmla="*/ 2147483647 w 2099"/>
              <a:gd name="T93" fmla="*/ 2147483647 h 712"/>
              <a:gd name="T94" fmla="*/ 2147483647 w 2099"/>
              <a:gd name="T95" fmla="*/ 2147483647 h 712"/>
              <a:gd name="T96" fmla="*/ 2147483647 w 2099"/>
              <a:gd name="T97" fmla="*/ 2147483647 h 712"/>
              <a:gd name="T98" fmla="*/ 2147483647 w 2099"/>
              <a:gd name="T99" fmla="*/ 2147483647 h 712"/>
              <a:gd name="T100" fmla="*/ 2147483647 w 2099"/>
              <a:gd name="T101" fmla="*/ 2147483647 h 712"/>
              <a:gd name="T102" fmla="*/ 2147483647 w 2099"/>
              <a:gd name="T103" fmla="*/ 2147483647 h 712"/>
              <a:gd name="T104" fmla="*/ 2147483647 w 2099"/>
              <a:gd name="T105" fmla="*/ 2147483647 h 712"/>
              <a:gd name="T106" fmla="*/ 2147483647 w 2099"/>
              <a:gd name="T107" fmla="*/ 2147483647 h 712"/>
              <a:gd name="T108" fmla="*/ 2147483647 w 2099"/>
              <a:gd name="T109" fmla="*/ 2147483647 h 712"/>
              <a:gd name="T110" fmla="*/ 2147483647 w 2099"/>
              <a:gd name="T111" fmla="*/ 2147483647 h 712"/>
              <a:gd name="T112" fmla="*/ 2147483647 w 2099"/>
              <a:gd name="T113" fmla="*/ 2147483647 h 712"/>
              <a:gd name="T114" fmla="*/ 2147483647 w 2099"/>
              <a:gd name="T115" fmla="*/ 2147483647 h 712"/>
              <a:gd name="T116" fmla="*/ 2147483647 w 2099"/>
              <a:gd name="T117" fmla="*/ 2147483647 h 712"/>
              <a:gd name="T118" fmla="*/ 2147483647 w 2099"/>
              <a:gd name="T119" fmla="*/ 2147483647 h 712"/>
              <a:gd name="T120" fmla="*/ 2147483647 w 2099"/>
              <a:gd name="T121" fmla="*/ 2147483647 h 712"/>
              <a:gd name="T122" fmla="*/ 2147483647 w 2099"/>
              <a:gd name="T123" fmla="*/ 2147483647 h 712"/>
              <a:gd name="T124" fmla="*/ 2147483647 w 2099"/>
              <a:gd name="T125" fmla="*/ 2147483647 h 71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2099"/>
              <a:gd name="T190" fmla="*/ 0 h 712"/>
              <a:gd name="T191" fmla="*/ 2099 w 2099"/>
              <a:gd name="T192" fmla="*/ 712 h 712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2099" h="712">
                <a:moveTo>
                  <a:pt x="2099" y="209"/>
                </a:moveTo>
                <a:lnTo>
                  <a:pt x="2093" y="206"/>
                </a:lnTo>
                <a:lnTo>
                  <a:pt x="2093" y="201"/>
                </a:lnTo>
                <a:lnTo>
                  <a:pt x="2087" y="203"/>
                </a:lnTo>
                <a:lnTo>
                  <a:pt x="2087" y="201"/>
                </a:lnTo>
                <a:lnTo>
                  <a:pt x="2078" y="195"/>
                </a:lnTo>
                <a:lnTo>
                  <a:pt x="2090" y="192"/>
                </a:lnTo>
                <a:lnTo>
                  <a:pt x="2093" y="189"/>
                </a:lnTo>
                <a:lnTo>
                  <a:pt x="2087" y="183"/>
                </a:lnTo>
                <a:lnTo>
                  <a:pt x="2081" y="175"/>
                </a:lnTo>
                <a:lnTo>
                  <a:pt x="2078" y="178"/>
                </a:lnTo>
                <a:lnTo>
                  <a:pt x="2078" y="181"/>
                </a:lnTo>
                <a:lnTo>
                  <a:pt x="2070" y="178"/>
                </a:lnTo>
                <a:lnTo>
                  <a:pt x="2064" y="175"/>
                </a:lnTo>
                <a:lnTo>
                  <a:pt x="2058" y="172"/>
                </a:lnTo>
                <a:lnTo>
                  <a:pt x="2050" y="169"/>
                </a:lnTo>
                <a:lnTo>
                  <a:pt x="2047" y="169"/>
                </a:lnTo>
                <a:lnTo>
                  <a:pt x="2038" y="166"/>
                </a:lnTo>
                <a:lnTo>
                  <a:pt x="2027" y="166"/>
                </a:lnTo>
                <a:lnTo>
                  <a:pt x="2007" y="166"/>
                </a:lnTo>
                <a:lnTo>
                  <a:pt x="2021" y="172"/>
                </a:lnTo>
                <a:lnTo>
                  <a:pt x="2027" y="175"/>
                </a:lnTo>
                <a:lnTo>
                  <a:pt x="2021" y="178"/>
                </a:lnTo>
                <a:lnTo>
                  <a:pt x="2015" y="175"/>
                </a:lnTo>
                <a:lnTo>
                  <a:pt x="2004" y="166"/>
                </a:lnTo>
                <a:lnTo>
                  <a:pt x="1998" y="160"/>
                </a:lnTo>
                <a:lnTo>
                  <a:pt x="1987" y="158"/>
                </a:lnTo>
                <a:lnTo>
                  <a:pt x="1969" y="152"/>
                </a:lnTo>
                <a:lnTo>
                  <a:pt x="1926" y="143"/>
                </a:lnTo>
                <a:lnTo>
                  <a:pt x="1906" y="137"/>
                </a:lnTo>
                <a:lnTo>
                  <a:pt x="1880" y="129"/>
                </a:lnTo>
                <a:lnTo>
                  <a:pt x="1832" y="120"/>
                </a:lnTo>
                <a:lnTo>
                  <a:pt x="1809" y="120"/>
                </a:lnTo>
                <a:lnTo>
                  <a:pt x="1789" y="120"/>
                </a:lnTo>
                <a:lnTo>
                  <a:pt x="1763" y="117"/>
                </a:lnTo>
                <a:lnTo>
                  <a:pt x="1745" y="114"/>
                </a:lnTo>
                <a:lnTo>
                  <a:pt x="1751" y="120"/>
                </a:lnTo>
                <a:lnTo>
                  <a:pt x="1763" y="126"/>
                </a:lnTo>
                <a:lnTo>
                  <a:pt x="1768" y="129"/>
                </a:lnTo>
                <a:lnTo>
                  <a:pt x="1771" y="132"/>
                </a:lnTo>
                <a:lnTo>
                  <a:pt x="1774" y="135"/>
                </a:lnTo>
                <a:lnTo>
                  <a:pt x="1771" y="137"/>
                </a:lnTo>
                <a:lnTo>
                  <a:pt x="1766" y="137"/>
                </a:lnTo>
                <a:lnTo>
                  <a:pt x="1757" y="135"/>
                </a:lnTo>
                <a:lnTo>
                  <a:pt x="1751" y="132"/>
                </a:lnTo>
                <a:lnTo>
                  <a:pt x="1740" y="129"/>
                </a:lnTo>
                <a:lnTo>
                  <a:pt x="1731" y="126"/>
                </a:lnTo>
                <a:lnTo>
                  <a:pt x="1734" y="126"/>
                </a:lnTo>
                <a:lnTo>
                  <a:pt x="1737" y="123"/>
                </a:lnTo>
                <a:lnTo>
                  <a:pt x="1740" y="123"/>
                </a:lnTo>
                <a:lnTo>
                  <a:pt x="1743" y="123"/>
                </a:lnTo>
                <a:lnTo>
                  <a:pt x="1740" y="120"/>
                </a:lnTo>
                <a:lnTo>
                  <a:pt x="1734" y="120"/>
                </a:lnTo>
                <a:lnTo>
                  <a:pt x="1728" y="117"/>
                </a:lnTo>
                <a:lnTo>
                  <a:pt x="1720" y="117"/>
                </a:lnTo>
                <a:lnTo>
                  <a:pt x="1717" y="120"/>
                </a:lnTo>
                <a:lnTo>
                  <a:pt x="1717" y="123"/>
                </a:lnTo>
                <a:lnTo>
                  <a:pt x="1708" y="126"/>
                </a:lnTo>
                <a:lnTo>
                  <a:pt x="1668" y="120"/>
                </a:lnTo>
                <a:lnTo>
                  <a:pt x="1651" y="123"/>
                </a:lnTo>
                <a:lnTo>
                  <a:pt x="1639" y="123"/>
                </a:lnTo>
                <a:lnTo>
                  <a:pt x="1628" y="120"/>
                </a:lnTo>
                <a:lnTo>
                  <a:pt x="1619" y="123"/>
                </a:lnTo>
                <a:lnTo>
                  <a:pt x="1616" y="120"/>
                </a:lnTo>
                <a:lnTo>
                  <a:pt x="1611" y="112"/>
                </a:lnTo>
                <a:lnTo>
                  <a:pt x="1602" y="106"/>
                </a:lnTo>
                <a:lnTo>
                  <a:pt x="1590" y="103"/>
                </a:lnTo>
                <a:lnTo>
                  <a:pt x="1570" y="100"/>
                </a:lnTo>
                <a:lnTo>
                  <a:pt x="1533" y="100"/>
                </a:lnTo>
                <a:lnTo>
                  <a:pt x="1522" y="103"/>
                </a:lnTo>
                <a:lnTo>
                  <a:pt x="1513" y="103"/>
                </a:lnTo>
                <a:lnTo>
                  <a:pt x="1499" y="100"/>
                </a:lnTo>
                <a:lnTo>
                  <a:pt x="1490" y="97"/>
                </a:lnTo>
                <a:lnTo>
                  <a:pt x="1479" y="97"/>
                </a:lnTo>
                <a:lnTo>
                  <a:pt x="1473" y="94"/>
                </a:lnTo>
                <a:lnTo>
                  <a:pt x="1467" y="94"/>
                </a:lnTo>
                <a:lnTo>
                  <a:pt x="1458" y="94"/>
                </a:lnTo>
                <a:lnTo>
                  <a:pt x="1453" y="89"/>
                </a:lnTo>
                <a:lnTo>
                  <a:pt x="1447" y="83"/>
                </a:lnTo>
                <a:lnTo>
                  <a:pt x="1427" y="80"/>
                </a:lnTo>
                <a:lnTo>
                  <a:pt x="1415" y="80"/>
                </a:lnTo>
                <a:lnTo>
                  <a:pt x="1410" y="80"/>
                </a:lnTo>
                <a:lnTo>
                  <a:pt x="1410" y="86"/>
                </a:lnTo>
                <a:lnTo>
                  <a:pt x="1410" y="89"/>
                </a:lnTo>
                <a:lnTo>
                  <a:pt x="1401" y="89"/>
                </a:lnTo>
                <a:lnTo>
                  <a:pt x="1395" y="86"/>
                </a:lnTo>
                <a:lnTo>
                  <a:pt x="1398" y="83"/>
                </a:lnTo>
                <a:lnTo>
                  <a:pt x="1404" y="83"/>
                </a:lnTo>
                <a:lnTo>
                  <a:pt x="1404" y="86"/>
                </a:lnTo>
                <a:lnTo>
                  <a:pt x="1407" y="86"/>
                </a:lnTo>
                <a:lnTo>
                  <a:pt x="1404" y="80"/>
                </a:lnTo>
                <a:lnTo>
                  <a:pt x="1390" y="80"/>
                </a:lnTo>
                <a:lnTo>
                  <a:pt x="1387" y="77"/>
                </a:lnTo>
                <a:lnTo>
                  <a:pt x="1372" y="74"/>
                </a:lnTo>
                <a:lnTo>
                  <a:pt x="1324" y="71"/>
                </a:lnTo>
                <a:lnTo>
                  <a:pt x="1326" y="74"/>
                </a:lnTo>
                <a:lnTo>
                  <a:pt x="1329" y="77"/>
                </a:lnTo>
                <a:lnTo>
                  <a:pt x="1321" y="77"/>
                </a:lnTo>
                <a:lnTo>
                  <a:pt x="1315" y="77"/>
                </a:lnTo>
                <a:lnTo>
                  <a:pt x="1315" y="83"/>
                </a:lnTo>
                <a:lnTo>
                  <a:pt x="1318" y="83"/>
                </a:lnTo>
                <a:lnTo>
                  <a:pt x="1326" y="83"/>
                </a:lnTo>
                <a:lnTo>
                  <a:pt x="1326" y="86"/>
                </a:lnTo>
                <a:lnTo>
                  <a:pt x="1332" y="89"/>
                </a:lnTo>
                <a:lnTo>
                  <a:pt x="1338" y="94"/>
                </a:lnTo>
                <a:lnTo>
                  <a:pt x="1329" y="94"/>
                </a:lnTo>
                <a:lnTo>
                  <a:pt x="1324" y="92"/>
                </a:lnTo>
                <a:lnTo>
                  <a:pt x="1321" y="92"/>
                </a:lnTo>
                <a:lnTo>
                  <a:pt x="1315" y="92"/>
                </a:lnTo>
                <a:lnTo>
                  <a:pt x="1309" y="92"/>
                </a:lnTo>
                <a:lnTo>
                  <a:pt x="1306" y="94"/>
                </a:lnTo>
                <a:lnTo>
                  <a:pt x="1301" y="92"/>
                </a:lnTo>
                <a:lnTo>
                  <a:pt x="1292" y="92"/>
                </a:lnTo>
                <a:lnTo>
                  <a:pt x="1280" y="94"/>
                </a:lnTo>
                <a:lnTo>
                  <a:pt x="1272" y="94"/>
                </a:lnTo>
                <a:lnTo>
                  <a:pt x="1266" y="94"/>
                </a:lnTo>
                <a:lnTo>
                  <a:pt x="1243" y="86"/>
                </a:lnTo>
                <a:lnTo>
                  <a:pt x="1243" y="89"/>
                </a:lnTo>
                <a:lnTo>
                  <a:pt x="1243" y="94"/>
                </a:lnTo>
                <a:lnTo>
                  <a:pt x="1246" y="97"/>
                </a:lnTo>
                <a:lnTo>
                  <a:pt x="1249" y="100"/>
                </a:lnTo>
                <a:lnTo>
                  <a:pt x="1252" y="106"/>
                </a:lnTo>
                <a:lnTo>
                  <a:pt x="1249" y="106"/>
                </a:lnTo>
                <a:lnTo>
                  <a:pt x="1243" y="103"/>
                </a:lnTo>
                <a:lnTo>
                  <a:pt x="1235" y="103"/>
                </a:lnTo>
                <a:lnTo>
                  <a:pt x="1226" y="100"/>
                </a:lnTo>
                <a:lnTo>
                  <a:pt x="1214" y="97"/>
                </a:lnTo>
                <a:lnTo>
                  <a:pt x="1203" y="92"/>
                </a:lnTo>
                <a:lnTo>
                  <a:pt x="1200" y="89"/>
                </a:lnTo>
                <a:lnTo>
                  <a:pt x="1186" y="80"/>
                </a:lnTo>
                <a:lnTo>
                  <a:pt x="1197" y="83"/>
                </a:lnTo>
                <a:lnTo>
                  <a:pt x="1197" y="77"/>
                </a:lnTo>
                <a:lnTo>
                  <a:pt x="1191" y="77"/>
                </a:lnTo>
                <a:lnTo>
                  <a:pt x="1183" y="77"/>
                </a:lnTo>
                <a:lnTo>
                  <a:pt x="1186" y="74"/>
                </a:lnTo>
                <a:lnTo>
                  <a:pt x="1180" y="71"/>
                </a:lnTo>
                <a:lnTo>
                  <a:pt x="1177" y="66"/>
                </a:lnTo>
                <a:lnTo>
                  <a:pt x="1174" y="66"/>
                </a:lnTo>
                <a:lnTo>
                  <a:pt x="1166" y="66"/>
                </a:lnTo>
                <a:lnTo>
                  <a:pt x="1146" y="63"/>
                </a:lnTo>
                <a:lnTo>
                  <a:pt x="1140" y="63"/>
                </a:lnTo>
                <a:lnTo>
                  <a:pt x="1134" y="60"/>
                </a:lnTo>
                <a:lnTo>
                  <a:pt x="1111" y="57"/>
                </a:lnTo>
                <a:lnTo>
                  <a:pt x="1100" y="60"/>
                </a:lnTo>
                <a:lnTo>
                  <a:pt x="1108" y="66"/>
                </a:lnTo>
                <a:lnTo>
                  <a:pt x="1114" y="69"/>
                </a:lnTo>
                <a:lnTo>
                  <a:pt x="1117" y="71"/>
                </a:lnTo>
                <a:lnTo>
                  <a:pt x="1111" y="74"/>
                </a:lnTo>
                <a:lnTo>
                  <a:pt x="1105" y="71"/>
                </a:lnTo>
                <a:lnTo>
                  <a:pt x="1091" y="71"/>
                </a:lnTo>
                <a:lnTo>
                  <a:pt x="1071" y="69"/>
                </a:lnTo>
                <a:lnTo>
                  <a:pt x="1048" y="66"/>
                </a:lnTo>
                <a:lnTo>
                  <a:pt x="1051" y="63"/>
                </a:lnTo>
                <a:lnTo>
                  <a:pt x="1048" y="60"/>
                </a:lnTo>
                <a:lnTo>
                  <a:pt x="1039" y="60"/>
                </a:lnTo>
                <a:lnTo>
                  <a:pt x="1025" y="57"/>
                </a:lnTo>
                <a:lnTo>
                  <a:pt x="1016" y="57"/>
                </a:lnTo>
                <a:lnTo>
                  <a:pt x="1011" y="57"/>
                </a:lnTo>
                <a:lnTo>
                  <a:pt x="996" y="60"/>
                </a:lnTo>
                <a:lnTo>
                  <a:pt x="988" y="63"/>
                </a:lnTo>
                <a:lnTo>
                  <a:pt x="993" y="66"/>
                </a:lnTo>
                <a:lnTo>
                  <a:pt x="988" y="63"/>
                </a:lnTo>
                <a:lnTo>
                  <a:pt x="985" y="60"/>
                </a:lnTo>
                <a:lnTo>
                  <a:pt x="982" y="57"/>
                </a:lnTo>
                <a:lnTo>
                  <a:pt x="973" y="54"/>
                </a:lnTo>
                <a:lnTo>
                  <a:pt x="970" y="57"/>
                </a:lnTo>
                <a:lnTo>
                  <a:pt x="968" y="57"/>
                </a:lnTo>
                <a:lnTo>
                  <a:pt x="965" y="60"/>
                </a:lnTo>
                <a:lnTo>
                  <a:pt x="959" y="57"/>
                </a:lnTo>
                <a:lnTo>
                  <a:pt x="953" y="54"/>
                </a:lnTo>
                <a:lnTo>
                  <a:pt x="950" y="54"/>
                </a:lnTo>
                <a:lnTo>
                  <a:pt x="936" y="57"/>
                </a:lnTo>
                <a:lnTo>
                  <a:pt x="942" y="60"/>
                </a:lnTo>
                <a:lnTo>
                  <a:pt x="947" y="60"/>
                </a:lnTo>
                <a:lnTo>
                  <a:pt x="939" y="63"/>
                </a:lnTo>
                <a:lnTo>
                  <a:pt x="927" y="66"/>
                </a:lnTo>
                <a:lnTo>
                  <a:pt x="913" y="66"/>
                </a:lnTo>
                <a:lnTo>
                  <a:pt x="907" y="69"/>
                </a:lnTo>
                <a:lnTo>
                  <a:pt x="899" y="74"/>
                </a:lnTo>
                <a:lnTo>
                  <a:pt x="896" y="71"/>
                </a:lnTo>
                <a:lnTo>
                  <a:pt x="904" y="66"/>
                </a:lnTo>
                <a:lnTo>
                  <a:pt x="907" y="63"/>
                </a:lnTo>
                <a:lnTo>
                  <a:pt x="913" y="60"/>
                </a:lnTo>
                <a:lnTo>
                  <a:pt x="916" y="60"/>
                </a:lnTo>
                <a:lnTo>
                  <a:pt x="919" y="60"/>
                </a:lnTo>
                <a:lnTo>
                  <a:pt x="925" y="54"/>
                </a:lnTo>
                <a:lnTo>
                  <a:pt x="933" y="54"/>
                </a:lnTo>
                <a:lnTo>
                  <a:pt x="933" y="48"/>
                </a:lnTo>
                <a:lnTo>
                  <a:pt x="939" y="46"/>
                </a:lnTo>
                <a:lnTo>
                  <a:pt x="945" y="43"/>
                </a:lnTo>
                <a:lnTo>
                  <a:pt x="953" y="40"/>
                </a:lnTo>
                <a:lnTo>
                  <a:pt x="956" y="31"/>
                </a:lnTo>
                <a:lnTo>
                  <a:pt x="950" y="28"/>
                </a:lnTo>
                <a:lnTo>
                  <a:pt x="945" y="23"/>
                </a:lnTo>
                <a:lnTo>
                  <a:pt x="942" y="23"/>
                </a:lnTo>
                <a:lnTo>
                  <a:pt x="933" y="17"/>
                </a:lnTo>
                <a:lnTo>
                  <a:pt x="933" y="20"/>
                </a:lnTo>
                <a:lnTo>
                  <a:pt x="933" y="23"/>
                </a:lnTo>
                <a:lnTo>
                  <a:pt x="930" y="20"/>
                </a:lnTo>
                <a:lnTo>
                  <a:pt x="925" y="14"/>
                </a:lnTo>
                <a:lnTo>
                  <a:pt x="916" y="14"/>
                </a:lnTo>
                <a:lnTo>
                  <a:pt x="913" y="14"/>
                </a:lnTo>
                <a:lnTo>
                  <a:pt x="910" y="14"/>
                </a:lnTo>
                <a:lnTo>
                  <a:pt x="899" y="14"/>
                </a:lnTo>
                <a:lnTo>
                  <a:pt x="870" y="14"/>
                </a:lnTo>
                <a:lnTo>
                  <a:pt x="858" y="17"/>
                </a:lnTo>
                <a:lnTo>
                  <a:pt x="856" y="17"/>
                </a:lnTo>
                <a:lnTo>
                  <a:pt x="858" y="11"/>
                </a:lnTo>
                <a:lnTo>
                  <a:pt x="850" y="11"/>
                </a:lnTo>
                <a:lnTo>
                  <a:pt x="838" y="8"/>
                </a:lnTo>
                <a:lnTo>
                  <a:pt x="824" y="11"/>
                </a:lnTo>
                <a:lnTo>
                  <a:pt x="830" y="5"/>
                </a:lnTo>
                <a:lnTo>
                  <a:pt x="836" y="3"/>
                </a:lnTo>
                <a:lnTo>
                  <a:pt x="824" y="0"/>
                </a:lnTo>
                <a:lnTo>
                  <a:pt x="813" y="0"/>
                </a:lnTo>
                <a:lnTo>
                  <a:pt x="795" y="0"/>
                </a:lnTo>
                <a:lnTo>
                  <a:pt x="792" y="3"/>
                </a:lnTo>
                <a:lnTo>
                  <a:pt x="790" y="5"/>
                </a:lnTo>
                <a:lnTo>
                  <a:pt x="790" y="11"/>
                </a:lnTo>
                <a:lnTo>
                  <a:pt x="792" y="14"/>
                </a:lnTo>
                <a:lnTo>
                  <a:pt x="795" y="17"/>
                </a:lnTo>
                <a:lnTo>
                  <a:pt x="790" y="17"/>
                </a:lnTo>
                <a:lnTo>
                  <a:pt x="778" y="17"/>
                </a:lnTo>
                <a:lnTo>
                  <a:pt x="772" y="17"/>
                </a:lnTo>
                <a:lnTo>
                  <a:pt x="775" y="20"/>
                </a:lnTo>
                <a:lnTo>
                  <a:pt x="778" y="23"/>
                </a:lnTo>
                <a:lnTo>
                  <a:pt x="787" y="23"/>
                </a:lnTo>
                <a:lnTo>
                  <a:pt x="770" y="23"/>
                </a:lnTo>
                <a:lnTo>
                  <a:pt x="761" y="23"/>
                </a:lnTo>
                <a:lnTo>
                  <a:pt x="749" y="23"/>
                </a:lnTo>
                <a:lnTo>
                  <a:pt x="752" y="20"/>
                </a:lnTo>
                <a:lnTo>
                  <a:pt x="741" y="20"/>
                </a:lnTo>
                <a:lnTo>
                  <a:pt x="729" y="23"/>
                </a:lnTo>
                <a:lnTo>
                  <a:pt x="724" y="25"/>
                </a:lnTo>
                <a:lnTo>
                  <a:pt x="718" y="25"/>
                </a:lnTo>
                <a:lnTo>
                  <a:pt x="715" y="23"/>
                </a:lnTo>
                <a:lnTo>
                  <a:pt x="709" y="23"/>
                </a:lnTo>
                <a:lnTo>
                  <a:pt x="709" y="25"/>
                </a:lnTo>
                <a:lnTo>
                  <a:pt x="703" y="28"/>
                </a:lnTo>
                <a:lnTo>
                  <a:pt x="678" y="31"/>
                </a:lnTo>
                <a:lnTo>
                  <a:pt x="669" y="34"/>
                </a:lnTo>
                <a:lnTo>
                  <a:pt x="666" y="37"/>
                </a:lnTo>
                <a:lnTo>
                  <a:pt x="655" y="37"/>
                </a:lnTo>
                <a:lnTo>
                  <a:pt x="652" y="46"/>
                </a:lnTo>
                <a:lnTo>
                  <a:pt x="660" y="51"/>
                </a:lnTo>
                <a:lnTo>
                  <a:pt x="666" y="54"/>
                </a:lnTo>
                <a:lnTo>
                  <a:pt x="666" y="57"/>
                </a:lnTo>
                <a:lnTo>
                  <a:pt x="655" y="57"/>
                </a:lnTo>
                <a:lnTo>
                  <a:pt x="629" y="60"/>
                </a:lnTo>
                <a:lnTo>
                  <a:pt x="614" y="60"/>
                </a:lnTo>
                <a:lnTo>
                  <a:pt x="600" y="60"/>
                </a:lnTo>
                <a:lnTo>
                  <a:pt x="597" y="66"/>
                </a:lnTo>
                <a:lnTo>
                  <a:pt x="594" y="66"/>
                </a:lnTo>
                <a:lnTo>
                  <a:pt x="597" y="69"/>
                </a:lnTo>
                <a:lnTo>
                  <a:pt x="603" y="69"/>
                </a:lnTo>
                <a:lnTo>
                  <a:pt x="606" y="71"/>
                </a:lnTo>
                <a:lnTo>
                  <a:pt x="609" y="77"/>
                </a:lnTo>
                <a:lnTo>
                  <a:pt x="614" y="80"/>
                </a:lnTo>
                <a:lnTo>
                  <a:pt x="626" y="80"/>
                </a:lnTo>
                <a:lnTo>
                  <a:pt x="635" y="83"/>
                </a:lnTo>
                <a:lnTo>
                  <a:pt x="640" y="89"/>
                </a:lnTo>
                <a:lnTo>
                  <a:pt x="643" y="89"/>
                </a:lnTo>
                <a:lnTo>
                  <a:pt x="640" y="89"/>
                </a:lnTo>
                <a:lnTo>
                  <a:pt x="632" y="92"/>
                </a:lnTo>
                <a:lnTo>
                  <a:pt x="623" y="89"/>
                </a:lnTo>
                <a:lnTo>
                  <a:pt x="606" y="83"/>
                </a:lnTo>
                <a:lnTo>
                  <a:pt x="589" y="80"/>
                </a:lnTo>
                <a:lnTo>
                  <a:pt x="580" y="80"/>
                </a:lnTo>
                <a:lnTo>
                  <a:pt x="577" y="77"/>
                </a:lnTo>
                <a:lnTo>
                  <a:pt x="571" y="77"/>
                </a:lnTo>
                <a:lnTo>
                  <a:pt x="566" y="80"/>
                </a:lnTo>
                <a:lnTo>
                  <a:pt x="574" y="83"/>
                </a:lnTo>
                <a:lnTo>
                  <a:pt x="574" y="86"/>
                </a:lnTo>
                <a:lnTo>
                  <a:pt x="583" y="83"/>
                </a:lnTo>
                <a:lnTo>
                  <a:pt x="586" y="86"/>
                </a:lnTo>
                <a:lnTo>
                  <a:pt x="586" y="89"/>
                </a:lnTo>
                <a:lnTo>
                  <a:pt x="577" y="89"/>
                </a:lnTo>
                <a:lnTo>
                  <a:pt x="569" y="86"/>
                </a:lnTo>
                <a:lnTo>
                  <a:pt x="563" y="86"/>
                </a:lnTo>
                <a:lnTo>
                  <a:pt x="560" y="86"/>
                </a:lnTo>
                <a:lnTo>
                  <a:pt x="566" y="92"/>
                </a:lnTo>
                <a:lnTo>
                  <a:pt x="571" y="94"/>
                </a:lnTo>
                <a:lnTo>
                  <a:pt x="586" y="97"/>
                </a:lnTo>
                <a:lnTo>
                  <a:pt x="594" y="100"/>
                </a:lnTo>
                <a:lnTo>
                  <a:pt x="603" y="103"/>
                </a:lnTo>
                <a:lnTo>
                  <a:pt x="597" y="103"/>
                </a:lnTo>
                <a:lnTo>
                  <a:pt x="586" y="100"/>
                </a:lnTo>
                <a:lnTo>
                  <a:pt x="574" y="97"/>
                </a:lnTo>
                <a:lnTo>
                  <a:pt x="557" y="97"/>
                </a:lnTo>
                <a:lnTo>
                  <a:pt x="557" y="92"/>
                </a:lnTo>
                <a:lnTo>
                  <a:pt x="551" y="86"/>
                </a:lnTo>
                <a:lnTo>
                  <a:pt x="551" y="80"/>
                </a:lnTo>
                <a:lnTo>
                  <a:pt x="543" y="74"/>
                </a:lnTo>
                <a:lnTo>
                  <a:pt x="537" y="74"/>
                </a:lnTo>
                <a:lnTo>
                  <a:pt x="543" y="80"/>
                </a:lnTo>
                <a:lnTo>
                  <a:pt x="546" y="83"/>
                </a:lnTo>
                <a:lnTo>
                  <a:pt x="546" y="86"/>
                </a:lnTo>
                <a:lnTo>
                  <a:pt x="543" y="86"/>
                </a:lnTo>
                <a:lnTo>
                  <a:pt x="534" y="89"/>
                </a:lnTo>
                <a:lnTo>
                  <a:pt x="531" y="92"/>
                </a:lnTo>
                <a:lnTo>
                  <a:pt x="531" y="97"/>
                </a:lnTo>
                <a:lnTo>
                  <a:pt x="534" y="97"/>
                </a:lnTo>
                <a:lnTo>
                  <a:pt x="540" y="100"/>
                </a:lnTo>
                <a:lnTo>
                  <a:pt x="548" y="106"/>
                </a:lnTo>
                <a:lnTo>
                  <a:pt x="551" y="109"/>
                </a:lnTo>
                <a:lnTo>
                  <a:pt x="551" y="112"/>
                </a:lnTo>
                <a:lnTo>
                  <a:pt x="548" y="117"/>
                </a:lnTo>
                <a:lnTo>
                  <a:pt x="551" y="120"/>
                </a:lnTo>
                <a:lnTo>
                  <a:pt x="551" y="126"/>
                </a:lnTo>
                <a:lnTo>
                  <a:pt x="557" y="126"/>
                </a:lnTo>
                <a:lnTo>
                  <a:pt x="557" y="129"/>
                </a:lnTo>
                <a:lnTo>
                  <a:pt x="560" y="132"/>
                </a:lnTo>
                <a:lnTo>
                  <a:pt x="563" y="132"/>
                </a:lnTo>
                <a:lnTo>
                  <a:pt x="571" y="132"/>
                </a:lnTo>
                <a:lnTo>
                  <a:pt x="580" y="132"/>
                </a:lnTo>
                <a:lnTo>
                  <a:pt x="594" y="132"/>
                </a:lnTo>
                <a:lnTo>
                  <a:pt x="603" y="135"/>
                </a:lnTo>
                <a:lnTo>
                  <a:pt x="606" y="135"/>
                </a:lnTo>
                <a:lnTo>
                  <a:pt x="612" y="137"/>
                </a:lnTo>
                <a:lnTo>
                  <a:pt x="617" y="146"/>
                </a:lnTo>
                <a:lnTo>
                  <a:pt x="620" y="146"/>
                </a:lnTo>
                <a:lnTo>
                  <a:pt x="617" y="152"/>
                </a:lnTo>
                <a:lnTo>
                  <a:pt x="620" y="155"/>
                </a:lnTo>
                <a:lnTo>
                  <a:pt x="626" y="158"/>
                </a:lnTo>
                <a:lnTo>
                  <a:pt x="614" y="158"/>
                </a:lnTo>
                <a:lnTo>
                  <a:pt x="612" y="149"/>
                </a:lnTo>
                <a:lnTo>
                  <a:pt x="609" y="146"/>
                </a:lnTo>
                <a:lnTo>
                  <a:pt x="606" y="140"/>
                </a:lnTo>
                <a:lnTo>
                  <a:pt x="597" y="137"/>
                </a:lnTo>
                <a:lnTo>
                  <a:pt x="594" y="135"/>
                </a:lnTo>
                <a:lnTo>
                  <a:pt x="592" y="135"/>
                </a:lnTo>
                <a:lnTo>
                  <a:pt x="574" y="137"/>
                </a:lnTo>
                <a:lnTo>
                  <a:pt x="571" y="140"/>
                </a:lnTo>
                <a:lnTo>
                  <a:pt x="574" y="143"/>
                </a:lnTo>
                <a:lnTo>
                  <a:pt x="580" y="149"/>
                </a:lnTo>
                <a:lnTo>
                  <a:pt x="583" y="152"/>
                </a:lnTo>
                <a:lnTo>
                  <a:pt x="583" y="155"/>
                </a:lnTo>
                <a:lnTo>
                  <a:pt x="583" y="158"/>
                </a:lnTo>
                <a:lnTo>
                  <a:pt x="580" y="160"/>
                </a:lnTo>
                <a:lnTo>
                  <a:pt x="577" y="172"/>
                </a:lnTo>
                <a:lnTo>
                  <a:pt x="569" y="175"/>
                </a:lnTo>
                <a:lnTo>
                  <a:pt x="566" y="181"/>
                </a:lnTo>
                <a:lnTo>
                  <a:pt x="563" y="183"/>
                </a:lnTo>
                <a:lnTo>
                  <a:pt x="554" y="178"/>
                </a:lnTo>
                <a:lnTo>
                  <a:pt x="546" y="178"/>
                </a:lnTo>
                <a:lnTo>
                  <a:pt x="540" y="178"/>
                </a:lnTo>
                <a:lnTo>
                  <a:pt x="531" y="175"/>
                </a:lnTo>
                <a:lnTo>
                  <a:pt x="526" y="172"/>
                </a:lnTo>
                <a:lnTo>
                  <a:pt x="537" y="172"/>
                </a:lnTo>
                <a:lnTo>
                  <a:pt x="551" y="169"/>
                </a:lnTo>
                <a:lnTo>
                  <a:pt x="557" y="160"/>
                </a:lnTo>
                <a:lnTo>
                  <a:pt x="563" y="155"/>
                </a:lnTo>
                <a:lnTo>
                  <a:pt x="563" y="152"/>
                </a:lnTo>
                <a:lnTo>
                  <a:pt x="560" y="149"/>
                </a:lnTo>
                <a:lnTo>
                  <a:pt x="563" y="143"/>
                </a:lnTo>
                <a:lnTo>
                  <a:pt x="557" y="140"/>
                </a:lnTo>
                <a:lnTo>
                  <a:pt x="551" y="137"/>
                </a:lnTo>
                <a:lnTo>
                  <a:pt x="543" y="129"/>
                </a:lnTo>
                <a:lnTo>
                  <a:pt x="540" y="123"/>
                </a:lnTo>
                <a:lnTo>
                  <a:pt x="534" y="112"/>
                </a:lnTo>
                <a:lnTo>
                  <a:pt x="534" y="109"/>
                </a:lnTo>
                <a:lnTo>
                  <a:pt x="531" y="103"/>
                </a:lnTo>
                <a:lnTo>
                  <a:pt x="526" y="100"/>
                </a:lnTo>
                <a:lnTo>
                  <a:pt x="520" y="97"/>
                </a:lnTo>
                <a:lnTo>
                  <a:pt x="511" y="94"/>
                </a:lnTo>
                <a:lnTo>
                  <a:pt x="514" y="92"/>
                </a:lnTo>
                <a:lnTo>
                  <a:pt x="517" y="86"/>
                </a:lnTo>
                <a:lnTo>
                  <a:pt x="517" y="80"/>
                </a:lnTo>
                <a:lnTo>
                  <a:pt x="517" y="77"/>
                </a:lnTo>
                <a:lnTo>
                  <a:pt x="514" y="74"/>
                </a:lnTo>
                <a:lnTo>
                  <a:pt x="508" y="74"/>
                </a:lnTo>
                <a:lnTo>
                  <a:pt x="500" y="71"/>
                </a:lnTo>
                <a:lnTo>
                  <a:pt x="485" y="71"/>
                </a:lnTo>
                <a:lnTo>
                  <a:pt x="477" y="71"/>
                </a:lnTo>
                <a:lnTo>
                  <a:pt x="471" y="71"/>
                </a:lnTo>
                <a:lnTo>
                  <a:pt x="468" y="77"/>
                </a:lnTo>
                <a:lnTo>
                  <a:pt x="471" y="83"/>
                </a:lnTo>
                <a:lnTo>
                  <a:pt x="471" y="86"/>
                </a:lnTo>
                <a:lnTo>
                  <a:pt x="471" y="92"/>
                </a:lnTo>
                <a:lnTo>
                  <a:pt x="462" y="97"/>
                </a:lnTo>
                <a:lnTo>
                  <a:pt x="457" y="100"/>
                </a:lnTo>
                <a:lnTo>
                  <a:pt x="457" y="103"/>
                </a:lnTo>
                <a:lnTo>
                  <a:pt x="459" y="103"/>
                </a:lnTo>
                <a:lnTo>
                  <a:pt x="462" y="103"/>
                </a:lnTo>
                <a:lnTo>
                  <a:pt x="465" y="106"/>
                </a:lnTo>
                <a:lnTo>
                  <a:pt x="465" y="112"/>
                </a:lnTo>
                <a:lnTo>
                  <a:pt x="468" y="114"/>
                </a:lnTo>
                <a:lnTo>
                  <a:pt x="468" y="117"/>
                </a:lnTo>
                <a:lnTo>
                  <a:pt x="468" y="120"/>
                </a:lnTo>
                <a:lnTo>
                  <a:pt x="468" y="126"/>
                </a:lnTo>
                <a:lnTo>
                  <a:pt x="477" y="126"/>
                </a:lnTo>
                <a:lnTo>
                  <a:pt x="482" y="126"/>
                </a:lnTo>
                <a:lnTo>
                  <a:pt x="485" y="126"/>
                </a:lnTo>
                <a:lnTo>
                  <a:pt x="488" y="129"/>
                </a:lnTo>
                <a:lnTo>
                  <a:pt x="488" y="132"/>
                </a:lnTo>
                <a:lnTo>
                  <a:pt x="491" y="132"/>
                </a:lnTo>
                <a:lnTo>
                  <a:pt x="505" y="137"/>
                </a:lnTo>
                <a:lnTo>
                  <a:pt x="503" y="143"/>
                </a:lnTo>
                <a:lnTo>
                  <a:pt x="503" y="149"/>
                </a:lnTo>
                <a:lnTo>
                  <a:pt x="497" y="146"/>
                </a:lnTo>
                <a:lnTo>
                  <a:pt x="497" y="143"/>
                </a:lnTo>
                <a:lnTo>
                  <a:pt x="494" y="143"/>
                </a:lnTo>
                <a:lnTo>
                  <a:pt x="485" y="140"/>
                </a:lnTo>
                <a:lnTo>
                  <a:pt x="474" y="137"/>
                </a:lnTo>
                <a:lnTo>
                  <a:pt x="457" y="132"/>
                </a:lnTo>
                <a:lnTo>
                  <a:pt x="442" y="126"/>
                </a:lnTo>
                <a:lnTo>
                  <a:pt x="408" y="120"/>
                </a:lnTo>
                <a:lnTo>
                  <a:pt x="393" y="120"/>
                </a:lnTo>
                <a:lnTo>
                  <a:pt x="393" y="123"/>
                </a:lnTo>
                <a:lnTo>
                  <a:pt x="391" y="123"/>
                </a:lnTo>
                <a:lnTo>
                  <a:pt x="388" y="120"/>
                </a:lnTo>
                <a:lnTo>
                  <a:pt x="379" y="114"/>
                </a:lnTo>
                <a:lnTo>
                  <a:pt x="368" y="109"/>
                </a:lnTo>
                <a:lnTo>
                  <a:pt x="362" y="112"/>
                </a:lnTo>
                <a:lnTo>
                  <a:pt x="362" y="114"/>
                </a:lnTo>
                <a:lnTo>
                  <a:pt x="368" y="117"/>
                </a:lnTo>
                <a:lnTo>
                  <a:pt x="373" y="120"/>
                </a:lnTo>
                <a:lnTo>
                  <a:pt x="379" y="123"/>
                </a:lnTo>
                <a:lnTo>
                  <a:pt x="382" y="123"/>
                </a:lnTo>
                <a:lnTo>
                  <a:pt x="388" y="126"/>
                </a:lnTo>
                <a:lnTo>
                  <a:pt x="391" y="132"/>
                </a:lnTo>
                <a:lnTo>
                  <a:pt x="393" y="132"/>
                </a:lnTo>
                <a:lnTo>
                  <a:pt x="399" y="132"/>
                </a:lnTo>
                <a:lnTo>
                  <a:pt x="399" y="135"/>
                </a:lnTo>
                <a:lnTo>
                  <a:pt x="393" y="140"/>
                </a:lnTo>
                <a:lnTo>
                  <a:pt x="391" y="140"/>
                </a:lnTo>
                <a:lnTo>
                  <a:pt x="388" y="140"/>
                </a:lnTo>
                <a:lnTo>
                  <a:pt x="391" y="143"/>
                </a:lnTo>
                <a:lnTo>
                  <a:pt x="391" y="146"/>
                </a:lnTo>
                <a:lnTo>
                  <a:pt x="382" y="146"/>
                </a:lnTo>
                <a:lnTo>
                  <a:pt x="382" y="140"/>
                </a:lnTo>
                <a:lnTo>
                  <a:pt x="385" y="140"/>
                </a:lnTo>
                <a:lnTo>
                  <a:pt x="382" y="137"/>
                </a:lnTo>
                <a:lnTo>
                  <a:pt x="379" y="137"/>
                </a:lnTo>
                <a:lnTo>
                  <a:pt x="376" y="135"/>
                </a:lnTo>
                <a:lnTo>
                  <a:pt x="376" y="132"/>
                </a:lnTo>
                <a:lnTo>
                  <a:pt x="376" y="129"/>
                </a:lnTo>
                <a:lnTo>
                  <a:pt x="370" y="129"/>
                </a:lnTo>
                <a:lnTo>
                  <a:pt x="373" y="135"/>
                </a:lnTo>
                <a:lnTo>
                  <a:pt x="368" y="137"/>
                </a:lnTo>
                <a:lnTo>
                  <a:pt x="356" y="137"/>
                </a:lnTo>
                <a:lnTo>
                  <a:pt x="356" y="140"/>
                </a:lnTo>
                <a:lnTo>
                  <a:pt x="345" y="140"/>
                </a:lnTo>
                <a:lnTo>
                  <a:pt x="336" y="140"/>
                </a:lnTo>
                <a:lnTo>
                  <a:pt x="330" y="143"/>
                </a:lnTo>
                <a:lnTo>
                  <a:pt x="330" y="149"/>
                </a:lnTo>
                <a:lnTo>
                  <a:pt x="325" y="146"/>
                </a:lnTo>
                <a:lnTo>
                  <a:pt x="322" y="146"/>
                </a:lnTo>
                <a:lnTo>
                  <a:pt x="316" y="146"/>
                </a:lnTo>
                <a:lnTo>
                  <a:pt x="313" y="140"/>
                </a:lnTo>
                <a:lnTo>
                  <a:pt x="319" y="137"/>
                </a:lnTo>
                <a:lnTo>
                  <a:pt x="316" y="135"/>
                </a:lnTo>
                <a:lnTo>
                  <a:pt x="310" y="135"/>
                </a:lnTo>
                <a:lnTo>
                  <a:pt x="296" y="140"/>
                </a:lnTo>
                <a:lnTo>
                  <a:pt x="299" y="143"/>
                </a:lnTo>
                <a:lnTo>
                  <a:pt x="296" y="146"/>
                </a:lnTo>
                <a:lnTo>
                  <a:pt x="293" y="146"/>
                </a:lnTo>
                <a:lnTo>
                  <a:pt x="293" y="143"/>
                </a:lnTo>
                <a:lnTo>
                  <a:pt x="287" y="143"/>
                </a:lnTo>
                <a:lnTo>
                  <a:pt x="276" y="143"/>
                </a:lnTo>
                <a:lnTo>
                  <a:pt x="270" y="149"/>
                </a:lnTo>
                <a:lnTo>
                  <a:pt x="261" y="152"/>
                </a:lnTo>
                <a:lnTo>
                  <a:pt x="253" y="155"/>
                </a:lnTo>
                <a:lnTo>
                  <a:pt x="256" y="158"/>
                </a:lnTo>
                <a:lnTo>
                  <a:pt x="250" y="158"/>
                </a:lnTo>
                <a:lnTo>
                  <a:pt x="244" y="158"/>
                </a:lnTo>
                <a:lnTo>
                  <a:pt x="244" y="166"/>
                </a:lnTo>
                <a:lnTo>
                  <a:pt x="244" y="169"/>
                </a:lnTo>
                <a:lnTo>
                  <a:pt x="236" y="172"/>
                </a:lnTo>
                <a:lnTo>
                  <a:pt x="227" y="172"/>
                </a:lnTo>
                <a:lnTo>
                  <a:pt x="221" y="169"/>
                </a:lnTo>
                <a:lnTo>
                  <a:pt x="207" y="160"/>
                </a:lnTo>
                <a:lnTo>
                  <a:pt x="210" y="158"/>
                </a:lnTo>
                <a:lnTo>
                  <a:pt x="215" y="155"/>
                </a:lnTo>
                <a:lnTo>
                  <a:pt x="230" y="155"/>
                </a:lnTo>
                <a:lnTo>
                  <a:pt x="224" y="152"/>
                </a:lnTo>
                <a:lnTo>
                  <a:pt x="218" y="146"/>
                </a:lnTo>
                <a:lnTo>
                  <a:pt x="215" y="140"/>
                </a:lnTo>
                <a:lnTo>
                  <a:pt x="213" y="140"/>
                </a:lnTo>
                <a:lnTo>
                  <a:pt x="207" y="140"/>
                </a:lnTo>
                <a:lnTo>
                  <a:pt x="190" y="140"/>
                </a:lnTo>
                <a:lnTo>
                  <a:pt x="184" y="140"/>
                </a:lnTo>
                <a:lnTo>
                  <a:pt x="193" y="146"/>
                </a:lnTo>
                <a:lnTo>
                  <a:pt x="195" y="149"/>
                </a:lnTo>
                <a:lnTo>
                  <a:pt x="195" y="155"/>
                </a:lnTo>
                <a:lnTo>
                  <a:pt x="193" y="160"/>
                </a:lnTo>
                <a:lnTo>
                  <a:pt x="195" y="163"/>
                </a:lnTo>
                <a:lnTo>
                  <a:pt x="201" y="166"/>
                </a:lnTo>
                <a:lnTo>
                  <a:pt x="204" y="166"/>
                </a:lnTo>
                <a:lnTo>
                  <a:pt x="204" y="169"/>
                </a:lnTo>
                <a:lnTo>
                  <a:pt x="204" y="172"/>
                </a:lnTo>
                <a:lnTo>
                  <a:pt x="204" y="178"/>
                </a:lnTo>
                <a:lnTo>
                  <a:pt x="204" y="183"/>
                </a:lnTo>
                <a:lnTo>
                  <a:pt x="201" y="183"/>
                </a:lnTo>
                <a:lnTo>
                  <a:pt x="195" y="181"/>
                </a:lnTo>
                <a:lnTo>
                  <a:pt x="190" y="178"/>
                </a:lnTo>
                <a:lnTo>
                  <a:pt x="181" y="178"/>
                </a:lnTo>
                <a:lnTo>
                  <a:pt x="178" y="178"/>
                </a:lnTo>
                <a:lnTo>
                  <a:pt x="170" y="183"/>
                </a:lnTo>
                <a:lnTo>
                  <a:pt x="164" y="186"/>
                </a:lnTo>
                <a:lnTo>
                  <a:pt x="161" y="186"/>
                </a:lnTo>
                <a:lnTo>
                  <a:pt x="152" y="192"/>
                </a:lnTo>
                <a:lnTo>
                  <a:pt x="149" y="195"/>
                </a:lnTo>
                <a:lnTo>
                  <a:pt x="155" y="201"/>
                </a:lnTo>
                <a:lnTo>
                  <a:pt x="161" y="203"/>
                </a:lnTo>
                <a:lnTo>
                  <a:pt x="161" y="206"/>
                </a:lnTo>
                <a:lnTo>
                  <a:pt x="161" y="209"/>
                </a:lnTo>
                <a:lnTo>
                  <a:pt x="155" y="209"/>
                </a:lnTo>
                <a:lnTo>
                  <a:pt x="141" y="206"/>
                </a:lnTo>
                <a:lnTo>
                  <a:pt x="127" y="203"/>
                </a:lnTo>
                <a:lnTo>
                  <a:pt x="124" y="201"/>
                </a:lnTo>
                <a:lnTo>
                  <a:pt x="118" y="198"/>
                </a:lnTo>
                <a:lnTo>
                  <a:pt x="109" y="203"/>
                </a:lnTo>
                <a:lnTo>
                  <a:pt x="115" y="209"/>
                </a:lnTo>
                <a:lnTo>
                  <a:pt x="124" y="215"/>
                </a:lnTo>
                <a:lnTo>
                  <a:pt x="127" y="212"/>
                </a:lnTo>
                <a:lnTo>
                  <a:pt x="129" y="212"/>
                </a:lnTo>
                <a:lnTo>
                  <a:pt x="135" y="218"/>
                </a:lnTo>
                <a:lnTo>
                  <a:pt x="127" y="221"/>
                </a:lnTo>
                <a:lnTo>
                  <a:pt x="118" y="221"/>
                </a:lnTo>
                <a:lnTo>
                  <a:pt x="112" y="218"/>
                </a:lnTo>
                <a:lnTo>
                  <a:pt x="106" y="215"/>
                </a:lnTo>
                <a:lnTo>
                  <a:pt x="92" y="212"/>
                </a:lnTo>
                <a:lnTo>
                  <a:pt x="92" y="209"/>
                </a:lnTo>
                <a:lnTo>
                  <a:pt x="89" y="206"/>
                </a:lnTo>
                <a:lnTo>
                  <a:pt x="83" y="198"/>
                </a:lnTo>
                <a:lnTo>
                  <a:pt x="83" y="192"/>
                </a:lnTo>
                <a:lnTo>
                  <a:pt x="86" y="186"/>
                </a:lnTo>
                <a:lnTo>
                  <a:pt x="78" y="181"/>
                </a:lnTo>
                <a:lnTo>
                  <a:pt x="66" y="178"/>
                </a:lnTo>
                <a:lnTo>
                  <a:pt x="60" y="175"/>
                </a:lnTo>
                <a:lnTo>
                  <a:pt x="49" y="169"/>
                </a:lnTo>
                <a:lnTo>
                  <a:pt x="60" y="175"/>
                </a:lnTo>
                <a:lnTo>
                  <a:pt x="75" y="175"/>
                </a:lnTo>
                <a:lnTo>
                  <a:pt x="92" y="178"/>
                </a:lnTo>
                <a:lnTo>
                  <a:pt x="109" y="181"/>
                </a:lnTo>
                <a:lnTo>
                  <a:pt x="121" y="183"/>
                </a:lnTo>
                <a:lnTo>
                  <a:pt x="138" y="183"/>
                </a:lnTo>
                <a:lnTo>
                  <a:pt x="149" y="181"/>
                </a:lnTo>
                <a:lnTo>
                  <a:pt x="161" y="175"/>
                </a:lnTo>
                <a:lnTo>
                  <a:pt x="161" y="163"/>
                </a:lnTo>
                <a:lnTo>
                  <a:pt x="155" y="160"/>
                </a:lnTo>
                <a:lnTo>
                  <a:pt x="158" y="158"/>
                </a:lnTo>
                <a:lnTo>
                  <a:pt x="147" y="155"/>
                </a:lnTo>
                <a:lnTo>
                  <a:pt x="135" y="149"/>
                </a:lnTo>
                <a:lnTo>
                  <a:pt x="132" y="146"/>
                </a:lnTo>
                <a:lnTo>
                  <a:pt x="127" y="146"/>
                </a:lnTo>
                <a:lnTo>
                  <a:pt x="118" y="143"/>
                </a:lnTo>
                <a:lnTo>
                  <a:pt x="112" y="140"/>
                </a:lnTo>
                <a:lnTo>
                  <a:pt x="104" y="137"/>
                </a:lnTo>
                <a:lnTo>
                  <a:pt x="89" y="132"/>
                </a:lnTo>
                <a:lnTo>
                  <a:pt x="72" y="129"/>
                </a:lnTo>
                <a:lnTo>
                  <a:pt x="60" y="129"/>
                </a:lnTo>
                <a:lnTo>
                  <a:pt x="55" y="129"/>
                </a:lnTo>
                <a:lnTo>
                  <a:pt x="52" y="126"/>
                </a:lnTo>
                <a:lnTo>
                  <a:pt x="46" y="126"/>
                </a:lnTo>
                <a:lnTo>
                  <a:pt x="49" y="123"/>
                </a:lnTo>
                <a:lnTo>
                  <a:pt x="38" y="120"/>
                </a:lnTo>
                <a:lnTo>
                  <a:pt x="29" y="123"/>
                </a:lnTo>
                <a:lnTo>
                  <a:pt x="26" y="123"/>
                </a:lnTo>
                <a:lnTo>
                  <a:pt x="23" y="129"/>
                </a:lnTo>
                <a:lnTo>
                  <a:pt x="20" y="129"/>
                </a:lnTo>
                <a:lnTo>
                  <a:pt x="17" y="126"/>
                </a:lnTo>
                <a:lnTo>
                  <a:pt x="12" y="129"/>
                </a:lnTo>
                <a:lnTo>
                  <a:pt x="6" y="135"/>
                </a:lnTo>
                <a:lnTo>
                  <a:pt x="0" y="137"/>
                </a:lnTo>
                <a:lnTo>
                  <a:pt x="0" y="146"/>
                </a:lnTo>
                <a:lnTo>
                  <a:pt x="9" y="149"/>
                </a:lnTo>
                <a:lnTo>
                  <a:pt x="17" y="155"/>
                </a:lnTo>
                <a:lnTo>
                  <a:pt x="17" y="158"/>
                </a:lnTo>
                <a:lnTo>
                  <a:pt x="17" y="160"/>
                </a:lnTo>
                <a:lnTo>
                  <a:pt x="15" y="163"/>
                </a:lnTo>
                <a:lnTo>
                  <a:pt x="9" y="166"/>
                </a:lnTo>
                <a:lnTo>
                  <a:pt x="9" y="169"/>
                </a:lnTo>
                <a:lnTo>
                  <a:pt x="17" y="178"/>
                </a:lnTo>
                <a:lnTo>
                  <a:pt x="26" y="186"/>
                </a:lnTo>
                <a:lnTo>
                  <a:pt x="26" y="189"/>
                </a:lnTo>
                <a:lnTo>
                  <a:pt x="20" y="192"/>
                </a:lnTo>
                <a:lnTo>
                  <a:pt x="23" y="198"/>
                </a:lnTo>
                <a:lnTo>
                  <a:pt x="23" y="201"/>
                </a:lnTo>
                <a:lnTo>
                  <a:pt x="20" y="201"/>
                </a:lnTo>
                <a:lnTo>
                  <a:pt x="26" y="203"/>
                </a:lnTo>
                <a:lnTo>
                  <a:pt x="29" y="206"/>
                </a:lnTo>
                <a:lnTo>
                  <a:pt x="29" y="212"/>
                </a:lnTo>
                <a:lnTo>
                  <a:pt x="38" y="215"/>
                </a:lnTo>
                <a:lnTo>
                  <a:pt x="38" y="218"/>
                </a:lnTo>
                <a:lnTo>
                  <a:pt x="35" y="221"/>
                </a:lnTo>
                <a:lnTo>
                  <a:pt x="32" y="224"/>
                </a:lnTo>
                <a:lnTo>
                  <a:pt x="40" y="229"/>
                </a:lnTo>
                <a:lnTo>
                  <a:pt x="52" y="238"/>
                </a:lnTo>
                <a:lnTo>
                  <a:pt x="55" y="241"/>
                </a:lnTo>
                <a:lnTo>
                  <a:pt x="52" y="241"/>
                </a:lnTo>
                <a:lnTo>
                  <a:pt x="46" y="247"/>
                </a:lnTo>
                <a:lnTo>
                  <a:pt x="38" y="255"/>
                </a:lnTo>
                <a:lnTo>
                  <a:pt x="38" y="258"/>
                </a:lnTo>
                <a:lnTo>
                  <a:pt x="32" y="264"/>
                </a:lnTo>
                <a:lnTo>
                  <a:pt x="15" y="275"/>
                </a:lnTo>
                <a:lnTo>
                  <a:pt x="9" y="281"/>
                </a:lnTo>
                <a:lnTo>
                  <a:pt x="20" y="278"/>
                </a:lnTo>
                <a:lnTo>
                  <a:pt x="20" y="281"/>
                </a:lnTo>
                <a:lnTo>
                  <a:pt x="20" y="284"/>
                </a:lnTo>
                <a:lnTo>
                  <a:pt x="26" y="287"/>
                </a:lnTo>
                <a:lnTo>
                  <a:pt x="32" y="290"/>
                </a:lnTo>
                <a:lnTo>
                  <a:pt x="38" y="290"/>
                </a:lnTo>
                <a:lnTo>
                  <a:pt x="40" y="290"/>
                </a:lnTo>
                <a:lnTo>
                  <a:pt x="32" y="292"/>
                </a:lnTo>
                <a:lnTo>
                  <a:pt x="20" y="292"/>
                </a:lnTo>
                <a:lnTo>
                  <a:pt x="15" y="295"/>
                </a:lnTo>
                <a:lnTo>
                  <a:pt x="12" y="295"/>
                </a:lnTo>
                <a:lnTo>
                  <a:pt x="12" y="298"/>
                </a:lnTo>
                <a:lnTo>
                  <a:pt x="9" y="310"/>
                </a:lnTo>
                <a:lnTo>
                  <a:pt x="6" y="315"/>
                </a:lnTo>
                <a:lnTo>
                  <a:pt x="9" y="321"/>
                </a:lnTo>
                <a:lnTo>
                  <a:pt x="9" y="324"/>
                </a:lnTo>
                <a:lnTo>
                  <a:pt x="17" y="330"/>
                </a:lnTo>
                <a:lnTo>
                  <a:pt x="12" y="336"/>
                </a:lnTo>
                <a:lnTo>
                  <a:pt x="15" y="336"/>
                </a:lnTo>
                <a:lnTo>
                  <a:pt x="17" y="338"/>
                </a:lnTo>
                <a:lnTo>
                  <a:pt x="17" y="341"/>
                </a:lnTo>
                <a:lnTo>
                  <a:pt x="15" y="347"/>
                </a:lnTo>
                <a:lnTo>
                  <a:pt x="20" y="350"/>
                </a:lnTo>
                <a:lnTo>
                  <a:pt x="23" y="359"/>
                </a:lnTo>
                <a:lnTo>
                  <a:pt x="26" y="359"/>
                </a:lnTo>
                <a:lnTo>
                  <a:pt x="29" y="359"/>
                </a:lnTo>
                <a:lnTo>
                  <a:pt x="29" y="361"/>
                </a:lnTo>
                <a:lnTo>
                  <a:pt x="35" y="361"/>
                </a:lnTo>
                <a:lnTo>
                  <a:pt x="43" y="361"/>
                </a:lnTo>
                <a:lnTo>
                  <a:pt x="40" y="361"/>
                </a:lnTo>
                <a:lnTo>
                  <a:pt x="40" y="364"/>
                </a:lnTo>
                <a:lnTo>
                  <a:pt x="43" y="367"/>
                </a:lnTo>
                <a:lnTo>
                  <a:pt x="46" y="361"/>
                </a:lnTo>
                <a:lnTo>
                  <a:pt x="49" y="361"/>
                </a:lnTo>
                <a:lnTo>
                  <a:pt x="55" y="364"/>
                </a:lnTo>
                <a:lnTo>
                  <a:pt x="63" y="367"/>
                </a:lnTo>
                <a:lnTo>
                  <a:pt x="66" y="367"/>
                </a:lnTo>
                <a:lnTo>
                  <a:pt x="63" y="376"/>
                </a:lnTo>
                <a:lnTo>
                  <a:pt x="66" y="379"/>
                </a:lnTo>
                <a:lnTo>
                  <a:pt x="66" y="381"/>
                </a:lnTo>
                <a:lnTo>
                  <a:pt x="63" y="384"/>
                </a:lnTo>
                <a:lnTo>
                  <a:pt x="66" y="387"/>
                </a:lnTo>
                <a:lnTo>
                  <a:pt x="72" y="393"/>
                </a:lnTo>
                <a:lnTo>
                  <a:pt x="78" y="396"/>
                </a:lnTo>
                <a:lnTo>
                  <a:pt x="81" y="396"/>
                </a:lnTo>
                <a:lnTo>
                  <a:pt x="83" y="402"/>
                </a:lnTo>
                <a:lnTo>
                  <a:pt x="86" y="399"/>
                </a:lnTo>
                <a:lnTo>
                  <a:pt x="89" y="402"/>
                </a:lnTo>
                <a:lnTo>
                  <a:pt x="92" y="404"/>
                </a:lnTo>
                <a:lnTo>
                  <a:pt x="92" y="407"/>
                </a:lnTo>
                <a:lnTo>
                  <a:pt x="98" y="410"/>
                </a:lnTo>
                <a:lnTo>
                  <a:pt x="95" y="413"/>
                </a:lnTo>
                <a:lnTo>
                  <a:pt x="92" y="416"/>
                </a:lnTo>
                <a:lnTo>
                  <a:pt x="86" y="419"/>
                </a:lnTo>
                <a:lnTo>
                  <a:pt x="78" y="416"/>
                </a:lnTo>
                <a:lnTo>
                  <a:pt x="75" y="419"/>
                </a:lnTo>
                <a:lnTo>
                  <a:pt x="81" y="433"/>
                </a:lnTo>
                <a:lnTo>
                  <a:pt x="89" y="436"/>
                </a:lnTo>
                <a:lnTo>
                  <a:pt x="89" y="427"/>
                </a:lnTo>
                <a:lnTo>
                  <a:pt x="98" y="433"/>
                </a:lnTo>
                <a:lnTo>
                  <a:pt x="104" y="427"/>
                </a:lnTo>
                <a:lnTo>
                  <a:pt x="112" y="430"/>
                </a:lnTo>
                <a:lnTo>
                  <a:pt x="118" y="433"/>
                </a:lnTo>
                <a:lnTo>
                  <a:pt x="127" y="442"/>
                </a:lnTo>
                <a:lnTo>
                  <a:pt x="121" y="445"/>
                </a:lnTo>
                <a:lnTo>
                  <a:pt x="121" y="448"/>
                </a:lnTo>
                <a:lnTo>
                  <a:pt x="132" y="450"/>
                </a:lnTo>
                <a:lnTo>
                  <a:pt x="135" y="450"/>
                </a:lnTo>
                <a:lnTo>
                  <a:pt x="138" y="453"/>
                </a:lnTo>
                <a:lnTo>
                  <a:pt x="144" y="459"/>
                </a:lnTo>
                <a:lnTo>
                  <a:pt x="144" y="465"/>
                </a:lnTo>
                <a:lnTo>
                  <a:pt x="147" y="465"/>
                </a:lnTo>
                <a:lnTo>
                  <a:pt x="149" y="462"/>
                </a:lnTo>
                <a:lnTo>
                  <a:pt x="161" y="468"/>
                </a:lnTo>
                <a:lnTo>
                  <a:pt x="172" y="465"/>
                </a:lnTo>
                <a:lnTo>
                  <a:pt x="184" y="473"/>
                </a:lnTo>
                <a:lnTo>
                  <a:pt x="187" y="473"/>
                </a:lnTo>
                <a:lnTo>
                  <a:pt x="198" y="479"/>
                </a:lnTo>
                <a:lnTo>
                  <a:pt x="215" y="479"/>
                </a:lnTo>
                <a:lnTo>
                  <a:pt x="218" y="488"/>
                </a:lnTo>
                <a:lnTo>
                  <a:pt x="218" y="491"/>
                </a:lnTo>
                <a:lnTo>
                  <a:pt x="215" y="493"/>
                </a:lnTo>
                <a:lnTo>
                  <a:pt x="218" y="496"/>
                </a:lnTo>
                <a:lnTo>
                  <a:pt x="215" y="499"/>
                </a:lnTo>
                <a:lnTo>
                  <a:pt x="213" y="502"/>
                </a:lnTo>
                <a:lnTo>
                  <a:pt x="218" y="508"/>
                </a:lnTo>
                <a:lnTo>
                  <a:pt x="215" y="519"/>
                </a:lnTo>
                <a:lnTo>
                  <a:pt x="201" y="516"/>
                </a:lnTo>
                <a:lnTo>
                  <a:pt x="195" y="522"/>
                </a:lnTo>
                <a:lnTo>
                  <a:pt x="193" y="528"/>
                </a:lnTo>
                <a:lnTo>
                  <a:pt x="207" y="528"/>
                </a:lnTo>
                <a:lnTo>
                  <a:pt x="204" y="534"/>
                </a:lnTo>
                <a:lnTo>
                  <a:pt x="190" y="539"/>
                </a:lnTo>
                <a:lnTo>
                  <a:pt x="193" y="542"/>
                </a:lnTo>
                <a:lnTo>
                  <a:pt x="195" y="545"/>
                </a:lnTo>
                <a:lnTo>
                  <a:pt x="190" y="554"/>
                </a:lnTo>
                <a:lnTo>
                  <a:pt x="184" y="562"/>
                </a:lnTo>
                <a:lnTo>
                  <a:pt x="172" y="562"/>
                </a:lnTo>
                <a:lnTo>
                  <a:pt x="155" y="565"/>
                </a:lnTo>
                <a:lnTo>
                  <a:pt x="149" y="559"/>
                </a:lnTo>
                <a:lnTo>
                  <a:pt x="144" y="554"/>
                </a:lnTo>
                <a:lnTo>
                  <a:pt x="132" y="551"/>
                </a:lnTo>
                <a:lnTo>
                  <a:pt x="124" y="554"/>
                </a:lnTo>
                <a:lnTo>
                  <a:pt x="109" y="562"/>
                </a:lnTo>
                <a:lnTo>
                  <a:pt x="118" y="562"/>
                </a:lnTo>
                <a:lnTo>
                  <a:pt x="127" y="568"/>
                </a:lnTo>
                <a:lnTo>
                  <a:pt x="124" y="574"/>
                </a:lnTo>
                <a:lnTo>
                  <a:pt x="124" y="577"/>
                </a:lnTo>
                <a:lnTo>
                  <a:pt x="127" y="580"/>
                </a:lnTo>
                <a:lnTo>
                  <a:pt x="138" y="580"/>
                </a:lnTo>
                <a:lnTo>
                  <a:pt x="149" y="571"/>
                </a:lnTo>
                <a:lnTo>
                  <a:pt x="158" y="568"/>
                </a:lnTo>
                <a:lnTo>
                  <a:pt x="167" y="568"/>
                </a:lnTo>
                <a:lnTo>
                  <a:pt x="175" y="568"/>
                </a:lnTo>
                <a:lnTo>
                  <a:pt x="187" y="574"/>
                </a:lnTo>
                <a:lnTo>
                  <a:pt x="195" y="577"/>
                </a:lnTo>
                <a:lnTo>
                  <a:pt x="204" y="585"/>
                </a:lnTo>
                <a:lnTo>
                  <a:pt x="204" y="582"/>
                </a:lnTo>
                <a:lnTo>
                  <a:pt x="210" y="585"/>
                </a:lnTo>
                <a:lnTo>
                  <a:pt x="221" y="594"/>
                </a:lnTo>
                <a:lnTo>
                  <a:pt x="227" y="600"/>
                </a:lnTo>
                <a:lnTo>
                  <a:pt x="230" y="594"/>
                </a:lnTo>
                <a:lnTo>
                  <a:pt x="233" y="594"/>
                </a:lnTo>
                <a:lnTo>
                  <a:pt x="247" y="600"/>
                </a:lnTo>
                <a:lnTo>
                  <a:pt x="264" y="603"/>
                </a:lnTo>
                <a:lnTo>
                  <a:pt x="267" y="603"/>
                </a:lnTo>
                <a:lnTo>
                  <a:pt x="276" y="603"/>
                </a:lnTo>
                <a:lnTo>
                  <a:pt x="284" y="608"/>
                </a:lnTo>
                <a:lnTo>
                  <a:pt x="290" y="611"/>
                </a:lnTo>
                <a:lnTo>
                  <a:pt x="296" y="611"/>
                </a:lnTo>
                <a:lnTo>
                  <a:pt x="293" y="614"/>
                </a:lnTo>
                <a:lnTo>
                  <a:pt x="299" y="614"/>
                </a:lnTo>
                <a:lnTo>
                  <a:pt x="307" y="611"/>
                </a:lnTo>
                <a:lnTo>
                  <a:pt x="322" y="617"/>
                </a:lnTo>
                <a:lnTo>
                  <a:pt x="325" y="623"/>
                </a:lnTo>
                <a:lnTo>
                  <a:pt x="333" y="628"/>
                </a:lnTo>
                <a:lnTo>
                  <a:pt x="336" y="628"/>
                </a:lnTo>
                <a:lnTo>
                  <a:pt x="339" y="628"/>
                </a:lnTo>
                <a:lnTo>
                  <a:pt x="345" y="631"/>
                </a:lnTo>
                <a:lnTo>
                  <a:pt x="348" y="640"/>
                </a:lnTo>
                <a:lnTo>
                  <a:pt x="350" y="640"/>
                </a:lnTo>
                <a:lnTo>
                  <a:pt x="359" y="640"/>
                </a:lnTo>
                <a:lnTo>
                  <a:pt x="365" y="634"/>
                </a:lnTo>
                <a:lnTo>
                  <a:pt x="368" y="628"/>
                </a:lnTo>
                <a:lnTo>
                  <a:pt x="362" y="626"/>
                </a:lnTo>
                <a:lnTo>
                  <a:pt x="353" y="617"/>
                </a:lnTo>
                <a:lnTo>
                  <a:pt x="350" y="611"/>
                </a:lnTo>
                <a:lnTo>
                  <a:pt x="348" y="603"/>
                </a:lnTo>
                <a:lnTo>
                  <a:pt x="348" y="594"/>
                </a:lnTo>
                <a:lnTo>
                  <a:pt x="339" y="585"/>
                </a:lnTo>
                <a:lnTo>
                  <a:pt x="330" y="582"/>
                </a:lnTo>
                <a:lnTo>
                  <a:pt x="333" y="574"/>
                </a:lnTo>
                <a:lnTo>
                  <a:pt x="339" y="568"/>
                </a:lnTo>
                <a:lnTo>
                  <a:pt x="339" y="557"/>
                </a:lnTo>
                <a:lnTo>
                  <a:pt x="345" y="557"/>
                </a:lnTo>
                <a:lnTo>
                  <a:pt x="350" y="557"/>
                </a:lnTo>
                <a:lnTo>
                  <a:pt x="353" y="551"/>
                </a:lnTo>
                <a:lnTo>
                  <a:pt x="359" y="554"/>
                </a:lnTo>
                <a:lnTo>
                  <a:pt x="359" y="551"/>
                </a:lnTo>
                <a:lnTo>
                  <a:pt x="359" y="548"/>
                </a:lnTo>
                <a:lnTo>
                  <a:pt x="362" y="548"/>
                </a:lnTo>
                <a:lnTo>
                  <a:pt x="345" y="537"/>
                </a:lnTo>
                <a:lnTo>
                  <a:pt x="348" y="537"/>
                </a:lnTo>
                <a:lnTo>
                  <a:pt x="353" y="537"/>
                </a:lnTo>
                <a:lnTo>
                  <a:pt x="348" y="525"/>
                </a:lnTo>
                <a:lnTo>
                  <a:pt x="333" y="516"/>
                </a:lnTo>
                <a:lnTo>
                  <a:pt x="327" y="519"/>
                </a:lnTo>
                <a:lnTo>
                  <a:pt x="325" y="514"/>
                </a:lnTo>
                <a:lnTo>
                  <a:pt x="325" y="511"/>
                </a:lnTo>
                <a:lnTo>
                  <a:pt x="313" y="505"/>
                </a:lnTo>
                <a:lnTo>
                  <a:pt x="313" y="502"/>
                </a:lnTo>
                <a:lnTo>
                  <a:pt x="313" y="499"/>
                </a:lnTo>
                <a:lnTo>
                  <a:pt x="316" y="496"/>
                </a:lnTo>
                <a:lnTo>
                  <a:pt x="319" y="491"/>
                </a:lnTo>
                <a:lnTo>
                  <a:pt x="316" y="488"/>
                </a:lnTo>
                <a:lnTo>
                  <a:pt x="313" y="482"/>
                </a:lnTo>
                <a:lnTo>
                  <a:pt x="313" y="479"/>
                </a:lnTo>
                <a:lnTo>
                  <a:pt x="319" y="473"/>
                </a:lnTo>
                <a:lnTo>
                  <a:pt x="319" y="470"/>
                </a:lnTo>
                <a:lnTo>
                  <a:pt x="319" y="465"/>
                </a:lnTo>
                <a:lnTo>
                  <a:pt x="322" y="465"/>
                </a:lnTo>
                <a:lnTo>
                  <a:pt x="325" y="465"/>
                </a:lnTo>
                <a:lnTo>
                  <a:pt x="330" y="470"/>
                </a:lnTo>
                <a:lnTo>
                  <a:pt x="333" y="473"/>
                </a:lnTo>
                <a:lnTo>
                  <a:pt x="339" y="476"/>
                </a:lnTo>
                <a:lnTo>
                  <a:pt x="342" y="476"/>
                </a:lnTo>
                <a:lnTo>
                  <a:pt x="342" y="473"/>
                </a:lnTo>
                <a:lnTo>
                  <a:pt x="333" y="462"/>
                </a:lnTo>
                <a:lnTo>
                  <a:pt x="336" y="462"/>
                </a:lnTo>
                <a:lnTo>
                  <a:pt x="342" y="459"/>
                </a:lnTo>
                <a:lnTo>
                  <a:pt x="348" y="456"/>
                </a:lnTo>
                <a:lnTo>
                  <a:pt x="345" y="450"/>
                </a:lnTo>
                <a:lnTo>
                  <a:pt x="356" y="450"/>
                </a:lnTo>
                <a:lnTo>
                  <a:pt x="359" y="445"/>
                </a:lnTo>
                <a:lnTo>
                  <a:pt x="362" y="442"/>
                </a:lnTo>
                <a:lnTo>
                  <a:pt x="368" y="439"/>
                </a:lnTo>
                <a:lnTo>
                  <a:pt x="370" y="442"/>
                </a:lnTo>
                <a:lnTo>
                  <a:pt x="373" y="445"/>
                </a:lnTo>
                <a:lnTo>
                  <a:pt x="379" y="445"/>
                </a:lnTo>
                <a:lnTo>
                  <a:pt x="382" y="442"/>
                </a:lnTo>
                <a:lnTo>
                  <a:pt x="388" y="439"/>
                </a:lnTo>
                <a:lnTo>
                  <a:pt x="393" y="445"/>
                </a:lnTo>
                <a:lnTo>
                  <a:pt x="408" y="445"/>
                </a:lnTo>
                <a:lnTo>
                  <a:pt x="416" y="450"/>
                </a:lnTo>
                <a:lnTo>
                  <a:pt x="422" y="459"/>
                </a:lnTo>
                <a:lnTo>
                  <a:pt x="425" y="465"/>
                </a:lnTo>
                <a:lnTo>
                  <a:pt x="425" y="462"/>
                </a:lnTo>
                <a:lnTo>
                  <a:pt x="422" y="456"/>
                </a:lnTo>
                <a:lnTo>
                  <a:pt x="425" y="453"/>
                </a:lnTo>
                <a:lnTo>
                  <a:pt x="439" y="465"/>
                </a:lnTo>
                <a:lnTo>
                  <a:pt x="445" y="459"/>
                </a:lnTo>
                <a:lnTo>
                  <a:pt x="451" y="453"/>
                </a:lnTo>
                <a:lnTo>
                  <a:pt x="459" y="453"/>
                </a:lnTo>
                <a:lnTo>
                  <a:pt x="468" y="456"/>
                </a:lnTo>
                <a:lnTo>
                  <a:pt x="471" y="453"/>
                </a:lnTo>
                <a:lnTo>
                  <a:pt x="474" y="453"/>
                </a:lnTo>
                <a:lnTo>
                  <a:pt x="480" y="450"/>
                </a:lnTo>
                <a:lnTo>
                  <a:pt x="482" y="450"/>
                </a:lnTo>
                <a:lnTo>
                  <a:pt x="485" y="453"/>
                </a:lnTo>
                <a:lnTo>
                  <a:pt x="488" y="459"/>
                </a:lnTo>
                <a:lnTo>
                  <a:pt x="491" y="459"/>
                </a:lnTo>
                <a:lnTo>
                  <a:pt x="503" y="462"/>
                </a:lnTo>
                <a:lnTo>
                  <a:pt x="505" y="459"/>
                </a:lnTo>
                <a:lnTo>
                  <a:pt x="505" y="456"/>
                </a:lnTo>
                <a:lnTo>
                  <a:pt x="508" y="459"/>
                </a:lnTo>
                <a:lnTo>
                  <a:pt x="511" y="459"/>
                </a:lnTo>
                <a:lnTo>
                  <a:pt x="517" y="459"/>
                </a:lnTo>
                <a:lnTo>
                  <a:pt x="523" y="459"/>
                </a:lnTo>
                <a:lnTo>
                  <a:pt x="523" y="453"/>
                </a:lnTo>
                <a:lnTo>
                  <a:pt x="517" y="450"/>
                </a:lnTo>
                <a:lnTo>
                  <a:pt x="511" y="448"/>
                </a:lnTo>
                <a:lnTo>
                  <a:pt x="505" y="445"/>
                </a:lnTo>
                <a:lnTo>
                  <a:pt x="494" y="439"/>
                </a:lnTo>
                <a:lnTo>
                  <a:pt x="508" y="430"/>
                </a:lnTo>
                <a:lnTo>
                  <a:pt x="505" y="425"/>
                </a:lnTo>
                <a:lnTo>
                  <a:pt x="511" y="416"/>
                </a:lnTo>
                <a:lnTo>
                  <a:pt x="517" y="416"/>
                </a:lnTo>
                <a:lnTo>
                  <a:pt x="511" y="413"/>
                </a:lnTo>
                <a:lnTo>
                  <a:pt x="505" y="413"/>
                </a:lnTo>
                <a:lnTo>
                  <a:pt x="508" y="410"/>
                </a:lnTo>
                <a:lnTo>
                  <a:pt x="508" y="407"/>
                </a:lnTo>
                <a:lnTo>
                  <a:pt x="503" y="407"/>
                </a:lnTo>
                <a:lnTo>
                  <a:pt x="503" y="404"/>
                </a:lnTo>
                <a:lnTo>
                  <a:pt x="500" y="399"/>
                </a:lnTo>
                <a:lnTo>
                  <a:pt x="503" y="399"/>
                </a:lnTo>
                <a:lnTo>
                  <a:pt x="508" y="396"/>
                </a:lnTo>
                <a:lnTo>
                  <a:pt x="523" y="396"/>
                </a:lnTo>
                <a:lnTo>
                  <a:pt x="531" y="396"/>
                </a:lnTo>
                <a:lnTo>
                  <a:pt x="540" y="393"/>
                </a:lnTo>
                <a:lnTo>
                  <a:pt x="546" y="390"/>
                </a:lnTo>
                <a:lnTo>
                  <a:pt x="554" y="390"/>
                </a:lnTo>
                <a:lnTo>
                  <a:pt x="557" y="390"/>
                </a:lnTo>
                <a:lnTo>
                  <a:pt x="560" y="384"/>
                </a:lnTo>
                <a:lnTo>
                  <a:pt x="566" y="384"/>
                </a:lnTo>
                <a:lnTo>
                  <a:pt x="586" y="384"/>
                </a:lnTo>
                <a:lnTo>
                  <a:pt x="597" y="379"/>
                </a:lnTo>
                <a:lnTo>
                  <a:pt x="597" y="376"/>
                </a:lnTo>
                <a:lnTo>
                  <a:pt x="606" y="370"/>
                </a:lnTo>
                <a:lnTo>
                  <a:pt x="626" y="376"/>
                </a:lnTo>
                <a:lnTo>
                  <a:pt x="635" y="373"/>
                </a:lnTo>
                <a:lnTo>
                  <a:pt x="643" y="381"/>
                </a:lnTo>
                <a:lnTo>
                  <a:pt x="646" y="387"/>
                </a:lnTo>
                <a:lnTo>
                  <a:pt x="649" y="393"/>
                </a:lnTo>
                <a:lnTo>
                  <a:pt x="655" y="393"/>
                </a:lnTo>
                <a:lnTo>
                  <a:pt x="660" y="390"/>
                </a:lnTo>
                <a:lnTo>
                  <a:pt x="669" y="399"/>
                </a:lnTo>
                <a:lnTo>
                  <a:pt x="672" y="396"/>
                </a:lnTo>
                <a:lnTo>
                  <a:pt x="675" y="396"/>
                </a:lnTo>
                <a:lnTo>
                  <a:pt x="678" y="399"/>
                </a:lnTo>
                <a:lnTo>
                  <a:pt x="686" y="396"/>
                </a:lnTo>
                <a:lnTo>
                  <a:pt x="692" y="402"/>
                </a:lnTo>
                <a:lnTo>
                  <a:pt x="683" y="407"/>
                </a:lnTo>
                <a:lnTo>
                  <a:pt x="686" y="410"/>
                </a:lnTo>
                <a:lnTo>
                  <a:pt x="692" y="407"/>
                </a:lnTo>
                <a:lnTo>
                  <a:pt x="698" y="407"/>
                </a:lnTo>
                <a:lnTo>
                  <a:pt x="703" y="402"/>
                </a:lnTo>
                <a:lnTo>
                  <a:pt x="709" y="396"/>
                </a:lnTo>
                <a:lnTo>
                  <a:pt x="729" y="387"/>
                </a:lnTo>
                <a:lnTo>
                  <a:pt x="729" y="396"/>
                </a:lnTo>
                <a:lnTo>
                  <a:pt x="729" y="399"/>
                </a:lnTo>
                <a:lnTo>
                  <a:pt x="744" y="404"/>
                </a:lnTo>
                <a:lnTo>
                  <a:pt x="752" y="413"/>
                </a:lnTo>
                <a:lnTo>
                  <a:pt x="767" y="425"/>
                </a:lnTo>
                <a:lnTo>
                  <a:pt x="784" y="436"/>
                </a:lnTo>
                <a:lnTo>
                  <a:pt x="795" y="448"/>
                </a:lnTo>
                <a:lnTo>
                  <a:pt x="804" y="456"/>
                </a:lnTo>
                <a:lnTo>
                  <a:pt x="807" y="448"/>
                </a:lnTo>
                <a:lnTo>
                  <a:pt x="818" y="450"/>
                </a:lnTo>
                <a:lnTo>
                  <a:pt x="818" y="453"/>
                </a:lnTo>
                <a:lnTo>
                  <a:pt x="821" y="456"/>
                </a:lnTo>
                <a:lnTo>
                  <a:pt x="827" y="459"/>
                </a:lnTo>
                <a:lnTo>
                  <a:pt x="836" y="459"/>
                </a:lnTo>
                <a:lnTo>
                  <a:pt x="847" y="453"/>
                </a:lnTo>
                <a:lnTo>
                  <a:pt x="853" y="453"/>
                </a:lnTo>
                <a:lnTo>
                  <a:pt x="861" y="456"/>
                </a:lnTo>
                <a:lnTo>
                  <a:pt x="867" y="462"/>
                </a:lnTo>
                <a:lnTo>
                  <a:pt x="873" y="468"/>
                </a:lnTo>
                <a:lnTo>
                  <a:pt x="876" y="470"/>
                </a:lnTo>
                <a:lnTo>
                  <a:pt x="881" y="470"/>
                </a:lnTo>
                <a:lnTo>
                  <a:pt x="884" y="476"/>
                </a:lnTo>
                <a:lnTo>
                  <a:pt x="887" y="479"/>
                </a:lnTo>
                <a:lnTo>
                  <a:pt x="902" y="482"/>
                </a:lnTo>
                <a:lnTo>
                  <a:pt x="907" y="479"/>
                </a:lnTo>
                <a:lnTo>
                  <a:pt x="910" y="476"/>
                </a:lnTo>
                <a:lnTo>
                  <a:pt x="913" y="476"/>
                </a:lnTo>
                <a:lnTo>
                  <a:pt x="916" y="485"/>
                </a:lnTo>
                <a:lnTo>
                  <a:pt x="922" y="491"/>
                </a:lnTo>
                <a:lnTo>
                  <a:pt x="930" y="491"/>
                </a:lnTo>
                <a:lnTo>
                  <a:pt x="933" y="491"/>
                </a:lnTo>
                <a:lnTo>
                  <a:pt x="933" y="482"/>
                </a:lnTo>
                <a:lnTo>
                  <a:pt x="939" y="482"/>
                </a:lnTo>
                <a:lnTo>
                  <a:pt x="947" y="482"/>
                </a:lnTo>
                <a:lnTo>
                  <a:pt x="950" y="479"/>
                </a:lnTo>
                <a:lnTo>
                  <a:pt x="953" y="473"/>
                </a:lnTo>
                <a:lnTo>
                  <a:pt x="956" y="470"/>
                </a:lnTo>
                <a:lnTo>
                  <a:pt x="962" y="468"/>
                </a:lnTo>
                <a:lnTo>
                  <a:pt x="965" y="470"/>
                </a:lnTo>
                <a:lnTo>
                  <a:pt x="968" y="468"/>
                </a:lnTo>
                <a:lnTo>
                  <a:pt x="976" y="465"/>
                </a:lnTo>
                <a:lnTo>
                  <a:pt x="976" y="462"/>
                </a:lnTo>
                <a:lnTo>
                  <a:pt x="976" y="459"/>
                </a:lnTo>
                <a:lnTo>
                  <a:pt x="979" y="459"/>
                </a:lnTo>
                <a:lnTo>
                  <a:pt x="982" y="459"/>
                </a:lnTo>
                <a:lnTo>
                  <a:pt x="985" y="456"/>
                </a:lnTo>
                <a:lnTo>
                  <a:pt x="991" y="459"/>
                </a:lnTo>
                <a:lnTo>
                  <a:pt x="993" y="456"/>
                </a:lnTo>
                <a:lnTo>
                  <a:pt x="996" y="459"/>
                </a:lnTo>
                <a:lnTo>
                  <a:pt x="999" y="459"/>
                </a:lnTo>
                <a:lnTo>
                  <a:pt x="1016" y="462"/>
                </a:lnTo>
                <a:lnTo>
                  <a:pt x="1022" y="465"/>
                </a:lnTo>
                <a:lnTo>
                  <a:pt x="1025" y="470"/>
                </a:lnTo>
                <a:lnTo>
                  <a:pt x="1039" y="473"/>
                </a:lnTo>
                <a:lnTo>
                  <a:pt x="1042" y="473"/>
                </a:lnTo>
                <a:lnTo>
                  <a:pt x="1045" y="470"/>
                </a:lnTo>
                <a:lnTo>
                  <a:pt x="1059" y="473"/>
                </a:lnTo>
                <a:lnTo>
                  <a:pt x="1068" y="479"/>
                </a:lnTo>
                <a:lnTo>
                  <a:pt x="1077" y="473"/>
                </a:lnTo>
                <a:lnTo>
                  <a:pt x="1077" y="465"/>
                </a:lnTo>
                <a:lnTo>
                  <a:pt x="1071" y="462"/>
                </a:lnTo>
                <a:lnTo>
                  <a:pt x="1062" y="453"/>
                </a:lnTo>
                <a:lnTo>
                  <a:pt x="1059" y="450"/>
                </a:lnTo>
                <a:lnTo>
                  <a:pt x="1062" y="445"/>
                </a:lnTo>
                <a:lnTo>
                  <a:pt x="1065" y="442"/>
                </a:lnTo>
                <a:lnTo>
                  <a:pt x="1065" y="439"/>
                </a:lnTo>
                <a:lnTo>
                  <a:pt x="1068" y="433"/>
                </a:lnTo>
                <a:lnTo>
                  <a:pt x="1068" y="430"/>
                </a:lnTo>
                <a:lnTo>
                  <a:pt x="1071" y="433"/>
                </a:lnTo>
                <a:lnTo>
                  <a:pt x="1080" y="436"/>
                </a:lnTo>
                <a:lnTo>
                  <a:pt x="1094" y="442"/>
                </a:lnTo>
                <a:lnTo>
                  <a:pt x="1120" y="445"/>
                </a:lnTo>
                <a:lnTo>
                  <a:pt x="1128" y="450"/>
                </a:lnTo>
                <a:lnTo>
                  <a:pt x="1131" y="453"/>
                </a:lnTo>
                <a:lnTo>
                  <a:pt x="1140" y="459"/>
                </a:lnTo>
                <a:lnTo>
                  <a:pt x="1148" y="465"/>
                </a:lnTo>
                <a:lnTo>
                  <a:pt x="1160" y="468"/>
                </a:lnTo>
                <a:lnTo>
                  <a:pt x="1166" y="468"/>
                </a:lnTo>
                <a:lnTo>
                  <a:pt x="1169" y="468"/>
                </a:lnTo>
                <a:lnTo>
                  <a:pt x="1180" y="465"/>
                </a:lnTo>
                <a:lnTo>
                  <a:pt x="1183" y="465"/>
                </a:lnTo>
                <a:lnTo>
                  <a:pt x="1194" y="465"/>
                </a:lnTo>
                <a:lnTo>
                  <a:pt x="1203" y="465"/>
                </a:lnTo>
                <a:lnTo>
                  <a:pt x="1209" y="468"/>
                </a:lnTo>
                <a:lnTo>
                  <a:pt x="1214" y="470"/>
                </a:lnTo>
                <a:lnTo>
                  <a:pt x="1217" y="473"/>
                </a:lnTo>
                <a:lnTo>
                  <a:pt x="1223" y="473"/>
                </a:lnTo>
                <a:lnTo>
                  <a:pt x="1226" y="473"/>
                </a:lnTo>
                <a:lnTo>
                  <a:pt x="1240" y="485"/>
                </a:lnTo>
                <a:lnTo>
                  <a:pt x="1243" y="485"/>
                </a:lnTo>
                <a:lnTo>
                  <a:pt x="1257" y="488"/>
                </a:lnTo>
                <a:lnTo>
                  <a:pt x="1275" y="488"/>
                </a:lnTo>
                <a:lnTo>
                  <a:pt x="1280" y="488"/>
                </a:lnTo>
                <a:lnTo>
                  <a:pt x="1298" y="482"/>
                </a:lnTo>
                <a:lnTo>
                  <a:pt x="1303" y="482"/>
                </a:lnTo>
                <a:lnTo>
                  <a:pt x="1303" y="476"/>
                </a:lnTo>
                <a:lnTo>
                  <a:pt x="1312" y="470"/>
                </a:lnTo>
                <a:lnTo>
                  <a:pt x="1324" y="468"/>
                </a:lnTo>
                <a:lnTo>
                  <a:pt x="1329" y="468"/>
                </a:lnTo>
                <a:lnTo>
                  <a:pt x="1332" y="470"/>
                </a:lnTo>
                <a:lnTo>
                  <a:pt x="1338" y="476"/>
                </a:lnTo>
                <a:lnTo>
                  <a:pt x="1346" y="470"/>
                </a:lnTo>
                <a:lnTo>
                  <a:pt x="1361" y="476"/>
                </a:lnTo>
                <a:lnTo>
                  <a:pt x="1367" y="479"/>
                </a:lnTo>
                <a:lnTo>
                  <a:pt x="1375" y="482"/>
                </a:lnTo>
                <a:lnTo>
                  <a:pt x="1378" y="482"/>
                </a:lnTo>
                <a:lnTo>
                  <a:pt x="1384" y="473"/>
                </a:lnTo>
                <a:lnTo>
                  <a:pt x="1387" y="473"/>
                </a:lnTo>
                <a:lnTo>
                  <a:pt x="1392" y="473"/>
                </a:lnTo>
                <a:lnTo>
                  <a:pt x="1390" y="470"/>
                </a:lnTo>
                <a:lnTo>
                  <a:pt x="1387" y="465"/>
                </a:lnTo>
                <a:lnTo>
                  <a:pt x="1387" y="456"/>
                </a:lnTo>
                <a:lnTo>
                  <a:pt x="1387" y="450"/>
                </a:lnTo>
                <a:lnTo>
                  <a:pt x="1387" y="445"/>
                </a:lnTo>
                <a:lnTo>
                  <a:pt x="1387" y="442"/>
                </a:lnTo>
                <a:lnTo>
                  <a:pt x="1392" y="439"/>
                </a:lnTo>
                <a:lnTo>
                  <a:pt x="1390" y="439"/>
                </a:lnTo>
                <a:lnTo>
                  <a:pt x="1387" y="430"/>
                </a:lnTo>
                <a:lnTo>
                  <a:pt x="1381" y="427"/>
                </a:lnTo>
                <a:lnTo>
                  <a:pt x="1369" y="425"/>
                </a:lnTo>
                <a:lnTo>
                  <a:pt x="1378" y="413"/>
                </a:lnTo>
                <a:lnTo>
                  <a:pt x="1384" y="410"/>
                </a:lnTo>
                <a:lnTo>
                  <a:pt x="1390" y="407"/>
                </a:lnTo>
                <a:lnTo>
                  <a:pt x="1398" y="407"/>
                </a:lnTo>
                <a:lnTo>
                  <a:pt x="1413" y="404"/>
                </a:lnTo>
                <a:lnTo>
                  <a:pt x="1421" y="407"/>
                </a:lnTo>
                <a:lnTo>
                  <a:pt x="1435" y="413"/>
                </a:lnTo>
                <a:lnTo>
                  <a:pt x="1441" y="410"/>
                </a:lnTo>
                <a:lnTo>
                  <a:pt x="1444" y="410"/>
                </a:lnTo>
                <a:lnTo>
                  <a:pt x="1456" y="419"/>
                </a:lnTo>
                <a:lnTo>
                  <a:pt x="1464" y="427"/>
                </a:lnTo>
                <a:lnTo>
                  <a:pt x="1473" y="433"/>
                </a:lnTo>
                <a:lnTo>
                  <a:pt x="1476" y="436"/>
                </a:lnTo>
                <a:lnTo>
                  <a:pt x="1479" y="436"/>
                </a:lnTo>
                <a:lnTo>
                  <a:pt x="1484" y="439"/>
                </a:lnTo>
                <a:lnTo>
                  <a:pt x="1490" y="445"/>
                </a:lnTo>
                <a:lnTo>
                  <a:pt x="1499" y="456"/>
                </a:lnTo>
                <a:lnTo>
                  <a:pt x="1507" y="465"/>
                </a:lnTo>
                <a:lnTo>
                  <a:pt x="1513" y="468"/>
                </a:lnTo>
                <a:lnTo>
                  <a:pt x="1516" y="468"/>
                </a:lnTo>
                <a:lnTo>
                  <a:pt x="1519" y="470"/>
                </a:lnTo>
                <a:lnTo>
                  <a:pt x="1524" y="476"/>
                </a:lnTo>
                <a:lnTo>
                  <a:pt x="1524" y="479"/>
                </a:lnTo>
                <a:lnTo>
                  <a:pt x="1527" y="479"/>
                </a:lnTo>
                <a:lnTo>
                  <a:pt x="1533" y="482"/>
                </a:lnTo>
                <a:lnTo>
                  <a:pt x="1542" y="482"/>
                </a:lnTo>
                <a:lnTo>
                  <a:pt x="1553" y="482"/>
                </a:lnTo>
                <a:lnTo>
                  <a:pt x="1570" y="493"/>
                </a:lnTo>
                <a:lnTo>
                  <a:pt x="1579" y="493"/>
                </a:lnTo>
                <a:lnTo>
                  <a:pt x="1582" y="493"/>
                </a:lnTo>
                <a:lnTo>
                  <a:pt x="1582" y="499"/>
                </a:lnTo>
                <a:lnTo>
                  <a:pt x="1588" y="505"/>
                </a:lnTo>
                <a:lnTo>
                  <a:pt x="1596" y="519"/>
                </a:lnTo>
                <a:lnTo>
                  <a:pt x="1619" y="516"/>
                </a:lnTo>
                <a:lnTo>
                  <a:pt x="1631" y="511"/>
                </a:lnTo>
                <a:lnTo>
                  <a:pt x="1636" y="505"/>
                </a:lnTo>
                <a:lnTo>
                  <a:pt x="1651" y="502"/>
                </a:lnTo>
                <a:lnTo>
                  <a:pt x="1651" y="511"/>
                </a:lnTo>
                <a:lnTo>
                  <a:pt x="1654" y="514"/>
                </a:lnTo>
                <a:lnTo>
                  <a:pt x="1657" y="516"/>
                </a:lnTo>
                <a:lnTo>
                  <a:pt x="1654" y="525"/>
                </a:lnTo>
                <a:lnTo>
                  <a:pt x="1654" y="531"/>
                </a:lnTo>
                <a:lnTo>
                  <a:pt x="1659" y="542"/>
                </a:lnTo>
                <a:lnTo>
                  <a:pt x="1662" y="551"/>
                </a:lnTo>
                <a:lnTo>
                  <a:pt x="1659" y="557"/>
                </a:lnTo>
                <a:lnTo>
                  <a:pt x="1662" y="568"/>
                </a:lnTo>
                <a:lnTo>
                  <a:pt x="1636" y="565"/>
                </a:lnTo>
                <a:lnTo>
                  <a:pt x="1631" y="571"/>
                </a:lnTo>
                <a:lnTo>
                  <a:pt x="1642" y="585"/>
                </a:lnTo>
                <a:lnTo>
                  <a:pt x="1651" y="600"/>
                </a:lnTo>
                <a:lnTo>
                  <a:pt x="1654" y="611"/>
                </a:lnTo>
                <a:lnTo>
                  <a:pt x="1642" y="614"/>
                </a:lnTo>
                <a:lnTo>
                  <a:pt x="1636" y="611"/>
                </a:lnTo>
                <a:lnTo>
                  <a:pt x="1636" y="614"/>
                </a:lnTo>
                <a:lnTo>
                  <a:pt x="1636" y="620"/>
                </a:lnTo>
                <a:lnTo>
                  <a:pt x="1634" y="620"/>
                </a:lnTo>
                <a:lnTo>
                  <a:pt x="1631" y="623"/>
                </a:lnTo>
                <a:lnTo>
                  <a:pt x="1631" y="626"/>
                </a:lnTo>
                <a:lnTo>
                  <a:pt x="1628" y="628"/>
                </a:lnTo>
                <a:lnTo>
                  <a:pt x="1619" y="628"/>
                </a:lnTo>
                <a:lnTo>
                  <a:pt x="1625" y="640"/>
                </a:lnTo>
                <a:lnTo>
                  <a:pt x="1622" y="640"/>
                </a:lnTo>
                <a:lnTo>
                  <a:pt x="1611" y="634"/>
                </a:lnTo>
                <a:lnTo>
                  <a:pt x="1599" y="631"/>
                </a:lnTo>
                <a:lnTo>
                  <a:pt x="1596" y="643"/>
                </a:lnTo>
                <a:lnTo>
                  <a:pt x="1590" y="651"/>
                </a:lnTo>
                <a:lnTo>
                  <a:pt x="1585" y="657"/>
                </a:lnTo>
                <a:lnTo>
                  <a:pt x="1576" y="663"/>
                </a:lnTo>
                <a:lnTo>
                  <a:pt x="1576" y="669"/>
                </a:lnTo>
                <a:lnTo>
                  <a:pt x="1585" y="671"/>
                </a:lnTo>
                <a:lnTo>
                  <a:pt x="1593" y="671"/>
                </a:lnTo>
                <a:lnTo>
                  <a:pt x="1596" y="677"/>
                </a:lnTo>
                <a:lnTo>
                  <a:pt x="1599" y="689"/>
                </a:lnTo>
                <a:lnTo>
                  <a:pt x="1605" y="692"/>
                </a:lnTo>
                <a:lnTo>
                  <a:pt x="1599" y="694"/>
                </a:lnTo>
                <a:lnTo>
                  <a:pt x="1599" y="700"/>
                </a:lnTo>
                <a:lnTo>
                  <a:pt x="1599" y="703"/>
                </a:lnTo>
                <a:lnTo>
                  <a:pt x="1605" y="703"/>
                </a:lnTo>
                <a:lnTo>
                  <a:pt x="1608" y="706"/>
                </a:lnTo>
                <a:lnTo>
                  <a:pt x="1611" y="712"/>
                </a:lnTo>
                <a:lnTo>
                  <a:pt x="1616" y="709"/>
                </a:lnTo>
                <a:lnTo>
                  <a:pt x="1622" y="709"/>
                </a:lnTo>
                <a:lnTo>
                  <a:pt x="1628" y="709"/>
                </a:lnTo>
                <a:lnTo>
                  <a:pt x="1634" y="697"/>
                </a:lnTo>
                <a:lnTo>
                  <a:pt x="1645" y="694"/>
                </a:lnTo>
                <a:lnTo>
                  <a:pt x="1648" y="694"/>
                </a:lnTo>
                <a:lnTo>
                  <a:pt x="1651" y="694"/>
                </a:lnTo>
                <a:lnTo>
                  <a:pt x="1654" y="692"/>
                </a:lnTo>
                <a:lnTo>
                  <a:pt x="1648" y="692"/>
                </a:lnTo>
                <a:lnTo>
                  <a:pt x="1642" y="686"/>
                </a:lnTo>
                <a:lnTo>
                  <a:pt x="1634" y="680"/>
                </a:lnTo>
                <a:lnTo>
                  <a:pt x="1628" y="677"/>
                </a:lnTo>
                <a:lnTo>
                  <a:pt x="1628" y="671"/>
                </a:lnTo>
                <a:lnTo>
                  <a:pt x="1631" y="666"/>
                </a:lnTo>
                <a:lnTo>
                  <a:pt x="1636" y="663"/>
                </a:lnTo>
                <a:lnTo>
                  <a:pt x="1639" y="663"/>
                </a:lnTo>
                <a:lnTo>
                  <a:pt x="1648" y="654"/>
                </a:lnTo>
                <a:lnTo>
                  <a:pt x="1654" y="648"/>
                </a:lnTo>
                <a:lnTo>
                  <a:pt x="1651" y="640"/>
                </a:lnTo>
                <a:lnTo>
                  <a:pt x="1645" y="634"/>
                </a:lnTo>
                <a:lnTo>
                  <a:pt x="1651" y="620"/>
                </a:lnTo>
                <a:lnTo>
                  <a:pt x="1659" y="620"/>
                </a:lnTo>
                <a:lnTo>
                  <a:pt x="1659" y="614"/>
                </a:lnTo>
                <a:lnTo>
                  <a:pt x="1659" y="600"/>
                </a:lnTo>
                <a:lnTo>
                  <a:pt x="1662" y="605"/>
                </a:lnTo>
                <a:lnTo>
                  <a:pt x="1662" y="608"/>
                </a:lnTo>
                <a:lnTo>
                  <a:pt x="1668" y="605"/>
                </a:lnTo>
                <a:lnTo>
                  <a:pt x="1671" y="611"/>
                </a:lnTo>
                <a:lnTo>
                  <a:pt x="1679" y="614"/>
                </a:lnTo>
                <a:lnTo>
                  <a:pt x="1682" y="614"/>
                </a:lnTo>
                <a:lnTo>
                  <a:pt x="1685" y="614"/>
                </a:lnTo>
                <a:lnTo>
                  <a:pt x="1700" y="611"/>
                </a:lnTo>
                <a:lnTo>
                  <a:pt x="1705" y="605"/>
                </a:lnTo>
                <a:lnTo>
                  <a:pt x="1708" y="600"/>
                </a:lnTo>
                <a:lnTo>
                  <a:pt x="1714" y="582"/>
                </a:lnTo>
                <a:lnTo>
                  <a:pt x="1717" y="565"/>
                </a:lnTo>
                <a:lnTo>
                  <a:pt x="1723" y="554"/>
                </a:lnTo>
                <a:lnTo>
                  <a:pt x="1725" y="545"/>
                </a:lnTo>
                <a:lnTo>
                  <a:pt x="1723" y="531"/>
                </a:lnTo>
                <a:lnTo>
                  <a:pt x="1723" y="525"/>
                </a:lnTo>
                <a:lnTo>
                  <a:pt x="1723" y="519"/>
                </a:lnTo>
                <a:lnTo>
                  <a:pt x="1723" y="516"/>
                </a:lnTo>
                <a:lnTo>
                  <a:pt x="1728" y="505"/>
                </a:lnTo>
                <a:lnTo>
                  <a:pt x="1725" y="502"/>
                </a:lnTo>
                <a:lnTo>
                  <a:pt x="1723" y="493"/>
                </a:lnTo>
                <a:lnTo>
                  <a:pt x="1720" y="485"/>
                </a:lnTo>
                <a:lnTo>
                  <a:pt x="1720" y="482"/>
                </a:lnTo>
                <a:lnTo>
                  <a:pt x="1714" y="476"/>
                </a:lnTo>
                <a:lnTo>
                  <a:pt x="1714" y="470"/>
                </a:lnTo>
                <a:lnTo>
                  <a:pt x="1711" y="468"/>
                </a:lnTo>
                <a:lnTo>
                  <a:pt x="1708" y="465"/>
                </a:lnTo>
                <a:lnTo>
                  <a:pt x="1702" y="462"/>
                </a:lnTo>
                <a:lnTo>
                  <a:pt x="1702" y="459"/>
                </a:lnTo>
                <a:lnTo>
                  <a:pt x="1700" y="450"/>
                </a:lnTo>
                <a:lnTo>
                  <a:pt x="1700" y="439"/>
                </a:lnTo>
                <a:lnTo>
                  <a:pt x="1694" y="430"/>
                </a:lnTo>
                <a:lnTo>
                  <a:pt x="1685" y="425"/>
                </a:lnTo>
                <a:lnTo>
                  <a:pt x="1679" y="419"/>
                </a:lnTo>
                <a:lnTo>
                  <a:pt x="1679" y="413"/>
                </a:lnTo>
                <a:lnTo>
                  <a:pt x="1671" y="410"/>
                </a:lnTo>
                <a:lnTo>
                  <a:pt x="1662" y="404"/>
                </a:lnTo>
                <a:lnTo>
                  <a:pt x="1654" y="399"/>
                </a:lnTo>
                <a:lnTo>
                  <a:pt x="1648" y="396"/>
                </a:lnTo>
                <a:lnTo>
                  <a:pt x="1642" y="396"/>
                </a:lnTo>
                <a:lnTo>
                  <a:pt x="1642" y="393"/>
                </a:lnTo>
                <a:lnTo>
                  <a:pt x="1636" y="390"/>
                </a:lnTo>
                <a:lnTo>
                  <a:pt x="1631" y="390"/>
                </a:lnTo>
                <a:lnTo>
                  <a:pt x="1622" y="393"/>
                </a:lnTo>
                <a:lnTo>
                  <a:pt x="1625" y="399"/>
                </a:lnTo>
                <a:lnTo>
                  <a:pt x="1625" y="404"/>
                </a:lnTo>
                <a:lnTo>
                  <a:pt x="1619" y="407"/>
                </a:lnTo>
                <a:lnTo>
                  <a:pt x="1616" y="407"/>
                </a:lnTo>
                <a:lnTo>
                  <a:pt x="1616" y="402"/>
                </a:lnTo>
                <a:lnTo>
                  <a:pt x="1605" y="402"/>
                </a:lnTo>
                <a:lnTo>
                  <a:pt x="1602" y="402"/>
                </a:lnTo>
                <a:lnTo>
                  <a:pt x="1596" y="393"/>
                </a:lnTo>
                <a:lnTo>
                  <a:pt x="1593" y="390"/>
                </a:lnTo>
                <a:lnTo>
                  <a:pt x="1590" y="390"/>
                </a:lnTo>
                <a:lnTo>
                  <a:pt x="1579" y="387"/>
                </a:lnTo>
                <a:lnTo>
                  <a:pt x="1570" y="387"/>
                </a:lnTo>
                <a:lnTo>
                  <a:pt x="1565" y="384"/>
                </a:lnTo>
                <a:lnTo>
                  <a:pt x="1565" y="381"/>
                </a:lnTo>
                <a:lnTo>
                  <a:pt x="1565" y="379"/>
                </a:lnTo>
                <a:lnTo>
                  <a:pt x="1570" y="376"/>
                </a:lnTo>
                <a:lnTo>
                  <a:pt x="1570" y="373"/>
                </a:lnTo>
                <a:lnTo>
                  <a:pt x="1573" y="370"/>
                </a:lnTo>
                <a:lnTo>
                  <a:pt x="1576" y="367"/>
                </a:lnTo>
                <a:lnTo>
                  <a:pt x="1579" y="364"/>
                </a:lnTo>
                <a:lnTo>
                  <a:pt x="1582" y="356"/>
                </a:lnTo>
                <a:lnTo>
                  <a:pt x="1585" y="344"/>
                </a:lnTo>
                <a:lnTo>
                  <a:pt x="1588" y="336"/>
                </a:lnTo>
                <a:lnTo>
                  <a:pt x="1590" y="330"/>
                </a:lnTo>
                <a:lnTo>
                  <a:pt x="1593" y="327"/>
                </a:lnTo>
                <a:lnTo>
                  <a:pt x="1590" y="321"/>
                </a:lnTo>
                <a:lnTo>
                  <a:pt x="1596" y="315"/>
                </a:lnTo>
                <a:lnTo>
                  <a:pt x="1596" y="307"/>
                </a:lnTo>
                <a:lnTo>
                  <a:pt x="1599" y="307"/>
                </a:lnTo>
                <a:lnTo>
                  <a:pt x="1605" y="304"/>
                </a:lnTo>
                <a:lnTo>
                  <a:pt x="1622" y="301"/>
                </a:lnTo>
                <a:lnTo>
                  <a:pt x="1636" y="301"/>
                </a:lnTo>
                <a:lnTo>
                  <a:pt x="1639" y="304"/>
                </a:lnTo>
                <a:lnTo>
                  <a:pt x="1642" y="307"/>
                </a:lnTo>
                <a:lnTo>
                  <a:pt x="1651" y="307"/>
                </a:lnTo>
                <a:lnTo>
                  <a:pt x="1648" y="301"/>
                </a:lnTo>
                <a:lnTo>
                  <a:pt x="1654" y="301"/>
                </a:lnTo>
                <a:lnTo>
                  <a:pt x="1659" y="304"/>
                </a:lnTo>
                <a:lnTo>
                  <a:pt x="1662" y="304"/>
                </a:lnTo>
                <a:lnTo>
                  <a:pt x="1668" y="304"/>
                </a:lnTo>
                <a:lnTo>
                  <a:pt x="1671" y="304"/>
                </a:lnTo>
                <a:lnTo>
                  <a:pt x="1671" y="301"/>
                </a:lnTo>
                <a:lnTo>
                  <a:pt x="1674" y="301"/>
                </a:lnTo>
                <a:lnTo>
                  <a:pt x="1677" y="304"/>
                </a:lnTo>
                <a:lnTo>
                  <a:pt x="1682" y="304"/>
                </a:lnTo>
                <a:lnTo>
                  <a:pt x="1685" y="304"/>
                </a:lnTo>
                <a:lnTo>
                  <a:pt x="1685" y="298"/>
                </a:lnTo>
                <a:lnTo>
                  <a:pt x="1682" y="295"/>
                </a:lnTo>
                <a:lnTo>
                  <a:pt x="1688" y="295"/>
                </a:lnTo>
                <a:lnTo>
                  <a:pt x="1691" y="292"/>
                </a:lnTo>
                <a:lnTo>
                  <a:pt x="1700" y="298"/>
                </a:lnTo>
                <a:lnTo>
                  <a:pt x="1705" y="298"/>
                </a:lnTo>
                <a:lnTo>
                  <a:pt x="1708" y="298"/>
                </a:lnTo>
                <a:lnTo>
                  <a:pt x="1720" y="298"/>
                </a:lnTo>
                <a:lnTo>
                  <a:pt x="1725" y="301"/>
                </a:lnTo>
                <a:lnTo>
                  <a:pt x="1731" y="301"/>
                </a:lnTo>
                <a:lnTo>
                  <a:pt x="1725" y="304"/>
                </a:lnTo>
                <a:lnTo>
                  <a:pt x="1717" y="304"/>
                </a:lnTo>
                <a:lnTo>
                  <a:pt x="1720" y="307"/>
                </a:lnTo>
                <a:lnTo>
                  <a:pt x="1725" y="310"/>
                </a:lnTo>
                <a:lnTo>
                  <a:pt x="1740" y="310"/>
                </a:lnTo>
                <a:lnTo>
                  <a:pt x="1743" y="310"/>
                </a:lnTo>
                <a:lnTo>
                  <a:pt x="1748" y="307"/>
                </a:lnTo>
                <a:lnTo>
                  <a:pt x="1751" y="304"/>
                </a:lnTo>
                <a:lnTo>
                  <a:pt x="1754" y="307"/>
                </a:lnTo>
                <a:lnTo>
                  <a:pt x="1760" y="307"/>
                </a:lnTo>
                <a:lnTo>
                  <a:pt x="1763" y="307"/>
                </a:lnTo>
                <a:lnTo>
                  <a:pt x="1768" y="307"/>
                </a:lnTo>
                <a:lnTo>
                  <a:pt x="1771" y="301"/>
                </a:lnTo>
                <a:lnTo>
                  <a:pt x="1766" y="298"/>
                </a:lnTo>
                <a:lnTo>
                  <a:pt x="1760" y="298"/>
                </a:lnTo>
                <a:lnTo>
                  <a:pt x="1754" y="298"/>
                </a:lnTo>
                <a:lnTo>
                  <a:pt x="1748" y="292"/>
                </a:lnTo>
                <a:lnTo>
                  <a:pt x="1748" y="284"/>
                </a:lnTo>
                <a:lnTo>
                  <a:pt x="1751" y="281"/>
                </a:lnTo>
                <a:lnTo>
                  <a:pt x="1754" y="272"/>
                </a:lnTo>
                <a:lnTo>
                  <a:pt x="1754" y="270"/>
                </a:lnTo>
                <a:lnTo>
                  <a:pt x="1751" y="264"/>
                </a:lnTo>
                <a:lnTo>
                  <a:pt x="1751" y="261"/>
                </a:lnTo>
                <a:lnTo>
                  <a:pt x="1754" y="258"/>
                </a:lnTo>
                <a:lnTo>
                  <a:pt x="1757" y="258"/>
                </a:lnTo>
                <a:lnTo>
                  <a:pt x="1771" y="258"/>
                </a:lnTo>
                <a:lnTo>
                  <a:pt x="1774" y="255"/>
                </a:lnTo>
                <a:lnTo>
                  <a:pt x="1777" y="255"/>
                </a:lnTo>
                <a:lnTo>
                  <a:pt x="1780" y="255"/>
                </a:lnTo>
                <a:lnTo>
                  <a:pt x="1783" y="258"/>
                </a:lnTo>
                <a:lnTo>
                  <a:pt x="1786" y="261"/>
                </a:lnTo>
                <a:lnTo>
                  <a:pt x="1791" y="255"/>
                </a:lnTo>
                <a:lnTo>
                  <a:pt x="1794" y="264"/>
                </a:lnTo>
                <a:lnTo>
                  <a:pt x="1800" y="270"/>
                </a:lnTo>
                <a:lnTo>
                  <a:pt x="1803" y="272"/>
                </a:lnTo>
                <a:lnTo>
                  <a:pt x="1806" y="270"/>
                </a:lnTo>
                <a:lnTo>
                  <a:pt x="1812" y="272"/>
                </a:lnTo>
                <a:lnTo>
                  <a:pt x="1814" y="278"/>
                </a:lnTo>
                <a:lnTo>
                  <a:pt x="1817" y="278"/>
                </a:lnTo>
                <a:lnTo>
                  <a:pt x="1820" y="278"/>
                </a:lnTo>
                <a:lnTo>
                  <a:pt x="1823" y="272"/>
                </a:lnTo>
                <a:lnTo>
                  <a:pt x="1823" y="267"/>
                </a:lnTo>
                <a:lnTo>
                  <a:pt x="1823" y="264"/>
                </a:lnTo>
                <a:lnTo>
                  <a:pt x="1826" y="261"/>
                </a:lnTo>
                <a:lnTo>
                  <a:pt x="1834" y="261"/>
                </a:lnTo>
                <a:lnTo>
                  <a:pt x="1834" y="258"/>
                </a:lnTo>
                <a:lnTo>
                  <a:pt x="1829" y="255"/>
                </a:lnTo>
                <a:lnTo>
                  <a:pt x="1823" y="249"/>
                </a:lnTo>
                <a:lnTo>
                  <a:pt x="1823" y="244"/>
                </a:lnTo>
                <a:lnTo>
                  <a:pt x="1829" y="241"/>
                </a:lnTo>
                <a:lnTo>
                  <a:pt x="1834" y="244"/>
                </a:lnTo>
                <a:lnTo>
                  <a:pt x="1834" y="249"/>
                </a:lnTo>
                <a:lnTo>
                  <a:pt x="1843" y="255"/>
                </a:lnTo>
                <a:lnTo>
                  <a:pt x="1846" y="261"/>
                </a:lnTo>
                <a:lnTo>
                  <a:pt x="1849" y="264"/>
                </a:lnTo>
                <a:lnTo>
                  <a:pt x="1852" y="264"/>
                </a:lnTo>
                <a:lnTo>
                  <a:pt x="1855" y="272"/>
                </a:lnTo>
                <a:lnTo>
                  <a:pt x="1852" y="275"/>
                </a:lnTo>
                <a:lnTo>
                  <a:pt x="1843" y="284"/>
                </a:lnTo>
                <a:lnTo>
                  <a:pt x="1846" y="287"/>
                </a:lnTo>
                <a:lnTo>
                  <a:pt x="1840" y="298"/>
                </a:lnTo>
                <a:lnTo>
                  <a:pt x="1840" y="304"/>
                </a:lnTo>
                <a:lnTo>
                  <a:pt x="1843" y="310"/>
                </a:lnTo>
                <a:lnTo>
                  <a:pt x="1840" y="321"/>
                </a:lnTo>
                <a:lnTo>
                  <a:pt x="1837" y="327"/>
                </a:lnTo>
                <a:lnTo>
                  <a:pt x="1832" y="324"/>
                </a:lnTo>
                <a:lnTo>
                  <a:pt x="1832" y="330"/>
                </a:lnTo>
                <a:lnTo>
                  <a:pt x="1826" y="330"/>
                </a:lnTo>
                <a:lnTo>
                  <a:pt x="1823" y="330"/>
                </a:lnTo>
                <a:lnTo>
                  <a:pt x="1829" y="333"/>
                </a:lnTo>
                <a:lnTo>
                  <a:pt x="1832" y="336"/>
                </a:lnTo>
                <a:lnTo>
                  <a:pt x="1832" y="338"/>
                </a:lnTo>
                <a:lnTo>
                  <a:pt x="1832" y="341"/>
                </a:lnTo>
                <a:lnTo>
                  <a:pt x="1829" y="350"/>
                </a:lnTo>
                <a:lnTo>
                  <a:pt x="1832" y="356"/>
                </a:lnTo>
                <a:lnTo>
                  <a:pt x="1843" y="367"/>
                </a:lnTo>
                <a:lnTo>
                  <a:pt x="1860" y="384"/>
                </a:lnTo>
                <a:lnTo>
                  <a:pt x="1878" y="399"/>
                </a:lnTo>
                <a:lnTo>
                  <a:pt x="1895" y="416"/>
                </a:lnTo>
                <a:lnTo>
                  <a:pt x="1926" y="445"/>
                </a:lnTo>
                <a:lnTo>
                  <a:pt x="1938" y="453"/>
                </a:lnTo>
                <a:lnTo>
                  <a:pt x="1941" y="456"/>
                </a:lnTo>
                <a:lnTo>
                  <a:pt x="1944" y="450"/>
                </a:lnTo>
                <a:lnTo>
                  <a:pt x="1944" y="445"/>
                </a:lnTo>
                <a:lnTo>
                  <a:pt x="1946" y="436"/>
                </a:lnTo>
                <a:lnTo>
                  <a:pt x="1944" y="427"/>
                </a:lnTo>
                <a:lnTo>
                  <a:pt x="1938" y="419"/>
                </a:lnTo>
                <a:lnTo>
                  <a:pt x="1941" y="416"/>
                </a:lnTo>
                <a:lnTo>
                  <a:pt x="1944" y="413"/>
                </a:lnTo>
                <a:lnTo>
                  <a:pt x="1952" y="416"/>
                </a:lnTo>
                <a:lnTo>
                  <a:pt x="1952" y="413"/>
                </a:lnTo>
                <a:lnTo>
                  <a:pt x="1946" y="407"/>
                </a:lnTo>
                <a:lnTo>
                  <a:pt x="1941" y="404"/>
                </a:lnTo>
                <a:lnTo>
                  <a:pt x="1935" y="399"/>
                </a:lnTo>
                <a:lnTo>
                  <a:pt x="1938" y="390"/>
                </a:lnTo>
                <a:lnTo>
                  <a:pt x="1944" y="390"/>
                </a:lnTo>
                <a:lnTo>
                  <a:pt x="1952" y="390"/>
                </a:lnTo>
                <a:lnTo>
                  <a:pt x="1952" y="387"/>
                </a:lnTo>
                <a:lnTo>
                  <a:pt x="1952" y="381"/>
                </a:lnTo>
                <a:lnTo>
                  <a:pt x="1941" y="376"/>
                </a:lnTo>
                <a:lnTo>
                  <a:pt x="1932" y="370"/>
                </a:lnTo>
                <a:lnTo>
                  <a:pt x="1932" y="364"/>
                </a:lnTo>
                <a:lnTo>
                  <a:pt x="1929" y="361"/>
                </a:lnTo>
                <a:lnTo>
                  <a:pt x="1932" y="359"/>
                </a:lnTo>
                <a:lnTo>
                  <a:pt x="1938" y="359"/>
                </a:lnTo>
                <a:lnTo>
                  <a:pt x="1944" y="359"/>
                </a:lnTo>
                <a:lnTo>
                  <a:pt x="1944" y="356"/>
                </a:lnTo>
                <a:lnTo>
                  <a:pt x="1941" y="353"/>
                </a:lnTo>
                <a:lnTo>
                  <a:pt x="1938" y="353"/>
                </a:lnTo>
                <a:lnTo>
                  <a:pt x="1932" y="350"/>
                </a:lnTo>
                <a:lnTo>
                  <a:pt x="1926" y="347"/>
                </a:lnTo>
                <a:lnTo>
                  <a:pt x="1921" y="344"/>
                </a:lnTo>
                <a:lnTo>
                  <a:pt x="1918" y="341"/>
                </a:lnTo>
                <a:lnTo>
                  <a:pt x="1915" y="341"/>
                </a:lnTo>
                <a:lnTo>
                  <a:pt x="1915" y="338"/>
                </a:lnTo>
                <a:lnTo>
                  <a:pt x="1915" y="330"/>
                </a:lnTo>
                <a:lnTo>
                  <a:pt x="1906" y="327"/>
                </a:lnTo>
                <a:lnTo>
                  <a:pt x="1898" y="327"/>
                </a:lnTo>
                <a:lnTo>
                  <a:pt x="1892" y="327"/>
                </a:lnTo>
                <a:lnTo>
                  <a:pt x="1889" y="324"/>
                </a:lnTo>
                <a:lnTo>
                  <a:pt x="1886" y="318"/>
                </a:lnTo>
                <a:lnTo>
                  <a:pt x="1883" y="313"/>
                </a:lnTo>
                <a:lnTo>
                  <a:pt x="1886" y="310"/>
                </a:lnTo>
                <a:lnTo>
                  <a:pt x="1886" y="304"/>
                </a:lnTo>
                <a:lnTo>
                  <a:pt x="1883" y="301"/>
                </a:lnTo>
                <a:lnTo>
                  <a:pt x="1880" y="295"/>
                </a:lnTo>
                <a:lnTo>
                  <a:pt x="1880" y="287"/>
                </a:lnTo>
                <a:lnTo>
                  <a:pt x="1889" y="292"/>
                </a:lnTo>
                <a:lnTo>
                  <a:pt x="1898" y="292"/>
                </a:lnTo>
                <a:lnTo>
                  <a:pt x="1895" y="287"/>
                </a:lnTo>
                <a:lnTo>
                  <a:pt x="1895" y="284"/>
                </a:lnTo>
                <a:lnTo>
                  <a:pt x="1898" y="281"/>
                </a:lnTo>
                <a:lnTo>
                  <a:pt x="1901" y="281"/>
                </a:lnTo>
                <a:lnTo>
                  <a:pt x="1903" y="284"/>
                </a:lnTo>
                <a:lnTo>
                  <a:pt x="1906" y="287"/>
                </a:lnTo>
                <a:lnTo>
                  <a:pt x="1912" y="292"/>
                </a:lnTo>
                <a:lnTo>
                  <a:pt x="1915" y="292"/>
                </a:lnTo>
                <a:lnTo>
                  <a:pt x="1915" y="287"/>
                </a:lnTo>
                <a:lnTo>
                  <a:pt x="1918" y="284"/>
                </a:lnTo>
                <a:lnTo>
                  <a:pt x="1929" y="278"/>
                </a:lnTo>
                <a:lnTo>
                  <a:pt x="1935" y="278"/>
                </a:lnTo>
                <a:lnTo>
                  <a:pt x="1941" y="281"/>
                </a:lnTo>
                <a:lnTo>
                  <a:pt x="1952" y="287"/>
                </a:lnTo>
                <a:lnTo>
                  <a:pt x="1967" y="292"/>
                </a:lnTo>
                <a:lnTo>
                  <a:pt x="1967" y="287"/>
                </a:lnTo>
                <a:lnTo>
                  <a:pt x="1964" y="281"/>
                </a:lnTo>
                <a:lnTo>
                  <a:pt x="1969" y="278"/>
                </a:lnTo>
                <a:lnTo>
                  <a:pt x="1969" y="275"/>
                </a:lnTo>
                <a:lnTo>
                  <a:pt x="1972" y="270"/>
                </a:lnTo>
                <a:lnTo>
                  <a:pt x="1978" y="261"/>
                </a:lnTo>
                <a:lnTo>
                  <a:pt x="1984" y="258"/>
                </a:lnTo>
                <a:lnTo>
                  <a:pt x="1989" y="252"/>
                </a:lnTo>
                <a:lnTo>
                  <a:pt x="1995" y="249"/>
                </a:lnTo>
                <a:lnTo>
                  <a:pt x="2001" y="244"/>
                </a:lnTo>
                <a:lnTo>
                  <a:pt x="2010" y="244"/>
                </a:lnTo>
                <a:lnTo>
                  <a:pt x="2024" y="247"/>
                </a:lnTo>
                <a:lnTo>
                  <a:pt x="2035" y="249"/>
                </a:lnTo>
                <a:lnTo>
                  <a:pt x="2033" y="238"/>
                </a:lnTo>
                <a:lnTo>
                  <a:pt x="2024" y="235"/>
                </a:lnTo>
                <a:lnTo>
                  <a:pt x="2018" y="232"/>
                </a:lnTo>
                <a:lnTo>
                  <a:pt x="2012" y="229"/>
                </a:lnTo>
                <a:lnTo>
                  <a:pt x="2001" y="226"/>
                </a:lnTo>
                <a:lnTo>
                  <a:pt x="1989" y="218"/>
                </a:lnTo>
                <a:lnTo>
                  <a:pt x="1981" y="212"/>
                </a:lnTo>
                <a:lnTo>
                  <a:pt x="1978" y="212"/>
                </a:lnTo>
                <a:lnTo>
                  <a:pt x="1969" y="212"/>
                </a:lnTo>
                <a:lnTo>
                  <a:pt x="1961" y="206"/>
                </a:lnTo>
                <a:lnTo>
                  <a:pt x="1955" y="203"/>
                </a:lnTo>
                <a:lnTo>
                  <a:pt x="1944" y="203"/>
                </a:lnTo>
                <a:lnTo>
                  <a:pt x="1935" y="201"/>
                </a:lnTo>
                <a:lnTo>
                  <a:pt x="1946" y="201"/>
                </a:lnTo>
                <a:lnTo>
                  <a:pt x="1955" y="203"/>
                </a:lnTo>
                <a:lnTo>
                  <a:pt x="1964" y="206"/>
                </a:lnTo>
                <a:lnTo>
                  <a:pt x="1975" y="206"/>
                </a:lnTo>
                <a:lnTo>
                  <a:pt x="1981" y="203"/>
                </a:lnTo>
                <a:lnTo>
                  <a:pt x="1984" y="201"/>
                </a:lnTo>
                <a:lnTo>
                  <a:pt x="1984" y="198"/>
                </a:lnTo>
                <a:lnTo>
                  <a:pt x="1984" y="192"/>
                </a:lnTo>
                <a:lnTo>
                  <a:pt x="1981" y="189"/>
                </a:lnTo>
                <a:lnTo>
                  <a:pt x="1969" y="186"/>
                </a:lnTo>
                <a:lnTo>
                  <a:pt x="1961" y="181"/>
                </a:lnTo>
                <a:lnTo>
                  <a:pt x="1967" y="181"/>
                </a:lnTo>
                <a:lnTo>
                  <a:pt x="1969" y="181"/>
                </a:lnTo>
                <a:lnTo>
                  <a:pt x="1978" y="181"/>
                </a:lnTo>
                <a:lnTo>
                  <a:pt x="1981" y="186"/>
                </a:lnTo>
                <a:lnTo>
                  <a:pt x="1992" y="189"/>
                </a:lnTo>
                <a:lnTo>
                  <a:pt x="2001" y="192"/>
                </a:lnTo>
                <a:lnTo>
                  <a:pt x="2010" y="192"/>
                </a:lnTo>
                <a:lnTo>
                  <a:pt x="2015" y="192"/>
                </a:lnTo>
                <a:lnTo>
                  <a:pt x="2024" y="192"/>
                </a:lnTo>
                <a:lnTo>
                  <a:pt x="2041" y="203"/>
                </a:lnTo>
                <a:lnTo>
                  <a:pt x="2050" y="203"/>
                </a:lnTo>
                <a:lnTo>
                  <a:pt x="2058" y="206"/>
                </a:lnTo>
                <a:lnTo>
                  <a:pt x="2067" y="206"/>
                </a:lnTo>
                <a:lnTo>
                  <a:pt x="2076" y="209"/>
                </a:lnTo>
                <a:lnTo>
                  <a:pt x="2087" y="212"/>
                </a:lnTo>
                <a:lnTo>
                  <a:pt x="2099" y="209"/>
                </a:lnTo>
                <a:close/>
                <a:moveTo>
                  <a:pt x="1157" y="439"/>
                </a:moveTo>
                <a:lnTo>
                  <a:pt x="1157" y="439"/>
                </a:lnTo>
                <a:lnTo>
                  <a:pt x="1163" y="439"/>
                </a:lnTo>
                <a:lnTo>
                  <a:pt x="1166" y="436"/>
                </a:lnTo>
                <a:lnTo>
                  <a:pt x="1171" y="430"/>
                </a:lnTo>
                <a:lnTo>
                  <a:pt x="1177" y="422"/>
                </a:lnTo>
                <a:lnTo>
                  <a:pt x="1177" y="419"/>
                </a:lnTo>
                <a:lnTo>
                  <a:pt x="1177" y="416"/>
                </a:lnTo>
                <a:lnTo>
                  <a:pt x="1180" y="413"/>
                </a:lnTo>
                <a:lnTo>
                  <a:pt x="1183" y="410"/>
                </a:lnTo>
                <a:lnTo>
                  <a:pt x="1183" y="404"/>
                </a:lnTo>
                <a:lnTo>
                  <a:pt x="1186" y="402"/>
                </a:lnTo>
                <a:lnTo>
                  <a:pt x="1186" y="396"/>
                </a:lnTo>
                <a:lnTo>
                  <a:pt x="1186" y="387"/>
                </a:lnTo>
                <a:lnTo>
                  <a:pt x="1186" y="379"/>
                </a:lnTo>
                <a:lnTo>
                  <a:pt x="1183" y="373"/>
                </a:lnTo>
                <a:lnTo>
                  <a:pt x="1183" y="367"/>
                </a:lnTo>
                <a:lnTo>
                  <a:pt x="1186" y="367"/>
                </a:lnTo>
                <a:lnTo>
                  <a:pt x="1189" y="367"/>
                </a:lnTo>
                <a:lnTo>
                  <a:pt x="1194" y="379"/>
                </a:lnTo>
                <a:lnTo>
                  <a:pt x="1197" y="390"/>
                </a:lnTo>
                <a:lnTo>
                  <a:pt x="1206" y="399"/>
                </a:lnTo>
                <a:lnTo>
                  <a:pt x="1203" y="402"/>
                </a:lnTo>
                <a:lnTo>
                  <a:pt x="1197" y="402"/>
                </a:lnTo>
                <a:lnTo>
                  <a:pt x="1200" y="407"/>
                </a:lnTo>
                <a:lnTo>
                  <a:pt x="1203" y="407"/>
                </a:lnTo>
                <a:lnTo>
                  <a:pt x="1203" y="413"/>
                </a:lnTo>
                <a:lnTo>
                  <a:pt x="1200" y="413"/>
                </a:lnTo>
                <a:lnTo>
                  <a:pt x="1200" y="416"/>
                </a:lnTo>
                <a:lnTo>
                  <a:pt x="1194" y="425"/>
                </a:lnTo>
                <a:lnTo>
                  <a:pt x="1189" y="425"/>
                </a:lnTo>
                <a:lnTo>
                  <a:pt x="1183" y="430"/>
                </a:lnTo>
                <a:lnTo>
                  <a:pt x="1174" y="430"/>
                </a:lnTo>
                <a:lnTo>
                  <a:pt x="1177" y="442"/>
                </a:lnTo>
                <a:lnTo>
                  <a:pt x="1169" y="445"/>
                </a:lnTo>
                <a:lnTo>
                  <a:pt x="1154" y="448"/>
                </a:lnTo>
                <a:lnTo>
                  <a:pt x="1146" y="442"/>
                </a:lnTo>
                <a:lnTo>
                  <a:pt x="1157" y="439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049" name="Freeform 153"/>
          <p:cNvSpPr>
            <a:spLocks/>
          </p:cNvSpPr>
          <p:nvPr/>
        </p:nvSpPr>
        <p:spPr bwMode="gray">
          <a:xfrm>
            <a:off x="6179113" y="1620044"/>
            <a:ext cx="4240764" cy="1078530"/>
          </a:xfrm>
          <a:custGeom>
            <a:avLst/>
            <a:gdLst>
              <a:gd name="T0" fmla="*/ 2147483647 w 2099"/>
              <a:gd name="T1" fmla="*/ 2147483647 h 712"/>
              <a:gd name="T2" fmla="*/ 2147483647 w 2099"/>
              <a:gd name="T3" fmla="*/ 2147483647 h 712"/>
              <a:gd name="T4" fmla="*/ 2147483647 w 2099"/>
              <a:gd name="T5" fmla="*/ 2147483647 h 712"/>
              <a:gd name="T6" fmla="*/ 2147483647 w 2099"/>
              <a:gd name="T7" fmla="*/ 2147483647 h 712"/>
              <a:gd name="T8" fmla="*/ 2147483647 w 2099"/>
              <a:gd name="T9" fmla="*/ 2147483647 h 712"/>
              <a:gd name="T10" fmla="*/ 2147483647 w 2099"/>
              <a:gd name="T11" fmla="*/ 2147483647 h 712"/>
              <a:gd name="T12" fmla="*/ 2147483647 w 2099"/>
              <a:gd name="T13" fmla="*/ 2147483647 h 712"/>
              <a:gd name="T14" fmla="*/ 2147483647 w 2099"/>
              <a:gd name="T15" fmla="*/ 2147483647 h 712"/>
              <a:gd name="T16" fmla="*/ 2147483647 w 2099"/>
              <a:gd name="T17" fmla="*/ 2147483647 h 712"/>
              <a:gd name="T18" fmla="*/ 2147483647 w 2099"/>
              <a:gd name="T19" fmla="*/ 0 h 712"/>
              <a:gd name="T20" fmla="*/ 2147483647 w 2099"/>
              <a:gd name="T21" fmla="*/ 2147483647 h 712"/>
              <a:gd name="T22" fmla="*/ 2147483647 w 2099"/>
              <a:gd name="T23" fmla="*/ 2147483647 h 712"/>
              <a:gd name="T24" fmla="*/ 2147483647 w 2099"/>
              <a:gd name="T25" fmla="*/ 2147483647 h 712"/>
              <a:gd name="T26" fmla="*/ 2147483647 w 2099"/>
              <a:gd name="T27" fmla="*/ 2147483647 h 712"/>
              <a:gd name="T28" fmla="*/ 2147483647 w 2099"/>
              <a:gd name="T29" fmla="*/ 2147483647 h 712"/>
              <a:gd name="T30" fmla="*/ 2147483647 w 2099"/>
              <a:gd name="T31" fmla="*/ 2147483647 h 712"/>
              <a:gd name="T32" fmla="*/ 2147483647 w 2099"/>
              <a:gd name="T33" fmla="*/ 2147483647 h 712"/>
              <a:gd name="T34" fmla="*/ 2147483647 w 2099"/>
              <a:gd name="T35" fmla="*/ 2147483647 h 712"/>
              <a:gd name="T36" fmla="*/ 2147483647 w 2099"/>
              <a:gd name="T37" fmla="*/ 2147483647 h 712"/>
              <a:gd name="T38" fmla="*/ 2147483647 w 2099"/>
              <a:gd name="T39" fmla="*/ 2147483647 h 712"/>
              <a:gd name="T40" fmla="*/ 2147483647 w 2099"/>
              <a:gd name="T41" fmla="*/ 2147483647 h 712"/>
              <a:gd name="T42" fmla="*/ 2147483647 w 2099"/>
              <a:gd name="T43" fmla="*/ 2147483647 h 712"/>
              <a:gd name="T44" fmla="*/ 2147483647 w 2099"/>
              <a:gd name="T45" fmla="*/ 2147483647 h 712"/>
              <a:gd name="T46" fmla="*/ 2147483647 w 2099"/>
              <a:gd name="T47" fmla="*/ 2147483647 h 712"/>
              <a:gd name="T48" fmla="*/ 2147483647 w 2099"/>
              <a:gd name="T49" fmla="*/ 2147483647 h 712"/>
              <a:gd name="T50" fmla="*/ 2147483647 w 2099"/>
              <a:gd name="T51" fmla="*/ 2147483647 h 712"/>
              <a:gd name="T52" fmla="*/ 2147483647 w 2099"/>
              <a:gd name="T53" fmla="*/ 2147483647 h 712"/>
              <a:gd name="T54" fmla="*/ 2147483647 w 2099"/>
              <a:gd name="T55" fmla="*/ 2147483647 h 712"/>
              <a:gd name="T56" fmla="*/ 2147483647 w 2099"/>
              <a:gd name="T57" fmla="*/ 2147483647 h 712"/>
              <a:gd name="T58" fmla="*/ 2147483647 w 2099"/>
              <a:gd name="T59" fmla="*/ 2147483647 h 712"/>
              <a:gd name="T60" fmla="*/ 2147483647 w 2099"/>
              <a:gd name="T61" fmla="*/ 2147483647 h 712"/>
              <a:gd name="T62" fmla="*/ 2147483647 w 2099"/>
              <a:gd name="T63" fmla="*/ 2147483647 h 712"/>
              <a:gd name="T64" fmla="*/ 2147483647 w 2099"/>
              <a:gd name="T65" fmla="*/ 2147483647 h 712"/>
              <a:gd name="T66" fmla="*/ 2147483647 w 2099"/>
              <a:gd name="T67" fmla="*/ 2147483647 h 712"/>
              <a:gd name="T68" fmla="*/ 2147483647 w 2099"/>
              <a:gd name="T69" fmla="*/ 2147483647 h 712"/>
              <a:gd name="T70" fmla="*/ 2147483647 w 2099"/>
              <a:gd name="T71" fmla="*/ 2147483647 h 712"/>
              <a:gd name="T72" fmla="*/ 2147483647 w 2099"/>
              <a:gd name="T73" fmla="*/ 2147483647 h 712"/>
              <a:gd name="T74" fmla="*/ 2147483647 w 2099"/>
              <a:gd name="T75" fmla="*/ 2147483647 h 712"/>
              <a:gd name="T76" fmla="*/ 2147483647 w 2099"/>
              <a:gd name="T77" fmla="*/ 2147483647 h 712"/>
              <a:gd name="T78" fmla="*/ 2147483647 w 2099"/>
              <a:gd name="T79" fmla="*/ 2147483647 h 712"/>
              <a:gd name="T80" fmla="*/ 2147483647 w 2099"/>
              <a:gd name="T81" fmla="*/ 2147483647 h 712"/>
              <a:gd name="T82" fmla="*/ 2147483647 w 2099"/>
              <a:gd name="T83" fmla="*/ 2147483647 h 712"/>
              <a:gd name="T84" fmla="*/ 2147483647 w 2099"/>
              <a:gd name="T85" fmla="*/ 2147483647 h 712"/>
              <a:gd name="T86" fmla="*/ 2147483647 w 2099"/>
              <a:gd name="T87" fmla="*/ 2147483647 h 712"/>
              <a:gd name="T88" fmla="*/ 2147483647 w 2099"/>
              <a:gd name="T89" fmla="*/ 2147483647 h 712"/>
              <a:gd name="T90" fmla="*/ 2147483647 w 2099"/>
              <a:gd name="T91" fmla="*/ 2147483647 h 712"/>
              <a:gd name="T92" fmla="*/ 2147483647 w 2099"/>
              <a:gd name="T93" fmla="*/ 2147483647 h 712"/>
              <a:gd name="T94" fmla="*/ 2147483647 w 2099"/>
              <a:gd name="T95" fmla="*/ 2147483647 h 712"/>
              <a:gd name="T96" fmla="*/ 2147483647 w 2099"/>
              <a:gd name="T97" fmla="*/ 2147483647 h 712"/>
              <a:gd name="T98" fmla="*/ 2147483647 w 2099"/>
              <a:gd name="T99" fmla="*/ 2147483647 h 712"/>
              <a:gd name="T100" fmla="*/ 2147483647 w 2099"/>
              <a:gd name="T101" fmla="*/ 2147483647 h 712"/>
              <a:gd name="T102" fmla="*/ 2147483647 w 2099"/>
              <a:gd name="T103" fmla="*/ 2147483647 h 712"/>
              <a:gd name="T104" fmla="*/ 2147483647 w 2099"/>
              <a:gd name="T105" fmla="*/ 2147483647 h 712"/>
              <a:gd name="T106" fmla="*/ 2147483647 w 2099"/>
              <a:gd name="T107" fmla="*/ 2147483647 h 712"/>
              <a:gd name="T108" fmla="*/ 2147483647 w 2099"/>
              <a:gd name="T109" fmla="*/ 2147483647 h 712"/>
              <a:gd name="T110" fmla="*/ 2147483647 w 2099"/>
              <a:gd name="T111" fmla="*/ 2147483647 h 712"/>
              <a:gd name="T112" fmla="*/ 2147483647 w 2099"/>
              <a:gd name="T113" fmla="*/ 2147483647 h 712"/>
              <a:gd name="T114" fmla="*/ 2147483647 w 2099"/>
              <a:gd name="T115" fmla="*/ 2147483647 h 712"/>
              <a:gd name="T116" fmla="*/ 2147483647 w 2099"/>
              <a:gd name="T117" fmla="*/ 2147483647 h 712"/>
              <a:gd name="T118" fmla="*/ 2147483647 w 2099"/>
              <a:gd name="T119" fmla="*/ 2147483647 h 712"/>
              <a:gd name="T120" fmla="*/ 2147483647 w 2099"/>
              <a:gd name="T121" fmla="*/ 2147483647 h 712"/>
              <a:gd name="T122" fmla="*/ 2147483647 w 2099"/>
              <a:gd name="T123" fmla="*/ 2147483647 h 712"/>
              <a:gd name="T124" fmla="*/ 2147483647 w 2099"/>
              <a:gd name="T125" fmla="*/ 2147483647 h 71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2099"/>
              <a:gd name="T190" fmla="*/ 0 h 712"/>
              <a:gd name="T191" fmla="*/ 2099 w 2099"/>
              <a:gd name="T192" fmla="*/ 712 h 712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2099" h="712">
                <a:moveTo>
                  <a:pt x="2099" y="209"/>
                </a:moveTo>
                <a:lnTo>
                  <a:pt x="2093" y="206"/>
                </a:lnTo>
                <a:lnTo>
                  <a:pt x="2093" y="201"/>
                </a:lnTo>
                <a:lnTo>
                  <a:pt x="2087" y="203"/>
                </a:lnTo>
                <a:lnTo>
                  <a:pt x="2087" y="201"/>
                </a:lnTo>
                <a:lnTo>
                  <a:pt x="2078" y="195"/>
                </a:lnTo>
                <a:lnTo>
                  <a:pt x="2090" y="192"/>
                </a:lnTo>
                <a:lnTo>
                  <a:pt x="2093" y="189"/>
                </a:lnTo>
                <a:lnTo>
                  <a:pt x="2087" y="183"/>
                </a:lnTo>
                <a:lnTo>
                  <a:pt x="2081" y="175"/>
                </a:lnTo>
                <a:lnTo>
                  <a:pt x="2078" y="178"/>
                </a:lnTo>
                <a:lnTo>
                  <a:pt x="2078" y="181"/>
                </a:lnTo>
                <a:lnTo>
                  <a:pt x="2070" y="178"/>
                </a:lnTo>
                <a:lnTo>
                  <a:pt x="2064" y="175"/>
                </a:lnTo>
                <a:lnTo>
                  <a:pt x="2058" y="172"/>
                </a:lnTo>
                <a:lnTo>
                  <a:pt x="2050" y="169"/>
                </a:lnTo>
                <a:lnTo>
                  <a:pt x="2047" y="169"/>
                </a:lnTo>
                <a:lnTo>
                  <a:pt x="2038" y="166"/>
                </a:lnTo>
                <a:lnTo>
                  <a:pt x="2027" y="166"/>
                </a:lnTo>
                <a:lnTo>
                  <a:pt x="2007" y="166"/>
                </a:lnTo>
                <a:lnTo>
                  <a:pt x="2021" y="172"/>
                </a:lnTo>
                <a:lnTo>
                  <a:pt x="2027" y="175"/>
                </a:lnTo>
                <a:lnTo>
                  <a:pt x="2021" y="178"/>
                </a:lnTo>
                <a:lnTo>
                  <a:pt x="2015" y="175"/>
                </a:lnTo>
                <a:lnTo>
                  <a:pt x="2004" y="166"/>
                </a:lnTo>
                <a:lnTo>
                  <a:pt x="1998" y="160"/>
                </a:lnTo>
                <a:lnTo>
                  <a:pt x="1987" y="158"/>
                </a:lnTo>
                <a:lnTo>
                  <a:pt x="1969" y="152"/>
                </a:lnTo>
                <a:lnTo>
                  <a:pt x="1926" y="143"/>
                </a:lnTo>
                <a:lnTo>
                  <a:pt x="1906" y="137"/>
                </a:lnTo>
                <a:lnTo>
                  <a:pt x="1880" y="129"/>
                </a:lnTo>
                <a:lnTo>
                  <a:pt x="1832" y="120"/>
                </a:lnTo>
                <a:lnTo>
                  <a:pt x="1809" y="120"/>
                </a:lnTo>
                <a:lnTo>
                  <a:pt x="1789" y="120"/>
                </a:lnTo>
                <a:lnTo>
                  <a:pt x="1763" y="117"/>
                </a:lnTo>
                <a:lnTo>
                  <a:pt x="1745" y="114"/>
                </a:lnTo>
                <a:lnTo>
                  <a:pt x="1751" y="120"/>
                </a:lnTo>
                <a:lnTo>
                  <a:pt x="1763" y="126"/>
                </a:lnTo>
                <a:lnTo>
                  <a:pt x="1768" y="129"/>
                </a:lnTo>
                <a:lnTo>
                  <a:pt x="1771" y="132"/>
                </a:lnTo>
                <a:lnTo>
                  <a:pt x="1774" y="135"/>
                </a:lnTo>
                <a:lnTo>
                  <a:pt x="1771" y="137"/>
                </a:lnTo>
                <a:lnTo>
                  <a:pt x="1766" y="137"/>
                </a:lnTo>
                <a:lnTo>
                  <a:pt x="1757" y="135"/>
                </a:lnTo>
                <a:lnTo>
                  <a:pt x="1751" y="132"/>
                </a:lnTo>
                <a:lnTo>
                  <a:pt x="1740" y="129"/>
                </a:lnTo>
                <a:lnTo>
                  <a:pt x="1731" y="126"/>
                </a:lnTo>
                <a:lnTo>
                  <a:pt x="1734" y="126"/>
                </a:lnTo>
                <a:lnTo>
                  <a:pt x="1737" y="123"/>
                </a:lnTo>
                <a:lnTo>
                  <a:pt x="1740" y="123"/>
                </a:lnTo>
                <a:lnTo>
                  <a:pt x="1743" y="123"/>
                </a:lnTo>
                <a:lnTo>
                  <a:pt x="1740" y="120"/>
                </a:lnTo>
                <a:lnTo>
                  <a:pt x="1734" y="120"/>
                </a:lnTo>
                <a:lnTo>
                  <a:pt x="1728" y="117"/>
                </a:lnTo>
                <a:lnTo>
                  <a:pt x="1720" y="117"/>
                </a:lnTo>
                <a:lnTo>
                  <a:pt x="1717" y="120"/>
                </a:lnTo>
                <a:lnTo>
                  <a:pt x="1717" y="123"/>
                </a:lnTo>
                <a:lnTo>
                  <a:pt x="1708" y="126"/>
                </a:lnTo>
                <a:lnTo>
                  <a:pt x="1668" y="120"/>
                </a:lnTo>
                <a:lnTo>
                  <a:pt x="1651" y="123"/>
                </a:lnTo>
                <a:lnTo>
                  <a:pt x="1639" y="123"/>
                </a:lnTo>
                <a:lnTo>
                  <a:pt x="1628" y="120"/>
                </a:lnTo>
                <a:lnTo>
                  <a:pt x="1619" y="123"/>
                </a:lnTo>
                <a:lnTo>
                  <a:pt x="1616" y="120"/>
                </a:lnTo>
                <a:lnTo>
                  <a:pt x="1611" y="112"/>
                </a:lnTo>
                <a:lnTo>
                  <a:pt x="1602" y="106"/>
                </a:lnTo>
                <a:lnTo>
                  <a:pt x="1590" y="103"/>
                </a:lnTo>
                <a:lnTo>
                  <a:pt x="1570" y="100"/>
                </a:lnTo>
                <a:lnTo>
                  <a:pt x="1533" y="100"/>
                </a:lnTo>
                <a:lnTo>
                  <a:pt x="1522" y="103"/>
                </a:lnTo>
                <a:lnTo>
                  <a:pt x="1513" y="103"/>
                </a:lnTo>
                <a:lnTo>
                  <a:pt x="1499" y="100"/>
                </a:lnTo>
                <a:lnTo>
                  <a:pt x="1490" y="97"/>
                </a:lnTo>
                <a:lnTo>
                  <a:pt x="1479" y="97"/>
                </a:lnTo>
                <a:lnTo>
                  <a:pt x="1473" y="94"/>
                </a:lnTo>
                <a:lnTo>
                  <a:pt x="1467" y="94"/>
                </a:lnTo>
                <a:lnTo>
                  <a:pt x="1458" y="94"/>
                </a:lnTo>
                <a:lnTo>
                  <a:pt x="1453" y="89"/>
                </a:lnTo>
                <a:lnTo>
                  <a:pt x="1447" y="83"/>
                </a:lnTo>
                <a:lnTo>
                  <a:pt x="1427" y="80"/>
                </a:lnTo>
                <a:lnTo>
                  <a:pt x="1415" y="80"/>
                </a:lnTo>
                <a:lnTo>
                  <a:pt x="1410" y="80"/>
                </a:lnTo>
                <a:lnTo>
                  <a:pt x="1410" y="86"/>
                </a:lnTo>
                <a:lnTo>
                  <a:pt x="1410" y="89"/>
                </a:lnTo>
                <a:lnTo>
                  <a:pt x="1401" y="89"/>
                </a:lnTo>
                <a:lnTo>
                  <a:pt x="1395" y="86"/>
                </a:lnTo>
                <a:lnTo>
                  <a:pt x="1398" y="83"/>
                </a:lnTo>
                <a:lnTo>
                  <a:pt x="1404" y="83"/>
                </a:lnTo>
                <a:lnTo>
                  <a:pt x="1404" y="86"/>
                </a:lnTo>
                <a:lnTo>
                  <a:pt x="1407" y="86"/>
                </a:lnTo>
                <a:lnTo>
                  <a:pt x="1404" y="80"/>
                </a:lnTo>
                <a:lnTo>
                  <a:pt x="1390" y="80"/>
                </a:lnTo>
                <a:lnTo>
                  <a:pt x="1387" y="77"/>
                </a:lnTo>
                <a:lnTo>
                  <a:pt x="1372" y="74"/>
                </a:lnTo>
                <a:lnTo>
                  <a:pt x="1324" y="71"/>
                </a:lnTo>
                <a:lnTo>
                  <a:pt x="1326" y="74"/>
                </a:lnTo>
                <a:lnTo>
                  <a:pt x="1329" y="77"/>
                </a:lnTo>
                <a:lnTo>
                  <a:pt x="1321" y="77"/>
                </a:lnTo>
                <a:lnTo>
                  <a:pt x="1315" y="77"/>
                </a:lnTo>
                <a:lnTo>
                  <a:pt x="1315" y="83"/>
                </a:lnTo>
                <a:lnTo>
                  <a:pt x="1318" y="83"/>
                </a:lnTo>
                <a:lnTo>
                  <a:pt x="1326" y="83"/>
                </a:lnTo>
                <a:lnTo>
                  <a:pt x="1326" y="86"/>
                </a:lnTo>
                <a:lnTo>
                  <a:pt x="1332" y="89"/>
                </a:lnTo>
                <a:lnTo>
                  <a:pt x="1338" y="94"/>
                </a:lnTo>
                <a:lnTo>
                  <a:pt x="1329" y="94"/>
                </a:lnTo>
                <a:lnTo>
                  <a:pt x="1324" y="92"/>
                </a:lnTo>
                <a:lnTo>
                  <a:pt x="1321" y="92"/>
                </a:lnTo>
                <a:lnTo>
                  <a:pt x="1315" y="92"/>
                </a:lnTo>
                <a:lnTo>
                  <a:pt x="1309" y="92"/>
                </a:lnTo>
                <a:lnTo>
                  <a:pt x="1306" y="94"/>
                </a:lnTo>
                <a:lnTo>
                  <a:pt x="1301" y="92"/>
                </a:lnTo>
                <a:lnTo>
                  <a:pt x="1292" y="92"/>
                </a:lnTo>
                <a:lnTo>
                  <a:pt x="1280" y="94"/>
                </a:lnTo>
                <a:lnTo>
                  <a:pt x="1272" y="94"/>
                </a:lnTo>
                <a:lnTo>
                  <a:pt x="1266" y="94"/>
                </a:lnTo>
                <a:lnTo>
                  <a:pt x="1243" y="86"/>
                </a:lnTo>
                <a:lnTo>
                  <a:pt x="1243" y="89"/>
                </a:lnTo>
                <a:lnTo>
                  <a:pt x="1243" y="94"/>
                </a:lnTo>
                <a:lnTo>
                  <a:pt x="1246" y="97"/>
                </a:lnTo>
                <a:lnTo>
                  <a:pt x="1249" y="100"/>
                </a:lnTo>
                <a:lnTo>
                  <a:pt x="1252" y="106"/>
                </a:lnTo>
                <a:lnTo>
                  <a:pt x="1249" y="106"/>
                </a:lnTo>
                <a:lnTo>
                  <a:pt x="1243" y="103"/>
                </a:lnTo>
                <a:lnTo>
                  <a:pt x="1235" y="103"/>
                </a:lnTo>
                <a:lnTo>
                  <a:pt x="1226" y="100"/>
                </a:lnTo>
                <a:lnTo>
                  <a:pt x="1214" y="97"/>
                </a:lnTo>
                <a:lnTo>
                  <a:pt x="1203" y="92"/>
                </a:lnTo>
                <a:lnTo>
                  <a:pt x="1200" y="89"/>
                </a:lnTo>
                <a:lnTo>
                  <a:pt x="1186" y="80"/>
                </a:lnTo>
                <a:lnTo>
                  <a:pt x="1197" y="83"/>
                </a:lnTo>
                <a:lnTo>
                  <a:pt x="1197" y="77"/>
                </a:lnTo>
                <a:lnTo>
                  <a:pt x="1191" y="77"/>
                </a:lnTo>
                <a:lnTo>
                  <a:pt x="1183" y="77"/>
                </a:lnTo>
                <a:lnTo>
                  <a:pt x="1186" y="74"/>
                </a:lnTo>
                <a:lnTo>
                  <a:pt x="1180" y="71"/>
                </a:lnTo>
                <a:lnTo>
                  <a:pt x="1177" y="66"/>
                </a:lnTo>
                <a:lnTo>
                  <a:pt x="1174" y="66"/>
                </a:lnTo>
                <a:lnTo>
                  <a:pt x="1166" y="66"/>
                </a:lnTo>
                <a:lnTo>
                  <a:pt x="1146" y="63"/>
                </a:lnTo>
                <a:lnTo>
                  <a:pt x="1140" y="63"/>
                </a:lnTo>
                <a:lnTo>
                  <a:pt x="1134" y="60"/>
                </a:lnTo>
                <a:lnTo>
                  <a:pt x="1111" y="57"/>
                </a:lnTo>
                <a:lnTo>
                  <a:pt x="1100" y="60"/>
                </a:lnTo>
                <a:lnTo>
                  <a:pt x="1108" y="66"/>
                </a:lnTo>
                <a:lnTo>
                  <a:pt x="1114" y="69"/>
                </a:lnTo>
                <a:lnTo>
                  <a:pt x="1117" y="71"/>
                </a:lnTo>
                <a:lnTo>
                  <a:pt x="1111" y="74"/>
                </a:lnTo>
                <a:lnTo>
                  <a:pt x="1105" y="71"/>
                </a:lnTo>
                <a:lnTo>
                  <a:pt x="1091" y="71"/>
                </a:lnTo>
                <a:lnTo>
                  <a:pt x="1071" y="69"/>
                </a:lnTo>
                <a:lnTo>
                  <a:pt x="1048" y="66"/>
                </a:lnTo>
                <a:lnTo>
                  <a:pt x="1051" y="63"/>
                </a:lnTo>
                <a:lnTo>
                  <a:pt x="1048" y="60"/>
                </a:lnTo>
                <a:lnTo>
                  <a:pt x="1039" y="60"/>
                </a:lnTo>
                <a:lnTo>
                  <a:pt x="1025" y="57"/>
                </a:lnTo>
                <a:lnTo>
                  <a:pt x="1016" y="57"/>
                </a:lnTo>
                <a:lnTo>
                  <a:pt x="1011" y="57"/>
                </a:lnTo>
                <a:lnTo>
                  <a:pt x="996" y="60"/>
                </a:lnTo>
                <a:lnTo>
                  <a:pt x="988" y="63"/>
                </a:lnTo>
                <a:lnTo>
                  <a:pt x="993" y="66"/>
                </a:lnTo>
                <a:lnTo>
                  <a:pt x="988" y="63"/>
                </a:lnTo>
                <a:lnTo>
                  <a:pt x="985" y="60"/>
                </a:lnTo>
                <a:lnTo>
                  <a:pt x="982" y="57"/>
                </a:lnTo>
                <a:lnTo>
                  <a:pt x="973" y="54"/>
                </a:lnTo>
                <a:lnTo>
                  <a:pt x="970" y="57"/>
                </a:lnTo>
                <a:lnTo>
                  <a:pt x="968" y="57"/>
                </a:lnTo>
                <a:lnTo>
                  <a:pt x="965" y="60"/>
                </a:lnTo>
                <a:lnTo>
                  <a:pt x="959" y="57"/>
                </a:lnTo>
                <a:lnTo>
                  <a:pt x="953" y="54"/>
                </a:lnTo>
                <a:lnTo>
                  <a:pt x="950" y="54"/>
                </a:lnTo>
                <a:lnTo>
                  <a:pt x="936" y="57"/>
                </a:lnTo>
                <a:lnTo>
                  <a:pt x="942" y="60"/>
                </a:lnTo>
                <a:lnTo>
                  <a:pt x="947" y="60"/>
                </a:lnTo>
                <a:lnTo>
                  <a:pt x="939" y="63"/>
                </a:lnTo>
                <a:lnTo>
                  <a:pt x="927" y="66"/>
                </a:lnTo>
                <a:lnTo>
                  <a:pt x="913" y="66"/>
                </a:lnTo>
                <a:lnTo>
                  <a:pt x="907" y="69"/>
                </a:lnTo>
                <a:lnTo>
                  <a:pt x="899" y="74"/>
                </a:lnTo>
                <a:lnTo>
                  <a:pt x="896" y="71"/>
                </a:lnTo>
                <a:lnTo>
                  <a:pt x="904" y="66"/>
                </a:lnTo>
                <a:lnTo>
                  <a:pt x="907" y="63"/>
                </a:lnTo>
                <a:lnTo>
                  <a:pt x="913" y="60"/>
                </a:lnTo>
                <a:lnTo>
                  <a:pt x="916" y="60"/>
                </a:lnTo>
                <a:lnTo>
                  <a:pt x="919" y="60"/>
                </a:lnTo>
                <a:lnTo>
                  <a:pt x="925" y="54"/>
                </a:lnTo>
                <a:lnTo>
                  <a:pt x="933" y="54"/>
                </a:lnTo>
                <a:lnTo>
                  <a:pt x="933" y="48"/>
                </a:lnTo>
                <a:lnTo>
                  <a:pt x="939" y="46"/>
                </a:lnTo>
                <a:lnTo>
                  <a:pt x="945" y="43"/>
                </a:lnTo>
                <a:lnTo>
                  <a:pt x="953" y="40"/>
                </a:lnTo>
                <a:lnTo>
                  <a:pt x="956" y="31"/>
                </a:lnTo>
                <a:lnTo>
                  <a:pt x="950" y="28"/>
                </a:lnTo>
                <a:lnTo>
                  <a:pt x="945" y="23"/>
                </a:lnTo>
                <a:lnTo>
                  <a:pt x="942" y="23"/>
                </a:lnTo>
                <a:lnTo>
                  <a:pt x="933" y="17"/>
                </a:lnTo>
                <a:lnTo>
                  <a:pt x="933" y="20"/>
                </a:lnTo>
                <a:lnTo>
                  <a:pt x="933" y="23"/>
                </a:lnTo>
                <a:lnTo>
                  <a:pt x="930" y="20"/>
                </a:lnTo>
                <a:lnTo>
                  <a:pt x="925" y="14"/>
                </a:lnTo>
                <a:lnTo>
                  <a:pt x="916" y="14"/>
                </a:lnTo>
                <a:lnTo>
                  <a:pt x="913" y="14"/>
                </a:lnTo>
                <a:lnTo>
                  <a:pt x="910" y="14"/>
                </a:lnTo>
                <a:lnTo>
                  <a:pt x="899" y="14"/>
                </a:lnTo>
                <a:lnTo>
                  <a:pt x="870" y="14"/>
                </a:lnTo>
                <a:lnTo>
                  <a:pt x="858" y="17"/>
                </a:lnTo>
                <a:lnTo>
                  <a:pt x="856" y="17"/>
                </a:lnTo>
                <a:lnTo>
                  <a:pt x="858" y="11"/>
                </a:lnTo>
                <a:lnTo>
                  <a:pt x="850" y="11"/>
                </a:lnTo>
                <a:lnTo>
                  <a:pt x="838" y="8"/>
                </a:lnTo>
                <a:lnTo>
                  <a:pt x="824" y="11"/>
                </a:lnTo>
                <a:lnTo>
                  <a:pt x="830" y="5"/>
                </a:lnTo>
                <a:lnTo>
                  <a:pt x="836" y="3"/>
                </a:lnTo>
                <a:lnTo>
                  <a:pt x="824" y="0"/>
                </a:lnTo>
                <a:lnTo>
                  <a:pt x="813" y="0"/>
                </a:lnTo>
                <a:lnTo>
                  <a:pt x="795" y="0"/>
                </a:lnTo>
                <a:lnTo>
                  <a:pt x="792" y="3"/>
                </a:lnTo>
                <a:lnTo>
                  <a:pt x="790" y="5"/>
                </a:lnTo>
                <a:lnTo>
                  <a:pt x="790" y="11"/>
                </a:lnTo>
                <a:lnTo>
                  <a:pt x="792" y="14"/>
                </a:lnTo>
                <a:lnTo>
                  <a:pt x="795" y="17"/>
                </a:lnTo>
                <a:lnTo>
                  <a:pt x="790" y="17"/>
                </a:lnTo>
                <a:lnTo>
                  <a:pt x="778" y="17"/>
                </a:lnTo>
                <a:lnTo>
                  <a:pt x="772" y="17"/>
                </a:lnTo>
                <a:lnTo>
                  <a:pt x="775" y="20"/>
                </a:lnTo>
                <a:lnTo>
                  <a:pt x="778" y="23"/>
                </a:lnTo>
                <a:lnTo>
                  <a:pt x="787" y="23"/>
                </a:lnTo>
                <a:lnTo>
                  <a:pt x="770" y="23"/>
                </a:lnTo>
                <a:lnTo>
                  <a:pt x="761" y="23"/>
                </a:lnTo>
                <a:lnTo>
                  <a:pt x="749" y="23"/>
                </a:lnTo>
                <a:lnTo>
                  <a:pt x="752" y="20"/>
                </a:lnTo>
                <a:lnTo>
                  <a:pt x="741" y="20"/>
                </a:lnTo>
                <a:lnTo>
                  <a:pt x="729" y="23"/>
                </a:lnTo>
                <a:lnTo>
                  <a:pt x="724" y="25"/>
                </a:lnTo>
                <a:lnTo>
                  <a:pt x="718" y="25"/>
                </a:lnTo>
                <a:lnTo>
                  <a:pt x="715" y="23"/>
                </a:lnTo>
                <a:lnTo>
                  <a:pt x="709" y="23"/>
                </a:lnTo>
                <a:lnTo>
                  <a:pt x="709" y="25"/>
                </a:lnTo>
                <a:lnTo>
                  <a:pt x="703" y="28"/>
                </a:lnTo>
                <a:lnTo>
                  <a:pt x="678" y="31"/>
                </a:lnTo>
                <a:lnTo>
                  <a:pt x="669" y="34"/>
                </a:lnTo>
                <a:lnTo>
                  <a:pt x="666" y="37"/>
                </a:lnTo>
                <a:lnTo>
                  <a:pt x="655" y="37"/>
                </a:lnTo>
                <a:lnTo>
                  <a:pt x="652" y="46"/>
                </a:lnTo>
                <a:lnTo>
                  <a:pt x="660" y="51"/>
                </a:lnTo>
                <a:lnTo>
                  <a:pt x="666" y="54"/>
                </a:lnTo>
                <a:lnTo>
                  <a:pt x="666" y="57"/>
                </a:lnTo>
                <a:lnTo>
                  <a:pt x="655" y="57"/>
                </a:lnTo>
                <a:lnTo>
                  <a:pt x="629" y="60"/>
                </a:lnTo>
                <a:lnTo>
                  <a:pt x="614" y="60"/>
                </a:lnTo>
                <a:lnTo>
                  <a:pt x="600" y="60"/>
                </a:lnTo>
                <a:lnTo>
                  <a:pt x="597" y="66"/>
                </a:lnTo>
                <a:lnTo>
                  <a:pt x="594" y="66"/>
                </a:lnTo>
                <a:lnTo>
                  <a:pt x="597" y="69"/>
                </a:lnTo>
                <a:lnTo>
                  <a:pt x="603" y="69"/>
                </a:lnTo>
                <a:lnTo>
                  <a:pt x="606" y="71"/>
                </a:lnTo>
                <a:lnTo>
                  <a:pt x="609" y="77"/>
                </a:lnTo>
                <a:lnTo>
                  <a:pt x="614" y="80"/>
                </a:lnTo>
                <a:lnTo>
                  <a:pt x="626" y="80"/>
                </a:lnTo>
                <a:lnTo>
                  <a:pt x="635" y="83"/>
                </a:lnTo>
                <a:lnTo>
                  <a:pt x="640" y="89"/>
                </a:lnTo>
                <a:lnTo>
                  <a:pt x="643" y="89"/>
                </a:lnTo>
                <a:lnTo>
                  <a:pt x="640" y="89"/>
                </a:lnTo>
                <a:lnTo>
                  <a:pt x="632" y="92"/>
                </a:lnTo>
                <a:lnTo>
                  <a:pt x="623" y="89"/>
                </a:lnTo>
                <a:lnTo>
                  <a:pt x="606" y="83"/>
                </a:lnTo>
                <a:lnTo>
                  <a:pt x="589" y="80"/>
                </a:lnTo>
                <a:lnTo>
                  <a:pt x="580" y="80"/>
                </a:lnTo>
                <a:lnTo>
                  <a:pt x="577" y="77"/>
                </a:lnTo>
                <a:lnTo>
                  <a:pt x="571" y="77"/>
                </a:lnTo>
                <a:lnTo>
                  <a:pt x="566" y="80"/>
                </a:lnTo>
                <a:lnTo>
                  <a:pt x="574" y="83"/>
                </a:lnTo>
                <a:lnTo>
                  <a:pt x="574" y="86"/>
                </a:lnTo>
                <a:lnTo>
                  <a:pt x="583" y="83"/>
                </a:lnTo>
                <a:lnTo>
                  <a:pt x="586" y="86"/>
                </a:lnTo>
                <a:lnTo>
                  <a:pt x="586" y="89"/>
                </a:lnTo>
                <a:lnTo>
                  <a:pt x="577" y="89"/>
                </a:lnTo>
                <a:lnTo>
                  <a:pt x="569" y="86"/>
                </a:lnTo>
                <a:lnTo>
                  <a:pt x="563" y="86"/>
                </a:lnTo>
                <a:lnTo>
                  <a:pt x="560" y="86"/>
                </a:lnTo>
                <a:lnTo>
                  <a:pt x="566" y="92"/>
                </a:lnTo>
                <a:lnTo>
                  <a:pt x="571" y="94"/>
                </a:lnTo>
                <a:lnTo>
                  <a:pt x="586" y="97"/>
                </a:lnTo>
                <a:lnTo>
                  <a:pt x="594" y="100"/>
                </a:lnTo>
                <a:lnTo>
                  <a:pt x="603" y="103"/>
                </a:lnTo>
                <a:lnTo>
                  <a:pt x="597" y="103"/>
                </a:lnTo>
                <a:lnTo>
                  <a:pt x="586" y="100"/>
                </a:lnTo>
                <a:lnTo>
                  <a:pt x="574" y="97"/>
                </a:lnTo>
                <a:lnTo>
                  <a:pt x="557" y="97"/>
                </a:lnTo>
                <a:lnTo>
                  <a:pt x="557" y="92"/>
                </a:lnTo>
                <a:lnTo>
                  <a:pt x="551" y="86"/>
                </a:lnTo>
                <a:lnTo>
                  <a:pt x="551" y="80"/>
                </a:lnTo>
                <a:lnTo>
                  <a:pt x="543" y="74"/>
                </a:lnTo>
                <a:lnTo>
                  <a:pt x="537" y="74"/>
                </a:lnTo>
                <a:lnTo>
                  <a:pt x="543" y="80"/>
                </a:lnTo>
                <a:lnTo>
                  <a:pt x="546" y="83"/>
                </a:lnTo>
                <a:lnTo>
                  <a:pt x="546" y="86"/>
                </a:lnTo>
                <a:lnTo>
                  <a:pt x="543" y="86"/>
                </a:lnTo>
                <a:lnTo>
                  <a:pt x="534" y="89"/>
                </a:lnTo>
                <a:lnTo>
                  <a:pt x="531" y="92"/>
                </a:lnTo>
                <a:lnTo>
                  <a:pt x="531" y="97"/>
                </a:lnTo>
                <a:lnTo>
                  <a:pt x="534" y="97"/>
                </a:lnTo>
                <a:lnTo>
                  <a:pt x="540" y="100"/>
                </a:lnTo>
                <a:lnTo>
                  <a:pt x="548" y="106"/>
                </a:lnTo>
                <a:lnTo>
                  <a:pt x="551" y="109"/>
                </a:lnTo>
                <a:lnTo>
                  <a:pt x="551" y="112"/>
                </a:lnTo>
                <a:lnTo>
                  <a:pt x="548" y="117"/>
                </a:lnTo>
                <a:lnTo>
                  <a:pt x="551" y="120"/>
                </a:lnTo>
                <a:lnTo>
                  <a:pt x="551" y="126"/>
                </a:lnTo>
                <a:lnTo>
                  <a:pt x="557" y="126"/>
                </a:lnTo>
                <a:lnTo>
                  <a:pt x="557" y="129"/>
                </a:lnTo>
                <a:lnTo>
                  <a:pt x="560" y="132"/>
                </a:lnTo>
                <a:lnTo>
                  <a:pt x="563" y="132"/>
                </a:lnTo>
                <a:lnTo>
                  <a:pt x="571" y="132"/>
                </a:lnTo>
                <a:lnTo>
                  <a:pt x="580" y="132"/>
                </a:lnTo>
                <a:lnTo>
                  <a:pt x="594" y="132"/>
                </a:lnTo>
                <a:lnTo>
                  <a:pt x="603" y="135"/>
                </a:lnTo>
                <a:lnTo>
                  <a:pt x="606" y="135"/>
                </a:lnTo>
                <a:lnTo>
                  <a:pt x="612" y="137"/>
                </a:lnTo>
                <a:lnTo>
                  <a:pt x="617" y="146"/>
                </a:lnTo>
                <a:lnTo>
                  <a:pt x="620" y="146"/>
                </a:lnTo>
                <a:lnTo>
                  <a:pt x="617" y="152"/>
                </a:lnTo>
                <a:lnTo>
                  <a:pt x="620" y="155"/>
                </a:lnTo>
                <a:lnTo>
                  <a:pt x="626" y="158"/>
                </a:lnTo>
                <a:lnTo>
                  <a:pt x="614" y="158"/>
                </a:lnTo>
                <a:lnTo>
                  <a:pt x="612" y="149"/>
                </a:lnTo>
                <a:lnTo>
                  <a:pt x="609" y="146"/>
                </a:lnTo>
                <a:lnTo>
                  <a:pt x="606" y="140"/>
                </a:lnTo>
                <a:lnTo>
                  <a:pt x="597" y="137"/>
                </a:lnTo>
                <a:lnTo>
                  <a:pt x="594" y="135"/>
                </a:lnTo>
                <a:lnTo>
                  <a:pt x="592" y="135"/>
                </a:lnTo>
                <a:lnTo>
                  <a:pt x="574" y="137"/>
                </a:lnTo>
                <a:lnTo>
                  <a:pt x="571" y="140"/>
                </a:lnTo>
                <a:lnTo>
                  <a:pt x="574" y="143"/>
                </a:lnTo>
                <a:lnTo>
                  <a:pt x="580" y="149"/>
                </a:lnTo>
                <a:lnTo>
                  <a:pt x="583" y="152"/>
                </a:lnTo>
                <a:lnTo>
                  <a:pt x="583" y="155"/>
                </a:lnTo>
                <a:lnTo>
                  <a:pt x="583" y="158"/>
                </a:lnTo>
                <a:lnTo>
                  <a:pt x="580" y="160"/>
                </a:lnTo>
                <a:lnTo>
                  <a:pt x="577" y="172"/>
                </a:lnTo>
                <a:lnTo>
                  <a:pt x="569" y="175"/>
                </a:lnTo>
                <a:lnTo>
                  <a:pt x="566" y="181"/>
                </a:lnTo>
                <a:lnTo>
                  <a:pt x="563" y="183"/>
                </a:lnTo>
                <a:lnTo>
                  <a:pt x="554" y="178"/>
                </a:lnTo>
                <a:lnTo>
                  <a:pt x="546" y="178"/>
                </a:lnTo>
                <a:lnTo>
                  <a:pt x="540" y="178"/>
                </a:lnTo>
                <a:lnTo>
                  <a:pt x="531" y="175"/>
                </a:lnTo>
                <a:lnTo>
                  <a:pt x="526" y="172"/>
                </a:lnTo>
                <a:lnTo>
                  <a:pt x="537" y="172"/>
                </a:lnTo>
                <a:lnTo>
                  <a:pt x="551" y="169"/>
                </a:lnTo>
                <a:lnTo>
                  <a:pt x="557" y="160"/>
                </a:lnTo>
                <a:lnTo>
                  <a:pt x="563" y="155"/>
                </a:lnTo>
                <a:lnTo>
                  <a:pt x="563" y="152"/>
                </a:lnTo>
                <a:lnTo>
                  <a:pt x="560" y="149"/>
                </a:lnTo>
                <a:lnTo>
                  <a:pt x="563" y="143"/>
                </a:lnTo>
                <a:lnTo>
                  <a:pt x="557" y="140"/>
                </a:lnTo>
                <a:lnTo>
                  <a:pt x="551" y="137"/>
                </a:lnTo>
                <a:lnTo>
                  <a:pt x="543" y="129"/>
                </a:lnTo>
                <a:lnTo>
                  <a:pt x="540" y="123"/>
                </a:lnTo>
                <a:lnTo>
                  <a:pt x="534" y="112"/>
                </a:lnTo>
                <a:lnTo>
                  <a:pt x="534" y="109"/>
                </a:lnTo>
                <a:lnTo>
                  <a:pt x="531" y="103"/>
                </a:lnTo>
                <a:lnTo>
                  <a:pt x="526" y="100"/>
                </a:lnTo>
                <a:lnTo>
                  <a:pt x="520" y="97"/>
                </a:lnTo>
                <a:lnTo>
                  <a:pt x="511" y="94"/>
                </a:lnTo>
                <a:lnTo>
                  <a:pt x="514" y="92"/>
                </a:lnTo>
                <a:lnTo>
                  <a:pt x="517" y="86"/>
                </a:lnTo>
                <a:lnTo>
                  <a:pt x="517" y="80"/>
                </a:lnTo>
                <a:lnTo>
                  <a:pt x="517" y="77"/>
                </a:lnTo>
                <a:lnTo>
                  <a:pt x="514" y="74"/>
                </a:lnTo>
                <a:lnTo>
                  <a:pt x="508" y="74"/>
                </a:lnTo>
                <a:lnTo>
                  <a:pt x="500" y="71"/>
                </a:lnTo>
                <a:lnTo>
                  <a:pt x="485" y="71"/>
                </a:lnTo>
                <a:lnTo>
                  <a:pt x="477" y="71"/>
                </a:lnTo>
                <a:lnTo>
                  <a:pt x="471" y="71"/>
                </a:lnTo>
                <a:lnTo>
                  <a:pt x="468" y="77"/>
                </a:lnTo>
                <a:lnTo>
                  <a:pt x="471" y="83"/>
                </a:lnTo>
                <a:lnTo>
                  <a:pt x="471" y="86"/>
                </a:lnTo>
                <a:lnTo>
                  <a:pt x="471" y="92"/>
                </a:lnTo>
                <a:lnTo>
                  <a:pt x="462" y="97"/>
                </a:lnTo>
                <a:lnTo>
                  <a:pt x="457" y="100"/>
                </a:lnTo>
                <a:lnTo>
                  <a:pt x="457" y="103"/>
                </a:lnTo>
                <a:lnTo>
                  <a:pt x="459" y="103"/>
                </a:lnTo>
                <a:lnTo>
                  <a:pt x="462" y="103"/>
                </a:lnTo>
                <a:lnTo>
                  <a:pt x="465" y="106"/>
                </a:lnTo>
                <a:lnTo>
                  <a:pt x="465" y="112"/>
                </a:lnTo>
                <a:lnTo>
                  <a:pt x="468" y="114"/>
                </a:lnTo>
                <a:lnTo>
                  <a:pt x="468" y="117"/>
                </a:lnTo>
                <a:lnTo>
                  <a:pt x="468" y="120"/>
                </a:lnTo>
                <a:lnTo>
                  <a:pt x="468" y="126"/>
                </a:lnTo>
                <a:lnTo>
                  <a:pt x="477" y="126"/>
                </a:lnTo>
                <a:lnTo>
                  <a:pt x="482" y="126"/>
                </a:lnTo>
                <a:lnTo>
                  <a:pt x="485" y="126"/>
                </a:lnTo>
                <a:lnTo>
                  <a:pt x="488" y="129"/>
                </a:lnTo>
                <a:lnTo>
                  <a:pt x="488" y="132"/>
                </a:lnTo>
                <a:lnTo>
                  <a:pt x="491" y="132"/>
                </a:lnTo>
                <a:lnTo>
                  <a:pt x="505" y="137"/>
                </a:lnTo>
                <a:lnTo>
                  <a:pt x="503" y="143"/>
                </a:lnTo>
                <a:lnTo>
                  <a:pt x="503" y="149"/>
                </a:lnTo>
                <a:lnTo>
                  <a:pt x="497" y="146"/>
                </a:lnTo>
                <a:lnTo>
                  <a:pt x="497" y="143"/>
                </a:lnTo>
                <a:lnTo>
                  <a:pt x="494" y="143"/>
                </a:lnTo>
                <a:lnTo>
                  <a:pt x="485" y="140"/>
                </a:lnTo>
                <a:lnTo>
                  <a:pt x="474" y="137"/>
                </a:lnTo>
                <a:lnTo>
                  <a:pt x="457" y="132"/>
                </a:lnTo>
                <a:lnTo>
                  <a:pt x="442" y="126"/>
                </a:lnTo>
                <a:lnTo>
                  <a:pt x="408" y="120"/>
                </a:lnTo>
                <a:lnTo>
                  <a:pt x="393" y="120"/>
                </a:lnTo>
                <a:lnTo>
                  <a:pt x="393" y="123"/>
                </a:lnTo>
                <a:lnTo>
                  <a:pt x="391" y="123"/>
                </a:lnTo>
                <a:lnTo>
                  <a:pt x="388" y="120"/>
                </a:lnTo>
                <a:lnTo>
                  <a:pt x="379" y="114"/>
                </a:lnTo>
                <a:lnTo>
                  <a:pt x="368" y="109"/>
                </a:lnTo>
                <a:lnTo>
                  <a:pt x="362" y="112"/>
                </a:lnTo>
                <a:lnTo>
                  <a:pt x="362" y="114"/>
                </a:lnTo>
                <a:lnTo>
                  <a:pt x="368" y="117"/>
                </a:lnTo>
                <a:lnTo>
                  <a:pt x="373" y="120"/>
                </a:lnTo>
                <a:lnTo>
                  <a:pt x="379" y="123"/>
                </a:lnTo>
                <a:lnTo>
                  <a:pt x="382" y="123"/>
                </a:lnTo>
                <a:lnTo>
                  <a:pt x="388" y="126"/>
                </a:lnTo>
                <a:lnTo>
                  <a:pt x="391" y="132"/>
                </a:lnTo>
                <a:lnTo>
                  <a:pt x="393" y="132"/>
                </a:lnTo>
                <a:lnTo>
                  <a:pt x="399" y="132"/>
                </a:lnTo>
                <a:lnTo>
                  <a:pt x="399" y="135"/>
                </a:lnTo>
                <a:lnTo>
                  <a:pt x="393" y="140"/>
                </a:lnTo>
                <a:lnTo>
                  <a:pt x="391" y="140"/>
                </a:lnTo>
                <a:lnTo>
                  <a:pt x="388" y="140"/>
                </a:lnTo>
                <a:lnTo>
                  <a:pt x="391" y="143"/>
                </a:lnTo>
                <a:lnTo>
                  <a:pt x="391" y="146"/>
                </a:lnTo>
                <a:lnTo>
                  <a:pt x="382" y="146"/>
                </a:lnTo>
                <a:lnTo>
                  <a:pt x="382" y="140"/>
                </a:lnTo>
                <a:lnTo>
                  <a:pt x="385" y="140"/>
                </a:lnTo>
                <a:lnTo>
                  <a:pt x="382" y="137"/>
                </a:lnTo>
                <a:lnTo>
                  <a:pt x="379" y="137"/>
                </a:lnTo>
                <a:lnTo>
                  <a:pt x="376" y="135"/>
                </a:lnTo>
                <a:lnTo>
                  <a:pt x="376" y="132"/>
                </a:lnTo>
                <a:lnTo>
                  <a:pt x="376" y="129"/>
                </a:lnTo>
                <a:lnTo>
                  <a:pt x="370" y="129"/>
                </a:lnTo>
                <a:lnTo>
                  <a:pt x="373" y="135"/>
                </a:lnTo>
                <a:lnTo>
                  <a:pt x="368" y="137"/>
                </a:lnTo>
                <a:lnTo>
                  <a:pt x="356" y="137"/>
                </a:lnTo>
                <a:lnTo>
                  <a:pt x="356" y="140"/>
                </a:lnTo>
                <a:lnTo>
                  <a:pt x="345" y="140"/>
                </a:lnTo>
                <a:lnTo>
                  <a:pt x="336" y="140"/>
                </a:lnTo>
                <a:lnTo>
                  <a:pt x="330" y="143"/>
                </a:lnTo>
                <a:lnTo>
                  <a:pt x="330" y="149"/>
                </a:lnTo>
                <a:lnTo>
                  <a:pt x="325" y="146"/>
                </a:lnTo>
                <a:lnTo>
                  <a:pt x="322" y="146"/>
                </a:lnTo>
                <a:lnTo>
                  <a:pt x="316" y="146"/>
                </a:lnTo>
                <a:lnTo>
                  <a:pt x="313" y="140"/>
                </a:lnTo>
                <a:lnTo>
                  <a:pt x="319" y="137"/>
                </a:lnTo>
                <a:lnTo>
                  <a:pt x="316" y="135"/>
                </a:lnTo>
                <a:lnTo>
                  <a:pt x="310" y="135"/>
                </a:lnTo>
                <a:lnTo>
                  <a:pt x="296" y="140"/>
                </a:lnTo>
                <a:lnTo>
                  <a:pt x="299" y="143"/>
                </a:lnTo>
                <a:lnTo>
                  <a:pt x="296" y="146"/>
                </a:lnTo>
                <a:lnTo>
                  <a:pt x="293" y="146"/>
                </a:lnTo>
                <a:lnTo>
                  <a:pt x="293" y="143"/>
                </a:lnTo>
                <a:lnTo>
                  <a:pt x="287" y="143"/>
                </a:lnTo>
                <a:lnTo>
                  <a:pt x="276" y="143"/>
                </a:lnTo>
                <a:lnTo>
                  <a:pt x="270" y="149"/>
                </a:lnTo>
                <a:lnTo>
                  <a:pt x="261" y="152"/>
                </a:lnTo>
                <a:lnTo>
                  <a:pt x="253" y="155"/>
                </a:lnTo>
                <a:lnTo>
                  <a:pt x="256" y="158"/>
                </a:lnTo>
                <a:lnTo>
                  <a:pt x="250" y="158"/>
                </a:lnTo>
                <a:lnTo>
                  <a:pt x="244" y="158"/>
                </a:lnTo>
                <a:lnTo>
                  <a:pt x="244" y="166"/>
                </a:lnTo>
                <a:lnTo>
                  <a:pt x="244" y="169"/>
                </a:lnTo>
                <a:lnTo>
                  <a:pt x="236" y="172"/>
                </a:lnTo>
                <a:lnTo>
                  <a:pt x="227" y="172"/>
                </a:lnTo>
                <a:lnTo>
                  <a:pt x="221" y="169"/>
                </a:lnTo>
                <a:lnTo>
                  <a:pt x="207" y="160"/>
                </a:lnTo>
                <a:lnTo>
                  <a:pt x="210" y="158"/>
                </a:lnTo>
                <a:lnTo>
                  <a:pt x="215" y="155"/>
                </a:lnTo>
                <a:lnTo>
                  <a:pt x="230" y="155"/>
                </a:lnTo>
                <a:lnTo>
                  <a:pt x="224" y="152"/>
                </a:lnTo>
                <a:lnTo>
                  <a:pt x="218" y="146"/>
                </a:lnTo>
                <a:lnTo>
                  <a:pt x="215" y="140"/>
                </a:lnTo>
                <a:lnTo>
                  <a:pt x="213" y="140"/>
                </a:lnTo>
                <a:lnTo>
                  <a:pt x="207" y="140"/>
                </a:lnTo>
                <a:lnTo>
                  <a:pt x="190" y="140"/>
                </a:lnTo>
                <a:lnTo>
                  <a:pt x="184" y="140"/>
                </a:lnTo>
                <a:lnTo>
                  <a:pt x="193" y="146"/>
                </a:lnTo>
                <a:lnTo>
                  <a:pt x="195" y="149"/>
                </a:lnTo>
                <a:lnTo>
                  <a:pt x="195" y="155"/>
                </a:lnTo>
                <a:lnTo>
                  <a:pt x="193" y="160"/>
                </a:lnTo>
                <a:lnTo>
                  <a:pt x="195" y="163"/>
                </a:lnTo>
                <a:lnTo>
                  <a:pt x="201" y="166"/>
                </a:lnTo>
                <a:lnTo>
                  <a:pt x="204" y="166"/>
                </a:lnTo>
                <a:lnTo>
                  <a:pt x="204" y="169"/>
                </a:lnTo>
                <a:lnTo>
                  <a:pt x="204" y="172"/>
                </a:lnTo>
                <a:lnTo>
                  <a:pt x="204" y="178"/>
                </a:lnTo>
                <a:lnTo>
                  <a:pt x="204" y="183"/>
                </a:lnTo>
                <a:lnTo>
                  <a:pt x="201" y="183"/>
                </a:lnTo>
                <a:lnTo>
                  <a:pt x="195" y="181"/>
                </a:lnTo>
                <a:lnTo>
                  <a:pt x="190" y="178"/>
                </a:lnTo>
                <a:lnTo>
                  <a:pt x="181" y="178"/>
                </a:lnTo>
                <a:lnTo>
                  <a:pt x="178" y="178"/>
                </a:lnTo>
                <a:lnTo>
                  <a:pt x="170" y="183"/>
                </a:lnTo>
                <a:lnTo>
                  <a:pt x="164" y="186"/>
                </a:lnTo>
                <a:lnTo>
                  <a:pt x="161" y="186"/>
                </a:lnTo>
                <a:lnTo>
                  <a:pt x="152" y="192"/>
                </a:lnTo>
                <a:lnTo>
                  <a:pt x="149" y="195"/>
                </a:lnTo>
                <a:lnTo>
                  <a:pt x="155" y="201"/>
                </a:lnTo>
                <a:lnTo>
                  <a:pt x="161" y="203"/>
                </a:lnTo>
                <a:lnTo>
                  <a:pt x="161" y="206"/>
                </a:lnTo>
                <a:lnTo>
                  <a:pt x="161" y="209"/>
                </a:lnTo>
                <a:lnTo>
                  <a:pt x="155" y="209"/>
                </a:lnTo>
                <a:lnTo>
                  <a:pt x="141" y="206"/>
                </a:lnTo>
                <a:lnTo>
                  <a:pt x="127" y="203"/>
                </a:lnTo>
                <a:lnTo>
                  <a:pt x="124" y="201"/>
                </a:lnTo>
                <a:lnTo>
                  <a:pt x="118" y="198"/>
                </a:lnTo>
                <a:lnTo>
                  <a:pt x="109" y="203"/>
                </a:lnTo>
                <a:lnTo>
                  <a:pt x="115" y="209"/>
                </a:lnTo>
                <a:lnTo>
                  <a:pt x="124" y="215"/>
                </a:lnTo>
                <a:lnTo>
                  <a:pt x="127" y="212"/>
                </a:lnTo>
                <a:lnTo>
                  <a:pt x="129" y="212"/>
                </a:lnTo>
                <a:lnTo>
                  <a:pt x="135" y="218"/>
                </a:lnTo>
                <a:lnTo>
                  <a:pt x="127" y="221"/>
                </a:lnTo>
                <a:lnTo>
                  <a:pt x="118" y="221"/>
                </a:lnTo>
                <a:lnTo>
                  <a:pt x="112" y="218"/>
                </a:lnTo>
                <a:lnTo>
                  <a:pt x="106" y="215"/>
                </a:lnTo>
                <a:lnTo>
                  <a:pt x="92" y="212"/>
                </a:lnTo>
                <a:lnTo>
                  <a:pt x="92" y="209"/>
                </a:lnTo>
                <a:lnTo>
                  <a:pt x="89" y="206"/>
                </a:lnTo>
                <a:lnTo>
                  <a:pt x="83" y="198"/>
                </a:lnTo>
                <a:lnTo>
                  <a:pt x="83" y="192"/>
                </a:lnTo>
                <a:lnTo>
                  <a:pt x="86" y="186"/>
                </a:lnTo>
                <a:lnTo>
                  <a:pt x="78" y="181"/>
                </a:lnTo>
                <a:lnTo>
                  <a:pt x="66" y="178"/>
                </a:lnTo>
                <a:lnTo>
                  <a:pt x="60" y="175"/>
                </a:lnTo>
                <a:lnTo>
                  <a:pt x="49" y="169"/>
                </a:lnTo>
                <a:lnTo>
                  <a:pt x="60" y="175"/>
                </a:lnTo>
                <a:lnTo>
                  <a:pt x="75" y="175"/>
                </a:lnTo>
                <a:lnTo>
                  <a:pt x="92" y="178"/>
                </a:lnTo>
                <a:lnTo>
                  <a:pt x="109" y="181"/>
                </a:lnTo>
                <a:lnTo>
                  <a:pt x="121" y="183"/>
                </a:lnTo>
                <a:lnTo>
                  <a:pt x="138" y="183"/>
                </a:lnTo>
                <a:lnTo>
                  <a:pt x="149" y="181"/>
                </a:lnTo>
                <a:lnTo>
                  <a:pt x="161" y="175"/>
                </a:lnTo>
                <a:lnTo>
                  <a:pt x="161" y="163"/>
                </a:lnTo>
                <a:lnTo>
                  <a:pt x="155" y="160"/>
                </a:lnTo>
                <a:lnTo>
                  <a:pt x="158" y="158"/>
                </a:lnTo>
                <a:lnTo>
                  <a:pt x="147" y="155"/>
                </a:lnTo>
                <a:lnTo>
                  <a:pt x="135" y="149"/>
                </a:lnTo>
                <a:lnTo>
                  <a:pt x="132" y="146"/>
                </a:lnTo>
                <a:lnTo>
                  <a:pt x="127" y="146"/>
                </a:lnTo>
                <a:lnTo>
                  <a:pt x="118" y="143"/>
                </a:lnTo>
                <a:lnTo>
                  <a:pt x="112" y="140"/>
                </a:lnTo>
                <a:lnTo>
                  <a:pt x="104" y="137"/>
                </a:lnTo>
                <a:lnTo>
                  <a:pt x="89" y="132"/>
                </a:lnTo>
                <a:lnTo>
                  <a:pt x="72" y="129"/>
                </a:lnTo>
                <a:lnTo>
                  <a:pt x="60" y="129"/>
                </a:lnTo>
                <a:lnTo>
                  <a:pt x="55" y="129"/>
                </a:lnTo>
                <a:lnTo>
                  <a:pt x="52" y="126"/>
                </a:lnTo>
                <a:lnTo>
                  <a:pt x="46" y="126"/>
                </a:lnTo>
                <a:lnTo>
                  <a:pt x="49" y="123"/>
                </a:lnTo>
                <a:lnTo>
                  <a:pt x="38" y="120"/>
                </a:lnTo>
                <a:lnTo>
                  <a:pt x="29" y="123"/>
                </a:lnTo>
                <a:lnTo>
                  <a:pt x="26" y="123"/>
                </a:lnTo>
                <a:lnTo>
                  <a:pt x="23" y="129"/>
                </a:lnTo>
                <a:lnTo>
                  <a:pt x="20" y="129"/>
                </a:lnTo>
                <a:lnTo>
                  <a:pt x="17" y="126"/>
                </a:lnTo>
                <a:lnTo>
                  <a:pt x="12" y="129"/>
                </a:lnTo>
                <a:lnTo>
                  <a:pt x="6" y="135"/>
                </a:lnTo>
                <a:lnTo>
                  <a:pt x="0" y="137"/>
                </a:lnTo>
                <a:lnTo>
                  <a:pt x="0" y="146"/>
                </a:lnTo>
                <a:lnTo>
                  <a:pt x="9" y="149"/>
                </a:lnTo>
                <a:lnTo>
                  <a:pt x="17" y="155"/>
                </a:lnTo>
                <a:lnTo>
                  <a:pt x="17" y="158"/>
                </a:lnTo>
                <a:lnTo>
                  <a:pt x="17" y="160"/>
                </a:lnTo>
                <a:lnTo>
                  <a:pt x="15" y="163"/>
                </a:lnTo>
                <a:lnTo>
                  <a:pt x="9" y="166"/>
                </a:lnTo>
                <a:lnTo>
                  <a:pt x="9" y="169"/>
                </a:lnTo>
                <a:lnTo>
                  <a:pt x="17" y="178"/>
                </a:lnTo>
                <a:lnTo>
                  <a:pt x="26" y="186"/>
                </a:lnTo>
                <a:lnTo>
                  <a:pt x="26" y="189"/>
                </a:lnTo>
                <a:lnTo>
                  <a:pt x="20" y="192"/>
                </a:lnTo>
                <a:lnTo>
                  <a:pt x="23" y="198"/>
                </a:lnTo>
                <a:lnTo>
                  <a:pt x="23" y="201"/>
                </a:lnTo>
                <a:lnTo>
                  <a:pt x="20" y="201"/>
                </a:lnTo>
                <a:lnTo>
                  <a:pt x="26" y="203"/>
                </a:lnTo>
                <a:lnTo>
                  <a:pt x="29" y="206"/>
                </a:lnTo>
                <a:lnTo>
                  <a:pt x="29" y="212"/>
                </a:lnTo>
                <a:lnTo>
                  <a:pt x="38" y="215"/>
                </a:lnTo>
                <a:lnTo>
                  <a:pt x="38" y="218"/>
                </a:lnTo>
                <a:lnTo>
                  <a:pt x="35" y="221"/>
                </a:lnTo>
                <a:lnTo>
                  <a:pt x="32" y="224"/>
                </a:lnTo>
                <a:lnTo>
                  <a:pt x="40" y="229"/>
                </a:lnTo>
                <a:lnTo>
                  <a:pt x="52" y="238"/>
                </a:lnTo>
                <a:lnTo>
                  <a:pt x="55" y="241"/>
                </a:lnTo>
                <a:lnTo>
                  <a:pt x="52" y="241"/>
                </a:lnTo>
                <a:lnTo>
                  <a:pt x="46" y="247"/>
                </a:lnTo>
                <a:lnTo>
                  <a:pt x="38" y="255"/>
                </a:lnTo>
                <a:lnTo>
                  <a:pt x="38" y="258"/>
                </a:lnTo>
                <a:lnTo>
                  <a:pt x="32" y="264"/>
                </a:lnTo>
                <a:lnTo>
                  <a:pt x="15" y="275"/>
                </a:lnTo>
                <a:lnTo>
                  <a:pt x="9" y="281"/>
                </a:lnTo>
                <a:lnTo>
                  <a:pt x="20" y="278"/>
                </a:lnTo>
                <a:lnTo>
                  <a:pt x="20" y="281"/>
                </a:lnTo>
                <a:lnTo>
                  <a:pt x="20" y="284"/>
                </a:lnTo>
                <a:lnTo>
                  <a:pt x="26" y="287"/>
                </a:lnTo>
                <a:lnTo>
                  <a:pt x="32" y="290"/>
                </a:lnTo>
                <a:lnTo>
                  <a:pt x="38" y="290"/>
                </a:lnTo>
                <a:lnTo>
                  <a:pt x="40" y="290"/>
                </a:lnTo>
                <a:lnTo>
                  <a:pt x="32" y="292"/>
                </a:lnTo>
                <a:lnTo>
                  <a:pt x="20" y="292"/>
                </a:lnTo>
                <a:lnTo>
                  <a:pt x="15" y="295"/>
                </a:lnTo>
                <a:lnTo>
                  <a:pt x="12" y="295"/>
                </a:lnTo>
                <a:lnTo>
                  <a:pt x="12" y="298"/>
                </a:lnTo>
                <a:lnTo>
                  <a:pt x="9" y="310"/>
                </a:lnTo>
                <a:lnTo>
                  <a:pt x="6" y="315"/>
                </a:lnTo>
                <a:lnTo>
                  <a:pt x="9" y="321"/>
                </a:lnTo>
                <a:lnTo>
                  <a:pt x="9" y="324"/>
                </a:lnTo>
                <a:lnTo>
                  <a:pt x="17" y="330"/>
                </a:lnTo>
                <a:lnTo>
                  <a:pt x="12" y="336"/>
                </a:lnTo>
                <a:lnTo>
                  <a:pt x="15" y="336"/>
                </a:lnTo>
                <a:lnTo>
                  <a:pt x="17" y="338"/>
                </a:lnTo>
                <a:lnTo>
                  <a:pt x="17" y="341"/>
                </a:lnTo>
                <a:lnTo>
                  <a:pt x="15" y="347"/>
                </a:lnTo>
                <a:lnTo>
                  <a:pt x="20" y="350"/>
                </a:lnTo>
                <a:lnTo>
                  <a:pt x="23" y="359"/>
                </a:lnTo>
                <a:lnTo>
                  <a:pt x="26" y="359"/>
                </a:lnTo>
                <a:lnTo>
                  <a:pt x="29" y="359"/>
                </a:lnTo>
                <a:lnTo>
                  <a:pt x="29" y="361"/>
                </a:lnTo>
                <a:lnTo>
                  <a:pt x="35" y="361"/>
                </a:lnTo>
                <a:lnTo>
                  <a:pt x="43" y="361"/>
                </a:lnTo>
                <a:lnTo>
                  <a:pt x="40" y="361"/>
                </a:lnTo>
                <a:lnTo>
                  <a:pt x="40" y="364"/>
                </a:lnTo>
                <a:lnTo>
                  <a:pt x="43" y="367"/>
                </a:lnTo>
                <a:lnTo>
                  <a:pt x="46" y="361"/>
                </a:lnTo>
                <a:lnTo>
                  <a:pt x="49" y="361"/>
                </a:lnTo>
                <a:lnTo>
                  <a:pt x="55" y="364"/>
                </a:lnTo>
                <a:lnTo>
                  <a:pt x="63" y="367"/>
                </a:lnTo>
                <a:lnTo>
                  <a:pt x="66" y="367"/>
                </a:lnTo>
                <a:lnTo>
                  <a:pt x="63" y="376"/>
                </a:lnTo>
                <a:lnTo>
                  <a:pt x="66" y="379"/>
                </a:lnTo>
                <a:lnTo>
                  <a:pt x="66" y="381"/>
                </a:lnTo>
                <a:lnTo>
                  <a:pt x="63" y="384"/>
                </a:lnTo>
                <a:lnTo>
                  <a:pt x="66" y="387"/>
                </a:lnTo>
                <a:lnTo>
                  <a:pt x="72" y="393"/>
                </a:lnTo>
                <a:lnTo>
                  <a:pt x="78" y="396"/>
                </a:lnTo>
                <a:lnTo>
                  <a:pt x="81" y="396"/>
                </a:lnTo>
                <a:lnTo>
                  <a:pt x="83" y="402"/>
                </a:lnTo>
                <a:lnTo>
                  <a:pt x="86" y="399"/>
                </a:lnTo>
                <a:lnTo>
                  <a:pt x="89" y="402"/>
                </a:lnTo>
                <a:lnTo>
                  <a:pt x="92" y="404"/>
                </a:lnTo>
                <a:lnTo>
                  <a:pt x="92" y="407"/>
                </a:lnTo>
                <a:lnTo>
                  <a:pt x="98" y="410"/>
                </a:lnTo>
                <a:lnTo>
                  <a:pt x="95" y="413"/>
                </a:lnTo>
                <a:lnTo>
                  <a:pt x="92" y="416"/>
                </a:lnTo>
                <a:lnTo>
                  <a:pt x="86" y="419"/>
                </a:lnTo>
                <a:lnTo>
                  <a:pt x="78" y="416"/>
                </a:lnTo>
                <a:lnTo>
                  <a:pt x="75" y="419"/>
                </a:lnTo>
                <a:lnTo>
                  <a:pt x="81" y="433"/>
                </a:lnTo>
                <a:lnTo>
                  <a:pt x="89" y="436"/>
                </a:lnTo>
                <a:lnTo>
                  <a:pt x="89" y="427"/>
                </a:lnTo>
                <a:lnTo>
                  <a:pt x="98" y="433"/>
                </a:lnTo>
                <a:lnTo>
                  <a:pt x="104" y="427"/>
                </a:lnTo>
                <a:lnTo>
                  <a:pt x="112" y="430"/>
                </a:lnTo>
                <a:lnTo>
                  <a:pt x="118" y="433"/>
                </a:lnTo>
                <a:lnTo>
                  <a:pt x="127" y="442"/>
                </a:lnTo>
                <a:lnTo>
                  <a:pt x="121" y="445"/>
                </a:lnTo>
                <a:lnTo>
                  <a:pt x="121" y="448"/>
                </a:lnTo>
                <a:lnTo>
                  <a:pt x="132" y="450"/>
                </a:lnTo>
                <a:lnTo>
                  <a:pt x="135" y="450"/>
                </a:lnTo>
                <a:lnTo>
                  <a:pt x="138" y="453"/>
                </a:lnTo>
                <a:lnTo>
                  <a:pt x="144" y="459"/>
                </a:lnTo>
                <a:lnTo>
                  <a:pt x="144" y="465"/>
                </a:lnTo>
                <a:lnTo>
                  <a:pt x="147" y="465"/>
                </a:lnTo>
                <a:lnTo>
                  <a:pt x="149" y="462"/>
                </a:lnTo>
                <a:lnTo>
                  <a:pt x="161" y="468"/>
                </a:lnTo>
                <a:lnTo>
                  <a:pt x="172" y="465"/>
                </a:lnTo>
                <a:lnTo>
                  <a:pt x="184" y="473"/>
                </a:lnTo>
                <a:lnTo>
                  <a:pt x="187" y="473"/>
                </a:lnTo>
                <a:lnTo>
                  <a:pt x="198" y="479"/>
                </a:lnTo>
                <a:lnTo>
                  <a:pt x="215" y="479"/>
                </a:lnTo>
                <a:lnTo>
                  <a:pt x="218" y="488"/>
                </a:lnTo>
                <a:lnTo>
                  <a:pt x="218" y="491"/>
                </a:lnTo>
                <a:lnTo>
                  <a:pt x="215" y="493"/>
                </a:lnTo>
                <a:lnTo>
                  <a:pt x="218" y="496"/>
                </a:lnTo>
                <a:lnTo>
                  <a:pt x="215" y="499"/>
                </a:lnTo>
                <a:lnTo>
                  <a:pt x="213" y="502"/>
                </a:lnTo>
                <a:lnTo>
                  <a:pt x="218" y="508"/>
                </a:lnTo>
                <a:lnTo>
                  <a:pt x="215" y="519"/>
                </a:lnTo>
                <a:lnTo>
                  <a:pt x="201" y="516"/>
                </a:lnTo>
                <a:lnTo>
                  <a:pt x="195" y="522"/>
                </a:lnTo>
                <a:lnTo>
                  <a:pt x="193" y="528"/>
                </a:lnTo>
                <a:lnTo>
                  <a:pt x="207" y="528"/>
                </a:lnTo>
                <a:lnTo>
                  <a:pt x="204" y="534"/>
                </a:lnTo>
                <a:lnTo>
                  <a:pt x="190" y="539"/>
                </a:lnTo>
                <a:lnTo>
                  <a:pt x="193" y="542"/>
                </a:lnTo>
                <a:lnTo>
                  <a:pt x="195" y="545"/>
                </a:lnTo>
                <a:lnTo>
                  <a:pt x="190" y="554"/>
                </a:lnTo>
                <a:lnTo>
                  <a:pt x="184" y="562"/>
                </a:lnTo>
                <a:lnTo>
                  <a:pt x="172" y="562"/>
                </a:lnTo>
                <a:lnTo>
                  <a:pt x="155" y="565"/>
                </a:lnTo>
                <a:lnTo>
                  <a:pt x="149" y="559"/>
                </a:lnTo>
                <a:lnTo>
                  <a:pt x="144" y="554"/>
                </a:lnTo>
                <a:lnTo>
                  <a:pt x="132" y="551"/>
                </a:lnTo>
                <a:lnTo>
                  <a:pt x="124" y="554"/>
                </a:lnTo>
                <a:lnTo>
                  <a:pt x="109" y="562"/>
                </a:lnTo>
                <a:lnTo>
                  <a:pt x="118" y="562"/>
                </a:lnTo>
                <a:lnTo>
                  <a:pt x="127" y="568"/>
                </a:lnTo>
                <a:lnTo>
                  <a:pt x="124" y="574"/>
                </a:lnTo>
                <a:lnTo>
                  <a:pt x="124" y="577"/>
                </a:lnTo>
                <a:lnTo>
                  <a:pt x="127" y="580"/>
                </a:lnTo>
                <a:lnTo>
                  <a:pt x="138" y="580"/>
                </a:lnTo>
                <a:lnTo>
                  <a:pt x="149" y="571"/>
                </a:lnTo>
                <a:lnTo>
                  <a:pt x="158" y="568"/>
                </a:lnTo>
                <a:lnTo>
                  <a:pt x="167" y="568"/>
                </a:lnTo>
                <a:lnTo>
                  <a:pt x="175" y="568"/>
                </a:lnTo>
                <a:lnTo>
                  <a:pt x="187" y="574"/>
                </a:lnTo>
                <a:lnTo>
                  <a:pt x="195" y="577"/>
                </a:lnTo>
                <a:lnTo>
                  <a:pt x="204" y="585"/>
                </a:lnTo>
                <a:lnTo>
                  <a:pt x="204" y="582"/>
                </a:lnTo>
                <a:lnTo>
                  <a:pt x="210" y="585"/>
                </a:lnTo>
                <a:lnTo>
                  <a:pt x="221" y="594"/>
                </a:lnTo>
                <a:lnTo>
                  <a:pt x="227" y="600"/>
                </a:lnTo>
                <a:lnTo>
                  <a:pt x="230" y="594"/>
                </a:lnTo>
                <a:lnTo>
                  <a:pt x="233" y="594"/>
                </a:lnTo>
                <a:lnTo>
                  <a:pt x="247" y="600"/>
                </a:lnTo>
                <a:lnTo>
                  <a:pt x="264" y="603"/>
                </a:lnTo>
                <a:lnTo>
                  <a:pt x="267" y="603"/>
                </a:lnTo>
                <a:lnTo>
                  <a:pt x="276" y="603"/>
                </a:lnTo>
                <a:lnTo>
                  <a:pt x="284" y="608"/>
                </a:lnTo>
                <a:lnTo>
                  <a:pt x="290" y="611"/>
                </a:lnTo>
                <a:lnTo>
                  <a:pt x="296" y="611"/>
                </a:lnTo>
                <a:lnTo>
                  <a:pt x="293" y="614"/>
                </a:lnTo>
                <a:lnTo>
                  <a:pt x="299" y="614"/>
                </a:lnTo>
                <a:lnTo>
                  <a:pt x="307" y="611"/>
                </a:lnTo>
                <a:lnTo>
                  <a:pt x="322" y="617"/>
                </a:lnTo>
                <a:lnTo>
                  <a:pt x="325" y="623"/>
                </a:lnTo>
                <a:lnTo>
                  <a:pt x="333" y="628"/>
                </a:lnTo>
                <a:lnTo>
                  <a:pt x="336" y="628"/>
                </a:lnTo>
                <a:lnTo>
                  <a:pt x="339" y="628"/>
                </a:lnTo>
                <a:lnTo>
                  <a:pt x="345" y="631"/>
                </a:lnTo>
                <a:lnTo>
                  <a:pt x="348" y="640"/>
                </a:lnTo>
                <a:lnTo>
                  <a:pt x="350" y="640"/>
                </a:lnTo>
                <a:lnTo>
                  <a:pt x="359" y="640"/>
                </a:lnTo>
                <a:lnTo>
                  <a:pt x="365" y="634"/>
                </a:lnTo>
                <a:lnTo>
                  <a:pt x="368" y="628"/>
                </a:lnTo>
                <a:lnTo>
                  <a:pt x="362" y="626"/>
                </a:lnTo>
                <a:lnTo>
                  <a:pt x="353" y="617"/>
                </a:lnTo>
                <a:lnTo>
                  <a:pt x="350" y="611"/>
                </a:lnTo>
                <a:lnTo>
                  <a:pt x="348" y="603"/>
                </a:lnTo>
                <a:lnTo>
                  <a:pt x="348" y="594"/>
                </a:lnTo>
                <a:lnTo>
                  <a:pt x="339" y="585"/>
                </a:lnTo>
                <a:lnTo>
                  <a:pt x="330" y="582"/>
                </a:lnTo>
                <a:lnTo>
                  <a:pt x="333" y="574"/>
                </a:lnTo>
                <a:lnTo>
                  <a:pt x="339" y="568"/>
                </a:lnTo>
                <a:lnTo>
                  <a:pt x="339" y="557"/>
                </a:lnTo>
                <a:lnTo>
                  <a:pt x="345" y="557"/>
                </a:lnTo>
                <a:lnTo>
                  <a:pt x="350" y="557"/>
                </a:lnTo>
                <a:lnTo>
                  <a:pt x="353" y="551"/>
                </a:lnTo>
                <a:lnTo>
                  <a:pt x="359" y="554"/>
                </a:lnTo>
                <a:lnTo>
                  <a:pt x="359" y="551"/>
                </a:lnTo>
                <a:lnTo>
                  <a:pt x="359" y="548"/>
                </a:lnTo>
                <a:lnTo>
                  <a:pt x="362" y="548"/>
                </a:lnTo>
                <a:lnTo>
                  <a:pt x="345" y="537"/>
                </a:lnTo>
                <a:lnTo>
                  <a:pt x="348" y="537"/>
                </a:lnTo>
                <a:lnTo>
                  <a:pt x="353" y="537"/>
                </a:lnTo>
                <a:lnTo>
                  <a:pt x="348" y="525"/>
                </a:lnTo>
                <a:lnTo>
                  <a:pt x="333" y="516"/>
                </a:lnTo>
                <a:lnTo>
                  <a:pt x="327" y="519"/>
                </a:lnTo>
                <a:lnTo>
                  <a:pt x="325" y="514"/>
                </a:lnTo>
                <a:lnTo>
                  <a:pt x="325" y="511"/>
                </a:lnTo>
                <a:lnTo>
                  <a:pt x="313" y="505"/>
                </a:lnTo>
                <a:lnTo>
                  <a:pt x="313" y="502"/>
                </a:lnTo>
                <a:lnTo>
                  <a:pt x="313" y="499"/>
                </a:lnTo>
                <a:lnTo>
                  <a:pt x="316" y="496"/>
                </a:lnTo>
                <a:lnTo>
                  <a:pt x="319" y="491"/>
                </a:lnTo>
                <a:lnTo>
                  <a:pt x="316" y="488"/>
                </a:lnTo>
                <a:lnTo>
                  <a:pt x="313" y="482"/>
                </a:lnTo>
                <a:lnTo>
                  <a:pt x="313" y="479"/>
                </a:lnTo>
                <a:lnTo>
                  <a:pt x="319" y="473"/>
                </a:lnTo>
                <a:lnTo>
                  <a:pt x="319" y="470"/>
                </a:lnTo>
                <a:lnTo>
                  <a:pt x="319" y="465"/>
                </a:lnTo>
                <a:lnTo>
                  <a:pt x="322" y="465"/>
                </a:lnTo>
                <a:lnTo>
                  <a:pt x="325" y="465"/>
                </a:lnTo>
                <a:lnTo>
                  <a:pt x="330" y="470"/>
                </a:lnTo>
                <a:lnTo>
                  <a:pt x="333" y="473"/>
                </a:lnTo>
                <a:lnTo>
                  <a:pt x="339" y="476"/>
                </a:lnTo>
                <a:lnTo>
                  <a:pt x="342" y="476"/>
                </a:lnTo>
                <a:lnTo>
                  <a:pt x="342" y="473"/>
                </a:lnTo>
                <a:lnTo>
                  <a:pt x="333" y="462"/>
                </a:lnTo>
                <a:lnTo>
                  <a:pt x="336" y="462"/>
                </a:lnTo>
                <a:lnTo>
                  <a:pt x="342" y="459"/>
                </a:lnTo>
                <a:lnTo>
                  <a:pt x="348" y="456"/>
                </a:lnTo>
                <a:lnTo>
                  <a:pt x="345" y="450"/>
                </a:lnTo>
                <a:lnTo>
                  <a:pt x="356" y="450"/>
                </a:lnTo>
                <a:lnTo>
                  <a:pt x="359" y="445"/>
                </a:lnTo>
                <a:lnTo>
                  <a:pt x="362" y="442"/>
                </a:lnTo>
                <a:lnTo>
                  <a:pt x="368" y="439"/>
                </a:lnTo>
                <a:lnTo>
                  <a:pt x="370" y="442"/>
                </a:lnTo>
                <a:lnTo>
                  <a:pt x="373" y="445"/>
                </a:lnTo>
                <a:lnTo>
                  <a:pt x="379" y="445"/>
                </a:lnTo>
                <a:lnTo>
                  <a:pt x="382" y="442"/>
                </a:lnTo>
                <a:lnTo>
                  <a:pt x="388" y="439"/>
                </a:lnTo>
                <a:lnTo>
                  <a:pt x="393" y="445"/>
                </a:lnTo>
                <a:lnTo>
                  <a:pt x="408" y="445"/>
                </a:lnTo>
                <a:lnTo>
                  <a:pt x="416" y="450"/>
                </a:lnTo>
                <a:lnTo>
                  <a:pt x="422" y="459"/>
                </a:lnTo>
                <a:lnTo>
                  <a:pt x="425" y="465"/>
                </a:lnTo>
                <a:lnTo>
                  <a:pt x="425" y="462"/>
                </a:lnTo>
                <a:lnTo>
                  <a:pt x="422" y="456"/>
                </a:lnTo>
                <a:lnTo>
                  <a:pt x="425" y="453"/>
                </a:lnTo>
                <a:lnTo>
                  <a:pt x="439" y="465"/>
                </a:lnTo>
                <a:lnTo>
                  <a:pt x="445" y="459"/>
                </a:lnTo>
                <a:lnTo>
                  <a:pt x="451" y="453"/>
                </a:lnTo>
                <a:lnTo>
                  <a:pt x="459" y="453"/>
                </a:lnTo>
                <a:lnTo>
                  <a:pt x="468" y="456"/>
                </a:lnTo>
                <a:lnTo>
                  <a:pt x="471" y="453"/>
                </a:lnTo>
                <a:lnTo>
                  <a:pt x="474" y="453"/>
                </a:lnTo>
                <a:lnTo>
                  <a:pt x="480" y="450"/>
                </a:lnTo>
                <a:lnTo>
                  <a:pt x="482" y="450"/>
                </a:lnTo>
                <a:lnTo>
                  <a:pt x="485" y="453"/>
                </a:lnTo>
                <a:lnTo>
                  <a:pt x="488" y="459"/>
                </a:lnTo>
                <a:lnTo>
                  <a:pt x="491" y="459"/>
                </a:lnTo>
                <a:lnTo>
                  <a:pt x="503" y="462"/>
                </a:lnTo>
                <a:lnTo>
                  <a:pt x="505" y="459"/>
                </a:lnTo>
                <a:lnTo>
                  <a:pt x="505" y="456"/>
                </a:lnTo>
                <a:lnTo>
                  <a:pt x="508" y="459"/>
                </a:lnTo>
                <a:lnTo>
                  <a:pt x="511" y="459"/>
                </a:lnTo>
                <a:lnTo>
                  <a:pt x="517" y="459"/>
                </a:lnTo>
                <a:lnTo>
                  <a:pt x="523" y="459"/>
                </a:lnTo>
                <a:lnTo>
                  <a:pt x="523" y="453"/>
                </a:lnTo>
                <a:lnTo>
                  <a:pt x="517" y="450"/>
                </a:lnTo>
                <a:lnTo>
                  <a:pt x="511" y="448"/>
                </a:lnTo>
                <a:lnTo>
                  <a:pt x="505" y="445"/>
                </a:lnTo>
                <a:lnTo>
                  <a:pt x="494" y="439"/>
                </a:lnTo>
                <a:lnTo>
                  <a:pt x="508" y="430"/>
                </a:lnTo>
                <a:lnTo>
                  <a:pt x="505" y="425"/>
                </a:lnTo>
                <a:lnTo>
                  <a:pt x="511" y="416"/>
                </a:lnTo>
                <a:lnTo>
                  <a:pt x="517" y="416"/>
                </a:lnTo>
                <a:lnTo>
                  <a:pt x="511" y="413"/>
                </a:lnTo>
                <a:lnTo>
                  <a:pt x="505" y="413"/>
                </a:lnTo>
                <a:lnTo>
                  <a:pt x="508" y="410"/>
                </a:lnTo>
                <a:lnTo>
                  <a:pt x="508" y="407"/>
                </a:lnTo>
                <a:lnTo>
                  <a:pt x="503" y="407"/>
                </a:lnTo>
                <a:lnTo>
                  <a:pt x="503" y="404"/>
                </a:lnTo>
                <a:lnTo>
                  <a:pt x="500" y="399"/>
                </a:lnTo>
                <a:lnTo>
                  <a:pt x="503" y="399"/>
                </a:lnTo>
                <a:lnTo>
                  <a:pt x="508" y="396"/>
                </a:lnTo>
                <a:lnTo>
                  <a:pt x="523" y="396"/>
                </a:lnTo>
                <a:lnTo>
                  <a:pt x="531" y="396"/>
                </a:lnTo>
                <a:lnTo>
                  <a:pt x="540" y="393"/>
                </a:lnTo>
                <a:lnTo>
                  <a:pt x="546" y="390"/>
                </a:lnTo>
                <a:lnTo>
                  <a:pt x="554" y="390"/>
                </a:lnTo>
                <a:lnTo>
                  <a:pt x="557" y="390"/>
                </a:lnTo>
                <a:lnTo>
                  <a:pt x="560" y="384"/>
                </a:lnTo>
                <a:lnTo>
                  <a:pt x="566" y="384"/>
                </a:lnTo>
                <a:lnTo>
                  <a:pt x="586" y="384"/>
                </a:lnTo>
                <a:lnTo>
                  <a:pt x="597" y="379"/>
                </a:lnTo>
                <a:lnTo>
                  <a:pt x="597" y="376"/>
                </a:lnTo>
                <a:lnTo>
                  <a:pt x="606" y="370"/>
                </a:lnTo>
                <a:lnTo>
                  <a:pt x="626" y="376"/>
                </a:lnTo>
                <a:lnTo>
                  <a:pt x="635" y="373"/>
                </a:lnTo>
                <a:lnTo>
                  <a:pt x="643" y="381"/>
                </a:lnTo>
                <a:lnTo>
                  <a:pt x="646" y="387"/>
                </a:lnTo>
                <a:lnTo>
                  <a:pt x="649" y="393"/>
                </a:lnTo>
                <a:lnTo>
                  <a:pt x="655" y="393"/>
                </a:lnTo>
                <a:lnTo>
                  <a:pt x="660" y="390"/>
                </a:lnTo>
                <a:lnTo>
                  <a:pt x="669" y="399"/>
                </a:lnTo>
                <a:lnTo>
                  <a:pt x="672" y="396"/>
                </a:lnTo>
                <a:lnTo>
                  <a:pt x="675" y="396"/>
                </a:lnTo>
                <a:lnTo>
                  <a:pt x="678" y="399"/>
                </a:lnTo>
                <a:lnTo>
                  <a:pt x="686" y="396"/>
                </a:lnTo>
                <a:lnTo>
                  <a:pt x="692" y="402"/>
                </a:lnTo>
                <a:lnTo>
                  <a:pt x="683" y="407"/>
                </a:lnTo>
                <a:lnTo>
                  <a:pt x="686" y="410"/>
                </a:lnTo>
                <a:lnTo>
                  <a:pt x="692" y="407"/>
                </a:lnTo>
                <a:lnTo>
                  <a:pt x="698" y="407"/>
                </a:lnTo>
                <a:lnTo>
                  <a:pt x="703" y="402"/>
                </a:lnTo>
                <a:lnTo>
                  <a:pt x="709" y="396"/>
                </a:lnTo>
                <a:lnTo>
                  <a:pt x="729" y="387"/>
                </a:lnTo>
                <a:lnTo>
                  <a:pt x="729" y="396"/>
                </a:lnTo>
                <a:lnTo>
                  <a:pt x="729" y="399"/>
                </a:lnTo>
                <a:lnTo>
                  <a:pt x="744" y="404"/>
                </a:lnTo>
                <a:lnTo>
                  <a:pt x="752" y="413"/>
                </a:lnTo>
                <a:lnTo>
                  <a:pt x="767" y="425"/>
                </a:lnTo>
                <a:lnTo>
                  <a:pt x="784" y="436"/>
                </a:lnTo>
                <a:lnTo>
                  <a:pt x="795" y="448"/>
                </a:lnTo>
                <a:lnTo>
                  <a:pt x="804" y="456"/>
                </a:lnTo>
                <a:lnTo>
                  <a:pt x="807" y="448"/>
                </a:lnTo>
                <a:lnTo>
                  <a:pt x="818" y="450"/>
                </a:lnTo>
                <a:lnTo>
                  <a:pt x="818" y="453"/>
                </a:lnTo>
                <a:lnTo>
                  <a:pt x="821" y="456"/>
                </a:lnTo>
                <a:lnTo>
                  <a:pt x="827" y="459"/>
                </a:lnTo>
                <a:lnTo>
                  <a:pt x="836" y="459"/>
                </a:lnTo>
                <a:lnTo>
                  <a:pt x="847" y="453"/>
                </a:lnTo>
                <a:lnTo>
                  <a:pt x="853" y="453"/>
                </a:lnTo>
                <a:lnTo>
                  <a:pt x="861" y="456"/>
                </a:lnTo>
                <a:lnTo>
                  <a:pt x="867" y="462"/>
                </a:lnTo>
                <a:lnTo>
                  <a:pt x="873" y="468"/>
                </a:lnTo>
                <a:lnTo>
                  <a:pt x="876" y="470"/>
                </a:lnTo>
                <a:lnTo>
                  <a:pt x="881" y="470"/>
                </a:lnTo>
                <a:lnTo>
                  <a:pt x="884" y="476"/>
                </a:lnTo>
                <a:lnTo>
                  <a:pt x="887" y="479"/>
                </a:lnTo>
                <a:lnTo>
                  <a:pt x="902" y="482"/>
                </a:lnTo>
                <a:lnTo>
                  <a:pt x="907" y="479"/>
                </a:lnTo>
                <a:lnTo>
                  <a:pt x="910" y="476"/>
                </a:lnTo>
                <a:lnTo>
                  <a:pt x="913" y="476"/>
                </a:lnTo>
                <a:lnTo>
                  <a:pt x="916" y="485"/>
                </a:lnTo>
                <a:lnTo>
                  <a:pt x="922" y="491"/>
                </a:lnTo>
                <a:lnTo>
                  <a:pt x="930" y="491"/>
                </a:lnTo>
                <a:lnTo>
                  <a:pt x="933" y="491"/>
                </a:lnTo>
                <a:lnTo>
                  <a:pt x="933" y="482"/>
                </a:lnTo>
                <a:lnTo>
                  <a:pt x="939" y="482"/>
                </a:lnTo>
                <a:lnTo>
                  <a:pt x="947" y="482"/>
                </a:lnTo>
                <a:lnTo>
                  <a:pt x="950" y="479"/>
                </a:lnTo>
                <a:lnTo>
                  <a:pt x="953" y="473"/>
                </a:lnTo>
                <a:lnTo>
                  <a:pt x="956" y="470"/>
                </a:lnTo>
                <a:lnTo>
                  <a:pt x="962" y="468"/>
                </a:lnTo>
                <a:lnTo>
                  <a:pt x="965" y="470"/>
                </a:lnTo>
                <a:lnTo>
                  <a:pt x="968" y="468"/>
                </a:lnTo>
                <a:lnTo>
                  <a:pt x="976" y="465"/>
                </a:lnTo>
                <a:lnTo>
                  <a:pt x="976" y="462"/>
                </a:lnTo>
                <a:lnTo>
                  <a:pt x="976" y="459"/>
                </a:lnTo>
                <a:lnTo>
                  <a:pt x="979" y="459"/>
                </a:lnTo>
                <a:lnTo>
                  <a:pt x="982" y="459"/>
                </a:lnTo>
                <a:lnTo>
                  <a:pt x="985" y="456"/>
                </a:lnTo>
                <a:lnTo>
                  <a:pt x="991" y="459"/>
                </a:lnTo>
                <a:lnTo>
                  <a:pt x="993" y="456"/>
                </a:lnTo>
                <a:lnTo>
                  <a:pt x="996" y="459"/>
                </a:lnTo>
                <a:lnTo>
                  <a:pt x="999" y="459"/>
                </a:lnTo>
                <a:lnTo>
                  <a:pt x="1016" y="462"/>
                </a:lnTo>
                <a:lnTo>
                  <a:pt x="1022" y="465"/>
                </a:lnTo>
                <a:lnTo>
                  <a:pt x="1025" y="470"/>
                </a:lnTo>
                <a:lnTo>
                  <a:pt x="1039" y="473"/>
                </a:lnTo>
                <a:lnTo>
                  <a:pt x="1042" y="473"/>
                </a:lnTo>
                <a:lnTo>
                  <a:pt x="1045" y="470"/>
                </a:lnTo>
                <a:lnTo>
                  <a:pt x="1059" y="473"/>
                </a:lnTo>
                <a:lnTo>
                  <a:pt x="1068" y="479"/>
                </a:lnTo>
                <a:lnTo>
                  <a:pt x="1077" y="473"/>
                </a:lnTo>
                <a:lnTo>
                  <a:pt x="1077" y="465"/>
                </a:lnTo>
                <a:lnTo>
                  <a:pt x="1071" y="462"/>
                </a:lnTo>
                <a:lnTo>
                  <a:pt x="1062" y="453"/>
                </a:lnTo>
                <a:lnTo>
                  <a:pt x="1059" y="450"/>
                </a:lnTo>
                <a:lnTo>
                  <a:pt x="1062" y="445"/>
                </a:lnTo>
                <a:lnTo>
                  <a:pt x="1065" y="442"/>
                </a:lnTo>
                <a:lnTo>
                  <a:pt x="1065" y="439"/>
                </a:lnTo>
                <a:lnTo>
                  <a:pt x="1068" y="433"/>
                </a:lnTo>
                <a:lnTo>
                  <a:pt x="1068" y="430"/>
                </a:lnTo>
                <a:lnTo>
                  <a:pt x="1071" y="433"/>
                </a:lnTo>
                <a:lnTo>
                  <a:pt x="1080" y="436"/>
                </a:lnTo>
                <a:lnTo>
                  <a:pt x="1094" y="442"/>
                </a:lnTo>
                <a:lnTo>
                  <a:pt x="1120" y="445"/>
                </a:lnTo>
                <a:lnTo>
                  <a:pt x="1128" y="450"/>
                </a:lnTo>
                <a:lnTo>
                  <a:pt x="1131" y="453"/>
                </a:lnTo>
                <a:lnTo>
                  <a:pt x="1140" y="459"/>
                </a:lnTo>
                <a:lnTo>
                  <a:pt x="1148" y="465"/>
                </a:lnTo>
                <a:lnTo>
                  <a:pt x="1160" y="468"/>
                </a:lnTo>
                <a:lnTo>
                  <a:pt x="1166" y="468"/>
                </a:lnTo>
                <a:lnTo>
                  <a:pt x="1169" y="468"/>
                </a:lnTo>
                <a:lnTo>
                  <a:pt x="1180" y="465"/>
                </a:lnTo>
                <a:lnTo>
                  <a:pt x="1183" y="465"/>
                </a:lnTo>
                <a:lnTo>
                  <a:pt x="1194" y="465"/>
                </a:lnTo>
                <a:lnTo>
                  <a:pt x="1203" y="465"/>
                </a:lnTo>
                <a:lnTo>
                  <a:pt x="1209" y="468"/>
                </a:lnTo>
                <a:lnTo>
                  <a:pt x="1214" y="470"/>
                </a:lnTo>
                <a:lnTo>
                  <a:pt x="1217" y="473"/>
                </a:lnTo>
                <a:lnTo>
                  <a:pt x="1223" y="473"/>
                </a:lnTo>
                <a:lnTo>
                  <a:pt x="1226" y="473"/>
                </a:lnTo>
                <a:lnTo>
                  <a:pt x="1240" y="485"/>
                </a:lnTo>
                <a:lnTo>
                  <a:pt x="1243" y="485"/>
                </a:lnTo>
                <a:lnTo>
                  <a:pt x="1257" y="488"/>
                </a:lnTo>
                <a:lnTo>
                  <a:pt x="1275" y="488"/>
                </a:lnTo>
                <a:lnTo>
                  <a:pt x="1280" y="488"/>
                </a:lnTo>
                <a:lnTo>
                  <a:pt x="1298" y="482"/>
                </a:lnTo>
                <a:lnTo>
                  <a:pt x="1303" y="482"/>
                </a:lnTo>
                <a:lnTo>
                  <a:pt x="1303" y="476"/>
                </a:lnTo>
                <a:lnTo>
                  <a:pt x="1312" y="470"/>
                </a:lnTo>
                <a:lnTo>
                  <a:pt x="1324" y="468"/>
                </a:lnTo>
                <a:lnTo>
                  <a:pt x="1329" y="468"/>
                </a:lnTo>
                <a:lnTo>
                  <a:pt x="1332" y="470"/>
                </a:lnTo>
                <a:lnTo>
                  <a:pt x="1338" y="476"/>
                </a:lnTo>
                <a:lnTo>
                  <a:pt x="1346" y="470"/>
                </a:lnTo>
                <a:lnTo>
                  <a:pt x="1361" y="476"/>
                </a:lnTo>
                <a:lnTo>
                  <a:pt x="1367" y="479"/>
                </a:lnTo>
                <a:lnTo>
                  <a:pt x="1375" y="482"/>
                </a:lnTo>
                <a:lnTo>
                  <a:pt x="1378" y="482"/>
                </a:lnTo>
                <a:lnTo>
                  <a:pt x="1384" y="473"/>
                </a:lnTo>
                <a:lnTo>
                  <a:pt x="1387" y="473"/>
                </a:lnTo>
                <a:lnTo>
                  <a:pt x="1392" y="473"/>
                </a:lnTo>
                <a:lnTo>
                  <a:pt x="1390" y="470"/>
                </a:lnTo>
                <a:lnTo>
                  <a:pt x="1387" y="465"/>
                </a:lnTo>
                <a:lnTo>
                  <a:pt x="1387" y="456"/>
                </a:lnTo>
                <a:lnTo>
                  <a:pt x="1387" y="450"/>
                </a:lnTo>
                <a:lnTo>
                  <a:pt x="1387" y="445"/>
                </a:lnTo>
                <a:lnTo>
                  <a:pt x="1387" y="442"/>
                </a:lnTo>
                <a:lnTo>
                  <a:pt x="1392" y="439"/>
                </a:lnTo>
                <a:lnTo>
                  <a:pt x="1390" y="439"/>
                </a:lnTo>
                <a:lnTo>
                  <a:pt x="1387" y="430"/>
                </a:lnTo>
                <a:lnTo>
                  <a:pt x="1381" y="427"/>
                </a:lnTo>
                <a:lnTo>
                  <a:pt x="1369" y="425"/>
                </a:lnTo>
                <a:lnTo>
                  <a:pt x="1378" y="413"/>
                </a:lnTo>
                <a:lnTo>
                  <a:pt x="1384" y="410"/>
                </a:lnTo>
                <a:lnTo>
                  <a:pt x="1390" y="407"/>
                </a:lnTo>
                <a:lnTo>
                  <a:pt x="1398" y="407"/>
                </a:lnTo>
                <a:lnTo>
                  <a:pt x="1413" y="404"/>
                </a:lnTo>
                <a:lnTo>
                  <a:pt x="1421" y="407"/>
                </a:lnTo>
                <a:lnTo>
                  <a:pt x="1435" y="413"/>
                </a:lnTo>
                <a:lnTo>
                  <a:pt x="1441" y="410"/>
                </a:lnTo>
                <a:lnTo>
                  <a:pt x="1444" y="410"/>
                </a:lnTo>
                <a:lnTo>
                  <a:pt x="1456" y="419"/>
                </a:lnTo>
                <a:lnTo>
                  <a:pt x="1464" y="427"/>
                </a:lnTo>
                <a:lnTo>
                  <a:pt x="1473" y="433"/>
                </a:lnTo>
                <a:lnTo>
                  <a:pt x="1476" y="436"/>
                </a:lnTo>
                <a:lnTo>
                  <a:pt x="1479" y="436"/>
                </a:lnTo>
                <a:lnTo>
                  <a:pt x="1484" y="439"/>
                </a:lnTo>
                <a:lnTo>
                  <a:pt x="1490" y="445"/>
                </a:lnTo>
                <a:lnTo>
                  <a:pt x="1499" y="456"/>
                </a:lnTo>
                <a:lnTo>
                  <a:pt x="1507" y="465"/>
                </a:lnTo>
                <a:lnTo>
                  <a:pt x="1513" y="468"/>
                </a:lnTo>
                <a:lnTo>
                  <a:pt x="1516" y="468"/>
                </a:lnTo>
                <a:lnTo>
                  <a:pt x="1519" y="470"/>
                </a:lnTo>
                <a:lnTo>
                  <a:pt x="1524" y="476"/>
                </a:lnTo>
                <a:lnTo>
                  <a:pt x="1524" y="479"/>
                </a:lnTo>
                <a:lnTo>
                  <a:pt x="1527" y="479"/>
                </a:lnTo>
                <a:lnTo>
                  <a:pt x="1533" y="482"/>
                </a:lnTo>
                <a:lnTo>
                  <a:pt x="1542" y="482"/>
                </a:lnTo>
                <a:lnTo>
                  <a:pt x="1553" y="482"/>
                </a:lnTo>
                <a:lnTo>
                  <a:pt x="1570" y="493"/>
                </a:lnTo>
                <a:lnTo>
                  <a:pt x="1579" y="493"/>
                </a:lnTo>
                <a:lnTo>
                  <a:pt x="1582" y="493"/>
                </a:lnTo>
                <a:lnTo>
                  <a:pt x="1582" y="499"/>
                </a:lnTo>
                <a:lnTo>
                  <a:pt x="1588" y="505"/>
                </a:lnTo>
                <a:lnTo>
                  <a:pt x="1596" y="519"/>
                </a:lnTo>
                <a:lnTo>
                  <a:pt x="1619" y="516"/>
                </a:lnTo>
                <a:lnTo>
                  <a:pt x="1631" y="511"/>
                </a:lnTo>
                <a:lnTo>
                  <a:pt x="1636" y="505"/>
                </a:lnTo>
                <a:lnTo>
                  <a:pt x="1651" y="502"/>
                </a:lnTo>
                <a:lnTo>
                  <a:pt x="1651" y="511"/>
                </a:lnTo>
                <a:lnTo>
                  <a:pt x="1654" y="514"/>
                </a:lnTo>
                <a:lnTo>
                  <a:pt x="1657" y="516"/>
                </a:lnTo>
                <a:lnTo>
                  <a:pt x="1654" y="525"/>
                </a:lnTo>
                <a:lnTo>
                  <a:pt x="1654" y="531"/>
                </a:lnTo>
                <a:lnTo>
                  <a:pt x="1659" y="542"/>
                </a:lnTo>
                <a:lnTo>
                  <a:pt x="1662" y="551"/>
                </a:lnTo>
                <a:lnTo>
                  <a:pt x="1659" y="557"/>
                </a:lnTo>
                <a:lnTo>
                  <a:pt x="1662" y="568"/>
                </a:lnTo>
                <a:lnTo>
                  <a:pt x="1636" y="565"/>
                </a:lnTo>
                <a:lnTo>
                  <a:pt x="1631" y="571"/>
                </a:lnTo>
                <a:lnTo>
                  <a:pt x="1642" y="585"/>
                </a:lnTo>
                <a:lnTo>
                  <a:pt x="1651" y="600"/>
                </a:lnTo>
                <a:lnTo>
                  <a:pt x="1654" y="611"/>
                </a:lnTo>
                <a:lnTo>
                  <a:pt x="1642" y="614"/>
                </a:lnTo>
                <a:lnTo>
                  <a:pt x="1636" y="611"/>
                </a:lnTo>
                <a:lnTo>
                  <a:pt x="1636" y="614"/>
                </a:lnTo>
                <a:lnTo>
                  <a:pt x="1636" y="620"/>
                </a:lnTo>
                <a:lnTo>
                  <a:pt x="1634" y="620"/>
                </a:lnTo>
                <a:lnTo>
                  <a:pt x="1631" y="623"/>
                </a:lnTo>
                <a:lnTo>
                  <a:pt x="1631" y="626"/>
                </a:lnTo>
                <a:lnTo>
                  <a:pt x="1628" y="628"/>
                </a:lnTo>
                <a:lnTo>
                  <a:pt x="1619" y="628"/>
                </a:lnTo>
                <a:lnTo>
                  <a:pt x="1625" y="640"/>
                </a:lnTo>
                <a:lnTo>
                  <a:pt x="1622" y="640"/>
                </a:lnTo>
                <a:lnTo>
                  <a:pt x="1611" y="634"/>
                </a:lnTo>
                <a:lnTo>
                  <a:pt x="1599" y="631"/>
                </a:lnTo>
                <a:lnTo>
                  <a:pt x="1596" y="643"/>
                </a:lnTo>
                <a:lnTo>
                  <a:pt x="1590" y="651"/>
                </a:lnTo>
                <a:lnTo>
                  <a:pt x="1585" y="657"/>
                </a:lnTo>
                <a:lnTo>
                  <a:pt x="1576" y="663"/>
                </a:lnTo>
                <a:lnTo>
                  <a:pt x="1576" y="669"/>
                </a:lnTo>
                <a:lnTo>
                  <a:pt x="1585" y="671"/>
                </a:lnTo>
                <a:lnTo>
                  <a:pt x="1593" y="671"/>
                </a:lnTo>
                <a:lnTo>
                  <a:pt x="1596" y="677"/>
                </a:lnTo>
                <a:lnTo>
                  <a:pt x="1599" y="689"/>
                </a:lnTo>
                <a:lnTo>
                  <a:pt x="1605" y="692"/>
                </a:lnTo>
                <a:lnTo>
                  <a:pt x="1599" y="694"/>
                </a:lnTo>
                <a:lnTo>
                  <a:pt x="1599" y="700"/>
                </a:lnTo>
                <a:lnTo>
                  <a:pt x="1599" y="703"/>
                </a:lnTo>
                <a:lnTo>
                  <a:pt x="1605" y="703"/>
                </a:lnTo>
                <a:lnTo>
                  <a:pt x="1608" y="706"/>
                </a:lnTo>
                <a:lnTo>
                  <a:pt x="1611" y="712"/>
                </a:lnTo>
                <a:lnTo>
                  <a:pt x="1616" y="709"/>
                </a:lnTo>
                <a:lnTo>
                  <a:pt x="1622" y="709"/>
                </a:lnTo>
                <a:lnTo>
                  <a:pt x="1628" y="709"/>
                </a:lnTo>
                <a:lnTo>
                  <a:pt x="1634" y="697"/>
                </a:lnTo>
                <a:lnTo>
                  <a:pt x="1645" y="694"/>
                </a:lnTo>
                <a:lnTo>
                  <a:pt x="1648" y="694"/>
                </a:lnTo>
                <a:lnTo>
                  <a:pt x="1651" y="694"/>
                </a:lnTo>
                <a:lnTo>
                  <a:pt x="1654" y="692"/>
                </a:lnTo>
                <a:lnTo>
                  <a:pt x="1648" y="692"/>
                </a:lnTo>
                <a:lnTo>
                  <a:pt x="1642" y="686"/>
                </a:lnTo>
                <a:lnTo>
                  <a:pt x="1634" y="680"/>
                </a:lnTo>
                <a:lnTo>
                  <a:pt x="1628" y="677"/>
                </a:lnTo>
                <a:lnTo>
                  <a:pt x="1628" y="671"/>
                </a:lnTo>
                <a:lnTo>
                  <a:pt x="1631" y="666"/>
                </a:lnTo>
                <a:lnTo>
                  <a:pt x="1636" y="663"/>
                </a:lnTo>
                <a:lnTo>
                  <a:pt x="1639" y="663"/>
                </a:lnTo>
                <a:lnTo>
                  <a:pt x="1648" y="654"/>
                </a:lnTo>
                <a:lnTo>
                  <a:pt x="1654" y="648"/>
                </a:lnTo>
                <a:lnTo>
                  <a:pt x="1651" y="640"/>
                </a:lnTo>
                <a:lnTo>
                  <a:pt x="1645" y="634"/>
                </a:lnTo>
                <a:lnTo>
                  <a:pt x="1651" y="620"/>
                </a:lnTo>
                <a:lnTo>
                  <a:pt x="1659" y="620"/>
                </a:lnTo>
                <a:lnTo>
                  <a:pt x="1659" y="614"/>
                </a:lnTo>
                <a:lnTo>
                  <a:pt x="1659" y="600"/>
                </a:lnTo>
                <a:lnTo>
                  <a:pt x="1662" y="605"/>
                </a:lnTo>
                <a:lnTo>
                  <a:pt x="1662" y="608"/>
                </a:lnTo>
                <a:lnTo>
                  <a:pt x="1668" y="605"/>
                </a:lnTo>
                <a:lnTo>
                  <a:pt x="1671" y="611"/>
                </a:lnTo>
                <a:lnTo>
                  <a:pt x="1679" y="614"/>
                </a:lnTo>
                <a:lnTo>
                  <a:pt x="1682" y="614"/>
                </a:lnTo>
                <a:lnTo>
                  <a:pt x="1685" y="614"/>
                </a:lnTo>
                <a:lnTo>
                  <a:pt x="1700" y="611"/>
                </a:lnTo>
                <a:lnTo>
                  <a:pt x="1705" y="605"/>
                </a:lnTo>
                <a:lnTo>
                  <a:pt x="1708" y="600"/>
                </a:lnTo>
                <a:lnTo>
                  <a:pt x="1714" y="582"/>
                </a:lnTo>
                <a:lnTo>
                  <a:pt x="1717" y="565"/>
                </a:lnTo>
                <a:lnTo>
                  <a:pt x="1723" y="554"/>
                </a:lnTo>
                <a:lnTo>
                  <a:pt x="1725" y="545"/>
                </a:lnTo>
                <a:lnTo>
                  <a:pt x="1723" y="531"/>
                </a:lnTo>
                <a:lnTo>
                  <a:pt x="1723" y="525"/>
                </a:lnTo>
                <a:lnTo>
                  <a:pt x="1723" y="519"/>
                </a:lnTo>
                <a:lnTo>
                  <a:pt x="1723" y="516"/>
                </a:lnTo>
                <a:lnTo>
                  <a:pt x="1728" y="505"/>
                </a:lnTo>
                <a:lnTo>
                  <a:pt x="1725" y="502"/>
                </a:lnTo>
                <a:lnTo>
                  <a:pt x="1723" y="493"/>
                </a:lnTo>
                <a:lnTo>
                  <a:pt x="1720" y="485"/>
                </a:lnTo>
                <a:lnTo>
                  <a:pt x="1720" y="482"/>
                </a:lnTo>
                <a:lnTo>
                  <a:pt x="1714" y="476"/>
                </a:lnTo>
                <a:lnTo>
                  <a:pt x="1714" y="470"/>
                </a:lnTo>
                <a:lnTo>
                  <a:pt x="1711" y="468"/>
                </a:lnTo>
                <a:lnTo>
                  <a:pt x="1708" y="465"/>
                </a:lnTo>
                <a:lnTo>
                  <a:pt x="1702" y="462"/>
                </a:lnTo>
                <a:lnTo>
                  <a:pt x="1702" y="459"/>
                </a:lnTo>
                <a:lnTo>
                  <a:pt x="1700" y="450"/>
                </a:lnTo>
                <a:lnTo>
                  <a:pt x="1700" y="439"/>
                </a:lnTo>
                <a:lnTo>
                  <a:pt x="1694" y="430"/>
                </a:lnTo>
                <a:lnTo>
                  <a:pt x="1685" y="425"/>
                </a:lnTo>
                <a:lnTo>
                  <a:pt x="1679" y="419"/>
                </a:lnTo>
                <a:lnTo>
                  <a:pt x="1679" y="413"/>
                </a:lnTo>
                <a:lnTo>
                  <a:pt x="1671" y="410"/>
                </a:lnTo>
                <a:lnTo>
                  <a:pt x="1662" y="404"/>
                </a:lnTo>
                <a:lnTo>
                  <a:pt x="1654" y="399"/>
                </a:lnTo>
                <a:lnTo>
                  <a:pt x="1648" y="396"/>
                </a:lnTo>
                <a:lnTo>
                  <a:pt x="1642" y="396"/>
                </a:lnTo>
                <a:lnTo>
                  <a:pt x="1642" y="393"/>
                </a:lnTo>
                <a:lnTo>
                  <a:pt x="1636" y="390"/>
                </a:lnTo>
                <a:lnTo>
                  <a:pt x="1631" y="390"/>
                </a:lnTo>
                <a:lnTo>
                  <a:pt x="1622" y="393"/>
                </a:lnTo>
                <a:lnTo>
                  <a:pt x="1625" y="399"/>
                </a:lnTo>
                <a:lnTo>
                  <a:pt x="1625" y="404"/>
                </a:lnTo>
                <a:lnTo>
                  <a:pt x="1619" y="407"/>
                </a:lnTo>
                <a:lnTo>
                  <a:pt x="1616" y="407"/>
                </a:lnTo>
                <a:lnTo>
                  <a:pt x="1616" y="402"/>
                </a:lnTo>
                <a:lnTo>
                  <a:pt x="1605" y="402"/>
                </a:lnTo>
                <a:lnTo>
                  <a:pt x="1602" y="402"/>
                </a:lnTo>
                <a:lnTo>
                  <a:pt x="1596" y="393"/>
                </a:lnTo>
                <a:lnTo>
                  <a:pt x="1593" y="390"/>
                </a:lnTo>
                <a:lnTo>
                  <a:pt x="1590" y="390"/>
                </a:lnTo>
                <a:lnTo>
                  <a:pt x="1579" y="387"/>
                </a:lnTo>
                <a:lnTo>
                  <a:pt x="1570" y="387"/>
                </a:lnTo>
                <a:lnTo>
                  <a:pt x="1565" y="384"/>
                </a:lnTo>
                <a:lnTo>
                  <a:pt x="1565" y="381"/>
                </a:lnTo>
                <a:lnTo>
                  <a:pt x="1565" y="379"/>
                </a:lnTo>
                <a:lnTo>
                  <a:pt x="1570" y="376"/>
                </a:lnTo>
                <a:lnTo>
                  <a:pt x="1570" y="373"/>
                </a:lnTo>
                <a:lnTo>
                  <a:pt x="1573" y="370"/>
                </a:lnTo>
                <a:lnTo>
                  <a:pt x="1576" y="367"/>
                </a:lnTo>
                <a:lnTo>
                  <a:pt x="1579" y="364"/>
                </a:lnTo>
                <a:lnTo>
                  <a:pt x="1582" y="356"/>
                </a:lnTo>
                <a:lnTo>
                  <a:pt x="1585" y="344"/>
                </a:lnTo>
                <a:lnTo>
                  <a:pt x="1588" y="336"/>
                </a:lnTo>
                <a:lnTo>
                  <a:pt x="1590" y="330"/>
                </a:lnTo>
                <a:lnTo>
                  <a:pt x="1593" y="327"/>
                </a:lnTo>
                <a:lnTo>
                  <a:pt x="1590" y="321"/>
                </a:lnTo>
                <a:lnTo>
                  <a:pt x="1596" y="315"/>
                </a:lnTo>
                <a:lnTo>
                  <a:pt x="1596" y="307"/>
                </a:lnTo>
                <a:lnTo>
                  <a:pt x="1599" y="307"/>
                </a:lnTo>
                <a:lnTo>
                  <a:pt x="1605" y="304"/>
                </a:lnTo>
                <a:lnTo>
                  <a:pt x="1622" y="301"/>
                </a:lnTo>
                <a:lnTo>
                  <a:pt x="1636" y="301"/>
                </a:lnTo>
                <a:lnTo>
                  <a:pt x="1639" y="304"/>
                </a:lnTo>
                <a:lnTo>
                  <a:pt x="1642" y="307"/>
                </a:lnTo>
                <a:lnTo>
                  <a:pt x="1651" y="307"/>
                </a:lnTo>
                <a:lnTo>
                  <a:pt x="1648" y="301"/>
                </a:lnTo>
                <a:lnTo>
                  <a:pt x="1654" y="301"/>
                </a:lnTo>
                <a:lnTo>
                  <a:pt x="1659" y="304"/>
                </a:lnTo>
                <a:lnTo>
                  <a:pt x="1662" y="304"/>
                </a:lnTo>
                <a:lnTo>
                  <a:pt x="1668" y="304"/>
                </a:lnTo>
                <a:lnTo>
                  <a:pt x="1671" y="304"/>
                </a:lnTo>
                <a:lnTo>
                  <a:pt x="1671" y="301"/>
                </a:lnTo>
                <a:lnTo>
                  <a:pt x="1674" y="301"/>
                </a:lnTo>
                <a:lnTo>
                  <a:pt x="1677" y="304"/>
                </a:lnTo>
                <a:lnTo>
                  <a:pt x="1682" y="304"/>
                </a:lnTo>
                <a:lnTo>
                  <a:pt x="1685" y="304"/>
                </a:lnTo>
                <a:lnTo>
                  <a:pt x="1685" y="298"/>
                </a:lnTo>
                <a:lnTo>
                  <a:pt x="1682" y="295"/>
                </a:lnTo>
                <a:lnTo>
                  <a:pt x="1688" y="295"/>
                </a:lnTo>
                <a:lnTo>
                  <a:pt x="1691" y="292"/>
                </a:lnTo>
                <a:lnTo>
                  <a:pt x="1700" y="298"/>
                </a:lnTo>
                <a:lnTo>
                  <a:pt x="1705" y="298"/>
                </a:lnTo>
                <a:lnTo>
                  <a:pt x="1708" y="298"/>
                </a:lnTo>
                <a:lnTo>
                  <a:pt x="1720" y="298"/>
                </a:lnTo>
                <a:lnTo>
                  <a:pt x="1725" y="301"/>
                </a:lnTo>
                <a:lnTo>
                  <a:pt x="1731" y="301"/>
                </a:lnTo>
                <a:lnTo>
                  <a:pt x="1725" y="304"/>
                </a:lnTo>
                <a:lnTo>
                  <a:pt x="1717" y="304"/>
                </a:lnTo>
                <a:lnTo>
                  <a:pt x="1720" y="307"/>
                </a:lnTo>
                <a:lnTo>
                  <a:pt x="1725" y="310"/>
                </a:lnTo>
                <a:lnTo>
                  <a:pt x="1740" y="310"/>
                </a:lnTo>
                <a:lnTo>
                  <a:pt x="1743" y="310"/>
                </a:lnTo>
                <a:lnTo>
                  <a:pt x="1748" y="307"/>
                </a:lnTo>
                <a:lnTo>
                  <a:pt x="1751" y="304"/>
                </a:lnTo>
                <a:lnTo>
                  <a:pt x="1754" y="307"/>
                </a:lnTo>
                <a:lnTo>
                  <a:pt x="1760" y="307"/>
                </a:lnTo>
                <a:lnTo>
                  <a:pt x="1763" y="307"/>
                </a:lnTo>
                <a:lnTo>
                  <a:pt x="1768" y="307"/>
                </a:lnTo>
                <a:lnTo>
                  <a:pt x="1771" y="301"/>
                </a:lnTo>
                <a:lnTo>
                  <a:pt x="1766" y="298"/>
                </a:lnTo>
                <a:lnTo>
                  <a:pt x="1760" y="298"/>
                </a:lnTo>
                <a:lnTo>
                  <a:pt x="1754" y="298"/>
                </a:lnTo>
                <a:lnTo>
                  <a:pt x="1748" y="292"/>
                </a:lnTo>
                <a:lnTo>
                  <a:pt x="1748" y="284"/>
                </a:lnTo>
                <a:lnTo>
                  <a:pt x="1751" y="281"/>
                </a:lnTo>
                <a:lnTo>
                  <a:pt x="1754" y="272"/>
                </a:lnTo>
                <a:lnTo>
                  <a:pt x="1754" y="270"/>
                </a:lnTo>
                <a:lnTo>
                  <a:pt x="1751" y="264"/>
                </a:lnTo>
                <a:lnTo>
                  <a:pt x="1751" y="261"/>
                </a:lnTo>
                <a:lnTo>
                  <a:pt x="1754" y="258"/>
                </a:lnTo>
                <a:lnTo>
                  <a:pt x="1757" y="258"/>
                </a:lnTo>
                <a:lnTo>
                  <a:pt x="1771" y="258"/>
                </a:lnTo>
                <a:lnTo>
                  <a:pt x="1774" y="255"/>
                </a:lnTo>
                <a:lnTo>
                  <a:pt x="1777" y="255"/>
                </a:lnTo>
                <a:lnTo>
                  <a:pt x="1780" y="255"/>
                </a:lnTo>
                <a:lnTo>
                  <a:pt x="1783" y="258"/>
                </a:lnTo>
                <a:lnTo>
                  <a:pt x="1786" y="261"/>
                </a:lnTo>
                <a:lnTo>
                  <a:pt x="1791" y="255"/>
                </a:lnTo>
                <a:lnTo>
                  <a:pt x="1794" y="264"/>
                </a:lnTo>
                <a:lnTo>
                  <a:pt x="1800" y="270"/>
                </a:lnTo>
                <a:lnTo>
                  <a:pt x="1803" y="272"/>
                </a:lnTo>
                <a:lnTo>
                  <a:pt x="1806" y="270"/>
                </a:lnTo>
                <a:lnTo>
                  <a:pt x="1812" y="272"/>
                </a:lnTo>
                <a:lnTo>
                  <a:pt x="1814" y="278"/>
                </a:lnTo>
                <a:lnTo>
                  <a:pt x="1817" y="278"/>
                </a:lnTo>
                <a:lnTo>
                  <a:pt x="1820" y="278"/>
                </a:lnTo>
                <a:lnTo>
                  <a:pt x="1823" y="272"/>
                </a:lnTo>
                <a:lnTo>
                  <a:pt x="1823" y="267"/>
                </a:lnTo>
                <a:lnTo>
                  <a:pt x="1823" y="264"/>
                </a:lnTo>
                <a:lnTo>
                  <a:pt x="1826" y="261"/>
                </a:lnTo>
                <a:lnTo>
                  <a:pt x="1834" y="261"/>
                </a:lnTo>
                <a:lnTo>
                  <a:pt x="1834" y="258"/>
                </a:lnTo>
                <a:lnTo>
                  <a:pt x="1829" y="255"/>
                </a:lnTo>
                <a:lnTo>
                  <a:pt x="1823" y="249"/>
                </a:lnTo>
                <a:lnTo>
                  <a:pt x="1823" y="244"/>
                </a:lnTo>
                <a:lnTo>
                  <a:pt x="1829" y="241"/>
                </a:lnTo>
                <a:lnTo>
                  <a:pt x="1834" y="244"/>
                </a:lnTo>
                <a:lnTo>
                  <a:pt x="1834" y="249"/>
                </a:lnTo>
                <a:lnTo>
                  <a:pt x="1843" y="255"/>
                </a:lnTo>
                <a:lnTo>
                  <a:pt x="1846" y="261"/>
                </a:lnTo>
                <a:lnTo>
                  <a:pt x="1849" y="264"/>
                </a:lnTo>
                <a:lnTo>
                  <a:pt x="1852" y="264"/>
                </a:lnTo>
                <a:lnTo>
                  <a:pt x="1855" y="272"/>
                </a:lnTo>
                <a:lnTo>
                  <a:pt x="1852" y="275"/>
                </a:lnTo>
                <a:lnTo>
                  <a:pt x="1843" y="284"/>
                </a:lnTo>
                <a:lnTo>
                  <a:pt x="1846" y="287"/>
                </a:lnTo>
                <a:lnTo>
                  <a:pt x="1840" y="298"/>
                </a:lnTo>
                <a:lnTo>
                  <a:pt x="1840" y="304"/>
                </a:lnTo>
                <a:lnTo>
                  <a:pt x="1843" y="310"/>
                </a:lnTo>
                <a:lnTo>
                  <a:pt x="1840" y="321"/>
                </a:lnTo>
                <a:lnTo>
                  <a:pt x="1837" y="327"/>
                </a:lnTo>
                <a:lnTo>
                  <a:pt x="1832" y="324"/>
                </a:lnTo>
                <a:lnTo>
                  <a:pt x="1832" y="330"/>
                </a:lnTo>
                <a:lnTo>
                  <a:pt x="1826" y="330"/>
                </a:lnTo>
                <a:lnTo>
                  <a:pt x="1823" y="330"/>
                </a:lnTo>
                <a:lnTo>
                  <a:pt x="1829" y="333"/>
                </a:lnTo>
                <a:lnTo>
                  <a:pt x="1832" y="336"/>
                </a:lnTo>
                <a:lnTo>
                  <a:pt x="1832" y="338"/>
                </a:lnTo>
                <a:lnTo>
                  <a:pt x="1832" y="341"/>
                </a:lnTo>
                <a:lnTo>
                  <a:pt x="1829" y="350"/>
                </a:lnTo>
                <a:lnTo>
                  <a:pt x="1832" y="356"/>
                </a:lnTo>
                <a:lnTo>
                  <a:pt x="1843" y="367"/>
                </a:lnTo>
                <a:lnTo>
                  <a:pt x="1860" y="384"/>
                </a:lnTo>
                <a:lnTo>
                  <a:pt x="1878" y="399"/>
                </a:lnTo>
                <a:lnTo>
                  <a:pt x="1895" y="416"/>
                </a:lnTo>
                <a:lnTo>
                  <a:pt x="1926" y="445"/>
                </a:lnTo>
                <a:lnTo>
                  <a:pt x="1938" y="453"/>
                </a:lnTo>
                <a:lnTo>
                  <a:pt x="1941" y="456"/>
                </a:lnTo>
                <a:lnTo>
                  <a:pt x="1944" y="450"/>
                </a:lnTo>
                <a:lnTo>
                  <a:pt x="1944" y="445"/>
                </a:lnTo>
                <a:lnTo>
                  <a:pt x="1946" y="436"/>
                </a:lnTo>
                <a:lnTo>
                  <a:pt x="1944" y="427"/>
                </a:lnTo>
                <a:lnTo>
                  <a:pt x="1938" y="419"/>
                </a:lnTo>
                <a:lnTo>
                  <a:pt x="1941" y="416"/>
                </a:lnTo>
                <a:lnTo>
                  <a:pt x="1944" y="413"/>
                </a:lnTo>
                <a:lnTo>
                  <a:pt x="1952" y="416"/>
                </a:lnTo>
                <a:lnTo>
                  <a:pt x="1952" y="413"/>
                </a:lnTo>
                <a:lnTo>
                  <a:pt x="1946" y="407"/>
                </a:lnTo>
                <a:lnTo>
                  <a:pt x="1941" y="404"/>
                </a:lnTo>
                <a:lnTo>
                  <a:pt x="1935" y="399"/>
                </a:lnTo>
                <a:lnTo>
                  <a:pt x="1938" y="390"/>
                </a:lnTo>
                <a:lnTo>
                  <a:pt x="1944" y="390"/>
                </a:lnTo>
                <a:lnTo>
                  <a:pt x="1952" y="390"/>
                </a:lnTo>
                <a:lnTo>
                  <a:pt x="1952" y="387"/>
                </a:lnTo>
                <a:lnTo>
                  <a:pt x="1952" y="381"/>
                </a:lnTo>
                <a:lnTo>
                  <a:pt x="1941" y="376"/>
                </a:lnTo>
                <a:lnTo>
                  <a:pt x="1932" y="370"/>
                </a:lnTo>
                <a:lnTo>
                  <a:pt x="1932" y="364"/>
                </a:lnTo>
                <a:lnTo>
                  <a:pt x="1929" y="361"/>
                </a:lnTo>
                <a:lnTo>
                  <a:pt x="1932" y="359"/>
                </a:lnTo>
                <a:lnTo>
                  <a:pt x="1938" y="359"/>
                </a:lnTo>
                <a:lnTo>
                  <a:pt x="1944" y="359"/>
                </a:lnTo>
                <a:lnTo>
                  <a:pt x="1944" y="356"/>
                </a:lnTo>
                <a:lnTo>
                  <a:pt x="1941" y="353"/>
                </a:lnTo>
                <a:lnTo>
                  <a:pt x="1938" y="353"/>
                </a:lnTo>
                <a:lnTo>
                  <a:pt x="1932" y="350"/>
                </a:lnTo>
                <a:lnTo>
                  <a:pt x="1926" y="347"/>
                </a:lnTo>
                <a:lnTo>
                  <a:pt x="1921" y="344"/>
                </a:lnTo>
                <a:lnTo>
                  <a:pt x="1918" y="341"/>
                </a:lnTo>
                <a:lnTo>
                  <a:pt x="1915" y="341"/>
                </a:lnTo>
                <a:lnTo>
                  <a:pt x="1915" y="338"/>
                </a:lnTo>
                <a:lnTo>
                  <a:pt x="1915" y="330"/>
                </a:lnTo>
                <a:lnTo>
                  <a:pt x="1906" y="327"/>
                </a:lnTo>
                <a:lnTo>
                  <a:pt x="1898" y="327"/>
                </a:lnTo>
                <a:lnTo>
                  <a:pt x="1892" y="327"/>
                </a:lnTo>
                <a:lnTo>
                  <a:pt x="1889" y="324"/>
                </a:lnTo>
                <a:lnTo>
                  <a:pt x="1886" y="318"/>
                </a:lnTo>
                <a:lnTo>
                  <a:pt x="1883" y="313"/>
                </a:lnTo>
                <a:lnTo>
                  <a:pt x="1886" y="310"/>
                </a:lnTo>
                <a:lnTo>
                  <a:pt x="1886" y="304"/>
                </a:lnTo>
                <a:lnTo>
                  <a:pt x="1883" y="301"/>
                </a:lnTo>
                <a:lnTo>
                  <a:pt x="1880" y="295"/>
                </a:lnTo>
                <a:lnTo>
                  <a:pt x="1880" y="287"/>
                </a:lnTo>
                <a:lnTo>
                  <a:pt x="1889" y="292"/>
                </a:lnTo>
                <a:lnTo>
                  <a:pt x="1898" y="292"/>
                </a:lnTo>
                <a:lnTo>
                  <a:pt x="1895" y="287"/>
                </a:lnTo>
                <a:lnTo>
                  <a:pt x="1895" y="284"/>
                </a:lnTo>
                <a:lnTo>
                  <a:pt x="1898" y="281"/>
                </a:lnTo>
                <a:lnTo>
                  <a:pt x="1901" y="281"/>
                </a:lnTo>
                <a:lnTo>
                  <a:pt x="1903" y="284"/>
                </a:lnTo>
                <a:lnTo>
                  <a:pt x="1906" y="287"/>
                </a:lnTo>
                <a:lnTo>
                  <a:pt x="1912" y="292"/>
                </a:lnTo>
                <a:lnTo>
                  <a:pt x="1915" y="292"/>
                </a:lnTo>
                <a:lnTo>
                  <a:pt x="1915" y="287"/>
                </a:lnTo>
                <a:lnTo>
                  <a:pt x="1918" y="284"/>
                </a:lnTo>
                <a:lnTo>
                  <a:pt x="1929" y="278"/>
                </a:lnTo>
                <a:lnTo>
                  <a:pt x="1935" y="278"/>
                </a:lnTo>
                <a:lnTo>
                  <a:pt x="1941" y="281"/>
                </a:lnTo>
                <a:lnTo>
                  <a:pt x="1952" y="287"/>
                </a:lnTo>
                <a:lnTo>
                  <a:pt x="1967" y="292"/>
                </a:lnTo>
                <a:lnTo>
                  <a:pt x="1967" y="287"/>
                </a:lnTo>
                <a:lnTo>
                  <a:pt x="1964" y="281"/>
                </a:lnTo>
                <a:lnTo>
                  <a:pt x="1969" y="278"/>
                </a:lnTo>
                <a:lnTo>
                  <a:pt x="1969" y="275"/>
                </a:lnTo>
                <a:lnTo>
                  <a:pt x="1972" y="270"/>
                </a:lnTo>
                <a:lnTo>
                  <a:pt x="1978" y="261"/>
                </a:lnTo>
                <a:lnTo>
                  <a:pt x="1984" y="258"/>
                </a:lnTo>
                <a:lnTo>
                  <a:pt x="1989" y="252"/>
                </a:lnTo>
                <a:lnTo>
                  <a:pt x="1995" y="249"/>
                </a:lnTo>
                <a:lnTo>
                  <a:pt x="2001" y="244"/>
                </a:lnTo>
                <a:lnTo>
                  <a:pt x="2010" y="244"/>
                </a:lnTo>
                <a:lnTo>
                  <a:pt x="2024" y="247"/>
                </a:lnTo>
                <a:lnTo>
                  <a:pt x="2035" y="249"/>
                </a:lnTo>
                <a:lnTo>
                  <a:pt x="2033" y="238"/>
                </a:lnTo>
                <a:lnTo>
                  <a:pt x="2024" y="235"/>
                </a:lnTo>
                <a:lnTo>
                  <a:pt x="2018" y="232"/>
                </a:lnTo>
                <a:lnTo>
                  <a:pt x="2012" y="229"/>
                </a:lnTo>
                <a:lnTo>
                  <a:pt x="2001" y="226"/>
                </a:lnTo>
                <a:lnTo>
                  <a:pt x="1989" y="218"/>
                </a:lnTo>
                <a:lnTo>
                  <a:pt x="1981" y="212"/>
                </a:lnTo>
                <a:lnTo>
                  <a:pt x="1978" y="212"/>
                </a:lnTo>
                <a:lnTo>
                  <a:pt x="1969" y="212"/>
                </a:lnTo>
                <a:lnTo>
                  <a:pt x="1961" y="206"/>
                </a:lnTo>
                <a:lnTo>
                  <a:pt x="1955" y="203"/>
                </a:lnTo>
                <a:lnTo>
                  <a:pt x="1944" y="203"/>
                </a:lnTo>
                <a:lnTo>
                  <a:pt x="1935" y="201"/>
                </a:lnTo>
                <a:lnTo>
                  <a:pt x="1946" y="201"/>
                </a:lnTo>
                <a:lnTo>
                  <a:pt x="1955" y="203"/>
                </a:lnTo>
                <a:lnTo>
                  <a:pt x="1964" y="206"/>
                </a:lnTo>
                <a:lnTo>
                  <a:pt x="1975" y="206"/>
                </a:lnTo>
                <a:lnTo>
                  <a:pt x="1981" y="203"/>
                </a:lnTo>
                <a:lnTo>
                  <a:pt x="1984" y="201"/>
                </a:lnTo>
                <a:lnTo>
                  <a:pt x="1984" y="198"/>
                </a:lnTo>
                <a:lnTo>
                  <a:pt x="1984" y="192"/>
                </a:lnTo>
                <a:lnTo>
                  <a:pt x="1981" y="189"/>
                </a:lnTo>
                <a:lnTo>
                  <a:pt x="1969" y="186"/>
                </a:lnTo>
                <a:lnTo>
                  <a:pt x="1961" y="181"/>
                </a:lnTo>
                <a:lnTo>
                  <a:pt x="1967" y="181"/>
                </a:lnTo>
                <a:lnTo>
                  <a:pt x="1969" y="181"/>
                </a:lnTo>
                <a:lnTo>
                  <a:pt x="1978" y="181"/>
                </a:lnTo>
                <a:lnTo>
                  <a:pt x="1981" y="186"/>
                </a:lnTo>
                <a:lnTo>
                  <a:pt x="1992" y="189"/>
                </a:lnTo>
                <a:lnTo>
                  <a:pt x="2001" y="192"/>
                </a:lnTo>
                <a:lnTo>
                  <a:pt x="2010" y="192"/>
                </a:lnTo>
                <a:lnTo>
                  <a:pt x="2015" y="192"/>
                </a:lnTo>
                <a:lnTo>
                  <a:pt x="2024" y="192"/>
                </a:lnTo>
                <a:lnTo>
                  <a:pt x="2041" y="203"/>
                </a:lnTo>
                <a:lnTo>
                  <a:pt x="2050" y="203"/>
                </a:lnTo>
                <a:lnTo>
                  <a:pt x="2058" y="206"/>
                </a:lnTo>
                <a:lnTo>
                  <a:pt x="2067" y="206"/>
                </a:lnTo>
                <a:lnTo>
                  <a:pt x="2076" y="209"/>
                </a:lnTo>
                <a:lnTo>
                  <a:pt x="2087" y="21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50" name="Freeform 154"/>
          <p:cNvSpPr>
            <a:spLocks/>
          </p:cNvSpPr>
          <p:nvPr/>
        </p:nvSpPr>
        <p:spPr bwMode="gray">
          <a:xfrm>
            <a:off x="8493529" y="2175059"/>
            <a:ext cx="122023" cy="123003"/>
          </a:xfrm>
          <a:custGeom>
            <a:avLst/>
            <a:gdLst>
              <a:gd name="T0" fmla="*/ 2147483647 w 60"/>
              <a:gd name="T1" fmla="*/ 2147483647 h 81"/>
              <a:gd name="T2" fmla="*/ 2147483647 w 60"/>
              <a:gd name="T3" fmla="*/ 2147483647 h 81"/>
              <a:gd name="T4" fmla="*/ 2147483647 w 60"/>
              <a:gd name="T5" fmla="*/ 2147483647 h 81"/>
              <a:gd name="T6" fmla="*/ 2147483647 w 60"/>
              <a:gd name="T7" fmla="*/ 2147483647 h 81"/>
              <a:gd name="T8" fmla="*/ 2147483647 w 60"/>
              <a:gd name="T9" fmla="*/ 2147483647 h 81"/>
              <a:gd name="T10" fmla="*/ 2147483647 w 60"/>
              <a:gd name="T11" fmla="*/ 2147483647 h 81"/>
              <a:gd name="T12" fmla="*/ 2147483647 w 60"/>
              <a:gd name="T13" fmla="*/ 2147483647 h 81"/>
              <a:gd name="T14" fmla="*/ 2147483647 w 60"/>
              <a:gd name="T15" fmla="*/ 2147483647 h 81"/>
              <a:gd name="T16" fmla="*/ 2147483647 w 60"/>
              <a:gd name="T17" fmla="*/ 2147483647 h 81"/>
              <a:gd name="T18" fmla="*/ 2147483647 w 60"/>
              <a:gd name="T19" fmla="*/ 2147483647 h 81"/>
              <a:gd name="T20" fmla="*/ 2147483647 w 60"/>
              <a:gd name="T21" fmla="*/ 2147483647 h 81"/>
              <a:gd name="T22" fmla="*/ 2147483647 w 60"/>
              <a:gd name="T23" fmla="*/ 2147483647 h 81"/>
              <a:gd name="T24" fmla="*/ 2147483647 w 60"/>
              <a:gd name="T25" fmla="*/ 2147483647 h 81"/>
              <a:gd name="T26" fmla="*/ 2147483647 w 60"/>
              <a:gd name="T27" fmla="*/ 2147483647 h 81"/>
              <a:gd name="T28" fmla="*/ 2147483647 w 60"/>
              <a:gd name="T29" fmla="*/ 2147483647 h 81"/>
              <a:gd name="T30" fmla="*/ 2147483647 w 60"/>
              <a:gd name="T31" fmla="*/ 2147483647 h 81"/>
              <a:gd name="T32" fmla="*/ 2147483647 w 60"/>
              <a:gd name="T33" fmla="*/ 2147483647 h 81"/>
              <a:gd name="T34" fmla="*/ 2147483647 w 60"/>
              <a:gd name="T35" fmla="*/ 2147483647 h 81"/>
              <a:gd name="T36" fmla="*/ 2147483647 w 60"/>
              <a:gd name="T37" fmla="*/ 2147483647 h 81"/>
              <a:gd name="T38" fmla="*/ 2147483647 w 60"/>
              <a:gd name="T39" fmla="*/ 2147483647 h 81"/>
              <a:gd name="T40" fmla="*/ 2147483647 w 60"/>
              <a:gd name="T41" fmla="*/ 2147483647 h 81"/>
              <a:gd name="T42" fmla="*/ 2147483647 w 60"/>
              <a:gd name="T43" fmla="*/ 2147483647 h 81"/>
              <a:gd name="T44" fmla="*/ 2147483647 w 60"/>
              <a:gd name="T45" fmla="*/ 2147483647 h 81"/>
              <a:gd name="T46" fmla="*/ 2147483647 w 60"/>
              <a:gd name="T47" fmla="*/ 2147483647 h 81"/>
              <a:gd name="T48" fmla="*/ 2147483647 w 60"/>
              <a:gd name="T49" fmla="*/ 0 h 81"/>
              <a:gd name="T50" fmla="*/ 2147483647 w 60"/>
              <a:gd name="T51" fmla="*/ 0 h 81"/>
              <a:gd name="T52" fmla="*/ 2147483647 w 60"/>
              <a:gd name="T53" fmla="*/ 0 h 81"/>
              <a:gd name="T54" fmla="*/ 2147483647 w 60"/>
              <a:gd name="T55" fmla="*/ 0 h 81"/>
              <a:gd name="T56" fmla="*/ 2147483647 w 60"/>
              <a:gd name="T57" fmla="*/ 2147483647 h 81"/>
              <a:gd name="T58" fmla="*/ 2147483647 w 60"/>
              <a:gd name="T59" fmla="*/ 2147483647 h 81"/>
              <a:gd name="T60" fmla="*/ 2147483647 w 60"/>
              <a:gd name="T61" fmla="*/ 2147483647 h 81"/>
              <a:gd name="T62" fmla="*/ 2147483647 w 60"/>
              <a:gd name="T63" fmla="*/ 2147483647 h 81"/>
              <a:gd name="T64" fmla="*/ 2147483647 w 60"/>
              <a:gd name="T65" fmla="*/ 2147483647 h 81"/>
              <a:gd name="T66" fmla="*/ 2147483647 w 60"/>
              <a:gd name="T67" fmla="*/ 2147483647 h 81"/>
              <a:gd name="T68" fmla="*/ 2147483647 w 60"/>
              <a:gd name="T69" fmla="*/ 2147483647 h 81"/>
              <a:gd name="T70" fmla="*/ 2147483647 w 60"/>
              <a:gd name="T71" fmla="*/ 2147483647 h 81"/>
              <a:gd name="T72" fmla="*/ 2147483647 w 60"/>
              <a:gd name="T73" fmla="*/ 2147483647 h 81"/>
              <a:gd name="T74" fmla="*/ 2147483647 w 60"/>
              <a:gd name="T75" fmla="*/ 2147483647 h 81"/>
              <a:gd name="T76" fmla="*/ 2147483647 w 60"/>
              <a:gd name="T77" fmla="*/ 2147483647 h 81"/>
              <a:gd name="T78" fmla="*/ 2147483647 w 60"/>
              <a:gd name="T79" fmla="*/ 2147483647 h 81"/>
              <a:gd name="T80" fmla="*/ 2147483647 w 60"/>
              <a:gd name="T81" fmla="*/ 2147483647 h 81"/>
              <a:gd name="T82" fmla="*/ 2147483647 w 60"/>
              <a:gd name="T83" fmla="*/ 2147483647 h 81"/>
              <a:gd name="T84" fmla="*/ 2147483647 w 60"/>
              <a:gd name="T85" fmla="*/ 2147483647 h 81"/>
              <a:gd name="T86" fmla="*/ 2147483647 w 60"/>
              <a:gd name="T87" fmla="*/ 2147483647 h 81"/>
              <a:gd name="T88" fmla="*/ 2147483647 w 60"/>
              <a:gd name="T89" fmla="*/ 2147483647 h 81"/>
              <a:gd name="T90" fmla="*/ 0 w 60"/>
              <a:gd name="T91" fmla="*/ 2147483647 h 81"/>
              <a:gd name="T92" fmla="*/ 0 w 60"/>
              <a:gd name="T93" fmla="*/ 2147483647 h 81"/>
              <a:gd name="T94" fmla="*/ 2147483647 w 60"/>
              <a:gd name="T95" fmla="*/ 2147483647 h 81"/>
              <a:gd name="T96" fmla="*/ 2147483647 w 60"/>
              <a:gd name="T97" fmla="*/ 2147483647 h 8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60"/>
              <a:gd name="T148" fmla="*/ 0 h 81"/>
              <a:gd name="T149" fmla="*/ 60 w 60"/>
              <a:gd name="T150" fmla="*/ 81 h 81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60" h="81">
                <a:moveTo>
                  <a:pt x="11" y="72"/>
                </a:moveTo>
                <a:lnTo>
                  <a:pt x="11" y="72"/>
                </a:lnTo>
                <a:lnTo>
                  <a:pt x="17" y="72"/>
                </a:lnTo>
                <a:lnTo>
                  <a:pt x="20" y="69"/>
                </a:lnTo>
                <a:lnTo>
                  <a:pt x="25" y="63"/>
                </a:lnTo>
                <a:lnTo>
                  <a:pt x="31" y="55"/>
                </a:lnTo>
                <a:lnTo>
                  <a:pt x="31" y="52"/>
                </a:lnTo>
                <a:lnTo>
                  <a:pt x="31" y="49"/>
                </a:lnTo>
                <a:lnTo>
                  <a:pt x="34" y="46"/>
                </a:lnTo>
                <a:lnTo>
                  <a:pt x="37" y="43"/>
                </a:lnTo>
                <a:lnTo>
                  <a:pt x="37" y="37"/>
                </a:lnTo>
                <a:lnTo>
                  <a:pt x="40" y="35"/>
                </a:lnTo>
                <a:lnTo>
                  <a:pt x="40" y="29"/>
                </a:lnTo>
                <a:lnTo>
                  <a:pt x="40" y="20"/>
                </a:lnTo>
                <a:lnTo>
                  <a:pt x="40" y="12"/>
                </a:lnTo>
                <a:lnTo>
                  <a:pt x="37" y="6"/>
                </a:lnTo>
                <a:lnTo>
                  <a:pt x="37" y="0"/>
                </a:lnTo>
                <a:lnTo>
                  <a:pt x="40" y="0"/>
                </a:lnTo>
                <a:lnTo>
                  <a:pt x="43" y="0"/>
                </a:lnTo>
                <a:lnTo>
                  <a:pt x="48" y="12"/>
                </a:lnTo>
                <a:lnTo>
                  <a:pt x="51" y="23"/>
                </a:lnTo>
                <a:lnTo>
                  <a:pt x="60" y="32"/>
                </a:lnTo>
                <a:lnTo>
                  <a:pt x="57" y="35"/>
                </a:lnTo>
                <a:lnTo>
                  <a:pt x="51" y="35"/>
                </a:lnTo>
                <a:lnTo>
                  <a:pt x="54" y="40"/>
                </a:lnTo>
                <a:lnTo>
                  <a:pt x="57" y="40"/>
                </a:lnTo>
                <a:lnTo>
                  <a:pt x="57" y="46"/>
                </a:lnTo>
                <a:lnTo>
                  <a:pt x="54" y="46"/>
                </a:lnTo>
                <a:lnTo>
                  <a:pt x="54" y="49"/>
                </a:lnTo>
                <a:lnTo>
                  <a:pt x="48" y="58"/>
                </a:lnTo>
                <a:lnTo>
                  <a:pt x="43" y="58"/>
                </a:lnTo>
                <a:lnTo>
                  <a:pt x="37" y="63"/>
                </a:lnTo>
                <a:lnTo>
                  <a:pt x="28" y="63"/>
                </a:lnTo>
                <a:lnTo>
                  <a:pt x="31" y="75"/>
                </a:lnTo>
                <a:lnTo>
                  <a:pt x="23" y="78"/>
                </a:lnTo>
                <a:lnTo>
                  <a:pt x="8" y="81"/>
                </a:lnTo>
                <a:lnTo>
                  <a:pt x="0" y="75"/>
                </a:lnTo>
                <a:lnTo>
                  <a:pt x="11" y="7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69" name="Freeform 155"/>
          <p:cNvSpPr>
            <a:spLocks/>
          </p:cNvSpPr>
          <p:nvPr/>
        </p:nvSpPr>
        <p:spPr bwMode="gray">
          <a:xfrm>
            <a:off x="10013804" y="2080557"/>
            <a:ext cx="22005" cy="16500"/>
          </a:xfrm>
          <a:custGeom>
            <a:avLst/>
            <a:gdLst>
              <a:gd name="T0" fmla="*/ 2147483647 w 11"/>
              <a:gd name="T1" fmla="*/ 2147483647 h 11"/>
              <a:gd name="T2" fmla="*/ 2147483647 w 11"/>
              <a:gd name="T3" fmla="*/ 2147483647 h 11"/>
              <a:gd name="T4" fmla="*/ 0 w 11"/>
              <a:gd name="T5" fmla="*/ 2147483647 h 11"/>
              <a:gd name="T6" fmla="*/ 2147483647 w 11"/>
              <a:gd name="T7" fmla="*/ 2147483647 h 11"/>
              <a:gd name="T8" fmla="*/ 2147483647 w 11"/>
              <a:gd name="T9" fmla="*/ 2147483647 h 11"/>
              <a:gd name="T10" fmla="*/ 2147483647 w 11"/>
              <a:gd name="T11" fmla="*/ 2147483647 h 11"/>
              <a:gd name="T12" fmla="*/ 2147483647 w 11"/>
              <a:gd name="T13" fmla="*/ 2147483647 h 11"/>
              <a:gd name="T14" fmla="*/ 2147483647 w 11"/>
              <a:gd name="T15" fmla="*/ 2147483647 h 11"/>
              <a:gd name="T16" fmla="*/ 2147483647 w 11"/>
              <a:gd name="T17" fmla="*/ 2147483647 h 11"/>
              <a:gd name="T18" fmla="*/ 2147483647 w 11"/>
              <a:gd name="T19" fmla="*/ 2147483647 h 11"/>
              <a:gd name="T20" fmla="*/ 2147483647 w 11"/>
              <a:gd name="T21" fmla="*/ 2147483647 h 11"/>
              <a:gd name="T22" fmla="*/ 2147483647 w 11"/>
              <a:gd name="T23" fmla="*/ 2147483647 h 11"/>
              <a:gd name="T24" fmla="*/ 2147483647 w 11"/>
              <a:gd name="T25" fmla="*/ 0 h 11"/>
              <a:gd name="T26" fmla="*/ 2147483647 w 11"/>
              <a:gd name="T27" fmla="*/ 0 h 11"/>
              <a:gd name="T28" fmla="*/ 2147483647 w 11"/>
              <a:gd name="T29" fmla="*/ 0 h 11"/>
              <a:gd name="T30" fmla="*/ 2147483647 w 11"/>
              <a:gd name="T31" fmla="*/ 2147483647 h 11"/>
              <a:gd name="T32" fmla="*/ 2147483647 w 11"/>
              <a:gd name="T33" fmla="*/ 2147483647 h 11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1"/>
              <a:gd name="T52" fmla="*/ 0 h 11"/>
              <a:gd name="T53" fmla="*/ 11 w 11"/>
              <a:gd name="T54" fmla="*/ 11 h 11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1" h="11">
                <a:moveTo>
                  <a:pt x="3" y="3"/>
                </a:moveTo>
                <a:lnTo>
                  <a:pt x="3" y="3"/>
                </a:lnTo>
                <a:lnTo>
                  <a:pt x="0" y="3"/>
                </a:lnTo>
                <a:lnTo>
                  <a:pt x="3" y="9"/>
                </a:lnTo>
                <a:lnTo>
                  <a:pt x="3" y="11"/>
                </a:lnTo>
                <a:lnTo>
                  <a:pt x="5" y="11"/>
                </a:lnTo>
                <a:lnTo>
                  <a:pt x="11" y="9"/>
                </a:lnTo>
                <a:lnTo>
                  <a:pt x="11" y="6"/>
                </a:lnTo>
                <a:lnTo>
                  <a:pt x="11" y="3"/>
                </a:lnTo>
                <a:lnTo>
                  <a:pt x="8" y="0"/>
                </a:lnTo>
                <a:lnTo>
                  <a:pt x="5" y="0"/>
                </a:lnTo>
                <a:lnTo>
                  <a:pt x="3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052" name="Freeform 156"/>
          <p:cNvSpPr>
            <a:spLocks/>
          </p:cNvSpPr>
          <p:nvPr/>
        </p:nvSpPr>
        <p:spPr bwMode="gray">
          <a:xfrm>
            <a:off x="6371148" y="1924553"/>
            <a:ext cx="18003" cy="3000"/>
          </a:xfrm>
          <a:custGeom>
            <a:avLst/>
            <a:gdLst>
              <a:gd name="T0" fmla="*/ 2147483647 w 9"/>
              <a:gd name="T1" fmla="*/ 2147483647 h 2"/>
              <a:gd name="T2" fmla="*/ 2147483647 w 9"/>
              <a:gd name="T3" fmla="*/ 2147483647 h 2"/>
              <a:gd name="T4" fmla="*/ 2147483647 w 9"/>
              <a:gd name="T5" fmla="*/ 2147483647 h 2"/>
              <a:gd name="T6" fmla="*/ 2147483647 w 9"/>
              <a:gd name="T7" fmla="*/ 0 h 2"/>
              <a:gd name="T8" fmla="*/ 2147483647 w 9"/>
              <a:gd name="T9" fmla="*/ 0 h 2"/>
              <a:gd name="T10" fmla="*/ 0 w 9"/>
              <a:gd name="T11" fmla="*/ 0 h 2"/>
              <a:gd name="T12" fmla="*/ 2147483647 w 9"/>
              <a:gd name="T13" fmla="*/ 2147483647 h 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"/>
              <a:gd name="T22" fmla="*/ 0 h 2"/>
              <a:gd name="T23" fmla="*/ 9 w 9"/>
              <a:gd name="T24" fmla="*/ 2 h 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" h="2">
                <a:moveTo>
                  <a:pt x="3" y="2"/>
                </a:moveTo>
                <a:lnTo>
                  <a:pt x="6" y="2"/>
                </a:lnTo>
                <a:lnTo>
                  <a:pt x="9" y="2"/>
                </a:lnTo>
                <a:lnTo>
                  <a:pt x="9" y="0"/>
                </a:lnTo>
                <a:lnTo>
                  <a:pt x="3" y="0"/>
                </a:lnTo>
                <a:lnTo>
                  <a:pt x="0" y="0"/>
                </a:lnTo>
                <a:lnTo>
                  <a:pt x="3" y="2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71" name="Freeform 157"/>
          <p:cNvSpPr>
            <a:spLocks/>
          </p:cNvSpPr>
          <p:nvPr/>
        </p:nvSpPr>
        <p:spPr bwMode="gray">
          <a:xfrm>
            <a:off x="9977797" y="2058056"/>
            <a:ext cx="6002" cy="9000"/>
          </a:xfrm>
          <a:custGeom>
            <a:avLst/>
            <a:gdLst>
              <a:gd name="T0" fmla="*/ 2147483647 w 3"/>
              <a:gd name="T1" fmla="*/ 2147483647 h 5"/>
              <a:gd name="T2" fmla="*/ 2147483647 w 3"/>
              <a:gd name="T3" fmla="*/ 2147483647 h 5"/>
              <a:gd name="T4" fmla="*/ 0 w 3"/>
              <a:gd name="T5" fmla="*/ 0 h 5"/>
              <a:gd name="T6" fmla="*/ 0 w 3"/>
              <a:gd name="T7" fmla="*/ 2147483647 h 5"/>
              <a:gd name="T8" fmla="*/ 2147483647 w 3"/>
              <a:gd name="T9" fmla="*/ 2147483647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5"/>
              <a:gd name="T17" fmla="*/ 3 w 3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5">
                <a:moveTo>
                  <a:pt x="3" y="5"/>
                </a:moveTo>
                <a:lnTo>
                  <a:pt x="3" y="2"/>
                </a:lnTo>
                <a:lnTo>
                  <a:pt x="0" y="0"/>
                </a:lnTo>
                <a:lnTo>
                  <a:pt x="0" y="2"/>
                </a:lnTo>
                <a:lnTo>
                  <a:pt x="3" y="5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054" name="Freeform 158"/>
          <p:cNvSpPr>
            <a:spLocks/>
          </p:cNvSpPr>
          <p:nvPr/>
        </p:nvSpPr>
        <p:spPr bwMode="gray">
          <a:xfrm>
            <a:off x="9849775" y="4141612"/>
            <a:ext cx="52009" cy="16500"/>
          </a:xfrm>
          <a:custGeom>
            <a:avLst/>
            <a:gdLst>
              <a:gd name="T0" fmla="*/ 2147483647 w 26"/>
              <a:gd name="T1" fmla="*/ 2147483647 h 11"/>
              <a:gd name="T2" fmla="*/ 2147483647 w 26"/>
              <a:gd name="T3" fmla="*/ 2147483647 h 11"/>
              <a:gd name="T4" fmla="*/ 2147483647 w 26"/>
              <a:gd name="T5" fmla="*/ 2147483647 h 11"/>
              <a:gd name="T6" fmla="*/ 2147483647 w 26"/>
              <a:gd name="T7" fmla="*/ 2147483647 h 11"/>
              <a:gd name="T8" fmla="*/ 2147483647 w 26"/>
              <a:gd name="T9" fmla="*/ 2147483647 h 11"/>
              <a:gd name="T10" fmla="*/ 2147483647 w 26"/>
              <a:gd name="T11" fmla="*/ 0 h 11"/>
              <a:gd name="T12" fmla="*/ 2147483647 w 26"/>
              <a:gd name="T13" fmla="*/ 2147483647 h 11"/>
              <a:gd name="T14" fmla="*/ 2147483647 w 26"/>
              <a:gd name="T15" fmla="*/ 0 h 11"/>
              <a:gd name="T16" fmla="*/ 2147483647 w 26"/>
              <a:gd name="T17" fmla="*/ 0 h 11"/>
              <a:gd name="T18" fmla="*/ 0 w 26"/>
              <a:gd name="T19" fmla="*/ 2147483647 h 11"/>
              <a:gd name="T20" fmla="*/ 2147483647 w 26"/>
              <a:gd name="T21" fmla="*/ 2147483647 h 11"/>
              <a:gd name="T22" fmla="*/ 2147483647 w 26"/>
              <a:gd name="T23" fmla="*/ 2147483647 h 1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26"/>
              <a:gd name="T37" fmla="*/ 0 h 11"/>
              <a:gd name="T38" fmla="*/ 26 w 26"/>
              <a:gd name="T39" fmla="*/ 11 h 11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26" h="11">
                <a:moveTo>
                  <a:pt x="9" y="8"/>
                </a:moveTo>
                <a:lnTo>
                  <a:pt x="12" y="11"/>
                </a:lnTo>
                <a:lnTo>
                  <a:pt x="17" y="11"/>
                </a:lnTo>
                <a:lnTo>
                  <a:pt x="23" y="6"/>
                </a:lnTo>
                <a:lnTo>
                  <a:pt x="26" y="3"/>
                </a:lnTo>
                <a:lnTo>
                  <a:pt x="20" y="0"/>
                </a:lnTo>
                <a:lnTo>
                  <a:pt x="15" y="3"/>
                </a:lnTo>
                <a:lnTo>
                  <a:pt x="9" y="0"/>
                </a:lnTo>
                <a:lnTo>
                  <a:pt x="3" y="0"/>
                </a:lnTo>
                <a:lnTo>
                  <a:pt x="0" y="11"/>
                </a:lnTo>
                <a:lnTo>
                  <a:pt x="9" y="11"/>
                </a:lnTo>
                <a:lnTo>
                  <a:pt x="9" y="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55" name="Freeform 159"/>
          <p:cNvSpPr>
            <a:spLocks/>
          </p:cNvSpPr>
          <p:nvPr/>
        </p:nvSpPr>
        <p:spPr bwMode="gray">
          <a:xfrm>
            <a:off x="9073635" y="3214587"/>
            <a:ext cx="76014" cy="52501"/>
          </a:xfrm>
          <a:custGeom>
            <a:avLst/>
            <a:gdLst>
              <a:gd name="T0" fmla="*/ 2147483647 w 37"/>
              <a:gd name="T1" fmla="*/ 2147483647 h 35"/>
              <a:gd name="T2" fmla="*/ 2147483647 w 37"/>
              <a:gd name="T3" fmla="*/ 2147483647 h 35"/>
              <a:gd name="T4" fmla="*/ 2147483647 w 37"/>
              <a:gd name="T5" fmla="*/ 0 h 35"/>
              <a:gd name="T6" fmla="*/ 2147483647 w 37"/>
              <a:gd name="T7" fmla="*/ 0 h 35"/>
              <a:gd name="T8" fmla="*/ 2147483647 w 37"/>
              <a:gd name="T9" fmla="*/ 0 h 35"/>
              <a:gd name="T10" fmla="*/ 2147483647 w 37"/>
              <a:gd name="T11" fmla="*/ 0 h 35"/>
              <a:gd name="T12" fmla="*/ 2147483647 w 37"/>
              <a:gd name="T13" fmla="*/ 0 h 35"/>
              <a:gd name="T14" fmla="*/ 2147483647 w 37"/>
              <a:gd name="T15" fmla="*/ 2147483647 h 35"/>
              <a:gd name="T16" fmla="*/ 2147483647 w 37"/>
              <a:gd name="T17" fmla="*/ 2147483647 h 35"/>
              <a:gd name="T18" fmla="*/ 2147483647 w 37"/>
              <a:gd name="T19" fmla="*/ 2147483647 h 35"/>
              <a:gd name="T20" fmla="*/ 2147483647 w 37"/>
              <a:gd name="T21" fmla="*/ 0 h 35"/>
              <a:gd name="T22" fmla="*/ 2147483647 w 37"/>
              <a:gd name="T23" fmla="*/ 0 h 35"/>
              <a:gd name="T24" fmla="*/ 2147483647 w 37"/>
              <a:gd name="T25" fmla="*/ 2147483647 h 35"/>
              <a:gd name="T26" fmla="*/ 2147483647 w 37"/>
              <a:gd name="T27" fmla="*/ 2147483647 h 35"/>
              <a:gd name="T28" fmla="*/ 2147483647 w 37"/>
              <a:gd name="T29" fmla="*/ 2147483647 h 35"/>
              <a:gd name="T30" fmla="*/ 2147483647 w 37"/>
              <a:gd name="T31" fmla="*/ 2147483647 h 35"/>
              <a:gd name="T32" fmla="*/ 2147483647 w 37"/>
              <a:gd name="T33" fmla="*/ 2147483647 h 35"/>
              <a:gd name="T34" fmla="*/ 2147483647 w 37"/>
              <a:gd name="T35" fmla="*/ 2147483647 h 35"/>
              <a:gd name="T36" fmla="*/ 2147483647 w 37"/>
              <a:gd name="T37" fmla="*/ 2147483647 h 35"/>
              <a:gd name="T38" fmla="*/ 2147483647 w 37"/>
              <a:gd name="T39" fmla="*/ 2147483647 h 35"/>
              <a:gd name="T40" fmla="*/ 2147483647 w 37"/>
              <a:gd name="T41" fmla="*/ 2147483647 h 35"/>
              <a:gd name="T42" fmla="*/ 2147483647 w 37"/>
              <a:gd name="T43" fmla="*/ 2147483647 h 35"/>
              <a:gd name="T44" fmla="*/ 0 w 37"/>
              <a:gd name="T45" fmla="*/ 2147483647 h 35"/>
              <a:gd name="T46" fmla="*/ 0 w 37"/>
              <a:gd name="T47" fmla="*/ 2147483647 h 35"/>
              <a:gd name="T48" fmla="*/ 0 w 37"/>
              <a:gd name="T49" fmla="*/ 2147483647 h 35"/>
              <a:gd name="T50" fmla="*/ 0 w 37"/>
              <a:gd name="T51" fmla="*/ 2147483647 h 35"/>
              <a:gd name="T52" fmla="*/ 2147483647 w 37"/>
              <a:gd name="T53" fmla="*/ 2147483647 h 35"/>
              <a:gd name="T54" fmla="*/ 2147483647 w 37"/>
              <a:gd name="T55" fmla="*/ 2147483647 h 35"/>
              <a:gd name="T56" fmla="*/ 2147483647 w 37"/>
              <a:gd name="T57" fmla="*/ 2147483647 h 35"/>
              <a:gd name="T58" fmla="*/ 2147483647 w 37"/>
              <a:gd name="T59" fmla="*/ 2147483647 h 35"/>
              <a:gd name="T60" fmla="*/ 2147483647 w 37"/>
              <a:gd name="T61" fmla="*/ 2147483647 h 35"/>
              <a:gd name="T62" fmla="*/ 2147483647 w 37"/>
              <a:gd name="T63" fmla="*/ 2147483647 h 35"/>
              <a:gd name="T64" fmla="*/ 2147483647 w 37"/>
              <a:gd name="T65" fmla="*/ 2147483647 h 35"/>
              <a:gd name="T66" fmla="*/ 2147483647 w 37"/>
              <a:gd name="T67" fmla="*/ 2147483647 h 35"/>
              <a:gd name="T68" fmla="*/ 2147483647 w 37"/>
              <a:gd name="T69" fmla="*/ 2147483647 h 35"/>
              <a:gd name="T70" fmla="*/ 2147483647 w 37"/>
              <a:gd name="T71" fmla="*/ 2147483647 h 35"/>
              <a:gd name="T72" fmla="*/ 2147483647 w 37"/>
              <a:gd name="T73" fmla="*/ 2147483647 h 35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37"/>
              <a:gd name="T112" fmla="*/ 0 h 35"/>
              <a:gd name="T113" fmla="*/ 37 w 37"/>
              <a:gd name="T114" fmla="*/ 35 h 35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37" h="35">
                <a:moveTo>
                  <a:pt x="37" y="12"/>
                </a:moveTo>
                <a:lnTo>
                  <a:pt x="37" y="6"/>
                </a:lnTo>
                <a:lnTo>
                  <a:pt x="34" y="0"/>
                </a:lnTo>
                <a:lnTo>
                  <a:pt x="28" y="0"/>
                </a:lnTo>
                <a:lnTo>
                  <a:pt x="23" y="0"/>
                </a:lnTo>
                <a:lnTo>
                  <a:pt x="23" y="3"/>
                </a:lnTo>
                <a:lnTo>
                  <a:pt x="20" y="3"/>
                </a:lnTo>
                <a:lnTo>
                  <a:pt x="14" y="0"/>
                </a:lnTo>
                <a:lnTo>
                  <a:pt x="11" y="0"/>
                </a:lnTo>
                <a:lnTo>
                  <a:pt x="11" y="3"/>
                </a:lnTo>
                <a:lnTo>
                  <a:pt x="8" y="3"/>
                </a:lnTo>
                <a:lnTo>
                  <a:pt x="8" y="6"/>
                </a:lnTo>
                <a:lnTo>
                  <a:pt x="5" y="9"/>
                </a:lnTo>
                <a:lnTo>
                  <a:pt x="5" y="12"/>
                </a:lnTo>
                <a:lnTo>
                  <a:pt x="0" y="15"/>
                </a:lnTo>
                <a:lnTo>
                  <a:pt x="0" y="18"/>
                </a:lnTo>
                <a:lnTo>
                  <a:pt x="0" y="23"/>
                </a:lnTo>
                <a:lnTo>
                  <a:pt x="5" y="32"/>
                </a:lnTo>
                <a:lnTo>
                  <a:pt x="11" y="35"/>
                </a:lnTo>
                <a:lnTo>
                  <a:pt x="20" y="35"/>
                </a:lnTo>
                <a:lnTo>
                  <a:pt x="23" y="35"/>
                </a:lnTo>
                <a:lnTo>
                  <a:pt x="28" y="32"/>
                </a:lnTo>
                <a:lnTo>
                  <a:pt x="31" y="29"/>
                </a:lnTo>
                <a:lnTo>
                  <a:pt x="31" y="23"/>
                </a:lnTo>
                <a:lnTo>
                  <a:pt x="31" y="18"/>
                </a:lnTo>
                <a:lnTo>
                  <a:pt x="34" y="12"/>
                </a:lnTo>
                <a:lnTo>
                  <a:pt x="37" y="1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56" name="Freeform 160"/>
          <p:cNvSpPr>
            <a:spLocks/>
          </p:cNvSpPr>
          <p:nvPr/>
        </p:nvSpPr>
        <p:spPr bwMode="gray">
          <a:xfrm>
            <a:off x="8957613" y="3772602"/>
            <a:ext cx="34007" cy="16500"/>
          </a:xfrm>
          <a:custGeom>
            <a:avLst/>
            <a:gdLst>
              <a:gd name="T0" fmla="*/ 2147483647 w 17"/>
              <a:gd name="T1" fmla="*/ 2147483647 h 11"/>
              <a:gd name="T2" fmla="*/ 2147483647 w 17"/>
              <a:gd name="T3" fmla="*/ 2147483647 h 11"/>
              <a:gd name="T4" fmla="*/ 2147483647 w 17"/>
              <a:gd name="T5" fmla="*/ 2147483647 h 11"/>
              <a:gd name="T6" fmla="*/ 2147483647 w 17"/>
              <a:gd name="T7" fmla="*/ 2147483647 h 11"/>
              <a:gd name="T8" fmla="*/ 2147483647 w 17"/>
              <a:gd name="T9" fmla="*/ 2147483647 h 11"/>
              <a:gd name="T10" fmla="*/ 2147483647 w 17"/>
              <a:gd name="T11" fmla="*/ 2147483647 h 11"/>
              <a:gd name="T12" fmla="*/ 2147483647 w 17"/>
              <a:gd name="T13" fmla="*/ 2147483647 h 11"/>
              <a:gd name="T14" fmla="*/ 2147483647 w 17"/>
              <a:gd name="T15" fmla="*/ 0 h 11"/>
              <a:gd name="T16" fmla="*/ 2147483647 w 17"/>
              <a:gd name="T17" fmla="*/ 0 h 11"/>
              <a:gd name="T18" fmla="*/ 2147483647 w 17"/>
              <a:gd name="T19" fmla="*/ 0 h 11"/>
              <a:gd name="T20" fmla="*/ 2147483647 w 17"/>
              <a:gd name="T21" fmla="*/ 2147483647 h 11"/>
              <a:gd name="T22" fmla="*/ 2147483647 w 17"/>
              <a:gd name="T23" fmla="*/ 2147483647 h 11"/>
              <a:gd name="T24" fmla="*/ 2147483647 w 17"/>
              <a:gd name="T25" fmla="*/ 2147483647 h 11"/>
              <a:gd name="T26" fmla="*/ 2147483647 w 17"/>
              <a:gd name="T27" fmla="*/ 2147483647 h 11"/>
              <a:gd name="T28" fmla="*/ 0 w 17"/>
              <a:gd name="T29" fmla="*/ 2147483647 h 11"/>
              <a:gd name="T30" fmla="*/ 2147483647 w 17"/>
              <a:gd name="T31" fmla="*/ 2147483647 h 11"/>
              <a:gd name="T32" fmla="*/ 2147483647 w 17"/>
              <a:gd name="T33" fmla="*/ 2147483647 h 11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7"/>
              <a:gd name="T52" fmla="*/ 0 h 11"/>
              <a:gd name="T53" fmla="*/ 17 w 17"/>
              <a:gd name="T54" fmla="*/ 11 h 11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7" h="11">
                <a:moveTo>
                  <a:pt x="9" y="6"/>
                </a:moveTo>
                <a:lnTo>
                  <a:pt x="12" y="8"/>
                </a:lnTo>
                <a:lnTo>
                  <a:pt x="15" y="11"/>
                </a:lnTo>
                <a:lnTo>
                  <a:pt x="17" y="8"/>
                </a:lnTo>
                <a:lnTo>
                  <a:pt x="15" y="0"/>
                </a:lnTo>
                <a:lnTo>
                  <a:pt x="12" y="0"/>
                </a:lnTo>
                <a:lnTo>
                  <a:pt x="6" y="3"/>
                </a:lnTo>
                <a:lnTo>
                  <a:pt x="3" y="6"/>
                </a:lnTo>
                <a:lnTo>
                  <a:pt x="0" y="11"/>
                </a:lnTo>
                <a:lnTo>
                  <a:pt x="6" y="6"/>
                </a:lnTo>
                <a:lnTo>
                  <a:pt x="9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57" name="Freeform 161"/>
          <p:cNvSpPr>
            <a:spLocks/>
          </p:cNvSpPr>
          <p:nvPr/>
        </p:nvSpPr>
        <p:spPr bwMode="gray">
          <a:xfrm>
            <a:off x="8975618" y="3802604"/>
            <a:ext cx="28005" cy="25500"/>
          </a:xfrm>
          <a:custGeom>
            <a:avLst/>
            <a:gdLst>
              <a:gd name="T0" fmla="*/ 2147483647 w 14"/>
              <a:gd name="T1" fmla="*/ 2147483647 h 17"/>
              <a:gd name="T2" fmla="*/ 2147483647 w 14"/>
              <a:gd name="T3" fmla="*/ 2147483647 h 17"/>
              <a:gd name="T4" fmla="*/ 2147483647 w 14"/>
              <a:gd name="T5" fmla="*/ 2147483647 h 17"/>
              <a:gd name="T6" fmla="*/ 2147483647 w 14"/>
              <a:gd name="T7" fmla="*/ 2147483647 h 17"/>
              <a:gd name="T8" fmla="*/ 2147483647 w 14"/>
              <a:gd name="T9" fmla="*/ 2147483647 h 17"/>
              <a:gd name="T10" fmla="*/ 2147483647 w 14"/>
              <a:gd name="T11" fmla="*/ 2147483647 h 17"/>
              <a:gd name="T12" fmla="*/ 2147483647 w 14"/>
              <a:gd name="T13" fmla="*/ 2147483647 h 17"/>
              <a:gd name="T14" fmla="*/ 2147483647 w 14"/>
              <a:gd name="T15" fmla="*/ 2147483647 h 17"/>
              <a:gd name="T16" fmla="*/ 2147483647 w 14"/>
              <a:gd name="T17" fmla="*/ 0 h 17"/>
              <a:gd name="T18" fmla="*/ 2147483647 w 14"/>
              <a:gd name="T19" fmla="*/ 2147483647 h 17"/>
              <a:gd name="T20" fmla="*/ 2147483647 w 14"/>
              <a:gd name="T21" fmla="*/ 2147483647 h 17"/>
              <a:gd name="T22" fmla="*/ 2147483647 w 14"/>
              <a:gd name="T23" fmla="*/ 2147483647 h 17"/>
              <a:gd name="T24" fmla="*/ 2147483647 w 14"/>
              <a:gd name="T25" fmla="*/ 2147483647 h 17"/>
              <a:gd name="T26" fmla="*/ 0 w 14"/>
              <a:gd name="T27" fmla="*/ 2147483647 h 17"/>
              <a:gd name="T28" fmla="*/ 0 w 14"/>
              <a:gd name="T29" fmla="*/ 2147483647 h 17"/>
              <a:gd name="T30" fmla="*/ 2147483647 w 14"/>
              <a:gd name="T31" fmla="*/ 2147483647 h 17"/>
              <a:gd name="T32" fmla="*/ 2147483647 w 14"/>
              <a:gd name="T33" fmla="*/ 2147483647 h 17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4"/>
              <a:gd name="T52" fmla="*/ 0 h 17"/>
              <a:gd name="T53" fmla="*/ 14 w 14"/>
              <a:gd name="T54" fmla="*/ 17 h 17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4" h="17">
                <a:moveTo>
                  <a:pt x="3" y="17"/>
                </a:moveTo>
                <a:lnTo>
                  <a:pt x="6" y="11"/>
                </a:lnTo>
                <a:lnTo>
                  <a:pt x="8" y="11"/>
                </a:lnTo>
                <a:lnTo>
                  <a:pt x="11" y="11"/>
                </a:lnTo>
                <a:lnTo>
                  <a:pt x="14" y="9"/>
                </a:lnTo>
                <a:lnTo>
                  <a:pt x="8" y="6"/>
                </a:lnTo>
                <a:lnTo>
                  <a:pt x="6" y="0"/>
                </a:lnTo>
                <a:lnTo>
                  <a:pt x="3" y="3"/>
                </a:lnTo>
                <a:lnTo>
                  <a:pt x="3" y="6"/>
                </a:lnTo>
                <a:lnTo>
                  <a:pt x="3" y="11"/>
                </a:lnTo>
                <a:lnTo>
                  <a:pt x="0" y="14"/>
                </a:lnTo>
                <a:lnTo>
                  <a:pt x="3" y="1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76" name="Freeform 162"/>
          <p:cNvSpPr>
            <a:spLocks/>
          </p:cNvSpPr>
          <p:nvPr/>
        </p:nvSpPr>
        <p:spPr bwMode="gray">
          <a:xfrm>
            <a:off x="9415697" y="1771549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2147483647 h 6"/>
              <a:gd name="T4" fmla="*/ 0 w 6"/>
              <a:gd name="T5" fmla="*/ 0 h 6"/>
              <a:gd name="T6" fmla="*/ 0 w 6"/>
              <a:gd name="T7" fmla="*/ 2147483647 h 6"/>
              <a:gd name="T8" fmla="*/ 2147483647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6" y="6"/>
                </a:move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lnTo>
                  <a:pt x="6" y="6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77" name="Rectangle 163"/>
          <p:cNvSpPr>
            <a:spLocks noChangeArrowheads="1"/>
          </p:cNvSpPr>
          <p:nvPr/>
        </p:nvSpPr>
        <p:spPr bwMode="gray">
          <a:xfrm>
            <a:off x="9449702" y="1776048"/>
            <a:ext cx="6002" cy="4501"/>
          </a:xfrm>
          <a:prstGeom prst="rect">
            <a:avLst/>
          </a:pr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78" name="Rectangle 164"/>
          <p:cNvSpPr>
            <a:spLocks noChangeArrowheads="1"/>
          </p:cNvSpPr>
          <p:nvPr/>
        </p:nvSpPr>
        <p:spPr bwMode="gray">
          <a:xfrm>
            <a:off x="9473707" y="1780548"/>
            <a:ext cx="6002" cy="4500"/>
          </a:xfrm>
          <a:prstGeom prst="rect">
            <a:avLst/>
          </a:pr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79" name="Freeform 165"/>
          <p:cNvSpPr>
            <a:spLocks/>
          </p:cNvSpPr>
          <p:nvPr/>
        </p:nvSpPr>
        <p:spPr bwMode="gray">
          <a:xfrm>
            <a:off x="8801585" y="1701046"/>
            <a:ext cx="104019" cy="22501"/>
          </a:xfrm>
          <a:custGeom>
            <a:avLst/>
            <a:gdLst>
              <a:gd name="T0" fmla="*/ 2147483647 w 51"/>
              <a:gd name="T1" fmla="*/ 0 h 15"/>
              <a:gd name="T2" fmla="*/ 2147483647 w 51"/>
              <a:gd name="T3" fmla="*/ 0 h 15"/>
              <a:gd name="T4" fmla="*/ 2147483647 w 51"/>
              <a:gd name="T5" fmla="*/ 2147483647 h 15"/>
              <a:gd name="T6" fmla="*/ 2147483647 w 51"/>
              <a:gd name="T7" fmla="*/ 2147483647 h 15"/>
              <a:gd name="T8" fmla="*/ 2147483647 w 51"/>
              <a:gd name="T9" fmla="*/ 2147483647 h 15"/>
              <a:gd name="T10" fmla="*/ 2147483647 w 51"/>
              <a:gd name="T11" fmla="*/ 2147483647 h 15"/>
              <a:gd name="T12" fmla="*/ 2147483647 w 51"/>
              <a:gd name="T13" fmla="*/ 2147483647 h 15"/>
              <a:gd name="T14" fmla="*/ 2147483647 w 51"/>
              <a:gd name="T15" fmla="*/ 2147483647 h 15"/>
              <a:gd name="T16" fmla="*/ 0 w 51"/>
              <a:gd name="T17" fmla="*/ 2147483647 h 15"/>
              <a:gd name="T18" fmla="*/ 0 w 51"/>
              <a:gd name="T19" fmla="*/ 2147483647 h 15"/>
              <a:gd name="T20" fmla="*/ 0 w 51"/>
              <a:gd name="T21" fmla="*/ 2147483647 h 15"/>
              <a:gd name="T22" fmla="*/ 0 w 51"/>
              <a:gd name="T23" fmla="*/ 2147483647 h 15"/>
              <a:gd name="T24" fmla="*/ 2147483647 w 51"/>
              <a:gd name="T25" fmla="*/ 2147483647 h 15"/>
              <a:gd name="T26" fmla="*/ 2147483647 w 51"/>
              <a:gd name="T27" fmla="*/ 2147483647 h 15"/>
              <a:gd name="T28" fmla="*/ 2147483647 w 51"/>
              <a:gd name="T29" fmla="*/ 2147483647 h 15"/>
              <a:gd name="T30" fmla="*/ 2147483647 w 51"/>
              <a:gd name="T31" fmla="*/ 2147483647 h 15"/>
              <a:gd name="T32" fmla="*/ 2147483647 w 51"/>
              <a:gd name="T33" fmla="*/ 2147483647 h 15"/>
              <a:gd name="T34" fmla="*/ 2147483647 w 51"/>
              <a:gd name="T35" fmla="*/ 2147483647 h 15"/>
              <a:gd name="T36" fmla="*/ 2147483647 w 51"/>
              <a:gd name="T37" fmla="*/ 2147483647 h 15"/>
              <a:gd name="T38" fmla="*/ 2147483647 w 51"/>
              <a:gd name="T39" fmla="*/ 2147483647 h 15"/>
              <a:gd name="T40" fmla="*/ 2147483647 w 51"/>
              <a:gd name="T41" fmla="*/ 2147483647 h 15"/>
              <a:gd name="T42" fmla="*/ 2147483647 w 51"/>
              <a:gd name="T43" fmla="*/ 2147483647 h 15"/>
              <a:gd name="T44" fmla="*/ 2147483647 w 51"/>
              <a:gd name="T45" fmla="*/ 2147483647 h 15"/>
              <a:gd name="T46" fmla="*/ 2147483647 w 51"/>
              <a:gd name="T47" fmla="*/ 2147483647 h 15"/>
              <a:gd name="T48" fmla="*/ 2147483647 w 51"/>
              <a:gd name="T49" fmla="*/ 2147483647 h 15"/>
              <a:gd name="T50" fmla="*/ 2147483647 w 51"/>
              <a:gd name="T51" fmla="*/ 2147483647 h 15"/>
              <a:gd name="T52" fmla="*/ 2147483647 w 51"/>
              <a:gd name="T53" fmla="*/ 2147483647 h 15"/>
              <a:gd name="T54" fmla="*/ 2147483647 w 51"/>
              <a:gd name="T55" fmla="*/ 2147483647 h 15"/>
              <a:gd name="T56" fmla="*/ 2147483647 w 51"/>
              <a:gd name="T57" fmla="*/ 0 h 15"/>
              <a:gd name="T58" fmla="*/ 2147483647 w 51"/>
              <a:gd name="T59" fmla="*/ 0 h 15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51"/>
              <a:gd name="T91" fmla="*/ 0 h 15"/>
              <a:gd name="T92" fmla="*/ 51 w 51"/>
              <a:gd name="T93" fmla="*/ 15 h 15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51" h="15">
                <a:moveTo>
                  <a:pt x="14" y="0"/>
                </a:moveTo>
                <a:lnTo>
                  <a:pt x="14" y="0"/>
                </a:lnTo>
                <a:lnTo>
                  <a:pt x="8" y="3"/>
                </a:lnTo>
                <a:lnTo>
                  <a:pt x="8" y="9"/>
                </a:lnTo>
                <a:lnTo>
                  <a:pt x="5" y="9"/>
                </a:lnTo>
                <a:lnTo>
                  <a:pt x="0" y="9"/>
                </a:lnTo>
                <a:lnTo>
                  <a:pt x="0" y="12"/>
                </a:lnTo>
                <a:lnTo>
                  <a:pt x="5" y="12"/>
                </a:lnTo>
                <a:lnTo>
                  <a:pt x="14" y="12"/>
                </a:lnTo>
                <a:lnTo>
                  <a:pt x="23" y="12"/>
                </a:lnTo>
                <a:lnTo>
                  <a:pt x="43" y="15"/>
                </a:lnTo>
                <a:lnTo>
                  <a:pt x="48" y="15"/>
                </a:lnTo>
                <a:lnTo>
                  <a:pt x="51" y="15"/>
                </a:lnTo>
                <a:lnTo>
                  <a:pt x="48" y="12"/>
                </a:lnTo>
                <a:lnTo>
                  <a:pt x="48" y="9"/>
                </a:lnTo>
                <a:lnTo>
                  <a:pt x="43" y="6"/>
                </a:lnTo>
                <a:lnTo>
                  <a:pt x="23" y="3"/>
                </a:lnTo>
                <a:lnTo>
                  <a:pt x="14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80" name="Freeform 166"/>
          <p:cNvSpPr>
            <a:spLocks/>
          </p:cNvSpPr>
          <p:nvPr/>
        </p:nvSpPr>
        <p:spPr bwMode="gray">
          <a:xfrm>
            <a:off x="9855775" y="1755047"/>
            <a:ext cx="88016" cy="25501"/>
          </a:xfrm>
          <a:custGeom>
            <a:avLst/>
            <a:gdLst>
              <a:gd name="T0" fmla="*/ 2147483647 w 43"/>
              <a:gd name="T1" fmla="*/ 2147483647 h 17"/>
              <a:gd name="T2" fmla="*/ 2147483647 w 43"/>
              <a:gd name="T3" fmla="*/ 2147483647 h 17"/>
              <a:gd name="T4" fmla="*/ 2147483647 w 43"/>
              <a:gd name="T5" fmla="*/ 2147483647 h 17"/>
              <a:gd name="T6" fmla="*/ 2147483647 w 43"/>
              <a:gd name="T7" fmla="*/ 2147483647 h 17"/>
              <a:gd name="T8" fmla="*/ 2147483647 w 43"/>
              <a:gd name="T9" fmla="*/ 2147483647 h 17"/>
              <a:gd name="T10" fmla="*/ 2147483647 w 43"/>
              <a:gd name="T11" fmla="*/ 2147483647 h 17"/>
              <a:gd name="T12" fmla="*/ 2147483647 w 43"/>
              <a:gd name="T13" fmla="*/ 2147483647 h 17"/>
              <a:gd name="T14" fmla="*/ 2147483647 w 43"/>
              <a:gd name="T15" fmla="*/ 2147483647 h 17"/>
              <a:gd name="T16" fmla="*/ 2147483647 w 43"/>
              <a:gd name="T17" fmla="*/ 2147483647 h 17"/>
              <a:gd name="T18" fmla="*/ 2147483647 w 43"/>
              <a:gd name="T19" fmla="*/ 2147483647 h 17"/>
              <a:gd name="T20" fmla="*/ 2147483647 w 43"/>
              <a:gd name="T21" fmla="*/ 2147483647 h 17"/>
              <a:gd name="T22" fmla="*/ 2147483647 w 43"/>
              <a:gd name="T23" fmla="*/ 2147483647 h 17"/>
              <a:gd name="T24" fmla="*/ 2147483647 w 43"/>
              <a:gd name="T25" fmla="*/ 2147483647 h 17"/>
              <a:gd name="T26" fmla="*/ 2147483647 w 43"/>
              <a:gd name="T27" fmla="*/ 0 h 17"/>
              <a:gd name="T28" fmla="*/ 2147483647 w 43"/>
              <a:gd name="T29" fmla="*/ 2147483647 h 17"/>
              <a:gd name="T30" fmla="*/ 2147483647 w 43"/>
              <a:gd name="T31" fmla="*/ 2147483647 h 17"/>
              <a:gd name="T32" fmla="*/ 0 w 43"/>
              <a:gd name="T33" fmla="*/ 2147483647 h 17"/>
              <a:gd name="T34" fmla="*/ 0 w 43"/>
              <a:gd name="T35" fmla="*/ 2147483647 h 17"/>
              <a:gd name="T36" fmla="*/ 0 w 43"/>
              <a:gd name="T37" fmla="*/ 2147483647 h 17"/>
              <a:gd name="T38" fmla="*/ 0 w 43"/>
              <a:gd name="T39" fmla="*/ 2147483647 h 17"/>
              <a:gd name="T40" fmla="*/ 2147483647 w 43"/>
              <a:gd name="T41" fmla="*/ 2147483647 h 17"/>
              <a:gd name="T42" fmla="*/ 2147483647 w 43"/>
              <a:gd name="T43" fmla="*/ 2147483647 h 17"/>
              <a:gd name="T44" fmla="*/ 2147483647 w 43"/>
              <a:gd name="T45" fmla="*/ 2147483647 h 1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43"/>
              <a:gd name="T70" fmla="*/ 0 h 17"/>
              <a:gd name="T71" fmla="*/ 43 w 43"/>
              <a:gd name="T72" fmla="*/ 17 h 17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43" h="17">
                <a:moveTo>
                  <a:pt x="9" y="17"/>
                </a:moveTo>
                <a:lnTo>
                  <a:pt x="9" y="17"/>
                </a:lnTo>
                <a:lnTo>
                  <a:pt x="23" y="14"/>
                </a:lnTo>
                <a:lnTo>
                  <a:pt x="35" y="14"/>
                </a:lnTo>
                <a:lnTo>
                  <a:pt x="43" y="11"/>
                </a:lnTo>
                <a:lnTo>
                  <a:pt x="43" y="8"/>
                </a:lnTo>
                <a:lnTo>
                  <a:pt x="40" y="8"/>
                </a:lnTo>
                <a:lnTo>
                  <a:pt x="20" y="3"/>
                </a:lnTo>
                <a:lnTo>
                  <a:pt x="12" y="0"/>
                </a:lnTo>
                <a:lnTo>
                  <a:pt x="6" y="3"/>
                </a:lnTo>
                <a:lnTo>
                  <a:pt x="0" y="8"/>
                </a:lnTo>
                <a:lnTo>
                  <a:pt x="0" y="11"/>
                </a:lnTo>
                <a:lnTo>
                  <a:pt x="3" y="17"/>
                </a:lnTo>
                <a:lnTo>
                  <a:pt x="9" y="17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81" name="Freeform 167"/>
          <p:cNvSpPr>
            <a:spLocks/>
          </p:cNvSpPr>
          <p:nvPr/>
        </p:nvSpPr>
        <p:spPr bwMode="gray">
          <a:xfrm>
            <a:off x="7837412" y="1606544"/>
            <a:ext cx="12002" cy="4500"/>
          </a:xfrm>
          <a:custGeom>
            <a:avLst/>
            <a:gdLst>
              <a:gd name="T0" fmla="*/ 2147483647 w 6"/>
              <a:gd name="T1" fmla="*/ 0 h 3"/>
              <a:gd name="T2" fmla="*/ 2147483647 w 6"/>
              <a:gd name="T3" fmla="*/ 0 h 3"/>
              <a:gd name="T4" fmla="*/ 0 w 6"/>
              <a:gd name="T5" fmla="*/ 0 h 3"/>
              <a:gd name="T6" fmla="*/ 0 w 6"/>
              <a:gd name="T7" fmla="*/ 2147483647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3" y="0"/>
                </a:moveTo>
                <a:lnTo>
                  <a:pt x="6" y="0"/>
                </a:lnTo>
                <a:lnTo>
                  <a:pt x="0" y="0"/>
                </a:lnTo>
                <a:lnTo>
                  <a:pt x="0" y="3"/>
                </a:lnTo>
                <a:lnTo>
                  <a:pt x="3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82" name="Freeform 168"/>
          <p:cNvSpPr>
            <a:spLocks/>
          </p:cNvSpPr>
          <p:nvPr/>
        </p:nvSpPr>
        <p:spPr bwMode="gray">
          <a:xfrm>
            <a:off x="7849414" y="1606544"/>
            <a:ext cx="28005" cy="9000"/>
          </a:xfrm>
          <a:custGeom>
            <a:avLst/>
            <a:gdLst>
              <a:gd name="T0" fmla="*/ 0 w 14"/>
              <a:gd name="T1" fmla="*/ 2147483647 h 6"/>
              <a:gd name="T2" fmla="*/ 0 w 14"/>
              <a:gd name="T3" fmla="*/ 2147483647 h 6"/>
              <a:gd name="T4" fmla="*/ 2147483647 w 14"/>
              <a:gd name="T5" fmla="*/ 2147483647 h 6"/>
              <a:gd name="T6" fmla="*/ 2147483647 w 14"/>
              <a:gd name="T7" fmla="*/ 2147483647 h 6"/>
              <a:gd name="T8" fmla="*/ 2147483647 w 14"/>
              <a:gd name="T9" fmla="*/ 2147483647 h 6"/>
              <a:gd name="T10" fmla="*/ 2147483647 w 14"/>
              <a:gd name="T11" fmla="*/ 2147483647 h 6"/>
              <a:gd name="T12" fmla="*/ 2147483647 w 14"/>
              <a:gd name="T13" fmla="*/ 2147483647 h 6"/>
              <a:gd name="T14" fmla="*/ 2147483647 w 14"/>
              <a:gd name="T15" fmla="*/ 2147483647 h 6"/>
              <a:gd name="T16" fmla="*/ 2147483647 w 14"/>
              <a:gd name="T17" fmla="*/ 0 h 6"/>
              <a:gd name="T18" fmla="*/ 2147483647 w 14"/>
              <a:gd name="T19" fmla="*/ 0 h 6"/>
              <a:gd name="T20" fmla="*/ 2147483647 w 14"/>
              <a:gd name="T21" fmla="*/ 2147483647 h 6"/>
              <a:gd name="T22" fmla="*/ 2147483647 w 14"/>
              <a:gd name="T23" fmla="*/ 2147483647 h 6"/>
              <a:gd name="T24" fmla="*/ 2147483647 w 14"/>
              <a:gd name="T25" fmla="*/ 2147483647 h 6"/>
              <a:gd name="T26" fmla="*/ 0 w 14"/>
              <a:gd name="T27" fmla="*/ 2147483647 h 6"/>
              <a:gd name="T28" fmla="*/ 0 w 14"/>
              <a:gd name="T29" fmla="*/ 2147483647 h 6"/>
              <a:gd name="T30" fmla="*/ 0 w 14"/>
              <a:gd name="T31" fmla="*/ 2147483647 h 6"/>
              <a:gd name="T32" fmla="*/ 0 w 14"/>
              <a:gd name="T33" fmla="*/ 2147483647 h 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4"/>
              <a:gd name="T52" fmla="*/ 0 h 6"/>
              <a:gd name="T53" fmla="*/ 14 w 14"/>
              <a:gd name="T54" fmla="*/ 6 h 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4" h="6">
                <a:moveTo>
                  <a:pt x="0" y="3"/>
                </a:moveTo>
                <a:lnTo>
                  <a:pt x="0" y="3"/>
                </a:lnTo>
                <a:lnTo>
                  <a:pt x="9" y="3"/>
                </a:lnTo>
                <a:lnTo>
                  <a:pt x="11" y="6"/>
                </a:lnTo>
                <a:lnTo>
                  <a:pt x="14" y="3"/>
                </a:lnTo>
                <a:lnTo>
                  <a:pt x="14" y="0"/>
                </a:lnTo>
                <a:lnTo>
                  <a:pt x="11" y="3"/>
                </a:lnTo>
                <a:lnTo>
                  <a:pt x="6" y="3"/>
                </a:lnTo>
                <a:lnTo>
                  <a:pt x="0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83" name="Freeform 169"/>
          <p:cNvSpPr>
            <a:spLocks/>
          </p:cNvSpPr>
          <p:nvPr/>
        </p:nvSpPr>
        <p:spPr bwMode="gray">
          <a:xfrm>
            <a:off x="7895422" y="1627545"/>
            <a:ext cx="14002" cy="1500"/>
          </a:xfrm>
          <a:custGeom>
            <a:avLst/>
            <a:gdLst>
              <a:gd name="T0" fmla="*/ 2147483647 w 6"/>
              <a:gd name="T1" fmla="*/ 0 h 1"/>
              <a:gd name="T2" fmla="*/ 2147483647 w 6"/>
              <a:gd name="T3" fmla="*/ 0 h 1"/>
              <a:gd name="T4" fmla="*/ 2147483647 w 6"/>
              <a:gd name="T5" fmla="*/ 0 h 1"/>
              <a:gd name="T6" fmla="*/ 2147483647 w 6"/>
              <a:gd name="T7" fmla="*/ 0 h 1"/>
              <a:gd name="T8" fmla="*/ 2147483647 w 6"/>
              <a:gd name="T9" fmla="*/ 0 h 1"/>
              <a:gd name="T10" fmla="*/ 2147483647 w 6"/>
              <a:gd name="T11" fmla="*/ 0 h 1"/>
              <a:gd name="T12" fmla="*/ 0 w 6"/>
              <a:gd name="T13" fmla="*/ 0 h 1"/>
              <a:gd name="T14" fmla="*/ 0 w 6"/>
              <a:gd name="T15" fmla="*/ 0 h 1"/>
              <a:gd name="T16" fmla="*/ 0 w 6"/>
              <a:gd name="T17" fmla="*/ 0 h 1"/>
              <a:gd name="T18" fmla="*/ 2147483647 w 6"/>
              <a:gd name="T19" fmla="*/ 0 h 1"/>
              <a:gd name="T20" fmla="*/ 2147483647 w 6"/>
              <a:gd name="T21" fmla="*/ 0 h 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6"/>
              <a:gd name="T34" fmla="*/ 0 h 1"/>
              <a:gd name="T35" fmla="*/ 6 w 6"/>
              <a:gd name="T36" fmla="*/ 1 h 1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6" h="1">
                <a:moveTo>
                  <a:pt x="6" y="0"/>
                </a:moveTo>
                <a:lnTo>
                  <a:pt x="6" y="0"/>
                </a:lnTo>
                <a:lnTo>
                  <a:pt x="3" y="0"/>
                </a:lnTo>
                <a:lnTo>
                  <a:pt x="0" y="0"/>
                </a:lnTo>
                <a:lnTo>
                  <a:pt x="6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84" name="Freeform 170"/>
          <p:cNvSpPr>
            <a:spLocks/>
          </p:cNvSpPr>
          <p:nvPr/>
        </p:nvSpPr>
        <p:spPr bwMode="gray">
          <a:xfrm>
            <a:off x="8097458" y="1689046"/>
            <a:ext cx="48009" cy="12000"/>
          </a:xfrm>
          <a:custGeom>
            <a:avLst/>
            <a:gdLst>
              <a:gd name="T0" fmla="*/ 0 w 23"/>
              <a:gd name="T1" fmla="*/ 2147483647 h 8"/>
              <a:gd name="T2" fmla="*/ 0 w 23"/>
              <a:gd name="T3" fmla="*/ 2147483647 h 8"/>
              <a:gd name="T4" fmla="*/ 2147483647 w 23"/>
              <a:gd name="T5" fmla="*/ 2147483647 h 8"/>
              <a:gd name="T6" fmla="*/ 2147483647 w 23"/>
              <a:gd name="T7" fmla="*/ 2147483647 h 8"/>
              <a:gd name="T8" fmla="*/ 2147483647 w 23"/>
              <a:gd name="T9" fmla="*/ 2147483647 h 8"/>
              <a:gd name="T10" fmla="*/ 2147483647 w 23"/>
              <a:gd name="T11" fmla="*/ 2147483647 h 8"/>
              <a:gd name="T12" fmla="*/ 2147483647 w 23"/>
              <a:gd name="T13" fmla="*/ 2147483647 h 8"/>
              <a:gd name="T14" fmla="*/ 2147483647 w 23"/>
              <a:gd name="T15" fmla="*/ 2147483647 h 8"/>
              <a:gd name="T16" fmla="*/ 2147483647 w 23"/>
              <a:gd name="T17" fmla="*/ 2147483647 h 8"/>
              <a:gd name="T18" fmla="*/ 2147483647 w 23"/>
              <a:gd name="T19" fmla="*/ 0 h 8"/>
              <a:gd name="T20" fmla="*/ 2147483647 w 23"/>
              <a:gd name="T21" fmla="*/ 0 h 8"/>
              <a:gd name="T22" fmla="*/ 2147483647 w 23"/>
              <a:gd name="T23" fmla="*/ 0 h 8"/>
              <a:gd name="T24" fmla="*/ 2147483647 w 23"/>
              <a:gd name="T25" fmla="*/ 0 h 8"/>
              <a:gd name="T26" fmla="*/ 0 w 23"/>
              <a:gd name="T27" fmla="*/ 2147483647 h 8"/>
              <a:gd name="T28" fmla="*/ 0 w 23"/>
              <a:gd name="T29" fmla="*/ 2147483647 h 8"/>
              <a:gd name="T30" fmla="*/ 0 w 23"/>
              <a:gd name="T31" fmla="*/ 2147483647 h 8"/>
              <a:gd name="T32" fmla="*/ 0 w 23"/>
              <a:gd name="T33" fmla="*/ 2147483647 h 8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23"/>
              <a:gd name="T52" fmla="*/ 0 h 8"/>
              <a:gd name="T53" fmla="*/ 23 w 23"/>
              <a:gd name="T54" fmla="*/ 8 h 8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23" h="8">
                <a:moveTo>
                  <a:pt x="0" y="5"/>
                </a:moveTo>
                <a:lnTo>
                  <a:pt x="0" y="5"/>
                </a:lnTo>
                <a:lnTo>
                  <a:pt x="12" y="8"/>
                </a:lnTo>
                <a:lnTo>
                  <a:pt x="18" y="8"/>
                </a:lnTo>
                <a:lnTo>
                  <a:pt x="20" y="8"/>
                </a:lnTo>
                <a:lnTo>
                  <a:pt x="20" y="5"/>
                </a:lnTo>
                <a:lnTo>
                  <a:pt x="23" y="2"/>
                </a:lnTo>
                <a:lnTo>
                  <a:pt x="18" y="0"/>
                </a:lnTo>
                <a:lnTo>
                  <a:pt x="3" y="0"/>
                </a:lnTo>
                <a:lnTo>
                  <a:pt x="0" y="2"/>
                </a:lnTo>
                <a:lnTo>
                  <a:pt x="0" y="5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85" name="Rectangle 171"/>
          <p:cNvSpPr>
            <a:spLocks noChangeArrowheads="1"/>
          </p:cNvSpPr>
          <p:nvPr/>
        </p:nvSpPr>
        <p:spPr bwMode="gray">
          <a:xfrm>
            <a:off x="7871419" y="1624545"/>
            <a:ext cx="12002" cy="3000"/>
          </a:xfrm>
          <a:prstGeom prst="rect">
            <a:avLst/>
          </a:pr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86" name="Freeform 172"/>
          <p:cNvSpPr>
            <a:spLocks/>
          </p:cNvSpPr>
          <p:nvPr/>
        </p:nvSpPr>
        <p:spPr bwMode="gray">
          <a:xfrm>
            <a:off x="8197477" y="1692046"/>
            <a:ext cx="12002" cy="4501"/>
          </a:xfrm>
          <a:custGeom>
            <a:avLst/>
            <a:gdLst>
              <a:gd name="T0" fmla="*/ 2147483647 w 6"/>
              <a:gd name="T1" fmla="*/ 2147483647 h 3"/>
              <a:gd name="T2" fmla="*/ 2147483647 w 6"/>
              <a:gd name="T3" fmla="*/ 2147483647 h 3"/>
              <a:gd name="T4" fmla="*/ 2147483647 w 6"/>
              <a:gd name="T5" fmla="*/ 2147483647 h 3"/>
              <a:gd name="T6" fmla="*/ 2147483647 w 6"/>
              <a:gd name="T7" fmla="*/ 0 h 3"/>
              <a:gd name="T8" fmla="*/ 2147483647 w 6"/>
              <a:gd name="T9" fmla="*/ 0 h 3"/>
              <a:gd name="T10" fmla="*/ 2147483647 w 6"/>
              <a:gd name="T11" fmla="*/ 0 h 3"/>
              <a:gd name="T12" fmla="*/ 0 w 6"/>
              <a:gd name="T13" fmla="*/ 0 h 3"/>
              <a:gd name="T14" fmla="*/ 0 w 6"/>
              <a:gd name="T15" fmla="*/ 2147483647 h 3"/>
              <a:gd name="T16" fmla="*/ 0 w 6"/>
              <a:gd name="T17" fmla="*/ 2147483647 h 3"/>
              <a:gd name="T18" fmla="*/ 0 w 6"/>
              <a:gd name="T19" fmla="*/ 2147483647 h 3"/>
              <a:gd name="T20" fmla="*/ 2147483647 w 6"/>
              <a:gd name="T21" fmla="*/ 2147483647 h 3"/>
              <a:gd name="T22" fmla="*/ 2147483647 w 6"/>
              <a:gd name="T23" fmla="*/ 2147483647 h 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6"/>
              <a:gd name="T37" fmla="*/ 0 h 3"/>
              <a:gd name="T38" fmla="*/ 6 w 6"/>
              <a:gd name="T39" fmla="*/ 3 h 3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6" h="3">
                <a:moveTo>
                  <a:pt x="3" y="3"/>
                </a:moveTo>
                <a:lnTo>
                  <a:pt x="3" y="3"/>
                </a:lnTo>
                <a:lnTo>
                  <a:pt x="6" y="3"/>
                </a:lnTo>
                <a:lnTo>
                  <a:pt x="6" y="0"/>
                </a:ln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lnTo>
                  <a:pt x="3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87" name="Freeform 173"/>
          <p:cNvSpPr>
            <a:spLocks/>
          </p:cNvSpPr>
          <p:nvPr/>
        </p:nvSpPr>
        <p:spPr bwMode="gray">
          <a:xfrm>
            <a:off x="8661560" y="1696547"/>
            <a:ext cx="42008" cy="9000"/>
          </a:xfrm>
          <a:custGeom>
            <a:avLst/>
            <a:gdLst>
              <a:gd name="T0" fmla="*/ 2147483647 w 20"/>
              <a:gd name="T1" fmla="*/ 0 h 6"/>
              <a:gd name="T2" fmla="*/ 2147483647 w 20"/>
              <a:gd name="T3" fmla="*/ 0 h 6"/>
              <a:gd name="T4" fmla="*/ 2147483647 w 20"/>
              <a:gd name="T5" fmla="*/ 2147483647 h 6"/>
              <a:gd name="T6" fmla="*/ 2147483647 w 20"/>
              <a:gd name="T7" fmla="*/ 2147483647 h 6"/>
              <a:gd name="T8" fmla="*/ 2147483647 w 20"/>
              <a:gd name="T9" fmla="*/ 2147483647 h 6"/>
              <a:gd name="T10" fmla="*/ 2147483647 w 20"/>
              <a:gd name="T11" fmla="*/ 2147483647 h 6"/>
              <a:gd name="T12" fmla="*/ 2147483647 w 20"/>
              <a:gd name="T13" fmla="*/ 2147483647 h 6"/>
              <a:gd name="T14" fmla="*/ 2147483647 w 20"/>
              <a:gd name="T15" fmla="*/ 2147483647 h 6"/>
              <a:gd name="T16" fmla="*/ 2147483647 w 20"/>
              <a:gd name="T17" fmla="*/ 2147483647 h 6"/>
              <a:gd name="T18" fmla="*/ 2147483647 w 20"/>
              <a:gd name="T19" fmla="*/ 0 h 6"/>
              <a:gd name="T20" fmla="*/ 2147483647 w 20"/>
              <a:gd name="T21" fmla="*/ 0 h 6"/>
              <a:gd name="T22" fmla="*/ 2147483647 w 20"/>
              <a:gd name="T23" fmla="*/ 0 h 6"/>
              <a:gd name="T24" fmla="*/ 0 w 20"/>
              <a:gd name="T25" fmla="*/ 0 h 6"/>
              <a:gd name="T26" fmla="*/ 2147483647 w 20"/>
              <a:gd name="T27" fmla="*/ 0 h 6"/>
              <a:gd name="T28" fmla="*/ 2147483647 w 20"/>
              <a:gd name="T29" fmla="*/ 0 h 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20"/>
              <a:gd name="T46" fmla="*/ 0 h 6"/>
              <a:gd name="T47" fmla="*/ 20 w 20"/>
              <a:gd name="T48" fmla="*/ 6 h 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20" h="6">
                <a:moveTo>
                  <a:pt x="3" y="0"/>
                </a:moveTo>
                <a:lnTo>
                  <a:pt x="3" y="0"/>
                </a:lnTo>
                <a:lnTo>
                  <a:pt x="8" y="3"/>
                </a:lnTo>
                <a:lnTo>
                  <a:pt x="11" y="3"/>
                </a:lnTo>
                <a:lnTo>
                  <a:pt x="17" y="6"/>
                </a:lnTo>
                <a:lnTo>
                  <a:pt x="20" y="6"/>
                </a:lnTo>
                <a:lnTo>
                  <a:pt x="14" y="3"/>
                </a:lnTo>
                <a:lnTo>
                  <a:pt x="6" y="0"/>
                </a:lnTo>
                <a:lnTo>
                  <a:pt x="3" y="0"/>
                </a:lnTo>
                <a:lnTo>
                  <a:pt x="0" y="0"/>
                </a:lnTo>
                <a:lnTo>
                  <a:pt x="3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88" name="Freeform 174"/>
          <p:cNvSpPr>
            <a:spLocks/>
          </p:cNvSpPr>
          <p:nvPr/>
        </p:nvSpPr>
        <p:spPr bwMode="gray">
          <a:xfrm>
            <a:off x="8777581" y="1692046"/>
            <a:ext cx="30006" cy="13501"/>
          </a:xfrm>
          <a:custGeom>
            <a:avLst/>
            <a:gdLst>
              <a:gd name="T0" fmla="*/ 2147483647 w 15"/>
              <a:gd name="T1" fmla="*/ 2147483647 h 9"/>
              <a:gd name="T2" fmla="*/ 2147483647 w 15"/>
              <a:gd name="T3" fmla="*/ 2147483647 h 9"/>
              <a:gd name="T4" fmla="*/ 2147483647 w 15"/>
              <a:gd name="T5" fmla="*/ 2147483647 h 9"/>
              <a:gd name="T6" fmla="*/ 2147483647 w 15"/>
              <a:gd name="T7" fmla="*/ 2147483647 h 9"/>
              <a:gd name="T8" fmla="*/ 2147483647 w 15"/>
              <a:gd name="T9" fmla="*/ 2147483647 h 9"/>
              <a:gd name="T10" fmla="*/ 2147483647 w 15"/>
              <a:gd name="T11" fmla="*/ 2147483647 h 9"/>
              <a:gd name="T12" fmla="*/ 2147483647 w 15"/>
              <a:gd name="T13" fmla="*/ 0 h 9"/>
              <a:gd name="T14" fmla="*/ 2147483647 w 15"/>
              <a:gd name="T15" fmla="*/ 0 h 9"/>
              <a:gd name="T16" fmla="*/ 0 w 15"/>
              <a:gd name="T17" fmla="*/ 2147483647 h 9"/>
              <a:gd name="T18" fmla="*/ 0 w 15"/>
              <a:gd name="T19" fmla="*/ 2147483647 h 9"/>
              <a:gd name="T20" fmla="*/ 2147483647 w 15"/>
              <a:gd name="T21" fmla="*/ 2147483647 h 9"/>
              <a:gd name="T22" fmla="*/ 2147483647 w 15"/>
              <a:gd name="T23" fmla="*/ 2147483647 h 9"/>
              <a:gd name="T24" fmla="*/ 2147483647 w 15"/>
              <a:gd name="T25" fmla="*/ 2147483647 h 9"/>
              <a:gd name="T26" fmla="*/ 2147483647 w 15"/>
              <a:gd name="T27" fmla="*/ 2147483647 h 9"/>
              <a:gd name="T28" fmla="*/ 2147483647 w 15"/>
              <a:gd name="T29" fmla="*/ 2147483647 h 9"/>
              <a:gd name="T30" fmla="*/ 2147483647 w 15"/>
              <a:gd name="T31" fmla="*/ 2147483647 h 9"/>
              <a:gd name="T32" fmla="*/ 2147483647 w 15"/>
              <a:gd name="T33" fmla="*/ 2147483647 h 9"/>
              <a:gd name="T34" fmla="*/ 2147483647 w 15"/>
              <a:gd name="T35" fmla="*/ 2147483647 h 9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5"/>
              <a:gd name="T55" fmla="*/ 0 h 9"/>
              <a:gd name="T56" fmla="*/ 15 w 15"/>
              <a:gd name="T57" fmla="*/ 9 h 9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5" h="9">
                <a:moveTo>
                  <a:pt x="15" y="6"/>
                </a:moveTo>
                <a:lnTo>
                  <a:pt x="15" y="6"/>
                </a:lnTo>
                <a:lnTo>
                  <a:pt x="15" y="3"/>
                </a:lnTo>
                <a:lnTo>
                  <a:pt x="12" y="3"/>
                </a:lnTo>
                <a:lnTo>
                  <a:pt x="9" y="3"/>
                </a:lnTo>
                <a:lnTo>
                  <a:pt x="6" y="0"/>
                </a:lnTo>
                <a:lnTo>
                  <a:pt x="0" y="3"/>
                </a:lnTo>
                <a:lnTo>
                  <a:pt x="0" y="6"/>
                </a:lnTo>
                <a:lnTo>
                  <a:pt x="3" y="6"/>
                </a:lnTo>
                <a:lnTo>
                  <a:pt x="6" y="9"/>
                </a:lnTo>
                <a:lnTo>
                  <a:pt x="12" y="9"/>
                </a:lnTo>
                <a:lnTo>
                  <a:pt x="15" y="9"/>
                </a:lnTo>
                <a:lnTo>
                  <a:pt x="15" y="6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89" name="Freeform 175"/>
          <p:cNvSpPr>
            <a:spLocks/>
          </p:cNvSpPr>
          <p:nvPr/>
        </p:nvSpPr>
        <p:spPr bwMode="gray">
          <a:xfrm>
            <a:off x="7635376" y="1627545"/>
            <a:ext cx="28005" cy="9000"/>
          </a:xfrm>
          <a:custGeom>
            <a:avLst/>
            <a:gdLst>
              <a:gd name="T0" fmla="*/ 2147483647 w 14"/>
              <a:gd name="T1" fmla="*/ 2147483647 h 6"/>
              <a:gd name="T2" fmla="*/ 2147483647 w 14"/>
              <a:gd name="T3" fmla="*/ 2147483647 h 6"/>
              <a:gd name="T4" fmla="*/ 2147483647 w 14"/>
              <a:gd name="T5" fmla="*/ 0 h 6"/>
              <a:gd name="T6" fmla="*/ 2147483647 w 14"/>
              <a:gd name="T7" fmla="*/ 0 h 6"/>
              <a:gd name="T8" fmla="*/ 2147483647 w 14"/>
              <a:gd name="T9" fmla="*/ 0 h 6"/>
              <a:gd name="T10" fmla="*/ 0 w 14"/>
              <a:gd name="T11" fmla="*/ 2147483647 h 6"/>
              <a:gd name="T12" fmla="*/ 2147483647 w 14"/>
              <a:gd name="T13" fmla="*/ 2147483647 h 6"/>
              <a:gd name="T14" fmla="*/ 2147483647 w 14"/>
              <a:gd name="T15" fmla="*/ 2147483647 h 6"/>
              <a:gd name="T16" fmla="*/ 2147483647 w 14"/>
              <a:gd name="T17" fmla="*/ 2147483647 h 6"/>
              <a:gd name="T18" fmla="*/ 2147483647 w 14"/>
              <a:gd name="T19" fmla="*/ 2147483647 h 6"/>
              <a:gd name="T20" fmla="*/ 2147483647 w 14"/>
              <a:gd name="T21" fmla="*/ 2147483647 h 6"/>
              <a:gd name="T22" fmla="*/ 2147483647 w 14"/>
              <a:gd name="T23" fmla="*/ 2147483647 h 6"/>
              <a:gd name="T24" fmla="*/ 2147483647 w 14"/>
              <a:gd name="T25" fmla="*/ 2147483647 h 6"/>
              <a:gd name="T26" fmla="*/ 2147483647 w 14"/>
              <a:gd name="T27" fmla="*/ 2147483647 h 6"/>
              <a:gd name="T28" fmla="*/ 2147483647 w 14"/>
              <a:gd name="T29" fmla="*/ 2147483647 h 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4"/>
              <a:gd name="T46" fmla="*/ 0 h 6"/>
              <a:gd name="T47" fmla="*/ 14 w 14"/>
              <a:gd name="T48" fmla="*/ 6 h 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4" h="6">
                <a:moveTo>
                  <a:pt x="14" y="3"/>
                </a:moveTo>
                <a:lnTo>
                  <a:pt x="14" y="3"/>
                </a:lnTo>
                <a:lnTo>
                  <a:pt x="11" y="0"/>
                </a:lnTo>
                <a:lnTo>
                  <a:pt x="8" y="0"/>
                </a:lnTo>
                <a:lnTo>
                  <a:pt x="0" y="3"/>
                </a:lnTo>
                <a:lnTo>
                  <a:pt x="3" y="6"/>
                </a:lnTo>
                <a:lnTo>
                  <a:pt x="8" y="3"/>
                </a:lnTo>
                <a:lnTo>
                  <a:pt x="11" y="6"/>
                </a:lnTo>
                <a:lnTo>
                  <a:pt x="14" y="6"/>
                </a:lnTo>
                <a:lnTo>
                  <a:pt x="14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072" name="Freeform 176"/>
          <p:cNvSpPr>
            <a:spLocks/>
          </p:cNvSpPr>
          <p:nvPr/>
        </p:nvSpPr>
        <p:spPr bwMode="gray">
          <a:xfrm>
            <a:off x="10239845" y="3883605"/>
            <a:ext cx="348063" cy="244506"/>
          </a:xfrm>
          <a:custGeom>
            <a:avLst/>
            <a:gdLst>
              <a:gd name="T0" fmla="*/ 2147483647 w 172"/>
              <a:gd name="T1" fmla="*/ 2147483647 h 161"/>
              <a:gd name="T2" fmla="*/ 2147483647 w 172"/>
              <a:gd name="T3" fmla="*/ 2147483647 h 161"/>
              <a:gd name="T4" fmla="*/ 2147483647 w 172"/>
              <a:gd name="T5" fmla="*/ 2147483647 h 161"/>
              <a:gd name="T6" fmla="*/ 2147483647 w 172"/>
              <a:gd name="T7" fmla="*/ 2147483647 h 161"/>
              <a:gd name="T8" fmla="*/ 2147483647 w 172"/>
              <a:gd name="T9" fmla="*/ 2147483647 h 161"/>
              <a:gd name="T10" fmla="*/ 2147483647 w 172"/>
              <a:gd name="T11" fmla="*/ 2147483647 h 161"/>
              <a:gd name="T12" fmla="*/ 2147483647 w 172"/>
              <a:gd name="T13" fmla="*/ 2147483647 h 161"/>
              <a:gd name="T14" fmla="*/ 2147483647 w 172"/>
              <a:gd name="T15" fmla="*/ 2147483647 h 161"/>
              <a:gd name="T16" fmla="*/ 0 w 172"/>
              <a:gd name="T17" fmla="*/ 2147483647 h 161"/>
              <a:gd name="T18" fmla="*/ 2147483647 w 172"/>
              <a:gd name="T19" fmla="*/ 2147483647 h 161"/>
              <a:gd name="T20" fmla="*/ 2147483647 w 172"/>
              <a:gd name="T21" fmla="*/ 2147483647 h 161"/>
              <a:gd name="T22" fmla="*/ 2147483647 w 172"/>
              <a:gd name="T23" fmla="*/ 2147483647 h 161"/>
              <a:gd name="T24" fmla="*/ 2147483647 w 172"/>
              <a:gd name="T25" fmla="*/ 2147483647 h 161"/>
              <a:gd name="T26" fmla="*/ 2147483647 w 172"/>
              <a:gd name="T27" fmla="*/ 2147483647 h 161"/>
              <a:gd name="T28" fmla="*/ 2147483647 w 172"/>
              <a:gd name="T29" fmla="*/ 2147483647 h 161"/>
              <a:gd name="T30" fmla="*/ 2147483647 w 172"/>
              <a:gd name="T31" fmla="*/ 2147483647 h 161"/>
              <a:gd name="T32" fmla="*/ 2147483647 w 172"/>
              <a:gd name="T33" fmla="*/ 2147483647 h 161"/>
              <a:gd name="T34" fmla="*/ 2147483647 w 172"/>
              <a:gd name="T35" fmla="*/ 2147483647 h 161"/>
              <a:gd name="T36" fmla="*/ 2147483647 w 172"/>
              <a:gd name="T37" fmla="*/ 2147483647 h 161"/>
              <a:gd name="T38" fmla="*/ 2147483647 w 172"/>
              <a:gd name="T39" fmla="*/ 2147483647 h 161"/>
              <a:gd name="T40" fmla="*/ 2147483647 w 172"/>
              <a:gd name="T41" fmla="*/ 2147483647 h 161"/>
              <a:gd name="T42" fmla="*/ 2147483647 w 172"/>
              <a:gd name="T43" fmla="*/ 2147483647 h 161"/>
              <a:gd name="T44" fmla="*/ 2147483647 w 172"/>
              <a:gd name="T45" fmla="*/ 2147483647 h 161"/>
              <a:gd name="T46" fmla="*/ 2147483647 w 172"/>
              <a:gd name="T47" fmla="*/ 2147483647 h 161"/>
              <a:gd name="T48" fmla="*/ 2147483647 w 172"/>
              <a:gd name="T49" fmla="*/ 2147483647 h 161"/>
              <a:gd name="T50" fmla="*/ 2147483647 w 172"/>
              <a:gd name="T51" fmla="*/ 2147483647 h 161"/>
              <a:gd name="T52" fmla="*/ 2147483647 w 172"/>
              <a:gd name="T53" fmla="*/ 2147483647 h 161"/>
              <a:gd name="T54" fmla="*/ 2147483647 w 172"/>
              <a:gd name="T55" fmla="*/ 2147483647 h 161"/>
              <a:gd name="T56" fmla="*/ 2147483647 w 172"/>
              <a:gd name="T57" fmla="*/ 2147483647 h 161"/>
              <a:gd name="T58" fmla="*/ 2147483647 w 172"/>
              <a:gd name="T59" fmla="*/ 2147483647 h 161"/>
              <a:gd name="T60" fmla="*/ 2147483647 w 172"/>
              <a:gd name="T61" fmla="*/ 2147483647 h 161"/>
              <a:gd name="T62" fmla="*/ 2147483647 w 172"/>
              <a:gd name="T63" fmla="*/ 2147483647 h 161"/>
              <a:gd name="T64" fmla="*/ 2147483647 w 172"/>
              <a:gd name="T65" fmla="*/ 2147483647 h 161"/>
              <a:gd name="T66" fmla="*/ 2147483647 w 172"/>
              <a:gd name="T67" fmla="*/ 2147483647 h 161"/>
              <a:gd name="T68" fmla="*/ 2147483647 w 172"/>
              <a:gd name="T69" fmla="*/ 2147483647 h 161"/>
              <a:gd name="T70" fmla="*/ 2147483647 w 172"/>
              <a:gd name="T71" fmla="*/ 2147483647 h 161"/>
              <a:gd name="T72" fmla="*/ 2147483647 w 172"/>
              <a:gd name="T73" fmla="*/ 2147483647 h 161"/>
              <a:gd name="T74" fmla="*/ 2147483647 w 172"/>
              <a:gd name="T75" fmla="*/ 2147483647 h 161"/>
              <a:gd name="T76" fmla="*/ 2147483647 w 172"/>
              <a:gd name="T77" fmla="*/ 2147483647 h 161"/>
              <a:gd name="T78" fmla="*/ 2147483647 w 172"/>
              <a:gd name="T79" fmla="*/ 2147483647 h 161"/>
              <a:gd name="T80" fmla="*/ 2147483647 w 172"/>
              <a:gd name="T81" fmla="*/ 2147483647 h 161"/>
              <a:gd name="T82" fmla="*/ 2147483647 w 172"/>
              <a:gd name="T83" fmla="*/ 2147483647 h 161"/>
              <a:gd name="T84" fmla="*/ 2147483647 w 172"/>
              <a:gd name="T85" fmla="*/ 2147483647 h 161"/>
              <a:gd name="T86" fmla="*/ 2147483647 w 172"/>
              <a:gd name="T87" fmla="*/ 2147483647 h 161"/>
              <a:gd name="T88" fmla="*/ 2147483647 w 172"/>
              <a:gd name="T89" fmla="*/ 2147483647 h 161"/>
              <a:gd name="T90" fmla="*/ 2147483647 w 172"/>
              <a:gd name="T91" fmla="*/ 2147483647 h 161"/>
              <a:gd name="T92" fmla="*/ 2147483647 w 172"/>
              <a:gd name="T93" fmla="*/ 2147483647 h 161"/>
              <a:gd name="T94" fmla="*/ 2147483647 w 172"/>
              <a:gd name="T95" fmla="*/ 2147483647 h 161"/>
              <a:gd name="T96" fmla="*/ 2147483647 w 172"/>
              <a:gd name="T97" fmla="*/ 2147483647 h 161"/>
              <a:gd name="T98" fmla="*/ 2147483647 w 172"/>
              <a:gd name="T99" fmla="*/ 2147483647 h 161"/>
              <a:gd name="T100" fmla="*/ 2147483647 w 172"/>
              <a:gd name="T101" fmla="*/ 2147483647 h 161"/>
              <a:gd name="T102" fmla="*/ 2147483647 w 172"/>
              <a:gd name="T103" fmla="*/ 2147483647 h 161"/>
              <a:gd name="T104" fmla="*/ 2147483647 w 172"/>
              <a:gd name="T105" fmla="*/ 2147483647 h 161"/>
              <a:gd name="T106" fmla="*/ 2147483647 w 172"/>
              <a:gd name="T107" fmla="*/ 2147483647 h 161"/>
              <a:gd name="T108" fmla="*/ 2147483647 w 172"/>
              <a:gd name="T109" fmla="*/ 2147483647 h 161"/>
              <a:gd name="T110" fmla="*/ 2147483647 w 172"/>
              <a:gd name="T111" fmla="*/ 2147483647 h 161"/>
              <a:gd name="T112" fmla="*/ 2147483647 w 172"/>
              <a:gd name="T113" fmla="*/ 2147483647 h 161"/>
              <a:gd name="T114" fmla="*/ 2147483647 w 172"/>
              <a:gd name="T115" fmla="*/ 2147483647 h 161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172"/>
              <a:gd name="T175" fmla="*/ 0 h 161"/>
              <a:gd name="T176" fmla="*/ 172 w 172"/>
              <a:gd name="T177" fmla="*/ 161 h 161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172" h="161">
                <a:moveTo>
                  <a:pt x="74" y="32"/>
                </a:moveTo>
                <a:lnTo>
                  <a:pt x="74" y="32"/>
                </a:lnTo>
                <a:lnTo>
                  <a:pt x="68" y="26"/>
                </a:lnTo>
                <a:lnTo>
                  <a:pt x="63" y="23"/>
                </a:lnTo>
                <a:lnTo>
                  <a:pt x="57" y="21"/>
                </a:lnTo>
                <a:lnTo>
                  <a:pt x="51" y="18"/>
                </a:lnTo>
                <a:lnTo>
                  <a:pt x="48" y="15"/>
                </a:lnTo>
                <a:lnTo>
                  <a:pt x="46" y="15"/>
                </a:lnTo>
                <a:lnTo>
                  <a:pt x="37" y="12"/>
                </a:lnTo>
                <a:lnTo>
                  <a:pt x="25" y="9"/>
                </a:lnTo>
                <a:lnTo>
                  <a:pt x="14" y="3"/>
                </a:lnTo>
                <a:lnTo>
                  <a:pt x="8" y="0"/>
                </a:lnTo>
                <a:lnTo>
                  <a:pt x="5" y="44"/>
                </a:lnTo>
                <a:lnTo>
                  <a:pt x="5" y="66"/>
                </a:lnTo>
                <a:lnTo>
                  <a:pt x="2" y="72"/>
                </a:lnTo>
                <a:lnTo>
                  <a:pt x="2" y="75"/>
                </a:lnTo>
                <a:lnTo>
                  <a:pt x="0" y="78"/>
                </a:lnTo>
                <a:lnTo>
                  <a:pt x="2" y="81"/>
                </a:lnTo>
                <a:lnTo>
                  <a:pt x="2" y="87"/>
                </a:lnTo>
                <a:lnTo>
                  <a:pt x="2" y="95"/>
                </a:lnTo>
                <a:lnTo>
                  <a:pt x="2" y="130"/>
                </a:lnTo>
                <a:lnTo>
                  <a:pt x="5" y="130"/>
                </a:lnTo>
                <a:lnTo>
                  <a:pt x="17" y="130"/>
                </a:lnTo>
                <a:lnTo>
                  <a:pt x="28" y="133"/>
                </a:lnTo>
                <a:lnTo>
                  <a:pt x="37" y="130"/>
                </a:lnTo>
                <a:lnTo>
                  <a:pt x="40" y="127"/>
                </a:lnTo>
                <a:lnTo>
                  <a:pt x="43" y="118"/>
                </a:lnTo>
                <a:lnTo>
                  <a:pt x="46" y="110"/>
                </a:lnTo>
                <a:lnTo>
                  <a:pt x="51" y="107"/>
                </a:lnTo>
                <a:lnTo>
                  <a:pt x="51" y="101"/>
                </a:lnTo>
                <a:lnTo>
                  <a:pt x="57" y="101"/>
                </a:lnTo>
                <a:lnTo>
                  <a:pt x="60" y="101"/>
                </a:lnTo>
                <a:lnTo>
                  <a:pt x="66" y="101"/>
                </a:lnTo>
                <a:lnTo>
                  <a:pt x="77" y="104"/>
                </a:lnTo>
                <a:lnTo>
                  <a:pt x="89" y="110"/>
                </a:lnTo>
                <a:lnTo>
                  <a:pt x="89" y="118"/>
                </a:lnTo>
                <a:lnTo>
                  <a:pt x="91" y="124"/>
                </a:lnTo>
                <a:lnTo>
                  <a:pt x="94" y="127"/>
                </a:lnTo>
                <a:lnTo>
                  <a:pt x="97" y="130"/>
                </a:lnTo>
                <a:lnTo>
                  <a:pt x="100" y="133"/>
                </a:lnTo>
                <a:lnTo>
                  <a:pt x="103" y="138"/>
                </a:lnTo>
                <a:lnTo>
                  <a:pt x="109" y="144"/>
                </a:lnTo>
                <a:lnTo>
                  <a:pt x="117" y="147"/>
                </a:lnTo>
                <a:lnTo>
                  <a:pt x="126" y="150"/>
                </a:lnTo>
                <a:lnTo>
                  <a:pt x="134" y="150"/>
                </a:lnTo>
                <a:lnTo>
                  <a:pt x="143" y="153"/>
                </a:lnTo>
                <a:lnTo>
                  <a:pt x="146" y="153"/>
                </a:lnTo>
                <a:lnTo>
                  <a:pt x="149" y="155"/>
                </a:lnTo>
                <a:lnTo>
                  <a:pt x="152" y="158"/>
                </a:lnTo>
                <a:lnTo>
                  <a:pt x="155" y="161"/>
                </a:lnTo>
                <a:lnTo>
                  <a:pt x="157" y="161"/>
                </a:lnTo>
                <a:lnTo>
                  <a:pt x="160" y="158"/>
                </a:lnTo>
                <a:lnTo>
                  <a:pt x="163" y="153"/>
                </a:lnTo>
                <a:lnTo>
                  <a:pt x="169" y="153"/>
                </a:lnTo>
                <a:lnTo>
                  <a:pt x="172" y="147"/>
                </a:lnTo>
                <a:lnTo>
                  <a:pt x="169" y="141"/>
                </a:lnTo>
                <a:lnTo>
                  <a:pt x="166" y="135"/>
                </a:lnTo>
                <a:lnTo>
                  <a:pt x="166" y="133"/>
                </a:lnTo>
                <a:lnTo>
                  <a:pt x="160" y="130"/>
                </a:lnTo>
                <a:lnTo>
                  <a:pt x="160" y="127"/>
                </a:lnTo>
                <a:lnTo>
                  <a:pt x="155" y="127"/>
                </a:lnTo>
                <a:lnTo>
                  <a:pt x="152" y="130"/>
                </a:lnTo>
                <a:lnTo>
                  <a:pt x="157" y="135"/>
                </a:lnTo>
                <a:lnTo>
                  <a:pt x="160" y="135"/>
                </a:lnTo>
                <a:lnTo>
                  <a:pt x="163" y="141"/>
                </a:lnTo>
                <a:lnTo>
                  <a:pt x="166" y="141"/>
                </a:lnTo>
                <a:lnTo>
                  <a:pt x="166" y="144"/>
                </a:lnTo>
                <a:lnTo>
                  <a:pt x="166" y="147"/>
                </a:lnTo>
                <a:lnTo>
                  <a:pt x="163" y="150"/>
                </a:lnTo>
                <a:lnTo>
                  <a:pt x="160" y="150"/>
                </a:lnTo>
                <a:lnTo>
                  <a:pt x="155" y="150"/>
                </a:lnTo>
                <a:lnTo>
                  <a:pt x="155" y="147"/>
                </a:lnTo>
                <a:lnTo>
                  <a:pt x="152" y="144"/>
                </a:lnTo>
                <a:lnTo>
                  <a:pt x="152" y="138"/>
                </a:lnTo>
                <a:lnTo>
                  <a:pt x="149" y="135"/>
                </a:lnTo>
                <a:lnTo>
                  <a:pt x="146" y="135"/>
                </a:lnTo>
                <a:lnTo>
                  <a:pt x="140" y="135"/>
                </a:lnTo>
                <a:lnTo>
                  <a:pt x="137" y="133"/>
                </a:lnTo>
                <a:lnTo>
                  <a:pt x="137" y="130"/>
                </a:lnTo>
                <a:lnTo>
                  <a:pt x="140" y="127"/>
                </a:lnTo>
                <a:lnTo>
                  <a:pt x="143" y="127"/>
                </a:lnTo>
                <a:lnTo>
                  <a:pt x="140" y="127"/>
                </a:lnTo>
                <a:lnTo>
                  <a:pt x="134" y="127"/>
                </a:lnTo>
                <a:lnTo>
                  <a:pt x="132" y="124"/>
                </a:lnTo>
                <a:lnTo>
                  <a:pt x="132" y="121"/>
                </a:lnTo>
                <a:lnTo>
                  <a:pt x="129" y="118"/>
                </a:lnTo>
                <a:lnTo>
                  <a:pt x="126" y="115"/>
                </a:lnTo>
                <a:lnTo>
                  <a:pt x="123" y="112"/>
                </a:lnTo>
                <a:lnTo>
                  <a:pt x="126" y="107"/>
                </a:lnTo>
                <a:lnTo>
                  <a:pt x="123" y="107"/>
                </a:lnTo>
                <a:lnTo>
                  <a:pt x="120" y="104"/>
                </a:lnTo>
                <a:lnTo>
                  <a:pt x="114" y="101"/>
                </a:lnTo>
                <a:lnTo>
                  <a:pt x="112" y="98"/>
                </a:lnTo>
                <a:lnTo>
                  <a:pt x="109" y="89"/>
                </a:lnTo>
                <a:lnTo>
                  <a:pt x="106" y="84"/>
                </a:lnTo>
                <a:lnTo>
                  <a:pt x="103" y="81"/>
                </a:lnTo>
                <a:lnTo>
                  <a:pt x="106" y="81"/>
                </a:lnTo>
                <a:lnTo>
                  <a:pt x="112" y="81"/>
                </a:lnTo>
                <a:lnTo>
                  <a:pt x="117" y="84"/>
                </a:lnTo>
                <a:lnTo>
                  <a:pt x="123" y="81"/>
                </a:lnTo>
                <a:lnTo>
                  <a:pt x="126" y="78"/>
                </a:lnTo>
                <a:lnTo>
                  <a:pt x="123" y="75"/>
                </a:lnTo>
                <a:lnTo>
                  <a:pt x="117" y="69"/>
                </a:lnTo>
                <a:lnTo>
                  <a:pt x="109" y="64"/>
                </a:lnTo>
                <a:lnTo>
                  <a:pt x="91" y="55"/>
                </a:lnTo>
                <a:lnTo>
                  <a:pt x="83" y="52"/>
                </a:lnTo>
                <a:lnTo>
                  <a:pt x="83" y="49"/>
                </a:lnTo>
                <a:lnTo>
                  <a:pt x="91" y="49"/>
                </a:lnTo>
                <a:lnTo>
                  <a:pt x="91" y="46"/>
                </a:lnTo>
                <a:lnTo>
                  <a:pt x="94" y="41"/>
                </a:lnTo>
                <a:lnTo>
                  <a:pt x="97" y="38"/>
                </a:lnTo>
                <a:lnTo>
                  <a:pt x="94" y="38"/>
                </a:lnTo>
                <a:lnTo>
                  <a:pt x="86" y="38"/>
                </a:lnTo>
                <a:lnTo>
                  <a:pt x="80" y="35"/>
                </a:lnTo>
                <a:lnTo>
                  <a:pt x="74" y="3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73" name="Freeform 177"/>
          <p:cNvSpPr>
            <a:spLocks/>
          </p:cNvSpPr>
          <p:nvPr/>
        </p:nvSpPr>
        <p:spPr bwMode="gray">
          <a:xfrm>
            <a:off x="10599910" y="4119112"/>
            <a:ext cx="10001" cy="9000"/>
          </a:xfrm>
          <a:custGeom>
            <a:avLst/>
            <a:gdLst>
              <a:gd name="T0" fmla="*/ 0 w 5"/>
              <a:gd name="T1" fmla="*/ 2147483647 h 6"/>
              <a:gd name="T2" fmla="*/ 2147483647 w 5"/>
              <a:gd name="T3" fmla="*/ 2147483647 h 6"/>
              <a:gd name="T4" fmla="*/ 2147483647 w 5"/>
              <a:gd name="T5" fmla="*/ 0 h 6"/>
              <a:gd name="T6" fmla="*/ 0 w 5"/>
              <a:gd name="T7" fmla="*/ 2147483647 h 6"/>
              <a:gd name="T8" fmla="*/ 0 60000 65536"/>
              <a:gd name="T9" fmla="*/ 0 60000 65536"/>
              <a:gd name="T10" fmla="*/ 0 60000 65536"/>
              <a:gd name="T11" fmla="*/ 0 60000 65536"/>
              <a:gd name="T12" fmla="*/ 0 w 5"/>
              <a:gd name="T13" fmla="*/ 0 h 6"/>
              <a:gd name="T14" fmla="*/ 5 w 5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" h="6">
                <a:moveTo>
                  <a:pt x="0" y="3"/>
                </a:moveTo>
                <a:lnTo>
                  <a:pt x="5" y="6"/>
                </a:lnTo>
                <a:lnTo>
                  <a:pt x="5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74" name="Freeform 178"/>
          <p:cNvSpPr>
            <a:spLocks/>
          </p:cNvSpPr>
          <p:nvPr/>
        </p:nvSpPr>
        <p:spPr bwMode="gray">
          <a:xfrm>
            <a:off x="10587908" y="4116111"/>
            <a:ext cx="12002" cy="7501"/>
          </a:xfrm>
          <a:custGeom>
            <a:avLst/>
            <a:gdLst>
              <a:gd name="T0" fmla="*/ 2147483647 w 6"/>
              <a:gd name="T1" fmla="*/ 2147483647 h 5"/>
              <a:gd name="T2" fmla="*/ 2147483647 w 6"/>
              <a:gd name="T3" fmla="*/ 0 h 5"/>
              <a:gd name="T4" fmla="*/ 0 w 6"/>
              <a:gd name="T5" fmla="*/ 2147483647 h 5"/>
              <a:gd name="T6" fmla="*/ 2147483647 w 6"/>
              <a:gd name="T7" fmla="*/ 2147483647 h 5"/>
              <a:gd name="T8" fmla="*/ 2147483647 w 6"/>
              <a:gd name="T9" fmla="*/ 2147483647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5"/>
              <a:gd name="T17" fmla="*/ 6 w 6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5">
                <a:moveTo>
                  <a:pt x="6" y="2"/>
                </a:moveTo>
                <a:lnTo>
                  <a:pt x="6" y="0"/>
                </a:lnTo>
                <a:lnTo>
                  <a:pt x="0" y="2"/>
                </a:lnTo>
                <a:lnTo>
                  <a:pt x="3" y="5"/>
                </a:lnTo>
                <a:lnTo>
                  <a:pt x="6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75" name="Freeform 179"/>
          <p:cNvSpPr>
            <a:spLocks/>
          </p:cNvSpPr>
          <p:nvPr/>
        </p:nvSpPr>
        <p:spPr bwMode="gray">
          <a:xfrm>
            <a:off x="9137646" y="3681099"/>
            <a:ext cx="352063" cy="252007"/>
          </a:xfrm>
          <a:custGeom>
            <a:avLst/>
            <a:gdLst>
              <a:gd name="T0" fmla="*/ 2147483647 w 175"/>
              <a:gd name="T1" fmla="*/ 2147483647 h 166"/>
              <a:gd name="T2" fmla="*/ 2147483647 w 175"/>
              <a:gd name="T3" fmla="*/ 2147483647 h 166"/>
              <a:gd name="T4" fmla="*/ 2147483647 w 175"/>
              <a:gd name="T5" fmla="*/ 2147483647 h 166"/>
              <a:gd name="T6" fmla="*/ 2147483647 w 175"/>
              <a:gd name="T7" fmla="*/ 2147483647 h 166"/>
              <a:gd name="T8" fmla="*/ 2147483647 w 175"/>
              <a:gd name="T9" fmla="*/ 2147483647 h 166"/>
              <a:gd name="T10" fmla="*/ 2147483647 w 175"/>
              <a:gd name="T11" fmla="*/ 2147483647 h 166"/>
              <a:gd name="T12" fmla="*/ 2147483647 w 175"/>
              <a:gd name="T13" fmla="*/ 2147483647 h 166"/>
              <a:gd name="T14" fmla="*/ 2147483647 w 175"/>
              <a:gd name="T15" fmla="*/ 2147483647 h 166"/>
              <a:gd name="T16" fmla="*/ 2147483647 w 175"/>
              <a:gd name="T17" fmla="*/ 2147483647 h 166"/>
              <a:gd name="T18" fmla="*/ 2147483647 w 175"/>
              <a:gd name="T19" fmla="*/ 2147483647 h 166"/>
              <a:gd name="T20" fmla="*/ 2147483647 w 175"/>
              <a:gd name="T21" fmla="*/ 2147483647 h 166"/>
              <a:gd name="T22" fmla="*/ 2147483647 w 175"/>
              <a:gd name="T23" fmla="*/ 2147483647 h 166"/>
              <a:gd name="T24" fmla="*/ 2147483647 w 175"/>
              <a:gd name="T25" fmla="*/ 2147483647 h 166"/>
              <a:gd name="T26" fmla="*/ 2147483647 w 175"/>
              <a:gd name="T27" fmla="*/ 2147483647 h 166"/>
              <a:gd name="T28" fmla="*/ 2147483647 w 175"/>
              <a:gd name="T29" fmla="*/ 2147483647 h 166"/>
              <a:gd name="T30" fmla="*/ 2147483647 w 175"/>
              <a:gd name="T31" fmla="*/ 2147483647 h 166"/>
              <a:gd name="T32" fmla="*/ 2147483647 w 175"/>
              <a:gd name="T33" fmla="*/ 2147483647 h 166"/>
              <a:gd name="T34" fmla="*/ 2147483647 w 175"/>
              <a:gd name="T35" fmla="*/ 2147483647 h 166"/>
              <a:gd name="T36" fmla="*/ 2147483647 w 175"/>
              <a:gd name="T37" fmla="*/ 2147483647 h 166"/>
              <a:gd name="T38" fmla="*/ 2147483647 w 175"/>
              <a:gd name="T39" fmla="*/ 2147483647 h 166"/>
              <a:gd name="T40" fmla="*/ 2147483647 w 175"/>
              <a:gd name="T41" fmla="*/ 2147483647 h 166"/>
              <a:gd name="T42" fmla="*/ 2147483647 w 175"/>
              <a:gd name="T43" fmla="*/ 2147483647 h 166"/>
              <a:gd name="T44" fmla="*/ 2147483647 w 175"/>
              <a:gd name="T45" fmla="*/ 2147483647 h 166"/>
              <a:gd name="T46" fmla="*/ 2147483647 w 175"/>
              <a:gd name="T47" fmla="*/ 2147483647 h 166"/>
              <a:gd name="T48" fmla="*/ 2147483647 w 175"/>
              <a:gd name="T49" fmla="*/ 2147483647 h 166"/>
              <a:gd name="T50" fmla="*/ 2147483647 w 175"/>
              <a:gd name="T51" fmla="*/ 2147483647 h 166"/>
              <a:gd name="T52" fmla="*/ 2147483647 w 175"/>
              <a:gd name="T53" fmla="*/ 2147483647 h 166"/>
              <a:gd name="T54" fmla="*/ 2147483647 w 175"/>
              <a:gd name="T55" fmla="*/ 2147483647 h 166"/>
              <a:gd name="T56" fmla="*/ 2147483647 w 175"/>
              <a:gd name="T57" fmla="*/ 2147483647 h 166"/>
              <a:gd name="T58" fmla="*/ 0 w 175"/>
              <a:gd name="T59" fmla="*/ 2147483647 h 166"/>
              <a:gd name="T60" fmla="*/ 2147483647 w 175"/>
              <a:gd name="T61" fmla="*/ 2147483647 h 166"/>
              <a:gd name="T62" fmla="*/ 2147483647 w 175"/>
              <a:gd name="T63" fmla="*/ 2147483647 h 166"/>
              <a:gd name="T64" fmla="*/ 2147483647 w 175"/>
              <a:gd name="T65" fmla="*/ 2147483647 h 166"/>
              <a:gd name="T66" fmla="*/ 2147483647 w 175"/>
              <a:gd name="T67" fmla="*/ 2147483647 h 166"/>
              <a:gd name="T68" fmla="*/ 2147483647 w 175"/>
              <a:gd name="T69" fmla="*/ 2147483647 h 166"/>
              <a:gd name="T70" fmla="*/ 2147483647 w 175"/>
              <a:gd name="T71" fmla="*/ 2147483647 h 166"/>
              <a:gd name="T72" fmla="*/ 2147483647 w 175"/>
              <a:gd name="T73" fmla="*/ 2147483647 h 166"/>
              <a:gd name="T74" fmla="*/ 2147483647 w 175"/>
              <a:gd name="T75" fmla="*/ 2147483647 h 166"/>
              <a:gd name="T76" fmla="*/ 2147483647 w 175"/>
              <a:gd name="T77" fmla="*/ 2147483647 h 166"/>
              <a:gd name="T78" fmla="*/ 2147483647 w 175"/>
              <a:gd name="T79" fmla="*/ 2147483647 h 166"/>
              <a:gd name="T80" fmla="*/ 2147483647 w 175"/>
              <a:gd name="T81" fmla="*/ 2147483647 h 166"/>
              <a:gd name="T82" fmla="*/ 2147483647 w 175"/>
              <a:gd name="T83" fmla="*/ 2147483647 h 166"/>
              <a:gd name="T84" fmla="*/ 2147483647 w 175"/>
              <a:gd name="T85" fmla="*/ 2147483647 h 166"/>
              <a:gd name="T86" fmla="*/ 2147483647 w 175"/>
              <a:gd name="T87" fmla="*/ 2147483647 h 166"/>
              <a:gd name="T88" fmla="*/ 2147483647 w 175"/>
              <a:gd name="T89" fmla="*/ 2147483647 h 166"/>
              <a:gd name="T90" fmla="*/ 2147483647 w 175"/>
              <a:gd name="T91" fmla="*/ 2147483647 h 166"/>
              <a:gd name="T92" fmla="*/ 2147483647 w 175"/>
              <a:gd name="T93" fmla="*/ 2147483647 h 166"/>
              <a:gd name="T94" fmla="*/ 2147483647 w 175"/>
              <a:gd name="T95" fmla="*/ 2147483647 h 166"/>
              <a:gd name="T96" fmla="*/ 2147483647 w 175"/>
              <a:gd name="T97" fmla="*/ 2147483647 h 166"/>
              <a:gd name="T98" fmla="*/ 2147483647 w 175"/>
              <a:gd name="T99" fmla="*/ 2147483647 h 166"/>
              <a:gd name="T100" fmla="*/ 2147483647 w 175"/>
              <a:gd name="T101" fmla="*/ 2147483647 h 16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175"/>
              <a:gd name="T154" fmla="*/ 0 h 166"/>
              <a:gd name="T155" fmla="*/ 175 w 175"/>
              <a:gd name="T156" fmla="*/ 166 h 16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175" h="166">
                <a:moveTo>
                  <a:pt x="121" y="157"/>
                </a:moveTo>
                <a:lnTo>
                  <a:pt x="121" y="157"/>
                </a:lnTo>
                <a:lnTo>
                  <a:pt x="121" y="160"/>
                </a:lnTo>
                <a:lnTo>
                  <a:pt x="124" y="163"/>
                </a:lnTo>
                <a:lnTo>
                  <a:pt x="124" y="166"/>
                </a:lnTo>
                <a:lnTo>
                  <a:pt x="126" y="160"/>
                </a:lnTo>
                <a:lnTo>
                  <a:pt x="126" y="155"/>
                </a:lnTo>
                <a:lnTo>
                  <a:pt x="126" y="146"/>
                </a:lnTo>
                <a:lnTo>
                  <a:pt x="126" y="137"/>
                </a:lnTo>
                <a:lnTo>
                  <a:pt x="129" y="134"/>
                </a:lnTo>
                <a:lnTo>
                  <a:pt x="132" y="129"/>
                </a:lnTo>
                <a:lnTo>
                  <a:pt x="132" y="123"/>
                </a:lnTo>
                <a:lnTo>
                  <a:pt x="129" y="117"/>
                </a:lnTo>
                <a:lnTo>
                  <a:pt x="138" y="109"/>
                </a:lnTo>
                <a:lnTo>
                  <a:pt x="147" y="100"/>
                </a:lnTo>
                <a:lnTo>
                  <a:pt x="149" y="86"/>
                </a:lnTo>
                <a:lnTo>
                  <a:pt x="149" y="77"/>
                </a:lnTo>
                <a:lnTo>
                  <a:pt x="152" y="71"/>
                </a:lnTo>
                <a:lnTo>
                  <a:pt x="158" y="66"/>
                </a:lnTo>
                <a:lnTo>
                  <a:pt x="161" y="66"/>
                </a:lnTo>
                <a:lnTo>
                  <a:pt x="170" y="66"/>
                </a:lnTo>
                <a:lnTo>
                  <a:pt x="175" y="66"/>
                </a:lnTo>
                <a:lnTo>
                  <a:pt x="167" y="57"/>
                </a:lnTo>
                <a:lnTo>
                  <a:pt x="155" y="48"/>
                </a:lnTo>
                <a:lnTo>
                  <a:pt x="158" y="40"/>
                </a:lnTo>
                <a:lnTo>
                  <a:pt x="149" y="28"/>
                </a:lnTo>
                <a:lnTo>
                  <a:pt x="147" y="20"/>
                </a:lnTo>
                <a:lnTo>
                  <a:pt x="149" y="14"/>
                </a:lnTo>
                <a:lnTo>
                  <a:pt x="149" y="8"/>
                </a:lnTo>
                <a:lnTo>
                  <a:pt x="149" y="5"/>
                </a:lnTo>
                <a:lnTo>
                  <a:pt x="129" y="2"/>
                </a:lnTo>
                <a:lnTo>
                  <a:pt x="121" y="0"/>
                </a:lnTo>
                <a:lnTo>
                  <a:pt x="118" y="8"/>
                </a:lnTo>
                <a:lnTo>
                  <a:pt x="115" y="20"/>
                </a:lnTo>
                <a:lnTo>
                  <a:pt x="115" y="22"/>
                </a:lnTo>
                <a:lnTo>
                  <a:pt x="118" y="22"/>
                </a:lnTo>
                <a:lnTo>
                  <a:pt x="118" y="25"/>
                </a:lnTo>
                <a:lnTo>
                  <a:pt x="115" y="25"/>
                </a:lnTo>
                <a:lnTo>
                  <a:pt x="112" y="28"/>
                </a:lnTo>
                <a:lnTo>
                  <a:pt x="109" y="28"/>
                </a:lnTo>
                <a:lnTo>
                  <a:pt x="112" y="37"/>
                </a:lnTo>
                <a:lnTo>
                  <a:pt x="104" y="40"/>
                </a:lnTo>
                <a:lnTo>
                  <a:pt x="104" y="45"/>
                </a:lnTo>
                <a:lnTo>
                  <a:pt x="101" y="60"/>
                </a:lnTo>
                <a:lnTo>
                  <a:pt x="89" y="57"/>
                </a:lnTo>
                <a:lnTo>
                  <a:pt x="81" y="60"/>
                </a:lnTo>
                <a:lnTo>
                  <a:pt x="66" y="57"/>
                </a:lnTo>
                <a:lnTo>
                  <a:pt x="60" y="57"/>
                </a:lnTo>
                <a:lnTo>
                  <a:pt x="55" y="66"/>
                </a:lnTo>
                <a:lnTo>
                  <a:pt x="52" y="68"/>
                </a:lnTo>
                <a:lnTo>
                  <a:pt x="40" y="66"/>
                </a:lnTo>
                <a:lnTo>
                  <a:pt x="29" y="68"/>
                </a:lnTo>
                <a:lnTo>
                  <a:pt x="17" y="60"/>
                </a:lnTo>
                <a:lnTo>
                  <a:pt x="12" y="51"/>
                </a:lnTo>
                <a:lnTo>
                  <a:pt x="9" y="45"/>
                </a:lnTo>
                <a:lnTo>
                  <a:pt x="6" y="48"/>
                </a:lnTo>
                <a:lnTo>
                  <a:pt x="3" y="54"/>
                </a:lnTo>
                <a:lnTo>
                  <a:pt x="0" y="66"/>
                </a:lnTo>
                <a:lnTo>
                  <a:pt x="0" y="74"/>
                </a:lnTo>
                <a:lnTo>
                  <a:pt x="3" y="83"/>
                </a:lnTo>
                <a:lnTo>
                  <a:pt x="6" y="89"/>
                </a:lnTo>
                <a:lnTo>
                  <a:pt x="6" y="94"/>
                </a:lnTo>
                <a:lnTo>
                  <a:pt x="9" y="97"/>
                </a:lnTo>
                <a:lnTo>
                  <a:pt x="6" y="100"/>
                </a:lnTo>
                <a:lnTo>
                  <a:pt x="9" y="100"/>
                </a:lnTo>
                <a:lnTo>
                  <a:pt x="15" y="103"/>
                </a:lnTo>
                <a:lnTo>
                  <a:pt x="9" y="109"/>
                </a:lnTo>
                <a:lnTo>
                  <a:pt x="12" y="109"/>
                </a:lnTo>
                <a:lnTo>
                  <a:pt x="15" y="106"/>
                </a:lnTo>
                <a:lnTo>
                  <a:pt x="20" y="109"/>
                </a:lnTo>
                <a:lnTo>
                  <a:pt x="20" y="114"/>
                </a:lnTo>
                <a:lnTo>
                  <a:pt x="20" y="120"/>
                </a:lnTo>
                <a:lnTo>
                  <a:pt x="20" y="123"/>
                </a:lnTo>
                <a:lnTo>
                  <a:pt x="23" y="126"/>
                </a:lnTo>
                <a:lnTo>
                  <a:pt x="23" y="129"/>
                </a:lnTo>
                <a:lnTo>
                  <a:pt x="20" y="137"/>
                </a:lnTo>
                <a:lnTo>
                  <a:pt x="23" y="140"/>
                </a:lnTo>
                <a:lnTo>
                  <a:pt x="23" y="143"/>
                </a:lnTo>
                <a:lnTo>
                  <a:pt x="29" y="143"/>
                </a:lnTo>
                <a:lnTo>
                  <a:pt x="35" y="143"/>
                </a:lnTo>
                <a:lnTo>
                  <a:pt x="49" y="140"/>
                </a:lnTo>
                <a:lnTo>
                  <a:pt x="52" y="155"/>
                </a:lnTo>
                <a:lnTo>
                  <a:pt x="55" y="152"/>
                </a:lnTo>
                <a:lnTo>
                  <a:pt x="58" y="149"/>
                </a:lnTo>
                <a:lnTo>
                  <a:pt x="60" y="149"/>
                </a:lnTo>
                <a:lnTo>
                  <a:pt x="69" y="146"/>
                </a:lnTo>
                <a:lnTo>
                  <a:pt x="72" y="143"/>
                </a:lnTo>
                <a:lnTo>
                  <a:pt x="78" y="149"/>
                </a:lnTo>
                <a:lnTo>
                  <a:pt x="78" y="146"/>
                </a:lnTo>
                <a:lnTo>
                  <a:pt x="81" y="149"/>
                </a:lnTo>
                <a:lnTo>
                  <a:pt x="81" y="155"/>
                </a:lnTo>
                <a:lnTo>
                  <a:pt x="83" y="149"/>
                </a:lnTo>
                <a:lnTo>
                  <a:pt x="89" y="149"/>
                </a:lnTo>
                <a:lnTo>
                  <a:pt x="95" y="152"/>
                </a:lnTo>
                <a:lnTo>
                  <a:pt x="98" y="155"/>
                </a:lnTo>
                <a:lnTo>
                  <a:pt x="98" y="166"/>
                </a:lnTo>
                <a:lnTo>
                  <a:pt x="115" y="157"/>
                </a:lnTo>
                <a:lnTo>
                  <a:pt x="121" y="15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76" name="Freeform 180"/>
          <p:cNvSpPr>
            <a:spLocks/>
          </p:cNvSpPr>
          <p:nvPr/>
        </p:nvSpPr>
        <p:spPr bwMode="gray">
          <a:xfrm>
            <a:off x="10569904" y="4119112"/>
            <a:ext cx="12002" cy="4501"/>
          </a:xfrm>
          <a:custGeom>
            <a:avLst/>
            <a:gdLst>
              <a:gd name="T0" fmla="*/ 2147483647 w 6"/>
              <a:gd name="T1" fmla="*/ 0 h 3"/>
              <a:gd name="T2" fmla="*/ 0 w 6"/>
              <a:gd name="T3" fmla="*/ 0 h 3"/>
              <a:gd name="T4" fmla="*/ 0 w 6"/>
              <a:gd name="T5" fmla="*/ 2147483647 h 3"/>
              <a:gd name="T6" fmla="*/ 2147483647 w 6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3"/>
              <a:gd name="T14" fmla="*/ 6 w 6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3">
                <a:moveTo>
                  <a:pt x="6" y="0"/>
                </a:moveTo>
                <a:lnTo>
                  <a:pt x="0" y="0"/>
                </a:lnTo>
                <a:lnTo>
                  <a:pt x="0" y="3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77" name="Freeform 181"/>
          <p:cNvSpPr>
            <a:spLocks/>
          </p:cNvSpPr>
          <p:nvPr/>
        </p:nvSpPr>
        <p:spPr bwMode="gray">
          <a:xfrm>
            <a:off x="10575906" y="4059110"/>
            <a:ext cx="12002" cy="13501"/>
          </a:xfrm>
          <a:custGeom>
            <a:avLst/>
            <a:gdLst>
              <a:gd name="T0" fmla="*/ 2147483647 w 6"/>
              <a:gd name="T1" fmla="*/ 2147483647 h 9"/>
              <a:gd name="T2" fmla="*/ 2147483647 w 6"/>
              <a:gd name="T3" fmla="*/ 0 h 9"/>
              <a:gd name="T4" fmla="*/ 0 w 6"/>
              <a:gd name="T5" fmla="*/ 2147483647 h 9"/>
              <a:gd name="T6" fmla="*/ 2147483647 w 6"/>
              <a:gd name="T7" fmla="*/ 2147483647 h 9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9"/>
              <a:gd name="T14" fmla="*/ 6 w 6"/>
              <a:gd name="T15" fmla="*/ 9 h 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9">
                <a:moveTo>
                  <a:pt x="6" y="9"/>
                </a:moveTo>
                <a:lnTo>
                  <a:pt x="6" y="0"/>
                </a:lnTo>
                <a:lnTo>
                  <a:pt x="0" y="3"/>
                </a:lnTo>
                <a:lnTo>
                  <a:pt x="6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78" name="Freeform 182"/>
          <p:cNvSpPr>
            <a:spLocks/>
          </p:cNvSpPr>
          <p:nvPr/>
        </p:nvSpPr>
        <p:spPr bwMode="gray">
          <a:xfrm>
            <a:off x="10475887" y="3967608"/>
            <a:ext cx="24004" cy="13500"/>
          </a:xfrm>
          <a:custGeom>
            <a:avLst/>
            <a:gdLst>
              <a:gd name="T0" fmla="*/ 2147483647 w 12"/>
              <a:gd name="T1" fmla="*/ 0 h 9"/>
              <a:gd name="T2" fmla="*/ 2147483647 w 12"/>
              <a:gd name="T3" fmla="*/ 0 h 9"/>
              <a:gd name="T4" fmla="*/ 0 w 12"/>
              <a:gd name="T5" fmla="*/ 2147483647 h 9"/>
              <a:gd name="T6" fmla="*/ 2147483647 w 12"/>
              <a:gd name="T7" fmla="*/ 2147483647 h 9"/>
              <a:gd name="T8" fmla="*/ 2147483647 w 12"/>
              <a:gd name="T9" fmla="*/ 2147483647 h 9"/>
              <a:gd name="T10" fmla="*/ 2147483647 w 12"/>
              <a:gd name="T11" fmla="*/ 2147483647 h 9"/>
              <a:gd name="T12" fmla="*/ 2147483647 w 12"/>
              <a:gd name="T13" fmla="*/ 2147483647 h 9"/>
              <a:gd name="T14" fmla="*/ 2147483647 w 12"/>
              <a:gd name="T15" fmla="*/ 2147483647 h 9"/>
              <a:gd name="T16" fmla="*/ 2147483647 w 12"/>
              <a:gd name="T17" fmla="*/ 2147483647 h 9"/>
              <a:gd name="T18" fmla="*/ 2147483647 w 12"/>
              <a:gd name="T19" fmla="*/ 2147483647 h 9"/>
              <a:gd name="T20" fmla="*/ 2147483647 w 12"/>
              <a:gd name="T21" fmla="*/ 0 h 9"/>
              <a:gd name="T22" fmla="*/ 2147483647 w 12"/>
              <a:gd name="T23" fmla="*/ 0 h 9"/>
              <a:gd name="T24" fmla="*/ 2147483647 w 12"/>
              <a:gd name="T25" fmla="*/ 0 h 9"/>
              <a:gd name="T26" fmla="*/ 2147483647 w 12"/>
              <a:gd name="T27" fmla="*/ 0 h 9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12"/>
              <a:gd name="T43" fmla="*/ 0 h 9"/>
              <a:gd name="T44" fmla="*/ 12 w 12"/>
              <a:gd name="T45" fmla="*/ 9 h 9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12" h="9">
                <a:moveTo>
                  <a:pt x="3" y="0"/>
                </a:moveTo>
                <a:lnTo>
                  <a:pt x="3" y="0"/>
                </a:lnTo>
                <a:lnTo>
                  <a:pt x="0" y="6"/>
                </a:lnTo>
                <a:lnTo>
                  <a:pt x="3" y="9"/>
                </a:lnTo>
                <a:lnTo>
                  <a:pt x="9" y="9"/>
                </a:lnTo>
                <a:lnTo>
                  <a:pt x="12" y="6"/>
                </a:lnTo>
                <a:lnTo>
                  <a:pt x="6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79" name="Freeform 183"/>
          <p:cNvSpPr>
            <a:spLocks/>
          </p:cNvSpPr>
          <p:nvPr/>
        </p:nvSpPr>
        <p:spPr bwMode="gray">
          <a:xfrm>
            <a:off x="10059813" y="4132612"/>
            <a:ext cx="28005" cy="21001"/>
          </a:xfrm>
          <a:custGeom>
            <a:avLst/>
            <a:gdLst>
              <a:gd name="T0" fmla="*/ 0 w 14"/>
              <a:gd name="T1" fmla="*/ 2147483647 h 14"/>
              <a:gd name="T2" fmla="*/ 0 w 14"/>
              <a:gd name="T3" fmla="*/ 2147483647 h 14"/>
              <a:gd name="T4" fmla="*/ 2147483647 w 14"/>
              <a:gd name="T5" fmla="*/ 2147483647 h 14"/>
              <a:gd name="T6" fmla="*/ 2147483647 w 14"/>
              <a:gd name="T7" fmla="*/ 2147483647 h 14"/>
              <a:gd name="T8" fmla="*/ 2147483647 w 14"/>
              <a:gd name="T9" fmla="*/ 0 h 14"/>
              <a:gd name="T10" fmla="*/ 2147483647 w 14"/>
              <a:gd name="T11" fmla="*/ 0 h 14"/>
              <a:gd name="T12" fmla="*/ 2147483647 w 14"/>
              <a:gd name="T13" fmla="*/ 2147483647 h 14"/>
              <a:gd name="T14" fmla="*/ 0 w 14"/>
              <a:gd name="T15" fmla="*/ 2147483647 h 1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4"/>
              <a:gd name="T25" fmla="*/ 0 h 14"/>
              <a:gd name="T26" fmla="*/ 14 w 14"/>
              <a:gd name="T27" fmla="*/ 14 h 14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4" h="14">
                <a:moveTo>
                  <a:pt x="0" y="12"/>
                </a:moveTo>
                <a:lnTo>
                  <a:pt x="0" y="14"/>
                </a:lnTo>
                <a:lnTo>
                  <a:pt x="5" y="9"/>
                </a:lnTo>
                <a:lnTo>
                  <a:pt x="8" y="6"/>
                </a:lnTo>
                <a:lnTo>
                  <a:pt x="14" y="0"/>
                </a:lnTo>
                <a:lnTo>
                  <a:pt x="11" y="0"/>
                </a:lnTo>
                <a:lnTo>
                  <a:pt x="2" y="9"/>
                </a:lnTo>
                <a:lnTo>
                  <a:pt x="0" y="1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80" name="Freeform 184"/>
          <p:cNvSpPr>
            <a:spLocks/>
          </p:cNvSpPr>
          <p:nvPr/>
        </p:nvSpPr>
        <p:spPr bwMode="gray">
          <a:xfrm>
            <a:off x="10141827" y="4311117"/>
            <a:ext cx="6002" cy="4501"/>
          </a:xfrm>
          <a:custGeom>
            <a:avLst/>
            <a:gdLst>
              <a:gd name="T0" fmla="*/ 2147483647 w 3"/>
              <a:gd name="T1" fmla="*/ 2147483647 h 3"/>
              <a:gd name="T2" fmla="*/ 2147483647 w 3"/>
              <a:gd name="T3" fmla="*/ 0 h 3"/>
              <a:gd name="T4" fmla="*/ 2147483647 w 3"/>
              <a:gd name="T5" fmla="*/ 0 h 3"/>
              <a:gd name="T6" fmla="*/ 0 w 3"/>
              <a:gd name="T7" fmla="*/ 2147483647 h 3"/>
              <a:gd name="T8" fmla="*/ 2147483647 w 3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3" y="3"/>
                </a:moveTo>
                <a:lnTo>
                  <a:pt x="3" y="0"/>
                </a:lnTo>
                <a:lnTo>
                  <a:pt x="0" y="3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81" name="Freeform 185"/>
          <p:cNvSpPr>
            <a:spLocks/>
          </p:cNvSpPr>
          <p:nvPr/>
        </p:nvSpPr>
        <p:spPr bwMode="gray">
          <a:xfrm>
            <a:off x="10135826" y="4293117"/>
            <a:ext cx="22003" cy="9000"/>
          </a:xfrm>
          <a:custGeom>
            <a:avLst/>
            <a:gdLst>
              <a:gd name="T0" fmla="*/ 2147483647 w 11"/>
              <a:gd name="T1" fmla="*/ 0 h 6"/>
              <a:gd name="T2" fmla="*/ 2147483647 w 11"/>
              <a:gd name="T3" fmla="*/ 0 h 6"/>
              <a:gd name="T4" fmla="*/ 0 w 11"/>
              <a:gd name="T5" fmla="*/ 2147483647 h 6"/>
              <a:gd name="T6" fmla="*/ 2147483647 w 11"/>
              <a:gd name="T7" fmla="*/ 2147483647 h 6"/>
              <a:gd name="T8" fmla="*/ 2147483647 w 11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1"/>
              <a:gd name="T16" fmla="*/ 0 h 6"/>
              <a:gd name="T17" fmla="*/ 11 w 11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1" h="6">
                <a:moveTo>
                  <a:pt x="9" y="0"/>
                </a:moveTo>
                <a:lnTo>
                  <a:pt x="3" y="0"/>
                </a:lnTo>
                <a:lnTo>
                  <a:pt x="0" y="6"/>
                </a:lnTo>
                <a:lnTo>
                  <a:pt x="11" y="3"/>
                </a:lnTo>
                <a:lnTo>
                  <a:pt x="9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82" name="Freeform 186"/>
          <p:cNvSpPr>
            <a:spLocks/>
          </p:cNvSpPr>
          <p:nvPr/>
        </p:nvSpPr>
        <p:spPr bwMode="gray">
          <a:xfrm>
            <a:off x="9879781" y="3819103"/>
            <a:ext cx="370066" cy="262508"/>
          </a:xfrm>
          <a:custGeom>
            <a:avLst/>
            <a:gdLst>
              <a:gd name="T0" fmla="*/ 2147483647 w 183"/>
              <a:gd name="T1" fmla="*/ 2147483647 h 173"/>
              <a:gd name="T2" fmla="*/ 2147483647 w 183"/>
              <a:gd name="T3" fmla="*/ 2147483647 h 173"/>
              <a:gd name="T4" fmla="*/ 2147483647 w 183"/>
              <a:gd name="T5" fmla="*/ 2147483647 h 173"/>
              <a:gd name="T6" fmla="*/ 2147483647 w 183"/>
              <a:gd name="T7" fmla="*/ 2147483647 h 173"/>
              <a:gd name="T8" fmla="*/ 2147483647 w 183"/>
              <a:gd name="T9" fmla="*/ 2147483647 h 173"/>
              <a:gd name="T10" fmla="*/ 2147483647 w 183"/>
              <a:gd name="T11" fmla="*/ 2147483647 h 173"/>
              <a:gd name="T12" fmla="*/ 2147483647 w 183"/>
              <a:gd name="T13" fmla="*/ 2147483647 h 173"/>
              <a:gd name="T14" fmla="*/ 2147483647 w 183"/>
              <a:gd name="T15" fmla="*/ 2147483647 h 173"/>
              <a:gd name="T16" fmla="*/ 2147483647 w 183"/>
              <a:gd name="T17" fmla="*/ 2147483647 h 173"/>
              <a:gd name="T18" fmla="*/ 2147483647 w 183"/>
              <a:gd name="T19" fmla="*/ 2147483647 h 173"/>
              <a:gd name="T20" fmla="*/ 2147483647 w 183"/>
              <a:gd name="T21" fmla="*/ 2147483647 h 173"/>
              <a:gd name="T22" fmla="*/ 2147483647 w 183"/>
              <a:gd name="T23" fmla="*/ 2147483647 h 173"/>
              <a:gd name="T24" fmla="*/ 2147483647 w 183"/>
              <a:gd name="T25" fmla="*/ 2147483647 h 173"/>
              <a:gd name="T26" fmla="*/ 2147483647 w 183"/>
              <a:gd name="T27" fmla="*/ 2147483647 h 173"/>
              <a:gd name="T28" fmla="*/ 2147483647 w 183"/>
              <a:gd name="T29" fmla="*/ 2147483647 h 173"/>
              <a:gd name="T30" fmla="*/ 2147483647 w 183"/>
              <a:gd name="T31" fmla="*/ 2147483647 h 173"/>
              <a:gd name="T32" fmla="*/ 2147483647 w 183"/>
              <a:gd name="T33" fmla="*/ 2147483647 h 173"/>
              <a:gd name="T34" fmla="*/ 2147483647 w 183"/>
              <a:gd name="T35" fmla="*/ 2147483647 h 173"/>
              <a:gd name="T36" fmla="*/ 2147483647 w 183"/>
              <a:gd name="T37" fmla="*/ 2147483647 h 173"/>
              <a:gd name="T38" fmla="*/ 2147483647 w 183"/>
              <a:gd name="T39" fmla="*/ 2147483647 h 173"/>
              <a:gd name="T40" fmla="*/ 2147483647 w 183"/>
              <a:gd name="T41" fmla="*/ 2147483647 h 173"/>
              <a:gd name="T42" fmla="*/ 2147483647 w 183"/>
              <a:gd name="T43" fmla="*/ 2147483647 h 173"/>
              <a:gd name="T44" fmla="*/ 2147483647 w 183"/>
              <a:gd name="T45" fmla="*/ 2147483647 h 173"/>
              <a:gd name="T46" fmla="*/ 2147483647 w 183"/>
              <a:gd name="T47" fmla="*/ 0 h 173"/>
              <a:gd name="T48" fmla="*/ 2147483647 w 183"/>
              <a:gd name="T49" fmla="*/ 2147483647 h 173"/>
              <a:gd name="T50" fmla="*/ 2147483647 w 183"/>
              <a:gd name="T51" fmla="*/ 2147483647 h 173"/>
              <a:gd name="T52" fmla="*/ 2147483647 w 183"/>
              <a:gd name="T53" fmla="*/ 2147483647 h 173"/>
              <a:gd name="T54" fmla="*/ 2147483647 w 183"/>
              <a:gd name="T55" fmla="*/ 2147483647 h 173"/>
              <a:gd name="T56" fmla="*/ 0 w 183"/>
              <a:gd name="T57" fmla="*/ 2147483647 h 173"/>
              <a:gd name="T58" fmla="*/ 2147483647 w 183"/>
              <a:gd name="T59" fmla="*/ 2147483647 h 173"/>
              <a:gd name="T60" fmla="*/ 2147483647 w 183"/>
              <a:gd name="T61" fmla="*/ 2147483647 h 173"/>
              <a:gd name="T62" fmla="*/ 2147483647 w 183"/>
              <a:gd name="T63" fmla="*/ 2147483647 h 173"/>
              <a:gd name="T64" fmla="*/ 2147483647 w 183"/>
              <a:gd name="T65" fmla="*/ 2147483647 h 173"/>
              <a:gd name="T66" fmla="*/ 2147483647 w 183"/>
              <a:gd name="T67" fmla="*/ 2147483647 h 173"/>
              <a:gd name="T68" fmla="*/ 2147483647 w 183"/>
              <a:gd name="T69" fmla="*/ 2147483647 h 173"/>
              <a:gd name="T70" fmla="*/ 2147483647 w 183"/>
              <a:gd name="T71" fmla="*/ 2147483647 h 173"/>
              <a:gd name="T72" fmla="*/ 2147483647 w 183"/>
              <a:gd name="T73" fmla="*/ 2147483647 h 173"/>
              <a:gd name="T74" fmla="*/ 2147483647 w 183"/>
              <a:gd name="T75" fmla="*/ 2147483647 h 173"/>
              <a:gd name="T76" fmla="*/ 2147483647 w 183"/>
              <a:gd name="T77" fmla="*/ 2147483647 h 173"/>
              <a:gd name="T78" fmla="*/ 2147483647 w 183"/>
              <a:gd name="T79" fmla="*/ 2147483647 h 173"/>
              <a:gd name="T80" fmla="*/ 2147483647 w 183"/>
              <a:gd name="T81" fmla="*/ 2147483647 h 173"/>
              <a:gd name="T82" fmla="*/ 2147483647 w 183"/>
              <a:gd name="T83" fmla="*/ 2147483647 h 173"/>
              <a:gd name="T84" fmla="*/ 2147483647 w 183"/>
              <a:gd name="T85" fmla="*/ 2147483647 h 173"/>
              <a:gd name="T86" fmla="*/ 2147483647 w 183"/>
              <a:gd name="T87" fmla="*/ 2147483647 h 173"/>
              <a:gd name="T88" fmla="*/ 2147483647 w 183"/>
              <a:gd name="T89" fmla="*/ 2147483647 h 173"/>
              <a:gd name="T90" fmla="*/ 2147483647 w 183"/>
              <a:gd name="T91" fmla="*/ 2147483647 h 173"/>
              <a:gd name="T92" fmla="*/ 2147483647 w 183"/>
              <a:gd name="T93" fmla="*/ 2147483647 h 173"/>
              <a:gd name="T94" fmla="*/ 2147483647 w 183"/>
              <a:gd name="T95" fmla="*/ 2147483647 h 173"/>
              <a:gd name="T96" fmla="*/ 2147483647 w 183"/>
              <a:gd name="T97" fmla="*/ 2147483647 h 173"/>
              <a:gd name="T98" fmla="*/ 2147483647 w 183"/>
              <a:gd name="T99" fmla="*/ 2147483647 h 173"/>
              <a:gd name="T100" fmla="*/ 2147483647 w 183"/>
              <a:gd name="T101" fmla="*/ 2147483647 h 173"/>
              <a:gd name="T102" fmla="*/ 2147483647 w 183"/>
              <a:gd name="T103" fmla="*/ 2147483647 h 173"/>
              <a:gd name="T104" fmla="*/ 2147483647 w 183"/>
              <a:gd name="T105" fmla="*/ 2147483647 h 173"/>
              <a:gd name="T106" fmla="*/ 2147483647 w 183"/>
              <a:gd name="T107" fmla="*/ 2147483647 h 173"/>
              <a:gd name="T108" fmla="*/ 2147483647 w 183"/>
              <a:gd name="T109" fmla="*/ 2147483647 h 173"/>
              <a:gd name="T110" fmla="*/ 2147483647 w 183"/>
              <a:gd name="T111" fmla="*/ 2147483647 h 173"/>
              <a:gd name="T112" fmla="*/ 2147483647 w 183"/>
              <a:gd name="T113" fmla="*/ 2147483647 h 173"/>
              <a:gd name="T114" fmla="*/ 2147483647 w 183"/>
              <a:gd name="T115" fmla="*/ 2147483647 h 173"/>
              <a:gd name="T116" fmla="*/ 2147483647 w 183"/>
              <a:gd name="T117" fmla="*/ 2147483647 h 173"/>
              <a:gd name="T118" fmla="*/ 2147483647 w 183"/>
              <a:gd name="T119" fmla="*/ 2147483647 h 173"/>
              <a:gd name="T120" fmla="*/ 2147483647 w 183"/>
              <a:gd name="T121" fmla="*/ 2147483647 h 173"/>
              <a:gd name="T122" fmla="*/ 2147483647 w 183"/>
              <a:gd name="T123" fmla="*/ 2147483647 h 173"/>
              <a:gd name="T124" fmla="*/ 2147483647 w 183"/>
              <a:gd name="T125" fmla="*/ 2147483647 h 173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183"/>
              <a:gd name="T190" fmla="*/ 0 h 173"/>
              <a:gd name="T191" fmla="*/ 183 w 183"/>
              <a:gd name="T192" fmla="*/ 173 h 173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183" h="173">
                <a:moveTo>
                  <a:pt x="149" y="153"/>
                </a:moveTo>
                <a:lnTo>
                  <a:pt x="149" y="153"/>
                </a:lnTo>
                <a:lnTo>
                  <a:pt x="157" y="153"/>
                </a:lnTo>
                <a:lnTo>
                  <a:pt x="160" y="153"/>
                </a:lnTo>
                <a:lnTo>
                  <a:pt x="166" y="158"/>
                </a:lnTo>
                <a:lnTo>
                  <a:pt x="172" y="167"/>
                </a:lnTo>
                <a:lnTo>
                  <a:pt x="172" y="170"/>
                </a:lnTo>
                <a:lnTo>
                  <a:pt x="178" y="173"/>
                </a:lnTo>
                <a:lnTo>
                  <a:pt x="178" y="138"/>
                </a:lnTo>
                <a:lnTo>
                  <a:pt x="178" y="127"/>
                </a:lnTo>
                <a:lnTo>
                  <a:pt x="175" y="121"/>
                </a:lnTo>
                <a:lnTo>
                  <a:pt x="175" y="118"/>
                </a:lnTo>
                <a:lnTo>
                  <a:pt x="178" y="115"/>
                </a:lnTo>
                <a:lnTo>
                  <a:pt x="180" y="87"/>
                </a:lnTo>
                <a:lnTo>
                  <a:pt x="183" y="43"/>
                </a:lnTo>
                <a:lnTo>
                  <a:pt x="163" y="38"/>
                </a:lnTo>
                <a:lnTo>
                  <a:pt x="155" y="35"/>
                </a:lnTo>
                <a:lnTo>
                  <a:pt x="146" y="29"/>
                </a:lnTo>
                <a:lnTo>
                  <a:pt x="137" y="23"/>
                </a:lnTo>
                <a:lnTo>
                  <a:pt x="129" y="20"/>
                </a:lnTo>
                <a:lnTo>
                  <a:pt x="120" y="23"/>
                </a:lnTo>
                <a:lnTo>
                  <a:pt x="117" y="26"/>
                </a:lnTo>
                <a:lnTo>
                  <a:pt x="117" y="29"/>
                </a:lnTo>
                <a:lnTo>
                  <a:pt x="120" y="32"/>
                </a:lnTo>
                <a:lnTo>
                  <a:pt x="117" y="35"/>
                </a:lnTo>
                <a:lnTo>
                  <a:pt x="109" y="35"/>
                </a:lnTo>
                <a:lnTo>
                  <a:pt x="106" y="35"/>
                </a:lnTo>
                <a:lnTo>
                  <a:pt x="100" y="41"/>
                </a:lnTo>
                <a:lnTo>
                  <a:pt x="97" y="49"/>
                </a:lnTo>
                <a:lnTo>
                  <a:pt x="94" y="55"/>
                </a:lnTo>
                <a:lnTo>
                  <a:pt x="89" y="58"/>
                </a:lnTo>
                <a:lnTo>
                  <a:pt x="83" y="58"/>
                </a:lnTo>
                <a:lnTo>
                  <a:pt x="77" y="55"/>
                </a:lnTo>
                <a:lnTo>
                  <a:pt x="74" y="49"/>
                </a:lnTo>
                <a:lnTo>
                  <a:pt x="77" y="43"/>
                </a:lnTo>
                <a:lnTo>
                  <a:pt x="74" y="41"/>
                </a:lnTo>
                <a:lnTo>
                  <a:pt x="69" y="41"/>
                </a:lnTo>
                <a:lnTo>
                  <a:pt x="66" y="38"/>
                </a:lnTo>
                <a:lnTo>
                  <a:pt x="69" y="32"/>
                </a:lnTo>
                <a:lnTo>
                  <a:pt x="69" y="18"/>
                </a:lnTo>
                <a:lnTo>
                  <a:pt x="66" y="9"/>
                </a:lnTo>
                <a:lnTo>
                  <a:pt x="63" y="6"/>
                </a:lnTo>
                <a:lnTo>
                  <a:pt x="57" y="6"/>
                </a:lnTo>
                <a:lnTo>
                  <a:pt x="54" y="6"/>
                </a:lnTo>
                <a:lnTo>
                  <a:pt x="48" y="0"/>
                </a:lnTo>
                <a:lnTo>
                  <a:pt x="43" y="0"/>
                </a:lnTo>
                <a:lnTo>
                  <a:pt x="28" y="3"/>
                </a:lnTo>
                <a:lnTo>
                  <a:pt x="20" y="6"/>
                </a:lnTo>
                <a:lnTo>
                  <a:pt x="17" y="9"/>
                </a:lnTo>
                <a:lnTo>
                  <a:pt x="17" y="15"/>
                </a:lnTo>
                <a:lnTo>
                  <a:pt x="17" y="18"/>
                </a:lnTo>
                <a:lnTo>
                  <a:pt x="14" y="18"/>
                </a:lnTo>
                <a:lnTo>
                  <a:pt x="11" y="12"/>
                </a:lnTo>
                <a:lnTo>
                  <a:pt x="8" y="9"/>
                </a:lnTo>
                <a:lnTo>
                  <a:pt x="2" y="9"/>
                </a:lnTo>
                <a:lnTo>
                  <a:pt x="0" y="9"/>
                </a:lnTo>
                <a:lnTo>
                  <a:pt x="2" y="12"/>
                </a:lnTo>
                <a:lnTo>
                  <a:pt x="5" y="15"/>
                </a:lnTo>
                <a:lnTo>
                  <a:pt x="5" y="18"/>
                </a:lnTo>
                <a:lnTo>
                  <a:pt x="8" y="20"/>
                </a:lnTo>
                <a:lnTo>
                  <a:pt x="14" y="23"/>
                </a:lnTo>
                <a:lnTo>
                  <a:pt x="20" y="23"/>
                </a:lnTo>
                <a:lnTo>
                  <a:pt x="28" y="23"/>
                </a:lnTo>
                <a:lnTo>
                  <a:pt x="28" y="26"/>
                </a:lnTo>
                <a:lnTo>
                  <a:pt x="28" y="35"/>
                </a:lnTo>
                <a:lnTo>
                  <a:pt x="31" y="38"/>
                </a:lnTo>
                <a:lnTo>
                  <a:pt x="46" y="38"/>
                </a:lnTo>
                <a:lnTo>
                  <a:pt x="54" y="35"/>
                </a:lnTo>
                <a:lnTo>
                  <a:pt x="57" y="35"/>
                </a:lnTo>
                <a:lnTo>
                  <a:pt x="63" y="38"/>
                </a:lnTo>
                <a:lnTo>
                  <a:pt x="60" y="41"/>
                </a:lnTo>
                <a:lnTo>
                  <a:pt x="57" y="43"/>
                </a:lnTo>
                <a:lnTo>
                  <a:pt x="54" y="41"/>
                </a:lnTo>
                <a:lnTo>
                  <a:pt x="51" y="41"/>
                </a:lnTo>
                <a:lnTo>
                  <a:pt x="40" y="46"/>
                </a:lnTo>
                <a:lnTo>
                  <a:pt x="34" y="46"/>
                </a:lnTo>
                <a:lnTo>
                  <a:pt x="28" y="46"/>
                </a:lnTo>
                <a:lnTo>
                  <a:pt x="28" y="49"/>
                </a:lnTo>
                <a:lnTo>
                  <a:pt x="31" y="52"/>
                </a:lnTo>
                <a:lnTo>
                  <a:pt x="37" y="52"/>
                </a:lnTo>
                <a:lnTo>
                  <a:pt x="40" y="55"/>
                </a:lnTo>
                <a:lnTo>
                  <a:pt x="40" y="58"/>
                </a:lnTo>
                <a:lnTo>
                  <a:pt x="43" y="61"/>
                </a:lnTo>
                <a:lnTo>
                  <a:pt x="46" y="61"/>
                </a:lnTo>
                <a:lnTo>
                  <a:pt x="43" y="64"/>
                </a:lnTo>
                <a:lnTo>
                  <a:pt x="40" y="69"/>
                </a:lnTo>
                <a:lnTo>
                  <a:pt x="46" y="72"/>
                </a:lnTo>
                <a:lnTo>
                  <a:pt x="48" y="72"/>
                </a:lnTo>
                <a:lnTo>
                  <a:pt x="54" y="66"/>
                </a:lnTo>
                <a:lnTo>
                  <a:pt x="57" y="66"/>
                </a:lnTo>
                <a:lnTo>
                  <a:pt x="63" y="66"/>
                </a:lnTo>
                <a:lnTo>
                  <a:pt x="71" y="72"/>
                </a:lnTo>
                <a:lnTo>
                  <a:pt x="77" y="78"/>
                </a:lnTo>
                <a:lnTo>
                  <a:pt x="83" y="81"/>
                </a:lnTo>
                <a:lnTo>
                  <a:pt x="89" y="81"/>
                </a:lnTo>
                <a:lnTo>
                  <a:pt x="91" y="81"/>
                </a:lnTo>
                <a:lnTo>
                  <a:pt x="97" y="84"/>
                </a:lnTo>
                <a:lnTo>
                  <a:pt x="109" y="87"/>
                </a:lnTo>
                <a:lnTo>
                  <a:pt x="117" y="92"/>
                </a:lnTo>
                <a:lnTo>
                  <a:pt x="129" y="95"/>
                </a:lnTo>
                <a:lnTo>
                  <a:pt x="132" y="98"/>
                </a:lnTo>
                <a:lnTo>
                  <a:pt x="135" y="107"/>
                </a:lnTo>
                <a:lnTo>
                  <a:pt x="135" y="112"/>
                </a:lnTo>
                <a:lnTo>
                  <a:pt x="137" y="118"/>
                </a:lnTo>
                <a:lnTo>
                  <a:pt x="140" y="127"/>
                </a:lnTo>
                <a:lnTo>
                  <a:pt x="140" y="130"/>
                </a:lnTo>
                <a:lnTo>
                  <a:pt x="143" y="132"/>
                </a:lnTo>
                <a:lnTo>
                  <a:pt x="140" y="135"/>
                </a:lnTo>
                <a:lnTo>
                  <a:pt x="135" y="138"/>
                </a:lnTo>
                <a:lnTo>
                  <a:pt x="129" y="138"/>
                </a:lnTo>
                <a:lnTo>
                  <a:pt x="126" y="141"/>
                </a:lnTo>
                <a:lnTo>
                  <a:pt x="120" y="150"/>
                </a:lnTo>
                <a:lnTo>
                  <a:pt x="117" y="153"/>
                </a:lnTo>
                <a:lnTo>
                  <a:pt x="117" y="155"/>
                </a:lnTo>
                <a:lnTo>
                  <a:pt x="123" y="158"/>
                </a:lnTo>
                <a:lnTo>
                  <a:pt x="129" y="158"/>
                </a:lnTo>
                <a:lnTo>
                  <a:pt x="137" y="158"/>
                </a:lnTo>
                <a:lnTo>
                  <a:pt x="140" y="155"/>
                </a:lnTo>
                <a:lnTo>
                  <a:pt x="143" y="153"/>
                </a:lnTo>
                <a:lnTo>
                  <a:pt x="143" y="150"/>
                </a:lnTo>
                <a:lnTo>
                  <a:pt x="149" y="15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83" name="Line 187"/>
          <p:cNvSpPr>
            <a:spLocks noChangeShapeType="1"/>
          </p:cNvSpPr>
          <p:nvPr/>
        </p:nvSpPr>
        <p:spPr bwMode="gray">
          <a:xfrm>
            <a:off x="9681744" y="4224114"/>
            <a:ext cx="2001" cy="1501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84" name="Line 188"/>
          <p:cNvSpPr>
            <a:spLocks noChangeShapeType="1"/>
          </p:cNvSpPr>
          <p:nvPr/>
        </p:nvSpPr>
        <p:spPr bwMode="gray">
          <a:xfrm>
            <a:off x="9681744" y="4224114"/>
            <a:ext cx="2001" cy="1501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85" name="Freeform 189"/>
          <p:cNvSpPr>
            <a:spLocks/>
          </p:cNvSpPr>
          <p:nvPr/>
        </p:nvSpPr>
        <p:spPr bwMode="gray">
          <a:xfrm>
            <a:off x="10267850" y="4116111"/>
            <a:ext cx="6000" cy="12000"/>
          </a:xfrm>
          <a:custGeom>
            <a:avLst/>
            <a:gdLst>
              <a:gd name="T0" fmla="*/ 0 w 3"/>
              <a:gd name="T1" fmla="*/ 2147483647 h 8"/>
              <a:gd name="T2" fmla="*/ 2147483647 w 3"/>
              <a:gd name="T3" fmla="*/ 2147483647 h 8"/>
              <a:gd name="T4" fmla="*/ 2147483647 w 3"/>
              <a:gd name="T5" fmla="*/ 0 h 8"/>
              <a:gd name="T6" fmla="*/ 0 w 3"/>
              <a:gd name="T7" fmla="*/ 2147483647 h 8"/>
              <a:gd name="T8" fmla="*/ 0 w 3"/>
              <a:gd name="T9" fmla="*/ 2147483647 h 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8"/>
              <a:gd name="T17" fmla="*/ 3 w 3"/>
              <a:gd name="T18" fmla="*/ 8 h 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8">
                <a:moveTo>
                  <a:pt x="0" y="8"/>
                </a:moveTo>
                <a:lnTo>
                  <a:pt x="3" y="5"/>
                </a:lnTo>
                <a:lnTo>
                  <a:pt x="3" y="0"/>
                </a:lnTo>
                <a:lnTo>
                  <a:pt x="0" y="2"/>
                </a:lnTo>
                <a:lnTo>
                  <a:pt x="0" y="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86" name="Freeform 190"/>
          <p:cNvSpPr>
            <a:spLocks/>
          </p:cNvSpPr>
          <p:nvPr/>
        </p:nvSpPr>
        <p:spPr bwMode="gray">
          <a:xfrm>
            <a:off x="10523897" y="4510622"/>
            <a:ext cx="12002" cy="105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2147483647 h 6"/>
              <a:gd name="T4" fmla="*/ 0 w 6"/>
              <a:gd name="T5" fmla="*/ 0 h 6"/>
              <a:gd name="T6" fmla="*/ 2147483647 w 6"/>
              <a:gd name="T7" fmla="*/ 2147483647 h 6"/>
              <a:gd name="T8" fmla="*/ 2147483647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6" y="3"/>
                </a:moveTo>
                <a:lnTo>
                  <a:pt x="3" y="3"/>
                </a:lnTo>
                <a:lnTo>
                  <a:pt x="0" y="0"/>
                </a:lnTo>
                <a:lnTo>
                  <a:pt x="3" y="6"/>
                </a:lnTo>
                <a:lnTo>
                  <a:pt x="6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87" name="Freeform 191"/>
          <p:cNvSpPr>
            <a:spLocks/>
          </p:cNvSpPr>
          <p:nvPr/>
        </p:nvSpPr>
        <p:spPr bwMode="gray">
          <a:xfrm>
            <a:off x="10321859" y="4216615"/>
            <a:ext cx="6002" cy="7500"/>
          </a:xfrm>
          <a:custGeom>
            <a:avLst/>
            <a:gdLst>
              <a:gd name="T0" fmla="*/ 2147483647 w 3"/>
              <a:gd name="T1" fmla="*/ 2147483647 h 5"/>
              <a:gd name="T2" fmla="*/ 2147483647 w 3"/>
              <a:gd name="T3" fmla="*/ 0 h 5"/>
              <a:gd name="T4" fmla="*/ 0 w 3"/>
              <a:gd name="T5" fmla="*/ 2147483647 h 5"/>
              <a:gd name="T6" fmla="*/ 2147483647 w 3"/>
              <a:gd name="T7" fmla="*/ 2147483647 h 5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5"/>
              <a:gd name="T14" fmla="*/ 3 w 3"/>
              <a:gd name="T15" fmla="*/ 5 h 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5">
                <a:moveTo>
                  <a:pt x="3" y="3"/>
                </a:moveTo>
                <a:lnTo>
                  <a:pt x="3" y="0"/>
                </a:lnTo>
                <a:lnTo>
                  <a:pt x="0" y="5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88" name="Freeform 192"/>
          <p:cNvSpPr>
            <a:spLocks/>
          </p:cNvSpPr>
          <p:nvPr/>
        </p:nvSpPr>
        <p:spPr bwMode="gray">
          <a:xfrm>
            <a:off x="10349865" y="4233115"/>
            <a:ext cx="12002" cy="9000"/>
          </a:xfrm>
          <a:custGeom>
            <a:avLst/>
            <a:gdLst>
              <a:gd name="T0" fmla="*/ 0 w 6"/>
              <a:gd name="T1" fmla="*/ 2147483647 h 6"/>
              <a:gd name="T2" fmla="*/ 2147483647 w 6"/>
              <a:gd name="T3" fmla="*/ 2147483647 h 6"/>
              <a:gd name="T4" fmla="*/ 2147483647 w 6"/>
              <a:gd name="T5" fmla="*/ 0 h 6"/>
              <a:gd name="T6" fmla="*/ 0 w 6"/>
              <a:gd name="T7" fmla="*/ 0 h 6"/>
              <a:gd name="T8" fmla="*/ 0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0" y="6"/>
                </a:moveTo>
                <a:lnTo>
                  <a:pt x="6" y="6"/>
                </a:lnTo>
                <a:lnTo>
                  <a:pt x="3" y="0"/>
                </a:lnTo>
                <a:lnTo>
                  <a:pt x="0" y="0"/>
                </a:lnTo>
                <a:lnTo>
                  <a:pt x="0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89" name="Freeform 193"/>
          <p:cNvSpPr>
            <a:spLocks/>
          </p:cNvSpPr>
          <p:nvPr/>
        </p:nvSpPr>
        <p:spPr bwMode="gray">
          <a:xfrm>
            <a:off x="10267850" y="4102612"/>
            <a:ext cx="18003" cy="13500"/>
          </a:xfrm>
          <a:custGeom>
            <a:avLst/>
            <a:gdLst>
              <a:gd name="T0" fmla="*/ 2147483647 w 9"/>
              <a:gd name="T1" fmla="*/ 0 h 9"/>
              <a:gd name="T2" fmla="*/ 0 w 9"/>
              <a:gd name="T3" fmla="*/ 2147483647 h 9"/>
              <a:gd name="T4" fmla="*/ 2147483647 w 9"/>
              <a:gd name="T5" fmla="*/ 2147483647 h 9"/>
              <a:gd name="T6" fmla="*/ 2147483647 w 9"/>
              <a:gd name="T7" fmla="*/ 2147483647 h 9"/>
              <a:gd name="T8" fmla="*/ 2147483647 w 9"/>
              <a:gd name="T9" fmla="*/ 0 h 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9"/>
              <a:gd name="T17" fmla="*/ 9 w 9"/>
              <a:gd name="T18" fmla="*/ 9 h 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9">
                <a:moveTo>
                  <a:pt x="3" y="0"/>
                </a:moveTo>
                <a:lnTo>
                  <a:pt x="0" y="3"/>
                </a:lnTo>
                <a:lnTo>
                  <a:pt x="3" y="9"/>
                </a:lnTo>
                <a:lnTo>
                  <a:pt x="9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90" name="Freeform 194"/>
          <p:cNvSpPr>
            <a:spLocks/>
          </p:cNvSpPr>
          <p:nvPr/>
        </p:nvSpPr>
        <p:spPr bwMode="gray">
          <a:xfrm>
            <a:off x="10373868" y="4357618"/>
            <a:ext cx="10002" cy="10500"/>
          </a:xfrm>
          <a:custGeom>
            <a:avLst/>
            <a:gdLst>
              <a:gd name="T0" fmla="*/ 2147483647 w 5"/>
              <a:gd name="T1" fmla="*/ 2147483647 h 6"/>
              <a:gd name="T2" fmla="*/ 2147483647 w 5"/>
              <a:gd name="T3" fmla="*/ 0 h 6"/>
              <a:gd name="T4" fmla="*/ 2147483647 w 5"/>
              <a:gd name="T5" fmla="*/ 0 h 6"/>
              <a:gd name="T6" fmla="*/ 0 w 5"/>
              <a:gd name="T7" fmla="*/ 2147483647 h 6"/>
              <a:gd name="T8" fmla="*/ 2147483647 w 5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6"/>
              <a:gd name="T17" fmla="*/ 5 w 5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6">
                <a:moveTo>
                  <a:pt x="2" y="6"/>
                </a:moveTo>
                <a:lnTo>
                  <a:pt x="5" y="0"/>
                </a:lnTo>
                <a:lnTo>
                  <a:pt x="2" y="0"/>
                </a:lnTo>
                <a:lnTo>
                  <a:pt x="0" y="3"/>
                </a:lnTo>
                <a:lnTo>
                  <a:pt x="2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91" name="Freeform 195"/>
          <p:cNvSpPr>
            <a:spLocks/>
          </p:cNvSpPr>
          <p:nvPr/>
        </p:nvSpPr>
        <p:spPr bwMode="gray">
          <a:xfrm>
            <a:off x="6539179" y="2833577"/>
            <a:ext cx="116021" cy="111003"/>
          </a:xfrm>
          <a:custGeom>
            <a:avLst/>
            <a:gdLst>
              <a:gd name="T0" fmla="*/ 2147483647 w 58"/>
              <a:gd name="T1" fmla="*/ 2147483647 h 74"/>
              <a:gd name="T2" fmla="*/ 2147483647 w 58"/>
              <a:gd name="T3" fmla="*/ 2147483647 h 74"/>
              <a:gd name="T4" fmla="*/ 2147483647 w 58"/>
              <a:gd name="T5" fmla="*/ 2147483647 h 74"/>
              <a:gd name="T6" fmla="*/ 2147483647 w 58"/>
              <a:gd name="T7" fmla="*/ 2147483647 h 74"/>
              <a:gd name="T8" fmla="*/ 2147483647 w 58"/>
              <a:gd name="T9" fmla="*/ 2147483647 h 74"/>
              <a:gd name="T10" fmla="*/ 2147483647 w 58"/>
              <a:gd name="T11" fmla="*/ 0 h 74"/>
              <a:gd name="T12" fmla="*/ 2147483647 w 58"/>
              <a:gd name="T13" fmla="*/ 2147483647 h 74"/>
              <a:gd name="T14" fmla="*/ 2147483647 w 58"/>
              <a:gd name="T15" fmla="*/ 2147483647 h 74"/>
              <a:gd name="T16" fmla="*/ 2147483647 w 58"/>
              <a:gd name="T17" fmla="*/ 2147483647 h 74"/>
              <a:gd name="T18" fmla="*/ 2147483647 w 58"/>
              <a:gd name="T19" fmla="*/ 2147483647 h 74"/>
              <a:gd name="T20" fmla="*/ 2147483647 w 58"/>
              <a:gd name="T21" fmla="*/ 2147483647 h 74"/>
              <a:gd name="T22" fmla="*/ 2147483647 w 58"/>
              <a:gd name="T23" fmla="*/ 2147483647 h 74"/>
              <a:gd name="T24" fmla="*/ 2147483647 w 58"/>
              <a:gd name="T25" fmla="*/ 2147483647 h 74"/>
              <a:gd name="T26" fmla="*/ 2147483647 w 58"/>
              <a:gd name="T27" fmla="*/ 2147483647 h 74"/>
              <a:gd name="T28" fmla="*/ 2147483647 w 58"/>
              <a:gd name="T29" fmla="*/ 2147483647 h 74"/>
              <a:gd name="T30" fmla="*/ 2147483647 w 58"/>
              <a:gd name="T31" fmla="*/ 2147483647 h 74"/>
              <a:gd name="T32" fmla="*/ 0 w 58"/>
              <a:gd name="T33" fmla="*/ 2147483647 h 74"/>
              <a:gd name="T34" fmla="*/ 0 w 58"/>
              <a:gd name="T35" fmla="*/ 2147483647 h 74"/>
              <a:gd name="T36" fmla="*/ 2147483647 w 58"/>
              <a:gd name="T37" fmla="*/ 2147483647 h 74"/>
              <a:gd name="T38" fmla="*/ 2147483647 w 58"/>
              <a:gd name="T39" fmla="*/ 2147483647 h 74"/>
              <a:gd name="T40" fmla="*/ 2147483647 w 58"/>
              <a:gd name="T41" fmla="*/ 2147483647 h 74"/>
              <a:gd name="T42" fmla="*/ 2147483647 w 58"/>
              <a:gd name="T43" fmla="*/ 2147483647 h 74"/>
              <a:gd name="T44" fmla="*/ 2147483647 w 58"/>
              <a:gd name="T45" fmla="*/ 2147483647 h 74"/>
              <a:gd name="T46" fmla="*/ 2147483647 w 58"/>
              <a:gd name="T47" fmla="*/ 2147483647 h 74"/>
              <a:gd name="T48" fmla="*/ 2147483647 w 58"/>
              <a:gd name="T49" fmla="*/ 2147483647 h 74"/>
              <a:gd name="T50" fmla="*/ 2147483647 w 58"/>
              <a:gd name="T51" fmla="*/ 2147483647 h 74"/>
              <a:gd name="T52" fmla="*/ 2147483647 w 58"/>
              <a:gd name="T53" fmla="*/ 2147483647 h 74"/>
              <a:gd name="T54" fmla="*/ 2147483647 w 58"/>
              <a:gd name="T55" fmla="*/ 2147483647 h 74"/>
              <a:gd name="T56" fmla="*/ 2147483647 w 58"/>
              <a:gd name="T57" fmla="*/ 2147483647 h 74"/>
              <a:gd name="T58" fmla="*/ 2147483647 w 58"/>
              <a:gd name="T59" fmla="*/ 2147483647 h 74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58"/>
              <a:gd name="T91" fmla="*/ 0 h 74"/>
              <a:gd name="T92" fmla="*/ 58 w 58"/>
              <a:gd name="T93" fmla="*/ 74 h 74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58" h="74">
                <a:moveTo>
                  <a:pt x="46" y="25"/>
                </a:moveTo>
                <a:lnTo>
                  <a:pt x="58" y="20"/>
                </a:lnTo>
                <a:lnTo>
                  <a:pt x="58" y="17"/>
                </a:lnTo>
                <a:lnTo>
                  <a:pt x="58" y="11"/>
                </a:lnTo>
                <a:lnTo>
                  <a:pt x="58" y="5"/>
                </a:lnTo>
                <a:lnTo>
                  <a:pt x="55" y="0"/>
                </a:lnTo>
                <a:lnTo>
                  <a:pt x="52" y="3"/>
                </a:lnTo>
                <a:lnTo>
                  <a:pt x="40" y="8"/>
                </a:lnTo>
                <a:lnTo>
                  <a:pt x="26" y="14"/>
                </a:lnTo>
                <a:lnTo>
                  <a:pt x="17" y="17"/>
                </a:lnTo>
                <a:lnTo>
                  <a:pt x="6" y="8"/>
                </a:lnTo>
                <a:lnTo>
                  <a:pt x="6" y="14"/>
                </a:lnTo>
                <a:lnTo>
                  <a:pt x="6" y="25"/>
                </a:lnTo>
                <a:lnTo>
                  <a:pt x="9" y="37"/>
                </a:lnTo>
                <a:lnTo>
                  <a:pt x="3" y="46"/>
                </a:lnTo>
                <a:lnTo>
                  <a:pt x="0" y="57"/>
                </a:lnTo>
                <a:lnTo>
                  <a:pt x="0" y="71"/>
                </a:lnTo>
                <a:lnTo>
                  <a:pt x="9" y="71"/>
                </a:lnTo>
                <a:lnTo>
                  <a:pt x="17" y="74"/>
                </a:lnTo>
                <a:lnTo>
                  <a:pt x="23" y="66"/>
                </a:lnTo>
                <a:lnTo>
                  <a:pt x="29" y="60"/>
                </a:lnTo>
                <a:lnTo>
                  <a:pt x="35" y="60"/>
                </a:lnTo>
                <a:lnTo>
                  <a:pt x="37" y="57"/>
                </a:lnTo>
                <a:lnTo>
                  <a:pt x="37" y="48"/>
                </a:lnTo>
                <a:lnTo>
                  <a:pt x="37" y="46"/>
                </a:lnTo>
                <a:lnTo>
                  <a:pt x="35" y="37"/>
                </a:lnTo>
                <a:lnTo>
                  <a:pt x="35" y="28"/>
                </a:lnTo>
                <a:lnTo>
                  <a:pt x="46" y="2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92" name="Freeform 196"/>
          <p:cNvSpPr>
            <a:spLocks/>
          </p:cNvSpPr>
          <p:nvPr/>
        </p:nvSpPr>
        <p:spPr bwMode="gray">
          <a:xfrm>
            <a:off x="6533177" y="2850077"/>
            <a:ext cx="12002" cy="73502"/>
          </a:xfrm>
          <a:custGeom>
            <a:avLst/>
            <a:gdLst>
              <a:gd name="T0" fmla="*/ 0 w 6"/>
              <a:gd name="T1" fmla="*/ 2147483647 h 49"/>
              <a:gd name="T2" fmla="*/ 0 w 6"/>
              <a:gd name="T3" fmla="*/ 2147483647 h 49"/>
              <a:gd name="T4" fmla="*/ 0 w 6"/>
              <a:gd name="T5" fmla="*/ 2147483647 h 49"/>
              <a:gd name="T6" fmla="*/ 2147483647 w 6"/>
              <a:gd name="T7" fmla="*/ 2147483647 h 49"/>
              <a:gd name="T8" fmla="*/ 2147483647 w 6"/>
              <a:gd name="T9" fmla="*/ 2147483647 h 49"/>
              <a:gd name="T10" fmla="*/ 2147483647 w 6"/>
              <a:gd name="T11" fmla="*/ 2147483647 h 49"/>
              <a:gd name="T12" fmla="*/ 2147483647 w 6"/>
              <a:gd name="T13" fmla="*/ 2147483647 h 49"/>
              <a:gd name="T14" fmla="*/ 2147483647 w 6"/>
              <a:gd name="T15" fmla="*/ 0 h 49"/>
              <a:gd name="T16" fmla="*/ 0 w 6"/>
              <a:gd name="T17" fmla="*/ 2147483647 h 49"/>
              <a:gd name="T18" fmla="*/ 0 w 6"/>
              <a:gd name="T19" fmla="*/ 2147483647 h 49"/>
              <a:gd name="T20" fmla="*/ 2147483647 w 6"/>
              <a:gd name="T21" fmla="*/ 2147483647 h 49"/>
              <a:gd name="T22" fmla="*/ 2147483647 w 6"/>
              <a:gd name="T23" fmla="*/ 2147483647 h 49"/>
              <a:gd name="T24" fmla="*/ 0 w 6"/>
              <a:gd name="T25" fmla="*/ 2147483647 h 49"/>
              <a:gd name="T26" fmla="*/ 2147483647 w 6"/>
              <a:gd name="T27" fmla="*/ 2147483647 h 49"/>
              <a:gd name="T28" fmla="*/ 2147483647 w 6"/>
              <a:gd name="T29" fmla="*/ 2147483647 h 49"/>
              <a:gd name="T30" fmla="*/ 2147483647 w 6"/>
              <a:gd name="T31" fmla="*/ 2147483647 h 49"/>
              <a:gd name="T32" fmla="*/ 0 w 6"/>
              <a:gd name="T33" fmla="*/ 2147483647 h 49"/>
              <a:gd name="T34" fmla="*/ 0 w 6"/>
              <a:gd name="T35" fmla="*/ 2147483647 h 49"/>
              <a:gd name="T36" fmla="*/ 0 w 6"/>
              <a:gd name="T37" fmla="*/ 2147483647 h 49"/>
              <a:gd name="T38" fmla="*/ 0 w 6"/>
              <a:gd name="T39" fmla="*/ 2147483647 h 49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6"/>
              <a:gd name="T61" fmla="*/ 0 h 49"/>
              <a:gd name="T62" fmla="*/ 6 w 6"/>
              <a:gd name="T63" fmla="*/ 49 h 49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6" h="49">
                <a:moveTo>
                  <a:pt x="0" y="46"/>
                </a:moveTo>
                <a:lnTo>
                  <a:pt x="0" y="49"/>
                </a:lnTo>
                <a:lnTo>
                  <a:pt x="0" y="46"/>
                </a:lnTo>
                <a:lnTo>
                  <a:pt x="3" y="35"/>
                </a:lnTo>
                <a:lnTo>
                  <a:pt x="6" y="26"/>
                </a:lnTo>
                <a:lnTo>
                  <a:pt x="6" y="14"/>
                </a:lnTo>
                <a:lnTo>
                  <a:pt x="6" y="3"/>
                </a:lnTo>
                <a:lnTo>
                  <a:pt x="3" y="0"/>
                </a:lnTo>
                <a:lnTo>
                  <a:pt x="0" y="3"/>
                </a:lnTo>
                <a:lnTo>
                  <a:pt x="0" y="12"/>
                </a:lnTo>
                <a:lnTo>
                  <a:pt x="6" y="14"/>
                </a:lnTo>
                <a:lnTo>
                  <a:pt x="3" y="14"/>
                </a:lnTo>
                <a:lnTo>
                  <a:pt x="0" y="20"/>
                </a:lnTo>
                <a:lnTo>
                  <a:pt x="3" y="23"/>
                </a:lnTo>
                <a:lnTo>
                  <a:pt x="3" y="26"/>
                </a:lnTo>
                <a:lnTo>
                  <a:pt x="3" y="32"/>
                </a:lnTo>
                <a:lnTo>
                  <a:pt x="0" y="40"/>
                </a:lnTo>
                <a:lnTo>
                  <a:pt x="0" y="4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93" name="Freeform 197"/>
          <p:cNvSpPr>
            <a:spLocks/>
          </p:cNvSpPr>
          <p:nvPr/>
        </p:nvSpPr>
        <p:spPr bwMode="gray">
          <a:xfrm>
            <a:off x="6533177" y="2788576"/>
            <a:ext cx="36006" cy="45001"/>
          </a:xfrm>
          <a:custGeom>
            <a:avLst/>
            <a:gdLst>
              <a:gd name="T0" fmla="*/ 2147483647 w 18"/>
              <a:gd name="T1" fmla="*/ 2147483647 h 29"/>
              <a:gd name="T2" fmla="*/ 2147483647 w 18"/>
              <a:gd name="T3" fmla="*/ 2147483647 h 29"/>
              <a:gd name="T4" fmla="*/ 0 w 18"/>
              <a:gd name="T5" fmla="*/ 2147483647 h 29"/>
              <a:gd name="T6" fmla="*/ 0 w 18"/>
              <a:gd name="T7" fmla="*/ 2147483647 h 29"/>
              <a:gd name="T8" fmla="*/ 2147483647 w 18"/>
              <a:gd name="T9" fmla="*/ 2147483647 h 29"/>
              <a:gd name="T10" fmla="*/ 2147483647 w 18"/>
              <a:gd name="T11" fmla="*/ 2147483647 h 29"/>
              <a:gd name="T12" fmla="*/ 2147483647 w 18"/>
              <a:gd name="T13" fmla="*/ 2147483647 h 29"/>
              <a:gd name="T14" fmla="*/ 2147483647 w 18"/>
              <a:gd name="T15" fmla="*/ 2147483647 h 29"/>
              <a:gd name="T16" fmla="*/ 2147483647 w 18"/>
              <a:gd name="T17" fmla="*/ 2147483647 h 29"/>
              <a:gd name="T18" fmla="*/ 2147483647 w 18"/>
              <a:gd name="T19" fmla="*/ 2147483647 h 29"/>
              <a:gd name="T20" fmla="*/ 2147483647 w 18"/>
              <a:gd name="T21" fmla="*/ 0 h 29"/>
              <a:gd name="T22" fmla="*/ 2147483647 w 18"/>
              <a:gd name="T23" fmla="*/ 0 h 29"/>
              <a:gd name="T24" fmla="*/ 2147483647 w 18"/>
              <a:gd name="T25" fmla="*/ 0 h 29"/>
              <a:gd name="T26" fmla="*/ 2147483647 w 18"/>
              <a:gd name="T27" fmla="*/ 2147483647 h 29"/>
              <a:gd name="T28" fmla="*/ 2147483647 w 18"/>
              <a:gd name="T29" fmla="*/ 2147483647 h 29"/>
              <a:gd name="T30" fmla="*/ 2147483647 w 18"/>
              <a:gd name="T31" fmla="*/ 2147483647 h 29"/>
              <a:gd name="T32" fmla="*/ 2147483647 w 18"/>
              <a:gd name="T33" fmla="*/ 2147483647 h 29"/>
              <a:gd name="T34" fmla="*/ 2147483647 w 18"/>
              <a:gd name="T35" fmla="*/ 2147483647 h 29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8"/>
              <a:gd name="T55" fmla="*/ 0 h 29"/>
              <a:gd name="T56" fmla="*/ 18 w 18"/>
              <a:gd name="T57" fmla="*/ 29 h 29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8" h="29">
                <a:moveTo>
                  <a:pt x="3" y="14"/>
                </a:moveTo>
                <a:lnTo>
                  <a:pt x="3" y="14"/>
                </a:lnTo>
                <a:lnTo>
                  <a:pt x="0" y="29"/>
                </a:lnTo>
                <a:lnTo>
                  <a:pt x="3" y="26"/>
                </a:lnTo>
                <a:lnTo>
                  <a:pt x="6" y="23"/>
                </a:lnTo>
                <a:lnTo>
                  <a:pt x="12" y="20"/>
                </a:lnTo>
                <a:lnTo>
                  <a:pt x="15" y="14"/>
                </a:lnTo>
                <a:lnTo>
                  <a:pt x="18" y="6"/>
                </a:lnTo>
                <a:lnTo>
                  <a:pt x="18" y="3"/>
                </a:lnTo>
                <a:lnTo>
                  <a:pt x="15" y="0"/>
                </a:lnTo>
                <a:lnTo>
                  <a:pt x="12" y="0"/>
                </a:lnTo>
                <a:lnTo>
                  <a:pt x="9" y="3"/>
                </a:lnTo>
                <a:lnTo>
                  <a:pt x="6" y="6"/>
                </a:lnTo>
                <a:lnTo>
                  <a:pt x="3" y="14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94" name="Freeform 198"/>
          <p:cNvSpPr>
            <a:spLocks/>
          </p:cNvSpPr>
          <p:nvPr/>
        </p:nvSpPr>
        <p:spPr bwMode="gray">
          <a:xfrm>
            <a:off x="5685025" y="2833577"/>
            <a:ext cx="524094" cy="394510"/>
          </a:xfrm>
          <a:custGeom>
            <a:avLst/>
            <a:gdLst>
              <a:gd name="T0" fmla="*/ 2147483647 w 259"/>
              <a:gd name="T1" fmla="*/ 2147483647 h 261"/>
              <a:gd name="T2" fmla="*/ 2147483647 w 259"/>
              <a:gd name="T3" fmla="*/ 2147483647 h 261"/>
              <a:gd name="T4" fmla="*/ 2147483647 w 259"/>
              <a:gd name="T5" fmla="*/ 2147483647 h 261"/>
              <a:gd name="T6" fmla="*/ 2147483647 w 259"/>
              <a:gd name="T7" fmla="*/ 2147483647 h 261"/>
              <a:gd name="T8" fmla="*/ 2147483647 w 259"/>
              <a:gd name="T9" fmla="*/ 2147483647 h 261"/>
              <a:gd name="T10" fmla="*/ 2147483647 w 259"/>
              <a:gd name="T11" fmla="*/ 2147483647 h 261"/>
              <a:gd name="T12" fmla="*/ 2147483647 w 259"/>
              <a:gd name="T13" fmla="*/ 2147483647 h 261"/>
              <a:gd name="T14" fmla="*/ 2147483647 w 259"/>
              <a:gd name="T15" fmla="*/ 2147483647 h 261"/>
              <a:gd name="T16" fmla="*/ 2147483647 w 259"/>
              <a:gd name="T17" fmla="*/ 2147483647 h 261"/>
              <a:gd name="T18" fmla="*/ 2147483647 w 259"/>
              <a:gd name="T19" fmla="*/ 2147483647 h 261"/>
              <a:gd name="T20" fmla="*/ 2147483647 w 259"/>
              <a:gd name="T21" fmla="*/ 0 h 261"/>
              <a:gd name="T22" fmla="*/ 2147483647 w 259"/>
              <a:gd name="T23" fmla="*/ 2147483647 h 261"/>
              <a:gd name="T24" fmla="*/ 2147483647 w 259"/>
              <a:gd name="T25" fmla="*/ 2147483647 h 261"/>
              <a:gd name="T26" fmla="*/ 2147483647 w 259"/>
              <a:gd name="T27" fmla="*/ 2147483647 h 261"/>
              <a:gd name="T28" fmla="*/ 2147483647 w 259"/>
              <a:gd name="T29" fmla="*/ 2147483647 h 261"/>
              <a:gd name="T30" fmla="*/ 2147483647 w 259"/>
              <a:gd name="T31" fmla="*/ 2147483647 h 261"/>
              <a:gd name="T32" fmla="*/ 2147483647 w 259"/>
              <a:gd name="T33" fmla="*/ 2147483647 h 261"/>
              <a:gd name="T34" fmla="*/ 2147483647 w 259"/>
              <a:gd name="T35" fmla="*/ 2147483647 h 261"/>
              <a:gd name="T36" fmla="*/ 2147483647 w 259"/>
              <a:gd name="T37" fmla="*/ 2147483647 h 261"/>
              <a:gd name="T38" fmla="*/ 2147483647 w 259"/>
              <a:gd name="T39" fmla="*/ 2147483647 h 261"/>
              <a:gd name="T40" fmla="*/ 2147483647 w 259"/>
              <a:gd name="T41" fmla="*/ 2147483647 h 261"/>
              <a:gd name="T42" fmla="*/ 2147483647 w 259"/>
              <a:gd name="T43" fmla="*/ 2147483647 h 261"/>
              <a:gd name="T44" fmla="*/ 2147483647 w 259"/>
              <a:gd name="T45" fmla="*/ 2147483647 h 261"/>
              <a:gd name="T46" fmla="*/ 2147483647 w 259"/>
              <a:gd name="T47" fmla="*/ 2147483647 h 261"/>
              <a:gd name="T48" fmla="*/ 2147483647 w 259"/>
              <a:gd name="T49" fmla="*/ 2147483647 h 261"/>
              <a:gd name="T50" fmla="*/ 2147483647 w 259"/>
              <a:gd name="T51" fmla="*/ 2147483647 h 261"/>
              <a:gd name="T52" fmla="*/ 2147483647 w 259"/>
              <a:gd name="T53" fmla="*/ 2147483647 h 261"/>
              <a:gd name="T54" fmla="*/ 2147483647 w 259"/>
              <a:gd name="T55" fmla="*/ 2147483647 h 261"/>
              <a:gd name="T56" fmla="*/ 2147483647 w 259"/>
              <a:gd name="T57" fmla="*/ 2147483647 h 261"/>
              <a:gd name="T58" fmla="*/ 2147483647 w 259"/>
              <a:gd name="T59" fmla="*/ 2147483647 h 261"/>
              <a:gd name="T60" fmla="*/ 2147483647 w 259"/>
              <a:gd name="T61" fmla="*/ 2147483647 h 261"/>
              <a:gd name="T62" fmla="*/ 2147483647 w 259"/>
              <a:gd name="T63" fmla="*/ 2147483647 h 261"/>
              <a:gd name="T64" fmla="*/ 2147483647 w 259"/>
              <a:gd name="T65" fmla="*/ 2147483647 h 261"/>
              <a:gd name="T66" fmla="*/ 2147483647 w 259"/>
              <a:gd name="T67" fmla="*/ 2147483647 h 261"/>
              <a:gd name="T68" fmla="*/ 2147483647 w 259"/>
              <a:gd name="T69" fmla="*/ 2147483647 h 261"/>
              <a:gd name="T70" fmla="*/ 2147483647 w 259"/>
              <a:gd name="T71" fmla="*/ 0 h 261"/>
              <a:gd name="T72" fmla="*/ 2147483647 w 259"/>
              <a:gd name="T73" fmla="*/ 2147483647 h 261"/>
              <a:gd name="T74" fmla="*/ 2147483647 w 259"/>
              <a:gd name="T75" fmla="*/ 2147483647 h 261"/>
              <a:gd name="T76" fmla="*/ 2147483647 w 259"/>
              <a:gd name="T77" fmla="*/ 2147483647 h 261"/>
              <a:gd name="T78" fmla="*/ 2147483647 w 259"/>
              <a:gd name="T79" fmla="*/ 2147483647 h 261"/>
              <a:gd name="T80" fmla="*/ 0 w 259"/>
              <a:gd name="T81" fmla="*/ 2147483647 h 261"/>
              <a:gd name="T82" fmla="*/ 2147483647 w 259"/>
              <a:gd name="T83" fmla="*/ 2147483647 h 261"/>
              <a:gd name="T84" fmla="*/ 2147483647 w 259"/>
              <a:gd name="T85" fmla="*/ 2147483647 h 261"/>
              <a:gd name="T86" fmla="*/ 0 w 259"/>
              <a:gd name="T87" fmla="*/ 2147483647 h 261"/>
              <a:gd name="T88" fmla="*/ 2147483647 w 259"/>
              <a:gd name="T89" fmla="*/ 2147483647 h 261"/>
              <a:gd name="T90" fmla="*/ 2147483647 w 259"/>
              <a:gd name="T91" fmla="*/ 2147483647 h 261"/>
              <a:gd name="T92" fmla="*/ 2147483647 w 259"/>
              <a:gd name="T93" fmla="*/ 2147483647 h 261"/>
              <a:gd name="T94" fmla="*/ 2147483647 w 259"/>
              <a:gd name="T95" fmla="*/ 2147483647 h 261"/>
              <a:gd name="T96" fmla="*/ 2147483647 w 259"/>
              <a:gd name="T97" fmla="*/ 2147483647 h 261"/>
              <a:gd name="T98" fmla="*/ 2147483647 w 259"/>
              <a:gd name="T99" fmla="*/ 2147483647 h 261"/>
              <a:gd name="T100" fmla="*/ 2147483647 w 259"/>
              <a:gd name="T101" fmla="*/ 2147483647 h 261"/>
              <a:gd name="T102" fmla="*/ 2147483647 w 259"/>
              <a:gd name="T103" fmla="*/ 2147483647 h 261"/>
              <a:gd name="T104" fmla="*/ 2147483647 w 259"/>
              <a:gd name="T105" fmla="*/ 2147483647 h 261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259"/>
              <a:gd name="T160" fmla="*/ 0 h 261"/>
              <a:gd name="T161" fmla="*/ 259 w 259"/>
              <a:gd name="T162" fmla="*/ 261 h 261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259" h="261">
                <a:moveTo>
                  <a:pt x="256" y="221"/>
                </a:moveTo>
                <a:lnTo>
                  <a:pt x="256" y="221"/>
                </a:lnTo>
                <a:lnTo>
                  <a:pt x="253" y="80"/>
                </a:lnTo>
                <a:lnTo>
                  <a:pt x="250" y="57"/>
                </a:lnTo>
                <a:lnTo>
                  <a:pt x="253" y="46"/>
                </a:lnTo>
                <a:lnTo>
                  <a:pt x="250" y="31"/>
                </a:lnTo>
                <a:lnTo>
                  <a:pt x="256" y="20"/>
                </a:lnTo>
                <a:lnTo>
                  <a:pt x="253" y="20"/>
                </a:lnTo>
                <a:lnTo>
                  <a:pt x="241" y="20"/>
                </a:lnTo>
                <a:lnTo>
                  <a:pt x="233" y="17"/>
                </a:lnTo>
                <a:lnTo>
                  <a:pt x="227" y="17"/>
                </a:lnTo>
                <a:lnTo>
                  <a:pt x="221" y="14"/>
                </a:lnTo>
                <a:lnTo>
                  <a:pt x="221" y="8"/>
                </a:lnTo>
                <a:lnTo>
                  <a:pt x="213" y="5"/>
                </a:lnTo>
                <a:lnTo>
                  <a:pt x="204" y="0"/>
                </a:lnTo>
                <a:lnTo>
                  <a:pt x="198" y="3"/>
                </a:lnTo>
                <a:lnTo>
                  <a:pt x="193" y="5"/>
                </a:lnTo>
                <a:lnTo>
                  <a:pt x="190" y="5"/>
                </a:lnTo>
                <a:lnTo>
                  <a:pt x="181" y="8"/>
                </a:lnTo>
                <a:lnTo>
                  <a:pt x="178" y="14"/>
                </a:lnTo>
                <a:lnTo>
                  <a:pt x="170" y="20"/>
                </a:lnTo>
                <a:lnTo>
                  <a:pt x="170" y="23"/>
                </a:lnTo>
                <a:lnTo>
                  <a:pt x="172" y="31"/>
                </a:lnTo>
                <a:lnTo>
                  <a:pt x="172" y="37"/>
                </a:lnTo>
                <a:lnTo>
                  <a:pt x="172" y="46"/>
                </a:lnTo>
                <a:lnTo>
                  <a:pt x="170" y="48"/>
                </a:lnTo>
                <a:lnTo>
                  <a:pt x="167" y="51"/>
                </a:lnTo>
                <a:lnTo>
                  <a:pt x="161" y="54"/>
                </a:lnTo>
                <a:lnTo>
                  <a:pt x="152" y="51"/>
                </a:lnTo>
                <a:lnTo>
                  <a:pt x="147" y="48"/>
                </a:lnTo>
                <a:lnTo>
                  <a:pt x="138" y="43"/>
                </a:lnTo>
                <a:lnTo>
                  <a:pt x="129" y="40"/>
                </a:lnTo>
                <a:lnTo>
                  <a:pt x="121" y="37"/>
                </a:lnTo>
                <a:lnTo>
                  <a:pt x="112" y="37"/>
                </a:lnTo>
                <a:lnTo>
                  <a:pt x="106" y="34"/>
                </a:lnTo>
                <a:lnTo>
                  <a:pt x="98" y="25"/>
                </a:lnTo>
                <a:lnTo>
                  <a:pt x="95" y="20"/>
                </a:lnTo>
                <a:lnTo>
                  <a:pt x="95" y="17"/>
                </a:lnTo>
                <a:lnTo>
                  <a:pt x="92" y="14"/>
                </a:lnTo>
                <a:lnTo>
                  <a:pt x="86" y="11"/>
                </a:lnTo>
                <a:lnTo>
                  <a:pt x="81" y="11"/>
                </a:lnTo>
                <a:lnTo>
                  <a:pt x="78" y="8"/>
                </a:lnTo>
                <a:lnTo>
                  <a:pt x="78" y="5"/>
                </a:lnTo>
                <a:lnTo>
                  <a:pt x="72" y="5"/>
                </a:lnTo>
                <a:lnTo>
                  <a:pt x="66" y="3"/>
                </a:lnTo>
                <a:lnTo>
                  <a:pt x="60" y="3"/>
                </a:lnTo>
                <a:lnTo>
                  <a:pt x="52" y="5"/>
                </a:lnTo>
                <a:lnTo>
                  <a:pt x="43" y="3"/>
                </a:lnTo>
                <a:lnTo>
                  <a:pt x="35" y="0"/>
                </a:lnTo>
                <a:lnTo>
                  <a:pt x="32" y="11"/>
                </a:lnTo>
                <a:lnTo>
                  <a:pt x="23" y="23"/>
                </a:lnTo>
                <a:lnTo>
                  <a:pt x="15" y="28"/>
                </a:lnTo>
                <a:lnTo>
                  <a:pt x="12" y="28"/>
                </a:lnTo>
                <a:lnTo>
                  <a:pt x="15" y="37"/>
                </a:lnTo>
                <a:lnTo>
                  <a:pt x="12" y="48"/>
                </a:lnTo>
                <a:lnTo>
                  <a:pt x="3" y="57"/>
                </a:lnTo>
                <a:lnTo>
                  <a:pt x="0" y="57"/>
                </a:lnTo>
                <a:lnTo>
                  <a:pt x="6" y="69"/>
                </a:lnTo>
                <a:lnTo>
                  <a:pt x="6" y="83"/>
                </a:lnTo>
                <a:lnTo>
                  <a:pt x="9" y="103"/>
                </a:lnTo>
                <a:lnTo>
                  <a:pt x="3" y="112"/>
                </a:lnTo>
                <a:lnTo>
                  <a:pt x="9" y="129"/>
                </a:lnTo>
                <a:lnTo>
                  <a:pt x="0" y="135"/>
                </a:lnTo>
                <a:lnTo>
                  <a:pt x="9" y="155"/>
                </a:lnTo>
                <a:lnTo>
                  <a:pt x="15" y="163"/>
                </a:lnTo>
                <a:lnTo>
                  <a:pt x="17" y="166"/>
                </a:lnTo>
                <a:lnTo>
                  <a:pt x="23" y="166"/>
                </a:lnTo>
                <a:lnTo>
                  <a:pt x="32" y="172"/>
                </a:lnTo>
                <a:lnTo>
                  <a:pt x="43" y="183"/>
                </a:lnTo>
                <a:lnTo>
                  <a:pt x="66" y="195"/>
                </a:lnTo>
                <a:lnTo>
                  <a:pt x="81" y="203"/>
                </a:lnTo>
                <a:lnTo>
                  <a:pt x="89" y="198"/>
                </a:lnTo>
                <a:lnTo>
                  <a:pt x="89" y="195"/>
                </a:lnTo>
                <a:lnTo>
                  <a:pt x="92" y="195"/>
                </a:lnTo>
                <a:lnTo>
                  <a:pt x="109" y="186"/>
                </a:lnTo>
                <a:lnTo>
                  <a:pt x="241" y="261"/>
                </a:lnTo>
                <a:lnTo>
                  <a:pt x="241" y="252"/>
                </a:lnTo>
                <a:lnTo>
                  <a:pt x="259" y="252"/>
                </a:lnTo>
                <a:lnTo>
                  <a:pt x="256" y="22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95" name="Freeform 199"/>
          <p:cNvSpPr>
            <a:spLocks/>
          </p:cNvSpPr>
          <p:nvPr/>
        </p:nvSpPr>
        <p:spPr bwMode="gray">
          <a:xfrm>
            <a:off x="5639016" y="2593571"/>
            <a:ext cx="54009" cy="69002"/>
          </a:xfrm>
          <a:custGeom>
            <a:avLst/>
            <a:gdLst>
              <a:gd name="T0" fmla="*/ 2147483647 w 26"/>
              <a:gd name="T1" fmla="*/ 2147483647 h 46"/>
              <a:gd name="T2" fmla="*/ 2147483647 w 26"/>
              <a:gd name="T3" fmla="*/ 2147483647 h 46"/>
              <a:gd name="T4" fmla="*/ 2147483647 w 26"/>
              <a:gd name="T5" fmla="*/ 2147483647 h 46"/>
              <a:gd name="T6" fmla="*/ 2147483647 w 26"/>
              <a:gd name="T7" fmla="*/ 2147483647 h 46"/>
              <a:gd name="T8" fmla="*/ 2147483647 w 26"/>
              <a:gd name="T9" fmla="*/ 2147483647 h 46"/>
              <a:gd name="T10" fmla="*/ 2147483647 w 26"/>
              <a:gd name="T11" fmla="*/ 2147483647 h 46"/>
              <a:gd name="T12" fmla="*/ 2147483647 w 26"/>
              <a:gd name="T13" fmla="*/ 2147483647 h 46"/>
              <a:gd name="T14" fmla="*/ 2147483647 w 26"/>
              <a:gd name="T15" fmla="*/ 2147483647 h 46"/>
              <a:gd name="T16" fmla="*/ 2147483647 w 26"/>
              <a:gd name="T17" fmla="*/ 2147483647 h 46"/>
              <a:gd name="T18" fmla="*/ 2147483647 w 26"/>
              <a:gd name="T19" fmla="*/ 2147483647 h 46"/>
              <a:gd name="T20" fmla="*/ 2147483647 w 26"/>
              <a:gd name="T21" fmla="*/ 2147483647 h 46"/>
              <a:gd name="T22" fmla="*/ 2147483647 w 26"/>
              <a:gd name="T23" fmla="*/ 2147483647 h 46"/>
              <a:gd name="T24" fmla="*/ 2147483647 w 26"/>
              <a:gd name="T25" fmla="*/ 2147483647 h 46"/>
              <a:gd name="T26" fmla="*/ 2147483647 w 26"/>
              <a:gd name="T27" fmla="*/ 2147483647 h 46"/>
              <a:gd name="T28" fmla="*/ 2147483647 w 26"/>
              <a:gd name="T29" fmla="*/ 2147483647 h 46"/>
              <a:gd name="T30" fmla="*/ 2147483647 w 26"/>
              <a:gd name="T31" fmla="*/ 2147483647 h 46"/>
              <a:gd name="T32" fmla="*/ 2147483647 w 26"/>
              <a:gd name="T33" fmla="*/ 2147483647 h 46"/>
              <a:gd name="T34" fmla="*/ 2147483647 w 26"/>
              <a:gd name="T35" fmla="*/ 2147483647 h 46"/>
              <a:gd name="T36" fmla="*/ 2147483647 w 26"/>
              <a:gd name="T37" fmla="*/ 2147483647 h 46"/>
              <a:gd name="T38" fmla="*/ 2147483647 w 26"/>
              <a:gd name="T39" fmla="*/ 2147483647 h 46"/>
              <a:gd name="T40" fmla="*/ 2147483647 w 26"/>
              <a:gd name="T41" fmla="*/ 0 h 46"/>
              <a:gd name="T42" fmla="*/ 2147483647 w 26"/>
              <a:gd name="T43" fmla="*/ 0 h 46"/>
              <a:gd name="T44" fmla="*/ 2147483647 w 26"/>
              <a:gd name="T45" fmla="*/ 0 h 46"/>
              <a:gd name="T46" fmla="*/ 2147483647 w 26"/>
              <a:gd name="T47" fmla="*/ 0 h 46"/>
              <a:gd name="T48" fmla="*/ 2147483647 w 26"/>
              <a:gd name="T49" fmla="*/ 2147483647 h 46"/>
              <a:gd name="T50" fmla="*/ 2147483647 w 26"/>
              <a:gd name="T51" fmla="*/ 2147483647 h 46"/>
              <a:gd name="T52" fmla="*/ 2147483647 w 26"/>
              <a:gd name="T53" fmla="*/ 2147483647 h 46"/>
              <a:gd name="T54" fmla="*/ 2147483647 w 26"/>
              <a:gd name="T55" fmla="*/ 2147483647 h 46"/>
              <a:gd name="T56" fmla="*/ 0 w 26"/>
              <a:gd name="T57" fmla="*/ 2147483647 h 46"/>
              <a:gd name="T58" fmla="*/ 0 w 26"/>
              <a:gd name="T59" fmla="*/ 2147483647 h 46"/>
              <a:gd name="T60" fmla="*/ 0 w 26"/>
              <a:gd name="T61" fmla="*/ 2147483647 h 46"/>
              <a:gd name="T62" fmla="*/ 2147483647 w 26"/>
              <a:gd name="T63" fmla="*/ 2147483647 h 46"/>
              <a:gd name="T64" fmla="*/ 2147483647 w 26"/>
              <a:gd name="T65" fmla="*/ 2147483647 h 46"/>
              <a:gd name="T66" fmla="*/ 2147483647 w 26"/>
              <a:gd name="T67" fmla="*/ 2147483647 h 46"/>
              <a:gd name="T68" fmla="*/ 2147483647 w 26"/>
              <a:gd name="T69" fmla="*/ 2147483647 h 46"/>
              <a:gd name="T70" fmla="*/ 2147483647 w 26"/>
              <a:gd name="T71" fmla="*/ 2147483647 h 46"/>
              <a:gd name="T72" fmla="*/ 2147483647 w 26"/>
              <a:gd name="T73" fmla="*/ 2147483647 h 46"/>
              <a:gd name="T74" fmla="*/ 2147483647 w 26"/>
              <a:gd name="T75" fmla="*/ 2147483647 h 4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26"/>
              <a:gd name="T115" fmla="*/ 0 h 46"/>
              <a:gd name="T116" fmla="*/ 26 w 26"/>
              <a:gd name="T117" fmla="*/ 46 h 4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26" h="46">
                <a:moveTo>
                  <a:pt x="3" y="40"/>
                </a:moveTo>
                <a:lnTo>
                  <a:pt x="3" y="40"/>
                </a:lnTo>
                <a:lnTo>
                  <a:pt x="9" y="46"/>
                </a:lnTo>
                <a:lnTo>
                  <a:pt x="12" y="46"/>
                </a:lnTo>
                <a:lnTo>
                  <a:pt x="12" y="40"/>
                </a:lnTo>
                <a:lnTo>
                  <a:pt x="15" y="37"/>
                </a:lnTo>
                <a:lnTo>
                  <a:pt x="20" y="40"/>
                </a:lnTo>
                <a:lnTo>
                  <a:pt x="23" y="37"/>
                </a:lnTo>
                <a:lnTo>
                  <a:pt x="23" y="31"/>
                </a:lnTo>
                <a:lnTo>
                  <a:pt x="23" y="17"/>
                </a:lnTo>
                <a:lnTo>
                  <a:pt x="26" y="8"/>
                </a:lnTo>
                <a:lnTo>
                  <a:pt x="23" y="5"/>
                </a:lnTo>
                <a:lnTo>
                  <a:pt x="20" y="0"/>
                </a:lnTo>
                <a:lnTo>
                  <a:pt x="17" y="0"/>
                </a:lnTo>
                <a:lnTo>
                  <a:pt x="9" y="5"/>
                </a:lnTo>
                <a:lnTo>
                  <a:pt x="3" y="5"/>
                </a:lnTo>
                <a:lnTo>
                  <a:pt x="0" y="8"/>
                </a:lnTo>
                <a:lnTo>
                  <a:pt x="0" y="11"/>
                </a:lnTo>
                <a:lnTo>
                  <a:pt x="3" y="17"/>
                </a:lnTo>
                <a:lnTo>
                  <a:pt x="6" y="20"/>
                </a:lnTo>
                <a:lnTo>
                  <a:pt x="6" y="23"/>
                </a:lnTo>
                <a:lnTo>
                  <a:pt x="3" y="34"/>
                </a:lnTo>
                <a:lnTo>
                  <a:pt x="3" y="4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96" name="Freeform 200"/>
          <p:cNvSpPr>
            <a:spLocks/>
          </p:cNvSpPr>
          <p:nvPr/>
        </p:nvSpPr>
        <p:spPr bwMode="gray">
          <a:xfrm>
            <a:off x="6505172" y="2833578"/>
            <a:ext cx="40007" cy="81002"/>
          </a:xfrm>
          <a:custGeom>
            <a:avLst/>
            <a:gdLst>
              <a:gd name="T0" fmla="*/ 2147483647 w 20"/>
              <a:gd name="T1" fmla="*/ 2147483647 h 54"/>
              <a:gd name="T2" fmla="*/ 2147483647 w 20"/>
              <a:gd name="T3" fmla="*/ 2147483647 h 54"/>
              <a:gd name="T4" fmla="*/ 0 w 20"/>
              <a:gd name="T5" fmla="*/ 2147483647 h 54"/>
              <a:gd name="T6" fmla="*/ 2147483647 w 20"/>
              <a:gd name="T7" fmla="*/ 2147483647 h 54"/>
              <a:gd name="T8" fmla="*/ 2147483647 w 20"/>
              <a:gd name="T9" fmla="*/ 2147483647 h 54"/>
              <a:gd name="T10" fmla="*/ 2147483647 w 20"/>
              <a:gd name="T11" fmla="*/ 2147483647 h 54"/>
              <a:gd name="T12" fmla="*/ 2147483647 w 20"/>
              <a:gd name="T13" fmla="*/ 2147483647 h 54"/>
              <a:gd name="T14" fmla="*/ 2147483647 w 20"/>
              <a:gd name="T15" fmla="*/ 2147483647 h 54"/>
              <a:gd name="T16" fmla="*/ 2147483647 w 20"/>
              <a:gd name="T17" fmla="*/ 2147483647 h 54"/>
              <a:gd name="T18" fmla="*/ 2147483647 w 20"/>
              <a:gd name="T19" fmla="*/ 2147483647 h 54"/>
              <a:gd name="T20" fmla="*/ 2147483647 w 20"/>
              <a:gd name="T21" fmla="*/ 2147483647 h 54"/>
              <a:gd name="T22" fmla="*/ 2147483647 w 20"/>
              <a:gd name="T23" fmla="*/ 2147483647 h 54"/>
              <a:gd name="T24" fmla="*/ 2147483647 w 20"/>
              <a:gd name="T25" fmla="*/ 2147483647 h 54"/>
              <a:gd name="T26" fmla="*/ 2147483647 w 20"/>
              <a:gd name="T27" fmla="*/ 2147483647 h 54"/>
              <a:gd name="T28" fmla="*/ 2147483647 w 20"/>
              <a:gd name="T29" fmla="*/ 2147483647 h 54"/>
              <a:gd name="T30" fmla="*/ 2147483647 w 20"/>
              <a:gd name="T31" fmla="*/ 2147483647 h 54"/>
              <a:gd name="T32" fmla="*/ 2147483647 w 20"/>
              <a:gd name="T33" fmla="*/ 2147483647 h 54"/>
              <a:gd name="T34" fmla="*/ 2147483647 w 20"/>
              <a:gd name="T35" fmla="*/ 2147483647 h 54"/>
              <a:gd name="T36" fmla="*/ 2147483647 w 20"/>
              <a:gd name="T37" fmla="*/ 2147483647 h 54"/>
              <a:gd name="T38" fmla="*/ 2147483647 w 20"/>
              <a:gd name="T39" fmla="*/ 0 h 54"/>
              <a:gd name="T40" fmla="*/ 2147483647 w 20"/>
              <a:gd name="T41" fmla="*/ 0 h 54"/>
              <a:gd name="T42" fmla="*/ 2147483647 w 20"/>
              <a:gd name="T43" fmla="*/ 2147483647 h 54"/>
              <a:gd name="T44" fmla="*/ 2147483647 w 20"/>
              <a:gd name="T45" fmla="*/ 2147483647 h 54"/>
              <a:gd name="T46" fmla="*/ 2147483647 w 20"/>
              <a:gd name="T47" fmla="*/ 2147483647 h 54"/>
              <a:gd name="T48" fmla="*/ 2147483647 w 20"/>
              <a:gd name="T49" fmla="*/ 2147483647 h 54"/>
              <a:gd name="T50" fmla="*/ 2147483647 w 20"/>
              <a:gd name="T51" fmla="*/ 2147483647 h 54"/>
              <a:gd name="T52" fmla="*/ 2147483647 w 20"/>
              <a:gd name="T53" fmla="*/ 2147483647 h 54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20"/>
              <a:gd name="T82" fmla="*/ 0 h 54"/>
              <a:gd name="T83" fmla="*/ 20 w 20"/>
              <a:gd name="T84" fmla="*/ 54 h 54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20" h="54">
                <a:moveTo>
                  <a:pt x="6" y="28"/>
                </a:moveTo>
                <a:lnTo>
                  <a:pt x="6" y="28"/>
                </a:lnTo>
                <a:lnTo>
                  <a:pt x="0" y="34"/>
                </a:lnTo>
                <a:lnTo>
                  <a:pt x="3" y="37"/>
                </a:lnTo>
                <a:lnTo>
                  <a:pt x="6" y="43"/>
                </a:lnTo>
                <a:lnTo>
                  <a:pt x="9" y="51"/>
                </a:lnTo>
                <a:lnTo>
                  <a:pt x="11" y="54"/>
                </a:lnTo>
                <a:lnTo>
                  <a:pt x="14" y="43"/>
                </a:lnTo>
                <a:lnTo>
                  <a:pt x="11" y="37"/>
                </a:lnTo>
                <a:lnTo>
                  <a:pt x="11" y="28"/>
                </a:lnTo>
                <a:lnTo>
                  <a:pt x="14" y="25"/>
                </a:lnTo>
                <a:lnTo>
                  <a:pt x="11" y="23"/>
                </a:lnTo>
                <a:lnTo>
                  <a:pt x="11" y="11"/>
                </a:lnTo>
                <a:lnTo>
                  <a:pt x="17" y="8"/>
                </a:lnTo>
                <a:lnTo>
                  <a:pt x="20" y="11"/>
                </a:lnTo>
                <a:lnTo>
                  <a:pt x="20" y="5"/>
                </a:lnTo>
                <a:lnTo>
                  <a:pt x="20" y="0"/>
                </a:lnTo>
                <a:lnTo>
                  <a:pt x="17" y="3"/>
                </a:lnTo>
                <a:lnTo>
                  <a:pt x="14" y="3"/>
                </a:lnTo>
                <a:lnTo>
                  <a:pt x="9" y="20"/>
                </a:lnTo>
                <a:lnTo>
                  <a:pt x="6" y="2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97" name="Freeform 201"/>
          <p:cNvSpPr>
            <a:spLocks/>
          </p:cNvSpPr>
          <p:nvPr/>
        </p:nvSpPr>
        <p:spPr bwMode="gray">
          <a:xfrm>
            <a:off x="6259128" y="2754075"/>
            <a:ext cx="6000" cy="4501"/>
          </a:xfrm>
          <a:custGeom>
            <a:avLst/>
            <a:gdLst>
              <a:gd name="T0" fmla="*/ 0 w 3"/>
              <a:gd name="T1" fmla="*/ 0 h 3"/>
              <a:gd name="T2" fmla="*/ 0 w 3"/>
              <a:gd name="T3" fmla="*/ 2147483647 h 3"/>
              <a:gd name="T4" fmla="*/ 2147483647 w 3"/>
              <a:gd name="T5" fmla="*/ 2147483647 h 3"/>
              <a:gd name="T6" fmla="*/ 0 w 3"/>
              <a:gd name="T7" fmla="*/ 0 h 3"/>
              <a:gd name="T8" fmla="*/ 0 w 3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0" y="0"/>
                </a:moveTo>
                <a:lnTo>
                  <a:pt x="0" y="3"/>
                </a:lnTo>
                <a:lnTo>
                  <a:pt x="3" y="3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98" name="Freeform 202"/>
          <p:cNvSpPr>
            <a:spLocks/>
          </p:cNvSpPr>
          <p:nvPr/>
        </p:nvSpPr>
        <p:spPr bwMode="gray">
          <a:xfrm>
            <a:off x="6545179" y="2710574"/>
            <a:ext cx="204037" cy="139503"/>
          </a:xfrm>
          <a:custGeom>
            <a:avLst/>
            <a:gdLst>
              <a:gd name="T0" fmla="*/ 2147483647 w 101"/>
              <a:gd name="T1" fmla="*/ 2147483647 h 92"/>
              <a:gd name="T2" fmla="*/ 2147483647 w 101"/>
              <a:gd name="T3" fmla="*/ 2147483647 h 92"/>
              <a:gd name="T4" fmla="*/ 2147483647 w 101"/>
              <a:gd name="T5" fmla="*/ 2147483647 h 92"/>
              <a:gd name="T6" fmla="*/ 0 w 101"/>
              <a:gd name="T7" fmla="*/ 2147483647 h 92"/>
              <a:gd name="T8" fmla="*/ 0 w 101"/>
              <a:gd name="T9" fmla="*/ 2147483647 h 92"/>
              <a:gd name="T10" fmla="*/ 2147483647 w 101"/>
              <a:gd name="T11" fmla="*/ 2147483647 h 92"/>
              <a:gd name="T12" fmla="*/ 2147483647 w 101"/>
              <a:gd name="T13" fmla="*/ 2147483647 h 92"/>
              <a:gd name="T14" fmla="*/ 2147483647 w 101"/>
              <a:gd name="T15" fmla="*/ 2147483647 h 92"/>
              <a:gd name="T16" fmla="*/ 2147483647 w 101"/>
              <a:gd name="T17" fmla="*/ 2147483647 h 92"/>
              <a:gd name="T18" fmla="*/ 2147483647 w 101"/>
              <a:gd name="T19" fmla="*/ 2147483647 h 92"/>
              <a:gd name="T20" fmla="*/ 2147483647 w 101"/>
              <a:gd name="T21" fmla="*/ 2147483647 h 92"/>
              <a:gd name="T22" fmla="*/ 2147483647 w 101"/>
              <a:gd name="T23" fmla="*/ 2147483647 h 92"/>
              <a:gd name="T24" fmla="*/ 2147483647 w 101"/>
              <a:gd name="T25" fmla="*/ 2147483647 h 92"/>
              <a:gd name="T26" fmla="*/ 2147483647 w 101"/>
              <a:gd name="T27" fmla="*/ 2147483647 h 92"/>
              <a:gd name="T28" fmla="*/ 2147483647 w 101"/>
              <a:gd name="T29" fmla="*/ 2147483647 h 92"/>
              <a:gd name="T30" fmla="*/ 2147483647 w 101"/>
              <a:gd name="T31" fmla="*/ 2147483647 h 92"/>
              <a:gd name="T32" fmla="*/ 2147483647 w 101"/>
              <a:gd name="T33" fmla="*/ 2147483647 h 92"/>
              <a:gd name="T34" fmla="*/ 2147483647 w 101"/>
              <a:gd name="T35" fmla="*/ 2147483647 h 92"/>
              <a:gd name="T36" fmla="*/ 2147483647 w 101"/>
              <a:gd name="T37" fmla="*/ 2147483647 h 92"/>
              <a:gd name="T38" fmla="*/ 2147483647 w 101"/>
              <a:gd name="T39" fmla="*/ 2147483647 h 92"/>
              <a:gd name="T40" fmla="*/ 2147483647 w 101"/>
              <a:gd name="T41" fmla="*/ 2147483647 h 92"/>
              <a:gd name="T42" fmla="*/ 2147483647 w 101"/>
              <a:gd name="T43" fmla="*/ 2147483647 h 92"/>
              <a:gd name="T44" fmla="*/ 2147483647 w 101"/>
              <a:gd name="T45" fmla="*/ 2147483647 h 92"/>
              <a:gd name="T46" fmla="*/ 2147483647 w 101"/>
              <a:gd name="T47" fmla="*/ 2147483647 h 92"/>
              <a:gd name="T48" fmla="*/ 2147483647 w 101"/>
              <a:gd name="T49" fmla="*/ 2147483647 h 92"/>
              <a:gd name="T50" fmla="*/ 2147483647 w 101"/>
              <a:gd name="T51" fmla="*/ 2147483647 h 92"/>
              <a:gd name="T52" fmla="*/ 2147483647 w 101"/>
              <a:gd name="T53" fmla="*/ 2147483647 h 92"/>
              <a:gd name="T54" fmla="*/ 2147483647 w 101"/>
              <a:gd name="T55" fmla="*/ 2147483647 h 92"/>
              <a:gd name="T56" fmla="*/ 2147483647 w 101"/>
              <a:gd name="T57" fmla="*/ 2147483647 h 92"/>
              <a:gd name="T58" fmla="*/ 2147483647 w 101"/>
              <a:gd name="T59" fmla="*/ 2147483647 h 92"/>
              <a:gd name="T60" fmla="*/ 2147483647 w 101"/>
              <a:gd name="T61" fmla="*/ 2147483647 h 92"/>
              <a:gd name="T62" fmla="*/ 2147483647 w 101"/>
              <a:gd name="T63" fmla="*/ 2147483647 h 92"/>
              <a:gd name="T64" fmla="*/ 2147483647 w 101"/>
              <a:gd name="T65" fmla="*/ 2147483647 h 92"/>
              <a:gd name="T66" fmla="*/ 2147483647 w 101"/>
              <a:gd name="T67" fmla="*/ 2147483647 h 92"/>
              <a:gd name="T68" fmla="*/ 2147483647 w 101"/>
              <a:gd name="T69" fmla="*/ 2147483647 h 92"/>
              <a:gd name="T70" fmla="*/ 2147483647 w 101"/>
              <a:gd name="T71" fmla="*/ 2147483647 h 92"/>
              <a:gd name="T72" fmla="*/ 2147483647 w 101"/>
              <a:gd name="T73" fmla="*/ 2147483647 h 92"/>
              <a:gd name="T74" fmla="*/ 2147483647 w 101"/>
              <a:gd name="T75" fmla="*/ 2147483647 h 92"/>
              <a:gd name="T76" fmla="*/ 2147483647 w 101"/>
              <a:gd name="T77" fmla="*/ 2147483647 h 92"/>
              <a:gd name="T78" fmla="*/ 2147483647 w 101"/>
              <a:gd name="T79" fmla="*/ 2147483647 h 92"/>
              <a:gd name="T80" fmla="*/ 2147483647 w 101"/>
              <a:gd name="T81" fmla="*/ 0 h 92"/>
              <a:gd name="T82" fmla="*/ 2147483647 w 101"/>
              <a:gd name="T83" fmla="*/ 2147483647 h 92"/>
              <a:gd name="T84" fmla="*/ 2147483647 w 101"/>
              <a:gd name="T85" fmla="*/ 2147483647 h 92"/>
              <a:gd name="T86" fmla="*/ 2147483647 w 101"/>
              <a:gd name="T87" fmla="*/ 2147483647 h 92"/>
              <a:gd name="T88" fmla="*/ 2147483647 w 101"/>
              <a:gd name="T89" fmla="*/ 2147483647 h 92"/>
              <a:gd name="T90" fmla="*/ 2147483647 w 101"/>
              <a:gd name="T91" fmla="*/ 2147483647 h 92"/>
              <a:gd name="T92" fmla="*/ 2147483647 w 101"/>
              <a:gd name="T93" fmla="*/ 2147483647 h 92"/>
              <a:gd name="T94" fmla="*/ 2147483647 w 101"/>
              <a:gd name="T95" fmla="*/ 2147483647 h 92"/>
              <a:gd name="T96" fmla="*/ 2147483647 w 101"/>
              <a:gd name="T97" fmla="*/ 2147483647 h 92"/>
              <a:gd name="T98" fmla="*/ 2147483647 w 101"/>
              <a:gd name="T99" fmla="*/ 2147483647 h 92"/>
              <a:gd name="T100" fmla="*/ 2147483647 w 101"/>
              <a:gd name="T101" fmla="*/ 2147483647 h 92"/>
              <a:gd name="T102" fmla="*/ 2147483647 w 101"/>
              <a:gd name="T103" fmla="*/ 2147483647 h 92"/>
              <a:gd name="T104" fmla="*/ 2147483647 w 101"/>
              <a:gd name="T105" fmla="*/ 2147483647 h 92"/>
              <a:gd name="T106" fmla="*/ 2147483647 w 101"/>
              <a:gd name="T107" fmla="*/ 2147483647 h 92"/>
              <a:gd name="T108" fmla="*/ 2147483647 w 101"/>
              <a:gd name="T109" fmla="*/ 2147483647 h 92"/>
              <a:gd name="T110" fmla="*/ 2147483647 w 101"/>
              <a:gd name="T111" fmla="*/ 2147483647 h 92"/>
              <a:gd name="T112" fmla="*/ 2147483647 w 101"/>
              <a:gd name="T113" fmla="*/ 2147483647 h 92"/>
              <a:gd name="T114" fmla="*/ 2147483647 w 101"/>
              <a:gd name="T115" fmla="*/ 2147483647 h 92"/>
              <a:gd name="T116" fmla="*/ 2147483647 w 101"/>
              <a:gd name="T117" fmla="*/ 2147483647 h 92"/>
              <a:gd name="T118" fmla="*/ 2147483647 w 101"/>
              <a:gd name="T119" fmla="*/ 2147483647 h 92"/>
              <a:gd name="T120" fmla="*/ 2147483647 w 101"/>
              <a:gd name="T121" fmla="*/ 2147483647 h 92"/>
              <a:gd name="T122" fmla="*/ 2147483647 w 101"/>
              <a:gd name="T123" fmla="*/ 2147483647 h 92"/>
              <a:gd name="T124" fmla="*/ 2147483647 w 101"/>
              <a:gd name="T125" fmla="*/ 2147483647 h 9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101"/>
              <a:gd name="T190" fmla="*/ 0 h 92"/>
              <a:gd name="T191" fmla="*/ 101 w 101"/>
              <a:gd name="T192" fmla="*/ 92 h 92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101" h="92">
                <a:moveTo>
                  <a:pt x="9" y="20"/>
                </a:moveTo>
                <a:lnTo>
                  <a:pt x="9" y="23"/>
                </a:lnTo>
                <a:lnTo>
                  <a:pt x="3" y="29"/>
                </a:lnTo>
                <a:lnTo>
                  <a:pt x="0" y="29"/>
                </a:lnTo>
                <a:lnTo>
                  <a:pt x="3" y="35"/>
                </a:lnTo>
                <a:lnTo>
                  <a:pt x="3" y="40"/>
                </a:lnTo>
                <a:lnTo>
                  <a:pt x="6" y="49"/>
                </a:lnTo>
                <a:lnTo>
                  <a:pt x="9" y="49"/>
                </a:lnTo>
                <a:lnTo>
                  <a:pt x="14" y="52"/>
                </a:lnTo>
                <a:lnTo>
                  <a:pt x="14" y="55"/>
                </a:lnTo>
                <a:lnTo>
                  <a:pt x="14" y="61"/>
                </a:lnTo>
                <a:lnTo>
                  <a:pt x="12" y="66"/>
                </a:lnTo>
                <a:lnTo>
                  <a:pt x="6" y="72"/>
                </a:lnTo>
                <a:lnTo>
                  <a:pt x="3" y="78"/>
                </a:lnTo>
                <a:lnTo>
                  <a:pt x="3" y="86"/>
                </a:lnTo>
                <a:lnTo>
                  <a:pt x="12" y="89"/>
                </a:lnTo>
                <a:lnTo>
                  <a:pt x="17" y="92"/>
                </a:lnTo>
                <a:lnTo>
                  <a:pt x="23" y="92"/>
                </a:lnTo>
                <a:lnTo>
                  <a:pt x="34" y="86"/>
                </a:lnTo>
                <a:lnTo>
                  <a:pt x="46" y="81"/>
                </a:lnTo>
                <a:lnTo>
                  <a:pt x="55" y="75"/>
                </a:lnTo>
                <a:lnTo>
                  <a:pt x="66" y="63"/>
                </a:lnTo>
                <a:lnTo>
                  <a:pt x="78" y="58"/>
                </a:lnTo>
                <a:lnTo>
                  <a:pt x="83" y="55"/>
                </a:lnTo>
                <a:lnTo>
                  <a:pt x="86" y="49"/>
                </a:lnTo>
                <a:lnTo>
                  <a:pt x="86" y="40"/>
                </a:lnTo>
                <a:lnTo>
                  <a:pt x="86" y="35"/>
                </a:lnTo>
                <a:lnTo>
                  <a:pt x="86" y="32"/>
                </a:lnTo>
                <a:lnTo>
                  <a:pt x="89" y="29"/>
                </a:lnTo>
                <a:lnTo>
                  <a:pt x="83" y="20"/>
                </a:lnTo>
                <a:lnTo>
                  <a:pt x="86" y="12"/>
                </a:lnTo>
                <a:lnTo>
                  <a:pt x="89" y="12"/>
                </a:lnTo>
                <a:lnTo>
                  <a:pt x="95" y="9"/>
                </a:lnTo>
                <a:lnTo>
                  <a:pt x="101" y="3"/>
                </a:lnTo>
                <a:lnTo>
                  <a:pt x="101" y="0"/>
                </a:lnTo>
                <a:lnTo>
                  <a:pt x="95" y="3"/>
                </a:lnTo>
                <a:lnTo>
                  <a:pt x="80" y="6"/>
                </a:lnTo>
                <a:lnTo>
                  <a:pt x="66" y="9"/>
                </a:lnTo>
                <a:lnTo>
                  <a:pt x="49" y="15"/>
                </a:lnTo>
                <a:lnTo>
                  <a:pt x="43" y="12"/>
                </a:lnTo>
                <a:lnTo>
                  <a:pt x="40" y="6"/>
                </a:lnTo>
                <a:lnTo>
                  <a:pt x="37" y="9"/>
                </a:lnTo>
                <a:lnTo>
                  <a:pt x="34" y="9"/>
                </a:lnTo>
                <a:lnTo>
                  <a:pt x="34" y="12"/>
                </a:lnTo>
                <a:lnTo>
                  <a:pt x="17" y="12"/>
                </a:lnTo>
                <a:lnTo>
                  <a:pt x="14" y="12"/>
                </a:lnTo>
                <a:lnTo>
                  <a:pt x="14" y="20"/>
                </a:lnTo>
                <a:lnTo>
                  <a:pt x="12" y="20"/>
                </a:lnTo>
                <a:lnTo>
                  <a:pt x="9" y="2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99" name="Freeform 203"/>
          <p:cNvSpPr>
            <a:spLocks/>
          </p:cNvSpPr>
          <p:nvPr/>
        </p:nvSpPr>
        <p:spPr bwMode="gray">
          <a:xfrm>
            <a:off x="6277131" y="2733074"/>
            <a:ext cx="20004" cy="16501"/>
          </a:xfrm>
          <a:custGeom>
            <a:avLst/>
            <a:gdLst>
              <a:gd name="T0" fmla="*/ 2147483647 w 9"/>
              <a:gd name="T1" fmla="*/ 2147483647 h 11"/>
              <a:gd name="T2" fmla="*/ 2147483647 w 9"/>
              <a:gd name="T3" fmla="*/ 2147483647 h 11"/>
              <a:gd name="T4" fmla="*/ 2147483647 w 9"/>
              <a:gd name="T5" fmla="*/ 2147483647 h 11"/>
              <a:gd name="T6" fmla="*/ 2147483647 w 9"/>
              <a:gd name="T7" fmla="*/ 0 h 11"/>
              <a:gd name="T8" fmla="*/ 0 w 9"/>
              <a:gd name="T9" fmla="*/ 2147483647 h 11"/>
              <a:gd name="T10" fmla="*/ 0 w 9"/>
              <a:gd name="T11" fmla="*/ 2147483647 h 11"/>
              <a:gd name="T12" fmla="*/ 2147483647 w 9"/>
              <a:gd name="T13" fmla="*/ 2147483647 h 1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"/>
              <a:gd name="T22" fmla="*/ 0 h 11"/>
              <a:gd name="T23" fmla="*/ 9 w 9"/>
              <a:gd name="T24" fmla="*/ 11 h 11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" h="11">
                <a:moveTo>
                  <a:pt x="3" y="11"/>
                </a:moveTo>
                <a:lnTo>
                  <a:pt x="6" y="5"/>
                </a:lnTo>
                <a:lnTo>
                  <a:pt x="9" y="2"/>
                </a:lnTo>
                <a:lnTo>
                  <a:pt x="6" y="0"/>
                </a:lnTo>
                <a:lnTo>
                  <a:pt x="0" y="2"/>
                </a:lnTo>
                <a:lnTo>
                  <a:pt x="0" y="11"/>
                </a:lnTo>
                <a:lnTo>
                  <a:pt x="3" y="11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00" name="Freeform 204"/>
          <p:cNvSpPr>
            <a:spLocks/>
          </p:cNvSpPr>
          <p:nvPr/>
        </p:nvSpPr>
        <p:spPr bwMode="gray">
          <a:xfrm>
            <a:off x="6197116" y="2868078"/>
            <a:ext cx="376068" cy="300008"/>
          </a:xfrm>
          <a:custGeom>
            <a:avLst/>
            <a:gdLst>
              <a:gd name="T0" fmla="*/ 2147483647 w 186"/>
              <a:gd name="T1" fmla="*/ 2147483647 h 198"/>
              <a:gd name="T2" fmla="*/ 0 w 186"/>
              <a:gd name="T3" fmla="*/ 2147483647 h 198"/>
              <a:gd name="T4" fmla="*/ 0 w 186"/>
              <a:gd name="T5" fmla="*/ 2147483647 h 198"/>
              <a:gd name="T6" fmla="*/ 2147483647 w 186"/>
              <a:gd name="T7" fmla="*/ 2147483647 h 198"/>
              <a:gd name="T8" fmla="*/ 2147483647 w 186"/>
              <a:gd name="T9" fmla="*/ 2147483647 h 198"/>
              <a:gd name="T10" fmla="*/ 2147483647 w 186"/>
              <a:gd name="T11" fmla="*/ 2147483647 h 198"/>
              <a:gd name="T12" fmla="*/ 2147483647 w 186"/>
              <a:gd name="T13" fmla="*/ 2147483647 h 198"/>
              <a:gd name="T14" fmla="*/ 2147483647 w 186"/>
              <a:gd name="T15" fmla="*/ 2147483647 h 198"/>
              <a:gd name="T16" fmla="*/ 2147483647 w 186"/>
              <a:gd name="T17" fmla="*/ 2147483647 h 198"/>
              <a:gd name="T18" fmla="*/ 2147483647 w 186"/>
              <a:gd name="T19" fmla="*/ 2147483647 h 198"/>
              <a:gd name="T20" fmla="*/ 2147483647 w 186"/>
              <a:gd name="T21" fmla="*/ 2147483647 h 198"/>
              <a:gd name="T22" fmla="*/ 2147483647 w 186"/>
              <a:gd name="T23" fmla="*/ 2147483647 h 198"/>
              <a:gd name="T24" fmla="*/ 2147483647 w 186"/>
              <a:gd name="T25" fmla="*/ 2147483647 h 198"/>
              <a:gd name="T26" fmla="*/ 2147483647 w 186"/>
              <a:gd name="T27" fmla="*/ 2147483647 h 198"/>
              <a:gd name="T28" fmla="*/ 2147483647 w 186"/>
              <a:gd name="T29" fmla="*/ 2147483647 h 198"/>
              <a:gd name="T30" fmla="*/ 2147483647 w 186"/>
              <a:gd name="T31" fmla="*/ 2147483647 h 198"/>
              <a:gd name="T32" fmla="*/ 2147483647 w 186"/>
              <a:gd name="T33" fmla="*/ 2147483647 h 198"/>
              <a:gd name="T34" fmla="*/ 2147483647 w 186"/>
              <a:gd name="T35" fmla="*/ 2147483647 h 198"/>
              <a:gd name="T36" fmla="*/ 2147483647 w 186"/>
              <a:gd name="T37" fmla="*/ 2147483647 h 198"/>
              <a:gd name="T38" fmla="*/ 2147483647 w 186"/>
              <a:gd name="T39" fmla="*/ 2147483647 h 198"/>
              <a:gd name="T40" fmla="*/ 2147483647 w 186"/>
              <a:gd name="T41" fmla="*/ 2147483647 h 198"/>
              <a:gd name="T42" fmla="*/ 2147483647 w 186"/>
              <a:gd name="T43" fmla="*/ 2147483647 h 198"/>
              <a:gd name="T44" fmla="*/ 2147483647 w 186"/>
              <a:gd name="T45" fmla="*/ 2147483647 h 198"/>
              <a:gd name="T46" fmla="*/ 2147483647 w 186"/>
              <a:gd name="T47" fmla="*/ 2147483647 h 198"/>
              <a:gd name="T48" fmla="*/ 2147483647 w 186"/>
              <a:gd name="T49" fmla="*/ 2147483647 h 198"/>
              <a:gd name="T50" fmla="*/ 2147483647 w 186"/>
              <a:gd name="T51" fmla="*/ 2147483647 h 198"/>
              <a:gd name="T52" fmla="*/ 2147483647 w 186"/>
              <a:gd name="T53" fmla="*/ 2147483647 h 198"/>
              <a:gd name="T54" fmla="*/ 2147483647 w 186"/>
              <a:gd name="T55" fmla="*/ 2147483647 h 198"/>
              <a:gd name="T56" fmla="*/ 2147483647 w 186"/>
              <a:gd name="T57" fmla="*/ 2147483647 h 198"/>
              <a:gd name="T58" fmla="*/ 2147483647 w 186"/>
              <a:gd name="T59" fmla="*/ 2147483647 h 198"/>
              <a:gd name="T60" fmla="*/ 2147483647 w 186"/>
              <a:gd name="T61" fmla="*/ 2147483647 h 198"/>
              <a:gd name="T62" fmla="*/ 2147483647 w 186"/>
              <a:gd name="T63" fmla="*/ 2147483647 h 198"/>
              <a:gd name="T64" fmla="*/ 2147483647 w 186"/>
              <a:gd name="T65" fmla="*/ 2147483647 h 198"/>
              <a:gd name="T66" fmla="*/ 2147483647 w 186"/>
              <a:gd name="T67" fmla="*/ 2147483647 h 198"/>
              <a:gd name="T68" fmla="*/ 2147483647 w 186"/>
              <a:gd name="T69" fmla="*/ 2147483647 h 198"/>
              <a:gd name="T70" fmla="*/ 2147483647 w 186"/>
              <a:gd name="T71" fmla="*/ 2147483647 h 198"/>
              <a:gd name="T72" fmla="*/ 2147483647 w 186"/>
              <a:gd name="T73" fmla="*/ 2147483647 h 198"/>
              <a:gd name="T74" fmla="*/ 2147483647 w 186"/>
              <a:gd name="T75" fmla="*/ 2147483647 h 198"/>
              <a:gd name="T76" fmla="*/ 2147483647 w 186"/>
              <a:gd name="T77" fmla="*/ 2147483647 h 198"/>
              <a:gd name="T78" fmla="*/ 2147483647 w 186"/>
              <a:gd name="T79" fmla="*/ 2147483647 h 198"/>
              <a:gd name="T80" fmla="*/ 2147483647 w 186"/>
              <a:gd name="T81" fmla="*/ 2147483647 h 198"/>
              <a:gd name="T82" fmla="*/ 2147483647 w 186"/>
              <a:gd name="T83" fmla="*/ 2147483647 h 198"/>
              <a:gd name="T84" fmla="*/ 2147483647 w 186"/>
              <a:gd name="T85" fmla="*/ 2147483647 h 198"/>
              <a:gd name="T86" fmla="*/ 2147483647 w 186"/>
              <a:gd name="T87" fmla="*/ 2147483647 h 198"/>
              <a:gd name="T88" fmla="*/ 2147483647 w 186"/>
              <a:gd name="T89" fmla="*/ 2147483647 h 198"/>
              <a:gd name="T90" fmla="*/ 2147483647 w 186"/>
              <a:gd name="T91" fmla="*/ 2147483647 h 198"/>
              <a:gd name="T92" fmla="*/ 2147483647 w 186"/>
              <a:gd name="T93" fmla="*/ 2147483647 h 198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186"/>
              <a:gd name="T142" fmla="*/ 0 h 198"/>
              <a:gd name="T143" fmla="*/ 186 w 186"/>
              <a:gd name="T144" fmla="*/ 198 h 198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186" h="198">
                <a:moveTo>
                  <a:pt x="14" y="5"/>
                </a:moveTo>
                <a:lnTo>
                  <a:pt x="14" y="5"/>
                </a:lnTo>
                <a:lnTo>
                  <a:pt x="6" y="0"/>
                </a:lnTo>
                <a:lnTo>
                  <a:pt x="0" y="8"/>
                </a:lnTo>
                <a:lnTo>
                  <a:pt x="3" y="23"/>
                </a:lnTo>
                <a:lnTo>
                  <a:pt x="0" y="34"/>
                </a:lnTo>
                <a:lnTo>
                  <a:pt x="6" y="57"/>
                </a:lnTo>
                <a:lnTo>
                  <a:pt x="6" y="195"/>
                </a:lnTo>
                <a:lnTo>
                  <a:pt x="109" y="192"/>
                </a:lnTo>
                <a:lnTo>
                  <a:pt x="115" y="183"/>
                </a:lnTo>
                <a:lnTo>
                  <a:pt x="118" y="186"/>
                </a:lnTo>
                <a:lnTo>
                  <a:pt x="118" y="192"/>
                </a:lnTo>
                <a:lnTo>
                  <a:pt x="143" y="192"/>
                </a:lnTo>
                <a:lnTo>
                  <a:pt x="152" y="198"/>
                </a:lnTo>
                <a:lnTo>
                  <a:pt x="158" y="195"/>
                </a:lnTo>
                <a:lnTo>
                  <a:pt x="161" y="189"/>
                </a:lnTo>
                <a:lnTo>
                  <a:pt x="169" y="183"/>
                </a:lnTo>
                <a:lnTo>
                  <a:pt x="169" y="180"/>
                </a:lnTo>
                <a:lnTo>
                  <a:pt x="172" y="175"/>
                </a:lnTo>
                <a:lnTo>
                  <a:pt x="175" y="175"/>
                </a:lnTo>
                <a:lnTo>
                  <a:pt x="178" y="175"/>
                </a:lnTo>
                <a:lnTo>
                  <a:pt x="186" y="169"/>
                </a:lnTo>
                <a:lnTo>
                  <a:pt x="184" y="155"/>
                </a:lnTo>
                <a:lnTo>
                  <a:pt x="181" y="149"/>
                </a:lnTo>
                <a:lnTo>
                  <a:pt x="169" y="129"/>
                </a:lnTo>
                <a:lnTo>
                  <a:pt x="161" y="112"/>
                </a:lnTo>
                <a:lnTo>
                  <a:pt x="152" y="91"/>
                </a:lnTo>
                <a:lnTo>
                  <a:pt x="146" y="77"/>
                </a:lnTo>
                <a:lnTo>
                  <a:pt x="138" y="69"/>
                </a:lnTo>
                <a:lnTo>
                  <a:pt x="135" y="60"/>
                </a:lnTo>
                <a:lnTo>
                  <a:pt x="129" y="51"/>
                </a:lnTo>
                <a:lnTo>
                  <a:pt x="123" y="46"/>
                </a:lnTo>
                <a:lnTo>
                  <a:pt x="126" y="40"/>
                </a:lnTo>
                <a:lnTo>
                  <a:pt x="132" y="48"/>
                </a:lnTo>
                <a:lnTo>
                  <a:pt x="138" y="54"/>
                </a:lnTo>
                <a:lnTo>
                  <a:pt x="140" y="66"/>
                </a:lnTo>
                <a:lnTo>
                  <a:pt x="152" y="77"/>
                </a:lnTo>
                <a:lnTo>
                  <a:pt x="161" y="77"/>
                </a:lnTo>
                <a:lnTo>
                  <a:pt x="163" y="63"/>
                </a:lnTo>
                <a:lnTo>
                  <a:pt x="163" y="57"/>
                </a:lnTo>
                <a:lnTo>
                  <a:pt x="163" y="40"/>
                </a:lnTo>
                <a:lnTo>
                  <a:pt x="163" y="37"/>
                </a:lnTo>
                <a:lnTo>
                  <a:pt x="158" y="28"/>
                </a:lnTo>
                <a:lnTo>
                  <a:pt x="155" y="20"/>
                </a:lnTo>
                <a:lnTo>
                  <a:pt x="152" y="14"/>
                </a:lnTo>
                <a:lnTo>
                  <a:pt x="149" y="11"/>
                </a:lnTo>
                <a:lnTo>
                  <a:pt x="140" y="14"/>
                </a:lnTo>
                <a:lnTo>
                  <a:pt x="135" y="14"/>
                </a:lnTo>
                <a:lnTo>
                  <a:pt x="132" y="17"/>
                </a:lnTo>
                <a:lnTo>
                  <a:pt x="126" y="14"/>
                </a:lnTo>
                <a:lnTo>
                  <a:pt x="120" y="11"/>
                </a:lnTo>
                <a:lnTo>
                  <a:pt x="115" y="8"/>
                </a:lnTo>
                <a:lnTo>
                  <a:pt x="109" y="5"/>
                </a:lnTo>
                <a:lnTo>
                  <a:pt x="100" y="5"/>
                </a:lnTo>
                <a:lnTo>
                  <a:pt x="86" y="11"/>
                </a:lnTo>
                <a:lnTo>
                  <a:pt x="80" y="17"/>
                </a:lnTo>
                <a:lnTo>
                  <a:pt x="74" y="20"/>
                </a:lnTo>
                <a:lnTo>
                  <a:pt x="69" y="20"/>
                </a:lnTo>
                <a:lnTo>
                  <a:pt x="60" y="17"/>
                </a:lnTo>
                <a:lnTo>
                  <a:pt x="51" y="14"/>
                </a:lnTo>
                <a:lnTo>
                  <a:pt x="43" y="8"/>
                </a:lnTo>
                <a:lnTo>
                  <a:pt x="34" y="8"/>
                </a:lnTo>
                <a:lnTo>
                  <a:pt x="23" y="8"/>
                </a:lnTo>
                <a:lnTo>
                  <a:pt x="14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01" name="Freeform 206"/>
          <p:cNvSpPr>
            <a:spLocks/>
          </p:cNvSpPr>
          <p:nvPr/>
        </p:nvSpPr>
        <p:spPr bwMode="gray">
          <a:xfrm>
            <a:off x="5699028" y="2541069"/>
            <a:ext cx="12002" cy="9000"/>
          </a:xfrm>
          <a:custGeom>
            <a:avLst/>
            <a:gdLst>
              <a:gd name="T0" fmla="*/ 2147483647 w 6"/>
              <a:gd name="T1" fmla="*/ 0 h 6"/>
              <a:gd name="T2" fmla="*/ 0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6"/>
              <a:gd name="T14" fmla="*/ 6 w 6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6">
                <a:moveTo>
                  <a:pt x="6" y="0"/>
                </a:moveTo>
                <a:lnTo>
                  <a:pt x="0" y="6"/>
                </a:lnTo>
                <a:lnTo>
                  <a:pt x="6" y="6"/>
                </a:lnTo>
                <a:lnTo>
                  <a:pt x="6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02" name="Freeform 207"/>
          <p:cNvSpPr>
            <a:spLocks/>
          </p:cNvSpPr>
          <p:nvPr/>
        </p:nvSpPr>
        <p:spPr bwMode="gray">
          <a:xfrm>
            <a:off x="5885061" y="2479568"/>
            <a:ext cx="108019" cy="70501"/>
          </a:xfrm>
          <a:custGeom>
            <a:avLst/>
            <a:gdLst>
              <a:gd name="T0" fmla="*/ 2147483647 w 54"/>
              <a:gd name="T1" fmla="*/ 2147483647 h 46"/>
              <a:gd name="T2" fmla="*/ 2147483647 w 54"/>
              <a:gd name="T3" fmla="*/ 2147483647 h 46"/>
              <a:gd name="T4" fmla="*/ 2147483647 w 54"/>
              <a:gd name="T5" fmla="*/ 2147483647 h 46"/>
              <a:gd name="T6" fmla="*/ 2147483647 w 54"/>
              <a:gd name="T7" fmla="*/ 2147483647 h 46"/>
              <a:gd name="T8" fmla="*/ 2147483647 w 54"/>
              <a:gd name="T9" fmla="*/ 2147483647 h 46"/>
              <a:gd name="T10" fmla="*/ 2147483647 w 54"/>
              <a:gd name="T11" fmla="*/ 2147483647 h 46"/>
              <a:gd name="T12" fmla="*/ 2147483647 w 54"/>
              <a:gd name="T13" fmla="*/ 2147483647 h 46"/>
              <a:gd name="T14" fmla="*/ 2147483647 w 54"/>
              <a:gd name="T15" fmla="*/ 2147483647 h 46"/>
              <a:gd name="T16" fmla="*/ 2147483647 w 54"/>
              <a:gd name="T17" fmla="*/ 2147483647 h 46"/>
              <a:gd name="T18" fmla="*/ 2147483647 w 54"/>
              <a:gd name="T19" fmla="*/ 2147483647 h 46"/>
              <a:gd name="T20" fmla="*/ 2147483647 w 54"/>
              <a:gd name="T21" fmla="*/ 2147483647 h 46"/>
              <a:gd name="T22" fmla="*/ 2147483647 w 54"/>
              <a:gd name="T23" fmla="*/ 2147483647 h 46"/>
              <a:gd name="T24" fmla="*/ 2147483647 w 54"/>
              <a:gd name="T25" fmla="*/ 2147483647 h 46"/>
              <a:gd name="T26" fmla="*/ 2147483647 w 54"/>
              <a:gd name="T27" fmla="*/ 2147483647 h 46"/>
              <a:gd name="T28" fmla="*/ 2147483647 w 54"/>
              <a:gd name="T29" fmla="*/ 2147483647 h 46"/>
              <a:gd name="T30" fmla="*/ 2147483647 w 54"/>
              <a:gd name="T31" fmla="*/ 2147483647 h 46"/>
              <a:gd name="T32" fmla="*/ 2147483647 w 54"/>
              <a:gd name="T33" fmla="*/ 2147483647 h 46"/>
              <a:gd name="T34" fmla="*/ 2147483647 w 54"/>
              <a:gd name="T35" fmla="*/ 2147483647 h 46"/>
              <a:gd name="T36" fmla="*/ 2147483647 w 54"/>
              <a:gd name="T37" fmla="*/ 2147483647 h 46"/>
              <a:gd name="T38" fmla="*/ 2147483647 w 54"/>
              <a:gd name="T39" fmla="*/ 2147483647 h 46"/>
              <a:gd name="T40" fmla="*/ 2147483647 w 54"/>
              <a:gd name="T41" fmla="*/ 0 h 46"/>
              <a:gd name="T42" fmla="*/ 2147483647 w 54"/>
              <a:gd name="T43" fmla="*/ 0 h 46"/>
              <a:gd name="T44" fmla="*/ 2147483647 w 54"/>
              <a:gd name="T45" fmla="*/ 0 h 46"/>
              <a:gd name="T46" fmla="*/ 2147483647 w 54"/>
              <a:gd name="T47" fmla="*/ 0 h 46"/>
              <a:gd name="T48" fmla="*/ 2147483647 w 54"/>
              <a:gd name="T49" fmla="*/ 2147483647 h 46"/>
              <a:gd name="T50" fmla="*/ 2147483647 w 54"/>
              <a:gd name="T51" fmla="*/ 2147483647 h 46"/>
              <a:gd name="T52" fmla="*/ 0 w 54"/>
              <a:gd name="T53" fmla="*/ 0 h 46"/>
              <a:gd name="T54" fmla="*/ 0 w 54"/>
              <a:gd name="T55" fmla="*/ 2147483647 h 46"/>
              <a:gd name="T56" fmla="*/ 2147483647 w 54"/>
              <a:gd name="T57" fmla="*/ 2147483647 h 46"/>
              <a:gd name="T58" fmla="*/ 2147483647 w 54"/>
              <a:gd name="T59" fmla="*/ 2147483647 h 46"/>
              <a:gd name="T60" fmla="*/ 2147483647 w 54"/>
              <a:gd name="T61" fmla="*/ 2147483647 h 46"/>
              <a:gd name="T62" fmla="*/ 2147483647 w 54"/>
              <a:gd name="T63" fmla="*/ 2147483647 h 46"/>
              <a:gd name="T64" fmla="*/ 2147483647 w 54"/>
              <a:gd name="T65" fmla="*/ 2147483647 h 46"/>
              <a:gd name="T66" fmla="*/ 2147483647 w 54"/>
              <a:gd name="T67" fmla="*/ 2147483647 h 46"/>
              <a:gd name="T68" fmla="*/ 2147483647 w 54"/>
              <a:gd name="T69" fmla="*/ 2147483647 h 46"/>
              <a:gd name="T70" fmla="*/ 2147483647 w 54"/>
              <a:gd name="T71" fmla="*/ 2147483647 h 46"/>
              <a:gd name="T72" fmla="*/ 2147483647 w 54"/>
              <a:gd name="T73" fmla="*/ 2147483647 h 46"/>
              <a:gd name="T74" fmla="*/ 2147483647 w 54"/>
              <a:gd name="T75" fmla="*/ 2147483647 h 46"/>
              <a:gd name="T76" fmla="*/ 2147483647 w 54"/>
              <a:gd name="T77" fmla="*/ 2147483647 h 46"/>
              <a:gd name="T78" fmla="*/ 2147483647 w 54"/>
              <a:gd name="T79" fmla="*/ 2147483647 h 4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54"/>
              <a:gd name="T121" fmla="*/ 0 h 46"/>
              <a:gd name="T122" fmla="*/ 54 w 54"/>
              <a:gd name="T123" fmla="*/ 46 h 4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54" h="46">
                <a:moveTo>
                  <a:pt x="43" y="37"/>
                </a:moveTo>
                <a:lnTo>
                  <a:pt x="43" y="35"/>
                </a:lnTo>
                <a:lnTo>
                  <a:pt x="46" y="35"/>
                </a:lnTo>
                <a:lnTo>
                  <a:pt x="46" y="29"/>
                </a:lnTo>
                <a:lnTo>
                  <a:pt x="51" y="26"/>
                </a:lnTo>
                <a:lnTo>
                  <a:pt x="51" y="23"/>
                </a:lnTo>
                <a:lnTo>
                  <a:pt x="51" y="20"/>
                </a:lnTo>
                <a:lnTo>
                  <a:pt x="54" y="20"/>
                </a:lnTo>
                <a:lnTo>
                  <a:pt x="49" y="12"/>
                </a:lnTo>
                <a:lnTo>
                  <a:pt x="49" y="6"/>
                </a:lnTo>
                <a:lnTo>
                  <a:pt x="40" y="3"/>
                </a:lnTo>
                <a:lnTo>
                  <a:pt x="37" y="3"/>
                </a:lnTo>
                <a:lnTo>
                  <a:pt x="31" y="3"/>
                </a:lnTo>
                <a:lnTo>
                  <a:pt x="26" y="0"/>
                </a:lnTo>
                <a:lnTo>
                  <a:pt x="20" y="0"/>
                </a:lnTo>
                <a:lnTo>
                  <a:pt x="14" y="0"/>
                </a:lnTo>
                <a:lnTo>
                  <a:pt x="11" y="0"/>
                </a:lnTo>
                <a:lnTo>
                  <a:pt x="6" y="6"/>
                </a:ln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lnTo>
                  <a:pt x="3" y="6"/>
                </a:lnTo>
                <a:lnTo>
                  <a:pt x="6" y="14"/>
                </a:lnTo>
                <a:lnTo>
                  <a:pt x="11" y="20"/>
                </a:lnTo>
                <a:lnTo>
                  <a:pt x="17" y="29"/>
                </a:lnTo>
                <a:lnTo>
                  <a:pt x="14" y="32"/>
                </a:lnTo>
                <a:lnTo>
                  <a:pt x="14" y="35"/>
                </a:lnTo>
                <a:lnTo>
                  <a:pt x="23" y="37"/>
                </a:lnTo>
                <a:lnTo>
                  <a:pt x="31" y="43"/>
                </a:lnTo>
                <a:lnTo>
                  <a:pt x="40" y="46"/>
                </a:lnTo>
                <a:lnTo>
                  <a:pt x="40" y="40"/>
                </a:lnTo>
                <a:lnTo>
                  <a:pt x="43" y="37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03" name="Freeform 208"/>
          <p:cNvSpPr>
            <a:spLocks/>
          </p:cNvSpPr>
          <p:nvPr/>
        </p:nvSpPr>
        <p:spPr bwMode="gray">
          <a:xfrm>
            <a:off x="5971076" y="2449566"/>
            <a:ext cx="134024" cy="118503"/>
          </a:xfrm>
          <a:custGeom>
            <a:avLst/>
            <a:gdLst>
              <a:gd name="T0" fmla="*/ 2147483647 w 66"/>
              <a:gd name="T1" fmla="*/ 2147483647 h 78"/>
              <a:gd name="T2" fmla="*/ 2147483647 w 66"/>
              <a:gd name="T3" fmla="*/ 2147483647 h 78"/>
              <a:gd name="T4" fmla="*/ 2147483647 w 66"/>
              <a:gd name="T5" fmla="*/ 2147483647 h 78"/>
              <a:gd name="T6" fmla="*/ 2147483647 w 66"/>
              <a:gd name="T7" fmla="*/ 2147483647 h 78"/>
              <a:gd name="T8" fmla="*/ 2147483647 w 66"/>
              <a:gd name="T9" fmla="*/ 2147483647 h 78"/>
              <a:gd name="T10" fmla="*/ 2147483647 w 66"/>
              <a:gd name="T11" fmla="*/ 2147483647 h 78"/>
              <a:gd name="T12" fmla="*/ 2147483647 w 66"/>
              <a:gd name="T13" fmla="*/ 2147483647 h 78"/>
              <a:gd name="T14" fmla="*/ 2147483647 w 66"/>
              <a:gd name="T15" fmla="*/ 2147483647 h 78"/>
              <a:gd name="T16" fmla="*/ 2147483647 w 66"/>
              <a:gd name="T17" fmla="*/ 2147483647 h 78"/>
              <a:gd name="T18" fmla="*/ 2147483647 w 66"/>
              <a:gd name="T19" fmla="*/ 2147483647 h 78"/>
              <a:gd name="T20" fmla="*/ 2147483647 w 66"/>
              <a:gd name="T21" fmla="*/ 2147483647 h 78"/>
              <a:gd name="T22" fmla="*/ 2147483647 w 66"/>
              <a:gd name="T23" fmla="*/ 2147483647 h 78"/>
              <a:gd name="T24" fmla="*/ 2147483647 w 66"/>
              <a:gd name="T25" fmla="*/ 2147483647 h 78"/>
              <a:gd name="T26" fmla="*/ 2147483647 w 66"/>
              <a:gd name="T27" fmla="*/ 2147483647 h 78"/>
              <a:gd name="T28" fmla="*/ 2147483647 w 66"/>
              <a:gd name="T29" fmla="*/ 2147483647 h 78"/>
              <a:gd name="T30" fmla="*/ 2147483647 w 66"/>
              <a:gd name="T31" fmla="*/ 2147483647 h 78"/>
              <a:gd name="T32" fmla="*/ 2147483647 w 66"/>
              <a:gd name="T33" fmla="*/ 2147483647 h 78"/>
              <a:gd name="T34" fmla="*/ 2147483647 w 66"/>
              <a:gd name="T35" fmla="*/ 2147483647 h 78"/>
              <a:gd name="T36" fmla="*/ 2147483647 w 66"/>
              <a:gd name="T37" fmla="*/ 2147483647 h 78"/>
              <a:gd name="T38" fmla="*/ 2147483647 w 66"/>
              <a:gd name="T39" fmla="*/ 2147483647 h 78"/>
              <a:gd name="T40" fmla="*/ 2147483647 w 66"/>
              <a:gd name="T41" fmla="*/ 2147483647 h 78"/>
              <a:gd name="T42" fmla="*/ 2147483647 w 66"/>
              <a:gd name="T43" fmla="*/ 2147483647 h 78"/>
              <a:gd name="T44" fmla="*/ 2147483647 w 66"/>
              <a:gd name="T45" fmla="*/ 2147483647 h 78"/>
              <a:gd name="T46" fmla="*/ 2147483647 w 66"/>
              <a:gd name="T47" fmla="*/ 2147483647 h 78"/>
              <a:gd name="T48" fmla="*/ 2147483647 w 66"/>
              <a:gd name="T49" fmla="*/ 2147483647 h 78"/>
              <a:gd name="T50" fmla="*/ 2147483647 w 66"/>
              <a:gd name="T51" fmla="*/ 2147483647 h 78"/>
              <a:gd name="T52" fmla="*/ 2147483647 w 66"/>
              <a:gd name="T53" fmla="*/ 2147483647 h 78"/>
              <a:gd name="T54" fmla="*/ 2147483647 w 66"/>
              <a:gd name="T55" fmla="*/ 2147483647 h 78"/>
              <a:gd name="T56" fmla="*/ 2147483647 w 66"/>
              <a:gd name="T57" fmla="*/ 2147483647 h 78"/>
              <a:gd name="T58" fmla="*/ 2147483647 w 66"/>
              <a:gd name="T59" fmla="*/ 2147483647 h 78"/>
              <a:gd name="T60" fmla="*/ 2147483647 w 66"/>
              <a:gd name="T61" fmla="*/ 0 h 78"/>
              <a:gd name="T62" fmla="*/ 2147483647 w 66"/>
              <a:gd name="T63" fmla="*/ 0 h 78"/>
              <a:gd name="T64" fmla="*/ 2147483647 w 66"/>
              <a:gd name="T65" fmla="*/ 2147483647 h 78"/>
              <a:gd name="T66" fmla="*/ 2147483647 w 66"/>
              <a:gd name="T67" fmla="*/ 2147483647 h 78"/>
              <a:gd name="T68" fmla="*/ 2147483647 w 66"/>
              <a:gd name="T69" fmla="*/ 2147483647 h 78"/>
              <a:gd name="T70" fmla="*/ 2147483647 w 66"/>
              <a:gd name="T71" fmla="*/ 2147483647 h 78"/>
              <a:gd name="T72" fmla="*/ 2147483647 w 66"/>
              <a:gd name="T73" fmla="*/ 2147483647 h 78"/>
              <a:gd name="T74" fmla="*/ 2147483647 w 66"/>
              <a:gd name="T75" fmla="*/ 2147483647 h 78"/>
              <a:gd name="T76" fmla="*/ 2147483647 w 66"/>
              <a:gd name="T77" fmla="*/ 2147483647 h 78"/>
              <a:gd name="T78" fmla="*/ 2147483647 w 66"/>
              <a:gd name="T79" fmla="*/ 2147483647 h 78"/>
              <a:gd name="T80" fmla="*/ 2147483647 w 66"/>
              <a:gd name="T81" fmla="*/ 2147483647 h 78"/>
              <a:gd name="T82" fmla="*/ 2147483647 w 66"/>
              <a:gd name="T83" fmla="*/ 2147483647 h 78"/>
              <a:gd name="T84" fmla="*/ 2147483647 w 66"/>
              <a:gd name="T85" fmla="*/ 2147483647 h 78"/>
              <a:gd name="T86" fmla="*/ 2147483647 w 66"/>
              <a:gd name="T87" fmla="*/ 2147483647 h 78"/>
              <a:gd name="T88" fmla="*/ 2147483647 w 66"/>
              <a:gd name="T89" fmla="*/ 2147483647 h 78"/>
              <a:gd name="T90" fmla="*/ 2147483647 w 66"/>
              <a:gd name="T91" fmla="*/ 2147483647 h 78"/>
              <a:gd name="T92" fmla="*/ 2147483647 w 66"/>
              <a:gd name="T93" fmla="*/ 2147483647 h 78"/>
              <a:gd name="T94" fmla="*/ 2147483647 w 66"/>
              <a:gd name="T95" fmla="*/ 2147483647 h 78"/>
              <a:gd name="T96" fmla="*/ 2147483647 w 66"/>
              <a:gd name="T97" fmla="*/ 2147483647 h 78"/>
              <a:gd name="T98" fmla="*/ 2147483647 w 66"/>
              <a:gd name="T99" fmla="*/ 2147483647 h 78"/>
              <a:gd name="T100" fmla="*/ 2147483647 w 66"/>
              <a:gd name="T101" fmla="*/ 2147483647 h 78"/>
              <a:gd name="T102" fmla="*/ 2147483647 w 66"/>
              <a:gd name="T103" fmla="*/ 2147483647 h 78"/>
              <a:gd name="T104" fmla="*/ 2147483647 w 66"/>
              <a:gd name="T105" fmla="*/ 2147483647 h 78"/>
              <a:gd name="T106" fmla="*/ 2147483647 w 66"/>
              <a:gd name="T107" fmla="*/ 2147483647 h 78"/>
              <a:gd name="T108" fmla="*/ 2147483647 w 66"/>
              <a:gd name="T109" fmla="*/ 2147483647 h 78"/>
              <a:gd name="T110" fmla="*/ 0 w 66"/>
              <a:gd name="T111" fmla="*/ 2147483647 h 78"/>
              <a:gd name="T112" fmla="*/ 0 w 66"/>
              <a:gd name="T113" fmla="*/ 2147483647 h 78"/>
              <a:gd name="T114" fmla="*/ 0 w 66"/>
              <a:gd name="T115" fmla="*/ 2147483647 h 78"/>
              <a:gd name="T116" fmla="*/ 2147483647 w 66"/>
              <a:gd name="T117" fmla="*/ 2147483647 h 78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66"/>
              <a:gd name="T178" fmla="*/ 0 h 78"/>
              <a:gd name="T179" fmla="*/ 66 w 66"/>
              <a:gd name="T180" fmla="*/ 78 h 78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66" h="78">
                <a:moveTo>
                  <a:pt x="8" y="78"/>
                </a:moveTo>
                <a:lnTo>
                  <a:pt x="11" y="72"/>
                </a:lnTo>
                <a:lnTo>
                  <a:pt x="17" y="66"/>
                </a:lnTo>
                <a:lnTo>
                  <a:pt x="20" y="69"/>
                </a:lnTo>
                <a:lnTo>
                  <a:pt x="23" y="66"/>
                </a:lnTo>
                <a:lnTo>
                  <a:pt x="29" y="75"/>
                </a:lnTo>
                <a:lnTo>
                  <a:pt x="31" y="78"/>
                </a:lnTo>
                <a:lnTo>
                  <a:pt x="40" y="75"/>
                </a:lnTo>
                <a:lnTo>
                  <a:pt x="49" y="75"/>
                </a:lnTo>
                <a:lnTo>
                  <a:pt x="57" y="75"/>
                </a:lnTo>
                <a:lnTo>
                  <a:pt x="60" y="72"/>
                </a:lnTo>
                <a:lnTo>
                  <a:pt x="57" y="63"/>
                </a:lnTo>
                <a:lnTo>
                  <a:pt x="60" y="63"/>
                </a:lnTo>
                <a:lnTo>
                  <a:pt x="63" y="60"/>
                </a:lnTo>
                <a:lnTo>
                  <a:pt x="66" y="57"/>
                </a:lnTo>
                <a:lnTo>
                  <a:pt x="57" y="52"/>
                </a:lnTo>
                <a:lnTo>
                  <a:pt x="57" y="40"/>
                </a:lnTo>
                <a:lnTo>
                  <a:pt x="60" y="37"/>
                </a:lnTo>
                <a:lnTo>
                  <a:pt x="54" y="34"/>
                </a:lnTo>
                <a:lnTo>
                  <a:pt x="57" y="32"/>
                </a:lnTo>
                <a:lnTo>
                  <a:pt x="60" y="29"/>
                </a:lnTo>
                <a:lnTo>
                  <a:pt x="57" y="29"/>
                </a:lnTo>
                <a:lnTo>
                  <a:pt x="54" y="34"/>
                </a:lnTo>
                <a:lnTo>
                  <a:pt x="43" y="29"/>
                </a:lnTo>
                <a:lnTo>
                  <a:pt x="40" y="26"/>
                </a:lnTo>
                <a:lnTo>
                  <a:pt x="29" y="14"/>
                </a:lnTo>
                <a:lnTo>
                  <a:pt x="29" y="11"/>
                </a:lnTo>
                <a:lnTo>
                  <a:pt x="31" y="9"/>
                </a:lnTo>
                <a:lnTo>
                  <a:pt x="23" y="0"/>
                </a:lnTo>
                <a:lnTo>
                  <a:pt x="11" y="0"/>
                </a:lnTo>
                <a:lnTo>
                  <a:pt x="8" y="3"/>
                </a:lnTo>
                <a:lnTo>
                  <a:pt x="3" y="6"/>
                </a:lnTo>
                <a:lnTo>
                  <a:pt x="3" y="9"/>
                </a:lnTo>
                <a:lnTo>
                  <a:pt x="6" y="11"/>
                </a:lnTo>
                <a:lnTo>
                  <a:pt x="11" y="17"/>
                </a:lnTo>
                <a:lnTo>
                  <a:pt x="11" y="23"/>
                </a:lnTo>
                <a:lnTo>
                  <a:pt x="8" y="32"/>
                </a:lnTo>
                <a:lnTo>
                  <a:pt x="14" y="40"/>
                </a:lnTo>
                <a:lnTo>
                  <a:pt x="11" y="43"/>
                </a:lnTo>
                <a:lnTo>
                  <a:pt x="14" y="49"/>
                </a:lnTo>
                <a:lnTo>
                  <a:pt x="11" y="49"/>
                </a:lnTo>
                <a:lnTo>
                  <a:pt x="6" y="52"/>
                </a:lnTo>
                <a:lnTo>
                  <a:pt x="6" y="55"/>
                </a:lnTo>
                <a:lnTo>
                  <a:pt x="6" y="57"/>
                </a:lnTo>
                <a:lnTo>
                  <a:pt x="3" y="57"/>
                </a:lnTo>
                <a:lnTo>
                  <a:pt x="0" y="63"/>
                </a:lnTo>
                <a:lnTo>
                  <a:pt x="0" y="69"/>
                </a:lnTo>
                <a:lnTo>
                  <a:pt x="8" y="78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04" name="Freeform 209"/>
          <p:cNvSpPr>
            <a:spLocks/>
          </p:cNvSpPr>
          <p:nvPr/>
        </p:nvSpPr>
        <p:spPr bwMode="gray">
          <a:xfrm>
            <a:off x="5931069" y="2545570"/>
            <a:ext cx="16003" cy="9000"/>
          </a:xfrm>
          <a:custGeom>
            <a:avLst/>
            <a:gdLst>
              <a:gd name="T0" fmla="*/ 2147483647 w 8"/>
              <a:gd name="T1" fmla="*/ 2147483647 h 6"/>
              <a:gd name="T2" fmla="*/ 2147483647 w 8"/>
              <a:gd name="T3" fmla="*/ 2147483647 h 6"/>
              <a:gd name="T4" fmla="*/ 2147483647 w 8"/>
              <a:gd name="T5" fmla="*/ 0 h 6"/>
              <a:gd name="T6" fmla="*/ 0 w 8"/>
              <a:gd name="T7" fmla="*/ 2147483647 h 6"/>
              <a:gd name="T8" fmla="*/ 2147483647 w 8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"/>
              <a:gd name="T16" fmla="*/ 0 h 6"/>
              <a:gd name="T17" fmla="*/ 8 w 8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" h="6">
                <a:moveTo>
                  <a:pt x="6" y="6"/>
                </a:moveTo>
                <a:lnTo>
                  <a:pt x="8" y="3"/>
                </a:lnTo>
                <a:lnTo>
                  <a:pt x="3" y="0"/>
                </a:lnTo>
                <a:lnTo>
                  <a:pt x="0" y="3"/>
                </a:lnTo>
                <a:lnTo>
                  <a:pt x="6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05" name="Freeform 210"/>
          <p:cNvSpPr>
            <a:spLocks/>
          </p:cNvSpPr>
          <p:nvPr/>
        </p:nvSpPr>
        <p:spPr bwMode="gray">
          <a:xfrm>
            <a:off x="5651019" y="2541068"/>
            <a:ext cx="36006" cy="43502"/>
          </a:xfrm>
          <a:custGeom>
            <a:avLst/>
            <a:gdLst>
              <a:gd name="T0" fmla="*/ 2147483647 w 17"/>
              <a:gd name="T1" fmla="*/ 0 h 29"/>
              <a:gd name="T2" fmla="*/ 2147483647 w 17"/>
              <a:gd name="T3" fmla="*/ 0 h 29"/>
              <a:gd name="T4" fmla="*/ 2147483647 w 17"/>
              <a:gd name="T5" fmla="*/ 2147483647 h 29"/>
              <a:gd name="T6" fmla="*/ 2147483647 w 17"/>
              <a:gd name="T7" fmla="*/ 2147483647 h 29"/>
              <a:gd name="T8" fmla="*/ 2147483647 w 17"/>
              <a:gd name="T9" fmla="*/ 2147483647 h 29"/>
              <a:gd name="T10" fmla="*/ 2147483647 w 17"/>
              <a:gd name="T11" fmla="*/ 2147483647 h 29"/>
              <a:gd name="T12" fmla="*/ 0 w 17"/>
              <a:gd name="T13" fmla="*/ 2147483647 h 29"/>
              <a:gd name="T14" fmla="*/ 0 w 17"/>
              <a:gd name="T15" fmla="*/ 2147483647 h 29"/>
              <a:gd name="T16" fmla="*/ 0 w 17"/>
              <a:gd name="T17" fmla="*/ 2147483647 h 29"/>
              <a:gd name="T18" fmla="*/ 2147483647 w 17"/>
              <a:gd name="T19" fmla="*/ 2147483647 h 29"/>
              <a:gd name="T20" fmla="*/ 2147483647 w 17"/>
              <a:gd name="T21" fmla="*/ 2147483647 h 29"/>
              <a:gd name="T22" fmla="*/ 2147483647 w 17"/>
              <a:gd name="T23" fmla="*/ 2147483647 h 29"/>
              <a:gd name="T24" fmla="*/ 2147483647 w 17"/>
              <a:gd name="T25" fmla="*/ 2147483647 h 29"/>
              <a:gd name="T26" fmla="*/ 2147483647 w 17"/>
              <a:gd name="T27" fmla="*/ 2147483647 h 29"/>
              <a:gd name="T28" fmla="*/ 2147483647 w 17"/>
              <a:gd name="T29" fmla="*/ 2147483647 h 29"/>
              <a:gd name="T30" fmla="*/ 2147483647 w 17"/>
              <a:gd name="T31" fmla="*/ 2147483647 h 29"/>
              <a:gd name="T32" fmla="*/ 2147483647 w 17"/>
              <a:gd name="T33" fmla="*/ 2147483647 h 29"/>
              <a:gd name="T34" fmla="*/ 2147483647 w 17"/>
              <a:gd name="T35" fmla="*/ 2147483647 h 29"/>
              <a:gd name="T36" fmla="*/ 2147483647 w 17"/>
              <a:gd name="T37" fmla="*/ 0 h 2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7"/>
              <a:gd name="T58" fmla="*/ 0 h 29"/>
              <a:gd name="T59" fmla="*/ 17 w 17"/>
              <a:gd name="T60" fmla="*/ 29 h 29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7" h="29">
                <a:moveTo>
                  <a:pt x="14" y="0"/>
                </a:moveTo>
                <a:lnTo>
                  <a:pt x="14" y="0"/>
                </a:lnTo>
                <a:lnTo>
                  <a:pt x="11" y="3"/>
                </a:lnTo>
                <a:lnTo>
                  <a:pt x="9" y="6"/>
                </a:lnTo>
                <a:lnTo>
                  <a:pt x="3" y="12"/>
                </a:lnTo>
                <a:lnTo>
                  <a:pt x="0" y="15"/>
                </a:lnTo>
                <a:lnTo>
                  <a:pt x="0" y="18"/>
                </a:lnTo>
                <a:lnTo>
                  <a:pt x="6" y="29"/>
                </a:lnTo>
                <a:lnTo>
                  <a:pt x="11" y="29"/>
                </a:lnTo>
                <a:lnTo>
                  <a:pt x="14" y="26"/>
                </a:lnTo>
                <a:lnTo>
                  <a:pt x="14" y="18"/>
                </a:lnTo>
                <a:lnTo>
                  <a:pt x="17" y="12"/>
                </a:lnTo>
                <a:lnTo>
                  <a:pt x="17" y="3"/>
                </a:lnTo>
                <a:lnTo>
                  <a:pt x="14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06" name="Freeform 211"/>
          <p:cNvSpPr>
            <a:spLocks/>
          </p:cNvSpPr>
          <p:nvPr/>
        </p:nvSpPr>
        <p:spPr bwMode="gray">
          <a:xfrm>
            <a:off x="5773040" y="2314564"/>
            <a:ext cx="186034" cy="61501"/>
          </a:xfrm>
          <a:custGeom>
            <a:avLst/>
            <a:gdLst>
              <a:gd name="T0" fmla="*/ 2147483647 w 92"/>
              <a:gd name="T1" fmla="*/ 2147483647 h 40"/>
              <a:gd name="T2" fmla="*/ 2147483647 w 92"/>
              <a:gd name="T3" fmla="*/ 2147483647 h 40"/>
              <a:gd name="T4" fmla="*/ 2147483647 w 92"/>
              <a:gd name="T5" fmla="*/ 2147483647 h 40"/>
              <a:gd name="T6" fmla="*/ 2147483647 w 92"/>
              <a:gd name="T7" fmla="*/ 2147483647 h 40"/>
              <a:gd name="T8" fmla="*/ 2147483647 w 92"/>
              <a:gd name="T9" fmla="*/ 2147483647 h 40"/>
              <a:gd name="T10" fmla="*/ 2147483647 w 92"/>
              <a:gd name="T11" fmla="*/ 2147483647 h 40"/>
              <a:gd name="T12" fmla="*/ 2147483647 w 92"/>
              <a:gd name="T13" fmla="*/ 2147483647 h 40"/>
              <a:gd name="T14" fmla="*/ 2147483647 w 92"/>
              <a:gd name="T15" fmla="*/ 2147483647 h 40"/>
              <a:gd name="T16" fmla="*/ 2147483647 w 92"/>
              <a:gd name="T17" fmla="*/ 2147483647 h 40"/>
              <a:gd name="T18" fmla="*/ 2147483647 w 92"/>
              <a:gd name="T19" fmla="*/ 2147483647 h 40"/>
              <a:gd name="T20" fmla="*/ 2147483647 w 92"/>
              <a:gd name="T21" fmla="*/ 2147483647 h 40"/>
              <a:gd name="T22" fmla="*/ 2147483647 w 92"/>
              <a:gd name="T23" fmla="*/ 2147483647 h 40"/>
              <a:gd name="T24" fmla="*/ 2147483647 w 92"/>
              <a:gd name="T25" fmla="*/ 2147483647 h 40"/>
              <a:gd name="T26" fmla="*/ 2147483647 w 92"/>
              <a:gd name="T27" fmla="*/ 2147483647 h 40"/>
              <a:gd name="T28" fmla="*/ 2147483647 w 92"/>
              <a:gd name="T29" fmla="*/ 2147483647 h 40"/>
              <a:gd name="T30" fmla="*/ 2147483647 w 92"/>
              <a:gd name="T31" fmla="*/ 2147483647 h 40"/>
              <a:gd name="T32" fmla="*/ 2147483647 w 92"/>
              <a:gd name="T33" fmla="*/ 2147483647 h 40"/>
              <a:gd name="T34" fmla="*/ 2147483647 w 92"/>
              <a:gd name="T35" fmla="*/ 2147483647 h 40"/>
              <a:gd name="T36" fmla="*/ 2147483647 w 92"/>
              <a:gd name="T37" fmla="*/ 2147483647 h 40"/>
              <a:gd name="T38" fmla="*/ 2147483647 w 92"/>
              <a:gd name="T39" fmla="*/ 2147483647 h 40"/>
              <a:gd name="T40" fmla="*/ 2147483647 w 92"/>
              <a:gd name="T41" fmla="*/ 2147483647 h 40"/>
              <a:gd name="T42" fmla="*/ 2147483647 w 92"/>
              <a:gd name="T43" fmla="*/ 2147483647 h 40"/>
              <a:gd name="T44" fmla="*/ 2147483647 w 92"/>
              <a:gd name="T45" fmla="*/ 2147483647 h 40"/>
              <a:gd name="T46" fmla="*/ 2147483647 w 92"/>
              <a:gd name="T47" fmla="*/ 2147483647 h 40"/>
              <a:gd name="T48" fmla="*/ 2147483647 w 92"/>
              <a:gd name="T49" fmla="*/ 2147483647 h 40"/>
              <a:gd name="T50" fmla="*/ 2147483647 w 92"/>
              <a:gd name="T51" fmla="*/ 2147483647 h 40"/>
              <a:gd name="T52" fmla="*/ 2147483647 w 92"/>
              <a:gd name="T53" fmla="*/ 2147483647 h 40"/>
              <a:gd name="T54" fmla="*/ 2147483647 w 92"/>
              <a:gd name="T55" fmla="*/ 2147483647 h 40"/>
              <a:gd name="T56" fmla="*/ 2147483647 w 92"/>
              <a:gd name="T57" fmla="*/ 2147483647 h 40"/>
              <a:gd name="T58" fmla="*/ 2147483647 w 92"/>
              <a:gd name="T59" fmla="*/ 0 h 40"/>
              <a:gd name="T60" fmla="*/ 2147483647 w 92"/>
              <a:gd name="T61" fmla="*/ 2147483647 h 40"/>
              <a:gd name="T62" fmla="*/ 2147483647 w 92"/>
              <a:gd name="T63" fmla="*/ 2147483647 h 40"/>
              <a:gd name="T64" fmla="*/ 2147483647 w 92"/>
              <a:gd name="T65" fmla="*/ 0 h 40"/>
              <a:gd name="T66" fmla="*/ 2147483647 w 92"/>
              <a:gd name="T67" fmla="*/ 0 h 40"/>
              <a:gd name="T68" fmla="*/ 2147483647 w 92"/>
              <a:gd name="T69" fmla="*/ 2147483647 h 40"/>
              <a:gd name="T70" fmla="*/ 2147483647 w 92"/>
              <a:gd name="T71" fmla="*/ 2147483647 h 40"/>
              <a:gd name="T72" fmla="*/ 2147483647 w 92"/>
              <a:gd name="T73" fmla="*/ 2147483647 h 40"/>
              <a:gd name="T74" fmla="*/ 2147483647 w 92"/>
              <a:gd name="T75" fmla="*/ 2147483647 h 40"/>
              <a:gd name="T76" fmla="*/ 0 w 92"/>
              <a:gd name="T77" fmla="*/ 2147483647 h 40"/>
              <a:gd name="T78" fmla="*/ 0 w 92"/>
              <a:gd name="T79" fmla="*/ 2147483647 h 40"/>
              <a:gd name="T80" fmla="*/ 2147483647 w 92"/>
              <a:gd name="T81" fmla="*/ 2147483647 h 40"/>
              <a:gd name="T82" fmla="*/ 2147483647 w 92"/>
              <a:gd name="T83" fmla="*/ 2147483647 h 40"/>
              <a:gd name="T84" fmla="*/ 2147483647 w 92"/>
              <a:gd name="T85" fmla="*/ 2147483647 h 40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92"/>
              <a:gd name="T130" fmla="*/ 0 h 40"/>
              <a:gd name="T131" fmla="*/ 92 w 92"/>
              <a:gd name="T132" fmla="*/ 40 h 40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92" h="40">
                <a:moveTo>
                  <a:pt x="12" y="29"/>
                </a:moveTo>
                <a:lnTo>
                  <a:pt x="23" y="40"/>
                </a:lnTo>
                <a:lnTo>
                  <a:pt x="32" y="40"/>
                </a:lnTo>
                <a:lnTo>
                  <a:pt x="35" y="37"/>
                </a:lnTo>
                <a:lnTo>
                  <a:pt x="38" y="32"/>
                </a:lnTo>
                <a:lnTo>
                  <a:pt x="46" y="34"/>
                </a:lnTo>
                <a:lnTo>
                  <a:pt x="49" y="34"/>
                </a:lnTo>
                <a:lnTo>
                  <a:pt x="55" y="37"/>
                </a:lnTo>
                <a:lnTo>
                  <a:pt x="61" y="37"/>
                </a:lnTo>
                <a:lnTo>
                  <a:pt x="61" y="34"/>
                </a:lnTo>
                <a:lnTo>
                  <a:pt x="69" y="40"/>
                </a:lnTo>
                <a:lnTo>
                  <a:pt x="72" y="34"/>
                </a:lnTo>
                <a:lnTo>
                  <a:pt x="78" y="34"/>
                </a:lnTo>
                <a:lnTo>
                  <a:pt x="86" y="26"/>
                </a:lnTo>
                <a:lnTo>
                  <a:pt x="92" y="23"/>
                </a:lnTo>
                <a:lnTo>
                  <a:pt x="89" y="17"/>
                </a:lnTo>
                <a:lnTo>
                  <a:pt x="84" y="17"/>
                </a:lnTo>
                <a:lnTo>
                  <a:pt x="81" y="20"/>
                </a:lnTo>
                <a:lnTo>
                  <a:pt x="78" y="17"/>
                </a:lnTo>
                <a:lnTo>
                  <a:pt x="75" y="14"/>
                </a:lnTo>
                <a:lnTo>
                  <a:pt x="75" y="11"/>
                </a:lnTo>
                <a:lnTo>
                  <a:pt x="69" y="11"/>
                </a:lnTo>
                <a:lnTo>
                  <a:pt x="58" y="6"/>
                </a:lnTo>
                <a:lnTo>
                  <a:pt x="49" y="6"/>
                </a:lnTo>
                <a:lnTo>
                  <a:pt x="38" y="0"/>
                </a:lnTo>
                <a:lnTo>
                  <a:pt x="32" y="3"/>
                </a:lnTo>
                <a:lnTo>
                  <a:pt x="29" y="0"/>
                </a:lnTo>
                <a:lnTo>
                  <a:pt x="26" y="0"/>
                </a:lnTo>
                <a:lnTo>
                  <a:pt x="20" y="3"/>
                </a:lnTo>
                <a:lnTo>
                  <a:pt x="12" y="6"/>
                </a:lnTo>
                <a:lnTo>
                  <a:pt x="9" y="11"/>
                </a:lnTo>
                <a:lnTo>
                  <a:pt x="0" y="9"/>
                </a:lnTo>
                <a:lnTo>
                  <a:pt x="0" y="11"/>
                </a:lnTo>
                <a:lnTo>
                  <a:pt x="3" y="14"/>
                </a:lnTo>
                <a:lnTo>
                  <a:pt x="3" y="23"/>
                </a:lnTo>
                <a:lnTo>
                  <a:pt x="12" y="29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07" name="Freeform 212"/>
          <p:cNvSpPr>
            <a:spLocks/>
          </p:cNvSpPr>
          <p:nvPr/>
        </p:nvSpPr>
        <p:spPr bwMode="gray">
          <a:xfrm>
            <a:off x="5727033" y="2367064"/>
            <a:ext cx="186033" cy="99003"/>
          </a:xfrm>
          <a:custGeom>
            <a:avLst/>
            <a:gdLst>
              <a:gd name="T0" fmla="*/ 2147483647 w 92"/>
              <a:gd name="T1" fmla="*/ 2147483647 h 66"/>
              <a:gd name="T2" fmla="*/ 2147483647 w 92"/>
              <a:gd name="T3" fmla="*/ 2147483647 h 66"/>
              <a:gd name="T4" fmla="*/ 2147483647 w 92"/>
              <a:gd name="T5" fmla="*/ 2147483647 h 66"/>
              <a:gd name="T6" fmla="*/ 2147483647 w 92"/>
              <a:gd name="T7" fmla="*/ 2147483647 h 66"/>
              <a:gd name="T8" fmla="*/ 2147483647 w 92"/>
              <a:gd name="T9" fmla="*/ 2147483647 h 66"/>
              <a:gd name="T10" fmla="*/ 2147483647 w 92"/>
              <a:gd name="T11" fmla="*/ 2147483647 h 66"/>
              <a:gd name="T12" fmla="*/ 2147483647 w 92"/>
              <a:gd name="T13" fmla="*/ 2147483647 h 66"/>
              <a:gd name="T14" fmla="*/ 2147483647 w 92"/>
              <a:gd name="T15" fmla="*/ 2147483647 h 66"/>
              <a:gd name="T16" fmla="*/ 2147483647 w 92"/>
              <a:gd name="T17" fmla="*/ 2147483647 h 66"/>
              <a:gd name="T18" fmla="*/ 2147483647 w 92"/>
              <a:gd name="T19" fmla="*/ 2147483647 h 66"/>
              <a:gd name="T20" fmla="*/ 2147483647 w 92"/>
              <a:gd name="T21" fmla="*/ 2147483647 h 66"/>
              <a:gd name="T22" fmla="*/ 2147483647 w 92"/>
              <a:gd name="T23" fmla="*/ 2147483647 h 66"/>
              <a:gd name="T24" fmla="*/ 2147483647 w 92"/>
              <a:gd name="T25" fmla="*/ 2147483647 h 66"/>
              <a:gd name="T26" fmla="*/ 2147483647 w 92"/>
              <a:gd name="T27" fmla="*/ 2147483647 h 66"/>
              <a:gd name="T28" fmla="*/ 2147483647 w 92"/>
              <a:gd name="T29" fmla="*/ 2147483647 h 66"/>
              <a:gd name="T30" fmla="*/ 2147483647 w 92"/>
              <a:gd name="T31" fmla="*/ 2147483647 h 66"/>
              <a:gd name="T32" fmla="*/ 2147483647 w 92"/>
              <a:gd name="T33" fmla="*/ 2147483647 h 66"/>
              <a:gd name="T34" fmla="*/ 0 w 92"/>
              <a:gd name="T35" fmla="*/ 2147483647 h 66"/>
              <a:gd name="T36" fmla="*/ 2147483647 w 92"/>
              <a:gd name="T37" fmla="*/ 2147483647 h 66"/>
              <a:gd name="T38" fmla="*/ 2147483647 w 92"/>
              <a:gd name="T39" fmla="*/ 2147483647 h 66"/>
              <a:gd name="T40" fmla="*/ 2147483647 w 92"/>
              <a:gd name="T41" fmla="*/ 2147483647 h 66"/>
              <a:gd name="T42" fmla="*/ 2147483647 w 92"/>
              <a:gd name="T43" fmla="*/ 2147483647 h 66"/>
              <a:gd name="T44" fmla="*/ 2147483647 w 92"/>
              <a:gd name="T45" fmla="*/ 2147483647 h 66"/>
              <a:gd name="T46" fmla="*/ 2147483647 w 92"/>
              <a:gd name="T47" fmla="*/ 2147483647 h 66"/>
              <a:gd name="T48" fmla="*/ 2147483647 w 92"/>
              <a:gd name="T49" fmla="*/ 2147483647 h 66"/>
              <a:gd name="T50" fmla="*/ 2147483647 w 92"/>
              <a:gd name="T51" fmla="*/ 2147483647 h 66"/>
              <a:gd name="T52" fmla="*/ 2147483647 w 92"/>
              <a:gd name="T53" fmla="*/ 2147483647 h 66"/>
              <a:gd name="T54" fmla="*/ 2147483647 w 92"/>
              <a:gd name="T55" fmla="*/ 2147483647 h 66"/>
              <a:gd name="T56" fmla="*/ 2147483647 w 92"/>
              <a:gd name="T57" fmla="*/ 2147483647 h 66"/>
              <a:gd name="T58" fmla="*/ 2147483647 w 92"/>
              <a:gd name="T59" fmla="*/ 2147483647 h 66"/>
              <a:gd name="T60" fmla="*/ 2147483647 w 92"/>
              <a:gd name="T61" fmla="*/ 2147483647 h 66"/>
              <a:gd name="T62" fmla="*/ 2147483647 w 92"/>
              <a:gd name="T63" fmla="*/ 2147483647 h 6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92"/>
              <a:gd name="T97" fmla="*/ 0 h 66"/>
              <a:gd name="T98" fmla="*/ 92 w 92"/>
              <a:gd name="T99" fmla="*/ 66 h 6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92" h="66">
                <a:moveTo>
                  <a:pt x="84" y="38"/>
                </a:moveTo>
                <a:lnTo>
                  <a:pt x="84" y="32"/>
                </a:lnTo>
                <a:lnTo>
                  <a:pt x="86" y="29"/>
                </a:lnTo>
                <a:lnTo>
                  <a:pt x="84" y="26"/>
                </a:lnTo>
                <a:lnTo>
                  <a:pt x="86" y="23"/>
                </a:lnTo>
                <a:lnTo>
                  <a:pt x="92" y="23"/>
                </a:lnTo>
                <a:lnTo>
                  <a:pt x="92" y="18"/>
                </a:lnTo>
                <a:lnTo>
                  <a:pt x="89" y="9"/>
                </a:lnTo>
                <a:lnTo>
                  <a:pt x="86" y="6"/>
                </a:lnTo>
                <a:lnTo>
                  <a:pt x="84" y="6"/>
                </a:lnTo>
                <a:lnTo>
                  <a:pt x="78" y="9"/>
                </a:lnTo>
                <a:lnTo>
                  <a:pt x="78" y="6"/>
                </a:lnTo>
                <a:lnTo>
                  <a:pt x="72" y="3"/>
                </a:lnTo>
                <a:lnTo>
                  <a:pt x="66" y="3"/>
                </a:lnTo>
                <a:lnTo>
                  <a:pt x="63" y="0"/>
                </a:lnTo>
                <a:lnTo>
                  <a:pt x="61" y="3"/>
                </a:lnTo>
                <a:lnTo>
                  <a:pt x="58" y="9"/>
                </a:lnTo>
                <a:lnTo>
                  <a:pt x="46" y="9"/>
                </a:lnTo>
                <a:lnTo>
                  <a:pt x="43" y="9"/>
                </a:lnTo>
                <a:lnTo>
                  <a:pt x="40" y="9"/>
                </a:lnTo>
                <a:lnTo>
                  <a:pt x="35" y="15"/>
                </a:lnTo>
                <a:lnTo>
                  <a:pt x="32" y="15"/>
                </a:lnTo>
                <a:lnTo>
                  <a:pt x="32" y="18"/>
                </a:lnTo>
                <a:lnTo>
                  <a:pt x="35" y="26"/>
                </a:lnTo>
                <a:lnTo>
                  <a:pt x="35" y="32"/>
                </a:lnTo>
                <a:lnTo>
                  <a:pt x="32" y="29"/>
                </a:lnTo>
                <a:lnTo>
                  <a:pt x="29" y="29"/>
                </a:lnTo>
                <a:lnTo>
                  <a:pt x="20" y="29"/>
                </a:lnTo>
                <a:lnTo>
                  <a:pt x="9" y="32"/>
                </a:lnTo>
                <a:lnTo>
                  <a:pt x="0" y="32"/>
                </a:lnTo>
                <a:lnTo>
                  <a:pt x="0" y="38"/>
                </a:lnTo>
                <a:lnTo>
                  <a:pt x="3" y="38"/>
                </a:lnTo>
                <a:lnTo>
                  <a:pt x="23" y="35"/>
                </a:lnTo>
                <a:lnTo>
                  <a:pt x="26" y="41"/>
                </a:lnTo>
                <a:lnTo>
                  <a:pt x="26" y="46"/>
                </a:lnTo>
                <a:lnTo>
                  <a:pt x="40" y="52"/>
                </a:lnTo>
                <a:lnTo>
                  <a:pt x="46" y="64"/>
                </a:lnTo>
                <a:lnTo>
                  <a:pt x="49" y="64"/>
                </a:lnTo>
                <a:lnTo>
                  <a:pt x="52" y="64"/>
                </a:lnTo>
                <a:lnTo>
                  <a:pt x="58" y="66"/>
                </a:lnTo>
                <a:lnTo>
                  <a:pt x="66" y="66"/>
                </a:lnTo>
                <a:lnTo>
                  <a:pt x="69" y="61"/>
                </a:lnTo>
                <a:lnTo>
                  <a:pt x="72" y="58"/>
                </a:lnTo>
                <a:lnTo>
                  <a:pt x="72" y="52"/>
                </a:lnTo>
                <a:lnTo>
                  <a:pt x="84" y="46"/>
                </a:lnTo>
                <a:lnTo>
                  <a:pt x="78" y="41"/>
                </a:lnTo>
                <a:lnTo>
                  <a:pt x="81" y="38"/>
                </a:lnTo>
                <a:lnTo>
                  <a:pt x="84" y="38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08" name="Freeform 213"/>
          <p:cNvSpPr>
            <a:spLocks/>
          </p:cNvSpPr>
          <p:nvPr/>
        </p:nvSpPr>
        <p:spPr bwMode="gray">
          <a:xfrm>
            <a:off x="5623013" y="2706074"/>
            <a:ext cx="128023" cy="208506"/>
          </a:xfrm>
          <a:custGeom>
            <a:avLst/>
            <a:gdLst>
              <a:gd name="T0" fmla="*/ 2147483647 w 63"/>
              <a:gd name="T1" fmla="*/ 2147483647 h 138"/>
              <a:gd name="T2" fmla="*/ 2147483647 w 63"/>
              <a:gd name="T3" fmla="*/ 2147483647 h 138"/>
              <a:gd name="T4" fmla="*/ 2147483647 w 63"/>
              <a:gd name="T5" fmla="*/ 2147483647 h 138"/>
              <a:gd name="T6" fmla="*/ 2147483647 w 63"/>
              <a:gd name="T7" fmla="*/ 2147483647 h 138"/>
              <a:gd name="T8" fmla="*/ 2147483647 w 63"/>
              <a:gd name="T9" fmla="*/ 2147483647 h 138"/>
              <a:gd name="T10" fmla="*/ 2147483647 w 63"/>
              <a:gd name="T11" fmla="*/ 2147483647 h 138"/>
              <a:gd name="T12" fmla="*/ 2147483647 w 63"/>
              <a:gd name="T13" fmla="*/ 2147483647 h 138"/>
              <a:gd name="T14" fmla="*/ 2147483647 w 63"/>
              <a:gd name="T15" fmla="*/ 2147483647 h 138"/>
              <a:gd name="T16" fmla="*/ 2147483647 w 63"/>
              <a:gd name="T17" fmla="*/ 2147483647 h 138"/>
              <a:gd name="T18" fmla="*/ 2147483647 w 63"/>
              <a:gd name="T19" fmla="*/ 2147483647 h 138"/>
              <a:gd name="T20" fmla="*/ 2147483647 w 63"/>
              <a:gd name="T21" fmla="*/ 2147483647 h 138"/>
              <a:gd name="T22" fmla="*/ 2147483647 w 63"/>
              <a:gd name="T23" fmla="*/ 2147483647 h 138"/>
              <a:gd name="T24" fmla="*/ 2147483647 w 63"/>
              <a:gd name="T25" fmla="*/ 2147483647 h 138"/>
              <a:gd name="T26" fmla="*/ 2147483647 w 63"/>
              <a:gd name="T27" fmla="*/ 2147483647 h 138"/>
              <a:gd name="T28" fmla="*/ 2147483647 w 63"/>
              <a:gd name="T29" fmla="*/ 2147483647 h 138"/>
              <a:gd name="T30" fmla="*/ 2147483647 w 63"/>
              <a:gd name="T31" fmla="*/ 2147483647 h 138"/>
              <a:gd name="T32" fmla="*/ 2147483647 w 63"/>
              <a:gd name="T33" fmla="*/ 2147483647 h 138"/>
              <a:gd name="T34" fmla="*/ 2147483647 w 63"/>
              <a:gd name="T35" fmla="*/ 2147483647 h 138"/>
              <a:gd name="T36" fmla="*/ 2147483647 w 63"/>
              <a:gd name="T37" fmla="*/ 2147483647 h 138"/>
              <a:gd name="T38" fmla="*/ 2147483647 w 63"/>
              <a:gd name="T39" fmla="*/ 2147483647 h 138"/>
              <a:gd name="T40" fmla="*/ 2147483647 w 63"/>
              <a:gd name="T41" fmla="*/ 2147483647 h 138"/>
              <a:gd name="T42" fmla="*/ 2147483647 w 63"/>
              <a:gd name="T43" fmla="*/ 2147483647 h 138"/>
              <a:gd name="T44" fmla="*/ 2147483647 w 63"/>
              <a:gd name="T45" fmla="*/ 2147483647 h 138"/>
              <a:gd name="T46" fmla="*/ 2147483647 w 63"/>
              <a:gd name="T47" fmla="*/ 2147483647 h 138"/>
              <a:gd name="T48" fmla="*/ 2147483647 w 63"/>
              <a:gd name="T49" fmla="*/ 2147483647 h 138"/>
              <a:gd name="T50" fmla="*/ 2147483647 w 63"/>
              <a:gd name="T51" fmla="*/ 2147483647 h 138"/>
              <a:gd name="T52" fmla="*/ 2147483647 w 63"/>
              <a:gd name="T53" fmla="*/ 2147483647 h 138"/>
              <a:gd name="T54" fmla="*/ 2147483647 w 63"/>
              <a:gd name="T55" fmla="*/ 2147483647 h 138"/>
              <a:gd name="T56" fmla="*/ 2147483647 w 63"/>
              <a:gd name="T57" fmla="*/ 2147483647 h 138"/>
              <a:gd name="T58" fmla="*/ 2147483647 w 63"/>
              <a:gd name="T59" fmla="*/ 2147483647 h 138"/>
              <a:gd name="T60" fmla="*/ 2147483647 w 63"/>
              <a:gd name="T61" fmla="*/ 2147483647 h 138"/>
              <a:gd name="T62" fmla="*/ 2147483647 w 63"/>
              <a:gd name="T63" fmla="*/ 2147483647 h 138"/>
              <a:gd name="T64" fmla="*/ 2147483647 w 63"/>
              <a:gd name="T65" fmla="*/ 2147483647 h 138"/>
              <a:gd name="T66" fmla="*/ 2147483647 w 63"/>
              <a:gd name="T67" fmla="*/ 0 h 138"/>
              <a:gd name="T68" fmla="*/ 2147483647 w 63"/>
              <a:gd name="T69" fmla="*/ 0 h 138"/>
              <a:gd name="T70" fmla="*/ 2147483647 w 63"/>
              <a:gd name="T71" fmla="*/ 2147483647 h 138"/>
              <a:gd name="T72" fmla="*/ 2147483647 w 63"/>
              <a:gd name="T73" fmla="*/ 2147483647 h 138"/>
              <a:gd name="T74" fmla="*/ 2147483647 w 63"/>
              <a:gd name="T75" fmla="*/ 2147483647 h 138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63"/>
              <a:gd name="T115" fmla="*/ 0 h 138"/>
              <a:gd name="T116" fmla="*/ 63 w 63"/>
              <a:gd name="T117" fmla="*/ 138 h 138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63" h="138">
                <a:moveTo>
                  <a:pt x="14" y="20"/>
                </a:moveTo>
                <a:lnTo>
                  <a:pt x="8" y="32"/>
                </a:lnTo>
                <a:lnTo>
                  <a:pt x="14" y="43"/>
                </a:lnTo>
                <a:lnTo>
                  <a:pt x="8" y="55"/>
                </a:lnTo>
                <a:lnTo>
                  <a:pt x="0" y="66"/>
                </a:lnTo>
                <a:lnTo>
                  <a:pt x="2" y="81"/>
                </a:lnTo>
                <a:lnTo>
                  <a:pt x="14" y="87"/>
                </a:lnTo>
                <a:lnTo>
                  <a:pt x="14" y="95"/>
                </a:lnTo>
                <a:lnTo>
                  <a:pt x="25" y="104"/>
                </a:lnTo>
                <a:lnTo>
                  <a:pt x="31" y="138"/>
                </a:lnTo>
                <a:lnTo>
                  <a:pt x="40" y="132"/>
                </a:lnTo>
                <a:lnTo>
                  <a:pt x="40" y="121"/>
                </a:lnTo>
                <a:lnTo>
                  <a:pt x="40" y="109"/>
                </a:lnTo>
                <a:lnTo>
                  <a:pt x="46" y="109"/>
                </a:lnTo>
                <a:lnTo>
                  <a:pt x="54" y="104"/>
                </a:lnTo>
                <a:lnTo>
                  <a:pt x="60" y="95"/>
                </a:lnTo>
                <a:lnTo>
                  <a:pt x="63" y="81"/>
                </a:lnTo>
                <a:lnTo>
                  <a:pt x="54" y="75"/>
                </a:lnTo>
                <a:lnTo>
                  <a:pt x="54" y="69"/>
                </a:lnTo>
                <a:lnTo>
                  <a:pt x="51" y="66"/>
                </a:lnTo>
                <a:lnTo>
                  <a:pt x="48" y="66"/>
                </a:lnTo>
                <a:lnTo>
                  <a:pt x="46" y="69"/>
                </a:lnTo>
                <a:lnTo>
                  <a:pt x="46" y="72"/>
                </a:lnTo>
                <a:lnTo>
                  <a:pt x="43" y="69"/>
                </a:lnTo>
                <a:lnTo>
                  <a:pt x="40" y="66"/>
                </a:lnTo>
                <a:lnTo>
                  <a:pt x="40" y="64"/>
                </a:lnTo>
                <a:lnTo>
                  <a:pt x="40" y="58"/>
                </a:lnTo>
                <a:lnTo>
                  <a:pt x="51" y="52"/>
                </a:lnTo>
                <a:lnTo>
                  <a:pt x="54" y="49"/>
                </a:lnTo>
                <a:lnTo>
                  <a:pt x="54" y="43"/>
                </a:lnTo>
                <a:lnTo>
                  <a:pt x="57" y="38"/>
                </a:lnTo>
                <a:lnTo>
                  <a:pt x="54" y="35"/>
                </a:lnTo>
                <a:lnTo>
                  <a:pt x="51" y="32"/>
                </a:lnTo>
                <a:lnTo>
                  <a:pt x="46" y="32"/>
                </a:lnTo>
                <a:lnTo>
                  <a:pt x="46" y="26"/>
                </a:lnTo>
                <a:lnTo>
                  <a:pt x="48" y="20"/>
                </a:lnTo>
                <a:lnTo>
                  <a:pt x="48" y="18"/>
                </a:lnTo>
                <a:lnTo>
                  <a:pt x="54" y="9"/>
                </a:lnTo>
                <a:lnTo>
                  <a:pt x="57" y="6"/>
                </a:lnTo>
                <a:lnTo>
                  <a:pt x="54" y="6"/>
                </a:lnTo>
                <a:lnTo>
                  <a:pt x="51" y="6"/>
                </a:lnTo>
                <a:lnTo>
                  <a:pt x="48" y="9"/>
                </a:lnTo>
                <a:lnTo>
                  <a:pt x="46" y="12"/>
                </a:lnTo>
                <a:lnTo>
                  <a:pt x="43" y="12"/>
                </a:lnTo>
                <a:lnTo>
                  <a:pt x="40" y="3"/>
                </a:lnTo>
                <a:lnTo>
                  <a:pt x="34" y="0"/>
                </a:lnTo>
                <a:lnTo>
                  <a:pt x="28" y="0"/>
                </a:lnTo>
                <a:lnTo>
                  <a:pt x="23" y="3"/>
                </a:lnTo>
                <a:lnTo>
                  <a:pt x="17" y="6"/>
                </a:lnTo>
                <a:lnTo>
                  <a:pt x="17" y="12"/>
                </a:lnTo>
                <a:lnTo>
                  <a:pt x="14" y="15"/>
                </a:lnTo>
                <a:lnTo>
                  <a:pt x="11" y="18"/>
                </a:lnTo>
                <a:lnTo>
                  <a:pt x="14" y="2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09" name="Freeform 214"/>
          <p:cNvSpPr>
            <a:spLocks/>
          </p:cNvSpPr>
          <p:nvPr/>
        </p:nvSpPr>
        <p:spPr bwMode="gray">
          <a:xfrm>
            <a:off x="6261128" y="2719574"/>
            <a:ext cx="30006" cy="13500"/>
          </a:xfrm>
          <a:custGeom>
            <a:avLst/>
            <a:gdLst>
              <a:gd name="T0" fmla="*/ 2147483647 w 15"/>
              <a:gd name="T1" fmla="*/ 0 h 9"/>
              <a:gd name="T2" fmla="*/ 0 w 15"/>
              <a:gd name="T3" fmla="*/ 2147483647 h 9"/>
              <a:gd name="T4" fmla="*/ 2147483647 w 15"/>
              <a:gd name="T5" fmla="*/ 2147483647 h 9"/>
              <a:gd name="T6" fmla="*/ 2147483647 w 15"/>
              <a:gd name="T7" fmla="*/ 2147483647 h 9"/>
              <a:gd name="T8" fmla="*/ 2147483647 w 15"/>
              <a:gd name="T9" fmla="*/ 2147483647 h 9"/>
              <a:gd name="T10" fmla="*/ 2147483647 w 15"/>
              <a:gd name="T11" fmla="*/ 0 h 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5"/>
              <a:gd name="T19" fmla="*/ 0 h 9"/>
              <a:gd name="T20" fmla="*/ 15 w 15"/>
              <a:gd name="T21" fmla="*/ 9 h 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5" h="9">
                <a:moveTo>
                  <a:pt x="6" y="0"/>
                </a:moveTo>
                <a:lnTo>
                  <a:pt x="0" y="9"/>
                </a:lnTo>
                <a:lnTo>
                  <a:pt x="9" y="6"/>
                </a:lnTo>
                <a:lnTo>
                  <a:pt x="15" y="6"/>
                </a:lnTo>
                <a:lnTo>
                  <a:pt x="12" y="3"/>
                </a:lnTo>
                <a:lnTo>
                  <a:pt x="6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10" name="Freeform 215"/>
          <p:cNvSpPr>
            <a:spLocks/>
          </p:cNvSpPr>
          <p:nvPr/>
        </p:nvSpPr>
        <p:spPr bwMode="gray">
          <a:xfrm>
            <a:off x="5727032" y="1824050"/>
            <a:ext cx="344062" cy="387010"/>
          </a:xfrm>
          <a:custGeom>
            <a:avLst/>
            <a:gdLst>
              <a:gd name="T0" fmla="*/ 2147483647 w 170"/>
              <a:gd name="T1" fmla="*/ 2147483647 h 255"/>
              <a:gd name="T2" fmla="*/ 2147483647 w 170"/>
              <a:gd name="T3" fmla="*/ 2147483647 h 255"/>
              <a:gd name="T4" fmla="*/ 2147483647 w 170"/>
              <a:gd name="T5" fmla="*/ 2147483647 h 255"/>
              <a:gd name="T6" fmla="*/ 2147483647 w 170"/>
              <a:gd name="T7" fmla="*/ 2147483647 h 255"/>
              <a:gd name="T8" fmla="*/ 2147483647 w 170"/>
              <a:gd name="T9" fmla="*/ 2147483647 h 255"/>
              <a:gd name="T10" fmla="*/ 2147483647 w 170"/>
              <a:gd name="T11" fmla="*/ 2147483647 h 255"/>
              <a:gd name="T12" fmla="*/ 2147483647 w 170"/>
              <a:gd name="T13" fmla="*/ 2147483647 h 255"/>
              <a:gd name="T14" fmla="*/ 2147483647 w 170"/>
              <a:gd name="T15" fmla="*/ 2147483647 h 255"/>
              <a:gd name="T16" fmla="*/ 2147483647 w 170"/>
              <a:gd name="T17" fmla="*/ 2147483647 h 255"/>
              <a:gd name="T18" fmla="*/ 2147483647 w 170"/>
              <a:gd name="T19" fmla="*/ 2147483647 h 255"/>
              <a:gd name="T20" fmla="*/ 2147483647 w 170"/>
              <a:gd name="T21" fmla="*/ 2147483647 h 255"/>
              <a:gd name="T22" fmla="*/ 2147483647 w 170"/>
              <a:gd name="T23" fmla="*/ 2147483647 h 255"/>
              <a:gd name="T24" fmla="*/ 2147483647 w 170"/>
              <a:gd name="T25" fmla="*/ 2147483647 h 255"/>
              <a:gd name="T26" fmla="*/ 2147483647 w 170"/>
              <a:gd name="T27" fmla="*/ 2147483647 h 255"/>
              <a:gd name="T28" fmla="*/ 2147483647 w 170"/>
              <a:gd name="T29" fmla="*/ 2147483647 h 255"/>
              <a:gd name="T30" fmla="*/ 2147483647 w 170"/>
              <a:gd name="T31" fmla="*/ 2147483647 h 255"/>
              <a:gd name="T32" fmla="*/ 2147483647 w 170"/>
              <a:gd name="T33" fmla="*/ 2147483647 h 255"/>
              <a:gd name="T34" fmla="*/ 2147483647 w 170"/>
              <a:gd name="T35" fmla="*/ 2147483647 h 255"/>
              <a:gd name="T36" fmla="*/ 2147483647 w 170"/>
              <a:gd name="T37" fmla="*/ 2147483647 h 255"/>
              <a:gd name="T38" fmla="*/ 2147483647 w 170"/>
              <a:gd name="T39" fmla="*/ 2147483647 h 255"/>
              <a:gd name="T40" fmla="*/ 2147483647 w 170"/>
              <a:gd name="T41" fmla="*/ 2147483647 h 255"/>
              <a:gd name="T42" fmla="*/ 2147483647 w 170"/>
              <a:gd name="T43" fmla="*/ 2147483647 h 255"/>
              <a:gd name="T44" fmla="*/ 2147483647 w 170"/>
              <a:gd name="T45" fmla="*/ 2147483647 h 255"/>
              <a:gd name="T46" fmla="*/ 2147483647 w 170"/>
              <a:gd name="T47" fmla="*/ 2147483647 h 255"/>
              <a:gd name="T48" fmla="*/ 2147483647 w 170"/>
              <a:gd name="T49" fmla="*/ 2147483647 h 255"/>
              <a:gd name="T50" fmla="*/ 2147483647 w 170"/>
              <a:gd name="T51" fmla="*/ 2147483647 h 255"/>
              <a:gd name="T52" fmla="*/ 2147483647 w 170"/>
              <a:gd name="T53" fmla="*/ 2147483647 h 255"/>
              <a:gd name="T54" fmla="*/ 2147483647 w 170"/>
              <a:gd name="T55" fmla="*/ 2147483647 h 255"/>
              <a:gd name="T56" fmla="*/ 2147483647 w 170"/>
              <a:gd name="T57" fmla="*/ 2147483647 h 255"/>
              <a:gd name="T58" fmla="*/ 2147483647 w 170"/>
              <a:gd name="T59" fmla="*/ 2147483647 h 255"/>
              <a:gd name="T60" fmla="*/ 2147483647 w 170"/>
              <a:gd name="T61" fmla="*/ 2147483647 h 255"/>
              <a:gd name="T62" fmla="*/ 2147483647 w 170"/>
              <a:gd name="T63" fmla="*/ 2147483647 h 255"/>
              <a:gd name="T64" fmla="*/ 2147483647 w 170"/>
              <a:gd name="T65" fmla="*/ 2147483647 h 255"/>
              <a:gd name="T66" fmla="*/ 2147483647 w 170"/>
              <a:gd name="T67" fmla="*/ 2147483647 h 255"/>
              <a:gd name="T68" fmla="*/ 2147483647 w 170"/>
              <a:gd name="T69" fmla="*/ 2147483647 h 255"/>
              <a:gd name="T70" fmla="*/ 2147483647 w 170"/>
              <a:gd name="T71" fmla="*/ 2147483647 h 255"/>
              <a:gd name="T72" fmla="*/ 2147483647 w 170"/>
              <a:gd name="T73" fmla="*/ 2147483647 h 255"/>
              <a:gd name="T74" fmla="*/ 2147483647 w 170"/>
              <a:gd name="T75" fmla="*/ 2147483647 h 255"/>
              <a:gd name="T76" fmla="*/ 2147483647 w 170"/>
              <a:gd name="T77" fmla="*/ 2147483647 h 255"/>
              <a:gd name="T78" fmla="*/ 2147483647 w 170"/>
              <a:gd name="T79" fmla="*/ 2147483647 h 255"/>
              <a:gd name="T80" fmla="*/ 2147483647 w 170"/>
              <a:gd name="T81" fmla="*/ 2147483647 h 255"/>
              <a:gd name="T82" fmla="*/ 2147483647 w 170"/>
              <a:gd name="T83" fmla="*/ 2147483647 h 255"/>
              <a:gd name="T84" fmla="*/ 2147483647 w 170"/>
              <a:gd name="T85" fmla="*/ 2147483647 h 255"/>
              <a:gd name="T86" fmla="*/ 2147483647 w 170"/>
              <a:gd name="T87" fmla="*/ 2147483647 h 255"/>
              <a:gd name="T88" fmla="*/ 2147483647 w 170"/>
              <a:gd name="T89" fmla="*/ 2147483647 h 255"/>
              <a:gd name="T90" fmla="*/ 2147483647 w 170"/>
              <a:gd name="T91" fmla="*/ 2147483647 h 255"/>
              <a:gd name="T92" fmla="*/ 2147483647 w 170"/>
              <a:gd name="T93" fmla="*/ 2147483647 h 255"/>
              <a:gd name="T94" fmla="*/ 2147483647 w 170"/>
              <a:gd name="T95" fmla="*/ 2147483647 h 255"/>
              <a:gd name="T96" fmla="*/ 2147483647 w 170"/>
              <a:gd name="T97" fmla="*/ 2147483647 h 255"/>
              <a:gd name="T98" fmla="*/ 2147483647 w 170"/>
              <a:gd name="T99" fmla="*/ 2147483647 h 255"/>
              <a:gd name="T100" fmla="*/ 2147483647 w 170"/>
              <a:gd name="T101" fmla="*/ 2147483647 h 255"/>
              <a:gd name="T102" fmla="*/ 2147483647 w 170"/>
              <a:gd name="T103" fmla="*/ 2147483647 h 255"/>
              <a:gd name="T104" fmla="*/ 2147483647 w 170"/>
              <a:gd name="T105" fmla="*/ 2147483647 h 255"/>
              <a:gd name="T106" fmla="*/ 2147483647 w 170"/>
              <a:gd name="T107" fmla="*/ 2147483647 h 255"/>
              <a:gd name="T108" fmla="*/ 2147483647 w 170"/>
              <a:gd name="T109" fmla="*/ 2147483647 h 255"/>
              <a:gd name="T110" fmla="*/ 2147483647 w 170"/>
              <a:gd name="T111" fmla="*/ 2147483647 h 255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70"/>
              <a:gd name="T169" fmla="*/ 0 h 255"/>
              <a:gd name="T170" fmla="*/ 170 w 170"/>
              <a:gd name="T171" fmla="*/ 255 h 255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70" h="255">
                <a:moveTo>
                  <a:pt x="23" y="229"/>
                </a:moveTo>
                <a:lnTo>
                  <a:pt x="20" y="226"/>
                </a:lnTo>
                <a:lnTo>
                  <a:pt x="15" y="232"/>
                </a:lnTo>
                <a:lnTo>
                  <a:pt x="9" y="229"/>
                </a:lnTo>
                <a:lnTo>
                  <a:pt x="3" y="232"/>
                </a:lnTo>
                <a:lnTo>
                  <a:pt x="0" y="235"/>
                </a:lnTo>
                <a:lnTo>
                  <a:pt x="3" y="241"/>
                </a:lnTo>
                <a:lnTo>
                  <a:pt x="9" y="244"/>
                </a:lnTo>
                <a:lnTo>
                  <a:pt x="12" y="249"/>
                </a:lnTo>
                <a:lnTo>
                  <a:pt x="3" y="249"/>
                </a:lnTo>
                <a:lnTo>
                  <a:pt x="9" y="255"/>
                </a:lnTo>
                <a:lnTo>
                  <a:pt x="18" y="252"/>
                </a:lnTo>
                <a:lnTo>
                  <a:pt x="23" y="246"/>
                </a:lnTo>
                <a:lnTo>
                  <a:pt x="18" y="244"/>
                </a:lnTo>
                <a:lnTo>
                  <a:pt x="20" y="238"/>
                </a:lnTo>
                <a:lnTo>
                  <a:pt x="23" y="232"/>
                </a:lnTo>
                <a:lnTo>
                  <a:pt x="29" y="232"/>
                </a:lnTo>
                <a:lnTo>
                  <a:pt x="29" y="241"/>
                </a:lnTo>
                <a:lnTo>
                  <a:pt x="40" y="238"/>
                </a:lnTo>
                <a:lnTo>
                  <a:pt x="46" y="238"/>
                </a:lnTo>
                <a:lnTo>
                  <a:pt x="49" y="232"/>
                </a:lnTo>
                <a:lnTo>
                  <a:pt x="52" y="226"/>
                </a:lnTo>
                <a:lnTo>
                  <a:pt x="63" y="226"/>
                </a:lnTo>
                <a:lnTo>
                  <a:pt x="72" y="224"/>
                </a:lnTo>
                <a:lnTo>
                  <a:pt x="75" y="221"/>
                </a:lnTo>
                <a:lnTo>
                  <a:pt x="78" y="226"/>
                </a:lnTo>
                <a:lnTo>
                  <a:pt x="86" y="206"/>
                </a:lnTo>
                <a:lnTo>
                  <a:pt x="84" y="209"/>
                </a:lnTo>
                <a:lnTo>
                  <a:pt x="78" y="212"/>
                </a:lnTo>
                <a:lnTo>
                  <a:pt x="81" y="203"/>
                </a:lnTo>
                <a:lnTo>
                  <a:pt x="81" y="189"/>
                </a:lnTo>
                <a:lnTo>
                  <a:pt x="84" y="183"/>
                </a:lnTo>
                <a:lnTo>
                  <a:pt x="86" y="178"/>
                </a:lnTo>
                <a:lnTo>
                  <a:pt x="98" y="175"/>
                </a:lnTo>
                <a:lnTo>
                  <a:pt x="104" y="175"/>
                </a:lnTo>
                <a:lnTo>
                  <a:pt x="104" y="166"/>
                </a:lnTo>
                <a:lnTo>
                  <a:pt x="109" y="163"/>
                </a:lnTo>
                <a:lnTo>
                  <a:pt x="112" y="157"/>
                </a:lnTo>
                <a:lnTo>
                  <a:pt x="104" y="152"/>
                </a:lnTo>
                <a:lnTo>
                  <a:pt x="101" y="146"/>
                </a:lnTo>
                <a:lnTo>
                  <a:pt x="92" y="143"/>
                </a:lnTo>
                <a:lnTo>
                  <a:pt x="86" y="140"/>
                </a:lnTo>
                <a:lnTo>
                  <a:pt x="84" y="126"/>
                </a:lnTo>
                <a:lnTo>
                  <a:pt x="89" y="126"/>
                </a:lnTo>
                <a:lnTo>
                  <a:pt x="86" y="120"/>
                </a:lnTo>
                <a:lnTo>
                  <a:pt x="89" y="117"/>
                </a:lnTo>
                <a:lnTo>
                  <a:pt x="86" y="112"/>
                </a:lnTo>
                <a:lnTo>
                  <a:pt x="92" y="112"/>
                </a:lnTo>
                <a:lnTo>
                  <a:pt x="92" y="103"/>
                </a:lnTo>
                <a:lnTo>
                  <a:pt x="95" y="103"/>
                </a:lnTo>
                <a:lnTo>
                  <a:pt x="101" y="103"/>
                </a:lnTo>
                <a:lnTo>
                  <a:pt x="104" y="100"/>
                </a:lnTo>
                <a:lnTo>
                  <a:pt x="109" y="97"/>
                </a:lnTo>
                <a:lnTo>
                  <a:pt x="112" y="94"/>
                </a:lnTo>
                <a:lnTo>
                  <a:pt x="118" y="94"/>
                </a:lnTo>
                <a:lnTo>
                  <a:pt x="127" y="89"/>
                </a:lnTo>
                <a:lnTo>
                  <a:pt x="135" y="80"/>
                </a:lnTo>
                <a:lnTo>
                  <a:pt x="141" y="74"/>
                </a:lnTo>
                <a:lnTo>
                  <a:pt x="138" y="74"/>
                </a:lnTo>
                <a:lnTo>
                  <a:pt x="135" y="74"/>
                </a:lnTo>
                <a:lnTo>
                  <a:pt x="135" y="71"/>
                </a:lnTo>
                <a:lnTo>
                  <a:pt x="141" y="63"/>
                </a:lnTo>
                <a:lnTo>
                  <a:pt x="147" y="57"/>
                </a:lnTo>
                <a:lnTo>
                  <a:pt x="150" y="57"/>
                </a:lnTo>
                <a:lnTo>
                  <a:pt x="147" y="57"/>
                </a:lnTo>
                <a:lnTo>
                  <a:pt x="147" y="54"/>
                </a:lnTo>
                <a:lnTo>
                  <a:pt x="150" y="54"/>
                </a:lnTo>
                <a:lnTo>
                  <a:pt x="164" y="54"/>
                </a:lnTo>
                <a:lnTo>
                  <a:pt x="170" y="54"/>
                </a:lnTo>
                <a:lnTo>
                  <a:pt x="167" y="48"/>
                </a:lnTo>
                <a:lnTo>
                  <a:pt x="164" y="43"/>
                </a:lnTo>
                <a:lnTo>
                  <a:pt x="164" y="40"/>
                </a:lnTo>
                <a:lnTo>
                  <a:pt x="164" y="34"/>
                </a:lnTo>
                <a:lnTo>
                  <a:pt x="158" y="28"/>
                </a:lnTo>
                <a:lnTo>
                  <a:pt x="161" y="28"/>
                </a:lnTo>
                <a:lnTo>
                  <a:pt x="161" y="25"/>
                </a:lnTo>
                <a:lnTo>
                  <a:pt x="158" y="17"/>
                </a:lnTo>
                <a:lnTo>
                  <a:pt x="155" y="14"/>
                </a:lnTo>
                <a:lnTo>
                  <a:pt x="150" y="11"/>
                </a:lnTo>
                <a:lnTo>
                  <a:pt x="147" y="11"/>
                </a:lnTo>
                <a:lnTo>
                  <a:pt x="141" y="11"/>
                </a:lnTo>
                <a:lnTo>
                  <a:pt x="135" y="8"/>
                </a:lnTo>
                <a:lnTo>
                  <a:pt x="129" y="8"/>
                </a:lnTo>
                <a:lnTo>
                  <a:pt x="121" y="0"/>
                </a:lnTo>
                <a:lnTo>
                  <a:pt x="118" y="0"/>
                </a:lnTo>
                <a:lnTo>
                  <a:pt x="118" y="8"/>
                </a:lnTo>
                <a:lnTo>
                  <a:pt x="115" y="11"/>
                </a:lnTo>
                <a:lnTo>
                  <a:pt x="112" y="11"/>
                </a:lnTo>
                <a:lnTo>
                  <a:pt x="104" y="11"/>
                </a:lnTo>
                <a:lnTo>
                  <a:pt x="95" y="8"/>
                </a:lnTo>
                <a:lnTo>
                  <a:pt x="92" y="8"/>
                </a:lnTo>
                <a:lnTo>
                  <a:pt x="92" y="17"/>
                </a:lnTo>
                <a:lnTo>
                  <a:pt x="89" y="20"/>
                </a:lnTo>
                <a:lnTo>
                  <a:pt x="86" y="20"/>
                </a:lnTo>
                <a:lnTo>
                  <a:pt x="81" y="17"/>
                </a:lnTo>
                <a:lnTo>
                  <a:pt x="78" y="20"/>
                </a:lnTo>
                <a:lnTo>
                  <a:pt x="75" y="23"/>
                </a:lnTo>
                <a:lnTo>
                  <a:pt x="72" y="23"/>
                </a:lnTo>
                <a:lnTo>
                  <a:pt x="75" y="23"/>
                </a:lnTo>
                <a:lnTo>
                  <a:pt x="66" y="28"/>
                </a:lnTo>
                <a:lnTo>
                  <a:pt x="69" y="34"/>
                </a:lnTo>
                <a:lnTo>
                  <a:pt x="61" y="40"/>
                </a:lnTo>
                <a:lnTo>
                  <a:pt x="61" y="46"/>
                </a:lnTo>
                <a:lnTo>
                  <a:pt x="58" y="48"/>
                </a:lnTo>
                <a:lnTo>
                  <a:pt x="52" y="48"/>
                </a:lnTo>
                <a:lnTo>
                  <a:pt x="49" y="48"/>
                </a:lnTo>
                <a:lnTo>
                  <a:pt x="46" y="63"/>
                </a:lnTo>
                <a:lnTo>
                  <a:pt x="38" y="74"/>
                </a:lnTo>
                <a:lnTo>
                  <a:pt x="43" y="77"/>
                </a:lnTo>
                <a:lnTo>
                  <a:pt x="43" y="80"/>
                </a:lnTo>
                <a:lnTo>
                  <a:pt x="40" y="83"/>
                </a:lnTo>
                <a:lnTo>
                  <a:pt x="38" y="86"/>
                </a:lnTo>
                <a:lnTo>
                  <a:pt x="29" y="86"/>
                </a:lnTo>
                <a:lnTo>
                  <a:pt x="20" y="89"/>
                </a:lnTo>
                <a:lnTo>
                  <a:pt x="18" y="97"/>
                </a:lnTo>
                <a:lnTo>
                  <a:pt x="18" y="100"/>
                </a:lnTo>
                <a:lnTo>
                  <a:pt x="18" y="103"/>
                </a:lnTo>
                <a:lnTo>
                  <a:pt x="18" y="106"/>
                </a:lnTo>
                <a:lnTo>
                  <a:pt x="20" y="114"/>
                </a:lnTo>
                <a:lnTo>
                  <a:pt x="18" y="123"/>
                </a:lnTo>
                <a:lnTo>
                  <a:pt x="26" y="129"/>
                </a:lnTo>
                <a:lnTo>
                  <a:pt x="29" y="132"/>
                </a:lnTo>
                <a:lnTo>
                  <a:pt x="29" y="135"/>
                </a:lnTo>
                <a:lnTo>
                  <a:pt x="26" y="137"/>
                </a:lnTo>
                <a:lnTo>
                  <a:pt x="23" y="137"/>
                </a:lnTo>
                <a:lnTo>
                  <a:pt x="20" y="140"/>
                </a:lnTo>
                <a:lnTo>
                  <a:pt x="23" y="146"/>
                </a:lnTo>
                <a:lnTo>
                  <a:pt x="23" y="149"/>
                </a:lnTo>
                <a:lnTo>
                  <a:pt x="23" y="155"/>
                </a:lnTo>
                <a:lnTo>
                  <a:pt x="20" y="157"/>
                </a:lnTo>
                <a:lnTo>
                  <a:pt x="15" y="160"/>
                </a:lnTo>
                <a:lnTo>
                  <a:pt x="12" y="175"/>
                </a:lnTo>
                <a:lnTo>
                  <a:pt x="6" y="175"/>
                </a:lnTo>
                <a:lnTo>
                  <a:pt x="3" y="175"/>
                </a:lnTo>
                <a:lnTo>
                  <a:pt x="3" y="180"/>
                </a:lnTo>
                <a:lnTo>
                  <a:pt x="9" y="192"/>
                </a:lnTo>
                <a:lnTo>
                  <a:pt x="20" y="206"/>
                </a:lnTo>
                <a:lnTo>
                  <a:pt x="29" y="221"/>
                </a:lnTo>
                <a:lnTo>
                  <a:pt x="23" y="226"/>
                </a:lnTo>
                <a:lnTo>
                  <a:pt x="23" y="229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11" name="Freeform 216"/>
          <p:cNvSpPr>
            <a:spLocks/>
          </p:cNvSpPr>
          <p:nvPr/>
        </p:nvSpPr>
        <p:spPr bwMode="gray">
          <a:xfrm>
            <a:off x="5599010" y="2424065"/>
            <a:ext cx="388070" cy="265508"/>
          </a:xfrm>
          <a:custGeom>
            <a:avLst/>
            <a:gdLst>
              <a:gd name="T0" fmla="*/ 2147483647 w 192"/>
              <a:gd name="T1" fmla="*/ 2147483647 h 175"/>
              <a:gd name="T2" fmla="*/ 2147483647 w 192"/>
              <a:gd name="T3" fmla="*/ 2147483647 h 175"/>
              <a:gd name="T4" fmla="*/ 2147483647 w 192"/>
              <a:gd name="T5" fmla="*/ 2147483647 h 175"/>
              <a:gd name="T6" fmla="*/ 2147483647 w 192"/>
              <a:gd name="T7" fmla="*/ 2147483647 h 175"/>
              <a:gd name="T8" fmla="*/ 2147483647 w 192"/>
              <a:gd name="T9" fmla="*/ 2147483647 h 175"/>
              <a:gd name="T10" fmla="*/ 2147483647 w 192"/>
              <a:gd name="T11" fmla="*/ 2147483647 h 175"/>
              <a:gd name="T12" fmla="*/ 2147483647 w 192"/>
              <a:gd name="T13" fmla="*/ 2147483647 h 175"/>
              <a:gd name="T14" fmla="*/ 2147483647 w 192"/>
              <a:gd name="T15" fmla="*/ 2147483647 h 175"/>
              <a:gd name="T16" fmla="*/ 2147483647 w 192"/>
              <a:gd name="T17" fmla="*/ 2147483647 h 175"/>
              <a:gd name="T18" fmla="*/ 2147483647 w 192"/>
              <a:gd name="T19" fmla="*/ 2147483647 h 175"/>
              <a:gd name="T20" fmla="*/ 2147483647 w 192"/>
              <a:gd name="T21" fmla="*/ 2147483647 h 175"/>
              <a:gd name="T22" fmla="*/ 2147483647 w 192"/>
              <a:gd name="T23" fmla="*/ 2147483647 h 175"/>
              <a:gd name="T24" fmla="*/ 2147483647 w 192"/>
              <a:gd name="T25" fmla="*/ 2147483647 h 175"/>
              <a:gd name="T26" fmla="*/ 2147483647 w 192"/>
              <a:gd name="T27" fmla="*/ 2147483647 h 175"/>
              <a:gd name="T28" fmla="*/ 2147483647 w 192"/>
              <a:gd name="T29" fmla="*/ 2147483647 h 175"/>
              <a:gd name="T30" fmla="*/ 2147483647 w 192"/>
              <a:gd name="T31" fmla="*/ 2147483647 h 175"/>
              <a:gd name="T32" fmla="*/ 2147483647 w 192"/>
              <a:gd name="T33" fmla="*/ 2147483647 h 175"/>
              <a:gd name="T34" fmla="*/ 2147483647 w 192"/>
              <a:gd name="T35" fmla="*/ 2147483647 h 175"/>
              <a:gd name="T36" fmla="*/ 2147483647 w 192"/>
              <a:gd name="T37" fmla="*/ 2147483647 h 175"/>
              <a:gd name="T38" fmla="*/ 2147483647 w 192"/>
              <a:gd name="T39" fmla="*/ 2147483647 h 175"/>
              <a:gd name="T40" fmla="*/ 2147483647 w 192"/>
              <a:gd name="T41" fmla="*/ 2147483647 h 175"/>
              <a:gd name="T42" fmla="*/ 2147483647 w 192"/>
              <a:gd name="T43" fmla="*/ 2147483647 h 175"/>
              <a:gd name="T44" fmla="*/ 2147483647 w 192"/>
              <a:gd name="T45" fmla="*/ 2147483647 h 175"/>
              <a:gd name="T46" fmla="*/ 2147483647 w 192"/>
              <a:gd name="T47" fmla="*/ 2147483647 h 175"/>
              <a:gd name="T48" fmla="*/ 2147483647 w 192"/>
              <a:gd name="T49" fmla="*/ 2147483647 h 175"/>
              <a:gd name="T50" fmla="*/ 2147483647 w 192"/>
              <a:gd name="T51" fmla="*/ 2147483647 h 175"/>
              <a:gd name="T52" fmla="*/ 2147483647 w 192"/>
              <a:gd name="T53" fmla="*/ 2147483647 h 175"/>
              <a:gd name="T54" fmla="*/ 2147483647 w 192"/>
              <a:gd name="T55" fmla="*/ 2147483647 h 175"/>
              <a:gd name="T56" fmla="*/ 2147483647 w 192"/>
              <a:gd name="T57" fmla="*/ 2147483647 h 175"/>
              <a:gd name="T58" fmla="*/ 2147483647 w 192"/>
              <a:gd name="T59" fmla="*/ 2147483647 h 175"/>
              <a:gd name="T60" fmla="*/ 2147483647 w 192"/>
              <a:gd name="T61" fmla="*/ 2147483647 h 175"/>
              <a:gd name="T62" fmla="*/ 2147483647 w 192"/>
              <a:gd name="T63" fmla="*/ 2147483647 h 175"/>
              <a:gd name="T64" fmla="*/ 2147483647 w 192"/>
              <a:gd name="T65" fmla="*/ 2147483647 h 175"/>
              <a:gd name="T66" fmla="*/ 2147483647 w 192"/>
              <a:gd name="T67" fmla="*/ 2147483647 h 175"/>
              <a:gd name="T68" fmla="*/ 2147483647 w 192"/>
              <a:gd name="T69" fmla="*/ 2147483647 h 175"/>
              <a:gd name="T70" fmla="*/ 2147483647 w 192"/>
              <a:gd name="T71" fmla="*/ 2147483647 h 175"/>
              <a:gd name="T72" fmla="*/ 2147483647 w 192"/>
              <a:gd name="T73" fmla="*/ 2147483647 h 175"/>
              <a:gd name="T74" fmla="*/ 2147483647 w 192"/>
              <a:gd name="T75" fmla="*/ 2147483647 h 175"/>
              <a:gd name="T76" fmla="*/ 2147483647 w 192"/>
              <a:gd name="T77" fmla="*/ 2147483647 h 175"/>
              <a:gd name="T78" fmla="*/ 2147483647 w 192"/>
              <a:gd name="T79" fmla="*/ 2147483647 h 175"/>
              <a:gd name="T80" fmla="*/ 2147483647 w 192"/>
              <a:gd name="T81" fmla="*/ 2147483647 h 175"/>
              <a:gd name="T82" fmla="*/ 2147483647 w 192"/>
              <a:gd name="T83" fmla="*/ 2147483647 h 175"/>
              <a:gd name="T84" fmla="*/ 2147483647 w 192"/>
              <a:gd name="T85" fmla="*/ 2147483647 h 175"/>
              <a:gd name="T86" fmla="*/ 2147483647 w 192"/>
              <a:gd name="T87" fmla="*/ 2147483647 h 175"/>
              <a:gd name="T88" fmla="*/ 2147483647 w 192"/>
              <a:gd name="T89" fmla="*/ 2147483647 h 175"/>
              <a:gd name="T90" fmla="*/ 2147483647 w 192"/>
              <a:gd name="T91" fmla="*/ 2147483647 h 175"/>
              <a:gd name="T92" fmla="*/ 2147483647 w 192"/>
              <a:gd name="T93" fmla="*/ 2147483647 h 175"/>
              <a:gd name="T94" fmla="*/ 2147483647 w 192"/>
              <a:gd name="T95" fmla="*/ 2147483647 h 175"/>
              <a:gd name="T96" fmla="*/ 2147483647 w 192"/>
              <a:gd name="T97" fmla="*/ 2147483647 h 175"/>
              <a:gd name="T98" fmla="*/ 2147483647 w 192"/>
              <a:gd name="T99" fmla="*/ 2147483647 h 175"/>
              <a:gd name="T100" fmla="*/ 2147483647 w 192"/>
              <a:gd name="T101" fmla="*/ 2147483647 h 175"/>
              <a:gd name="T102" fmla="*/ 2147483647 w 192"/>
              <a:gd name="T103" fmla="*/ 2147483647 h 175"/>
              <a:gd name="T104" fmla="*/ 2147483647 w 192"/>
              <a:gd name="T105" fmla="*/ 2147483647 h 175"/>
              <a:gd name="T106" fmla="*/ 2147483647 w 192"/>
              <a:gd name="T107" fmla="*/ 2147483647 h 175"/>
              <a:gd name="T108" fmla="*/ 2147483647 w 192"/>
              <a:gd name="T109" fmla="*/ 2147483647 h 175"/>
              <a:gd name="T110" fmla="*/ 0 w 192"/>
              <a:gd name="T111" fmla="*/ 2147483647 h 175"/>
              <a:gd name="T112" fmla="*/ 2147483647 w 192"/>
              <a:gd name="T113" fmla="*/ 2147483647 h 175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92"/>
              <a:gd name="T172" fmla="*/ 0 h 175"/>
              <a:gd name="T173" fmla="*/ 192 w 192"/>
              <a:gd name="T174" fmla="*/ 175 h 175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92" h="175">
                <a:moveTo>
                  <a:pt x="14" y="60"/>
                </a:moveTo>
                <a:lnTo>
                  <a:pt x="14" y="63"/>
                </a:lnTo>
                <a:lnTo>
                  <a:pt x="14" y="60"/>
                </a:lnTo>
                <a:lnTo>
                  <a:pt x="20" y="60"/>
                </a:lnTo>
                <a:lnTo>
                  <a:pt x="26" y="51"/>
                </a:lnTo>
                <a:lnTo>
                  <a:pt x="32" y="49"/>
                </a:lnTo>
                <a:lnTo>
                  <a:pt x="40" y="54"/>
                </a:lnTo>
                <a:lnTo>
                  <a:pt x="43" y="57"/>
                </a:lnTo>
                <a:lnTo>
                  <a:pt x="46" y="57"/>
                </a:lnTo>
                <a:lnTo>
                  <a:pt x="49" y="57"/>
                </a:lnTo>
                <a:lnTo>
                  <a:pt x="52" y="60"/>
                </a:lnTo>
                <a:lnTo>
                  <a:pt x="58" y="72"/>
                </a:lnTo>
                <a:lnTo>
                  <a:pt x="58" y="77"/>
                </a:lnTo>
                <a:lnTo>
                  <a:pt x="58" y="80"/>
                </a:lnTo>
                <a:lnTo>
                  <a:pt x="66" y="83"/>
                </a:lnTo>
                <a:lnTo>
                  <a:pt x="69" y="92"/>
                </a:lnTo>
                <a:lnTo>
                  <a:pt x="75" y="95"/>
                </a:lnTo>
                <a:lnTo>
                  <a:pt x="86" y="100"/>
                </a:lnTo>
                <a:lnTo>
                  <a:pt x="95" y="109"/>
                </a:lnTo>
                <a:lnTo>
                  <a:pt x="98" y="109"/>
                </a:lnTo>
                <a:lnTo>
                  <a:pt x="101" y="109"/>
                </a:lnTo>
                <a:lnTo>
                  <a:pt x="103" y="112"/>
                </a:lnTo>
                <a:lnTo>
                  <a:pt x="106" y="115"/>
                </a:lnTo>
                <a:lnTo>
                  <a:pt x="112" y="117"/>
                </a:lnTo>
                <a:lnTo>
                  <a:pt x="118" y="120"/>
                </a:lnTo>
                <a:lnTo>
                  <a:pt x="121" y="123"/>
                </a:lnTo>
                <a:lnTo>
                  <a:pt x="121" y="126"/>
                </a:lnTo>
                <a:lnTo>
                  <a:pt x="124" y="123"/>
                </a:lnTo>
                <a:lnTo>
                  <a:pt x="126" y="123"/>
                </a:lnTo>
                <a:lnTo>
                  <a:pt x="126" y="129"/>
                </a:lnTo>
                <a:lnTo>
                  <a:pt x="129" y="132"/>
                </a:lnTo>
                <a:lnTo>
                  <a:pt x="138" y="135"/>
                </a:lnTo>
                <a:lnTo>
                  <a:pt x="141" y="143"/>
                </a:lnTo>
                <a:lnTo>
                  <a:pt x="147" y="155"/>
                </a:lnTo>
                <a:lnTo>
                  <a:pt x="147" y="161"/>
                </a:lnTo>
                <a:lnTo>
                  <a:pt x="144" y="161"/>
                </a:lnTo>
                <a:lnTo>
                  <a:pt x="144" y="166"/>
                </a:lnTo>
                <a:lnTo>
                  <a:pt x="138" y="172"/>
                </a:lnTo>
                <a:lnTo>
                  <a:pt x="144" y="175"/>
                </a:lnTo>
                <a:lnTo>
                  <a:pt x="152" y="169"/>
                </a:lnTo>
                <a:lnTo>
                  <a:pt x="152" y="161"/>
                </a:lnTo>
                <a:lnTo>
                  <a:pt x="158" y="158"/>
                </a:lnTo>
                <a:lnTo>
                  <a:pt x="164" y="158"/>
                </a:lnTo>
                <a:lnTo>
                  <a:pt x="164" y="146"/>
                </a:lnTo>
                <a:lnTo>
                  <a:pt x="155" y="143"/>
                </a:lnTo>
                <a:lnTo>
                  <a:pt x="152" y="140"/>
                </a:lnTo>
                <a:lnTo>
                  <a:pt x="155" y="132"/>
                </a:lnTo>
                <a:lnTo>
                  <a:pt x="161" y="126"/>
                </a:lnTo>
                <a:lnTo>
                  <a:pt x="161" y="123"/>
                </a:lnTo>
                <a:lnTo>
                  <a:pt x="164" y="126"/>
                </a:lnTo>
                <a:lnTo>
                  <a:pt x="164" y="129"/>
                </a:lnTo>
                <a:lnTo>
                  <a:pt x="167" y="132"/>
                </a:lnTo>
                <a:lnTo>
                  <a:pt x="170" y="129"/>
                </a:lnTo>
                <a:lnTo>
                  <a:pt x="172" y="129"/>
                </a:lnTo>
                <a:lnTo>
                  <a:pt x="172" y="132"/>
                </a:lnTo>
                <a:lnTo>
                  <a:pt x="178" y="138"/>
                </a:lnTo>
                <a:lnTo>
                  <a:pt x="184" y="135"/>
                </a:lnTo>
                <a:lnTo>
                  <a:pt x="178" y="126"/>
                </a:lnTo>
                <a:lnTo>
                  <a:pt x="172" y="120"/>
                </a:lnTo>
                <a:lnTo>
                  <a:pt x="161" y="115"/>
                </a:lnTo>
                <a:lnTo>
                  <a:pt x="149" y="109"/>
                </a:lnTo>
                <a:lnTo>
                  <a:pt x="141" y="106"/>
                </a:lnTo>
                <a:lnTo>
                  <a:pt x="147" y="100"/>
                </a:lnTo>
                <a:lnTo>
                  <a:pt x="141" y="97"/>
                </a:lnTo>
                <a:lnTo>
                  <a:pt x="135" y="97"/>
                </a:lnTo>
                <a:lnTo>
                  <a:pt x="126" y="97"/>
                </a:lnTo>
                <a:lnTo>
                  <a:pt x="118" y="89"/>
                </a:lnTo>
                <a:lnTo>
                  <a:pt x="112" y="83"/>
                </a:lnTo>
                <a:lnTo>
                  <a:pt x="109" y="74"/>
                </a:lnTo>
                <a:lnTo>
                  <a:pt x="106" y="66"/>
                </a:lnTo>
                <a:lnTo>
                  <a:pt x="92" y="57"/>
                </a:lnTo>
                <a:lnTo>
                  <a:pt x="86" y="51"/>
                </a:lnTo>
                <a:lnTo>
                  <a:pt x="83" y="46"/>
                </a:lnTo>
                <a:lnTo>
                  <a:pt x="86" y="43"/>
                </a:lnTo>
                <a:lnTo>
                  <a:pt x="89" y="40"/>
                </a:lnTo>
                <a:lnTo>
                  <a:pt x="86" y="37"/>
                </a:lnTo>
                <a:lnTo>
                  <a:pt x="86" y="34"/>
                </a:lnTo>
                <a:lnTo>
                  <a:pt x="89" y="28"/>
                </a:lnTo>
                <a:lnTo>
                  <a:pt x="98" y="26"/>
                </a:lnTo>
                <a:lnTo>
                  <a:pt x="101" y="26"/>
                </a:lnTo>
                <a:lnTo>
                  <a:pt x="101" y="31"/>
                </a:lnTo>
                <a:lnTo>
                  <a:pt x="106" y="34"/>
                </a:lnTo>
                <a:lnTo>
                  <a:pt x="106" y="40"/>
                </a:lnTo>
                <a:lnTo>
                  <a:pt x="109" y="43"/>
                </a:lnTo>
                <a:lnTo>
                  <a:pt x="115" y="37"/>
                </a:lnTo>
                <a:lnTo>
                  <a:pt x="115" y="40"/>
                </a:lnTo>
                <a:lnTo>
                  <a:pt x="112" y="43"/>
                </a:lnTo>
                <a:lnTo>
                  <a:pt x="118" y="46"/>
                </a:lnTo>
                <a:lnTo>
                  <a:pt x="121" y="43"/>
                </a:lnTo>
                <a:lnTo>
                  <a:pt x="118" y="37"/>
                </a:lnTo>
                <a:lnTo>
                  <a:pt x="121" y="34"/>
                </a:lnTo>
                <a:lnTo>
                  <a:pt x="124" y="37"/>
                </a:lnTo>
                <a:lnTo>
                  <a:pt x="124" y="43"/>
                </a:lnTo>
                <a:lnTo>
                  <a:pt x="126" y="49"/>
                </a:lnTo>
                <a:lnTo>
                  <a:pt x="132" y="51"/>
                </a:lnTo>
                <a:lnTo>
                  <a:pt x="129" y="51"/>
                </a:lnTo>
                <a:lnTo>
                  <a:pt x="126" y="51"/>
                </a:lnTo>
                <a:lnTo>
                  <a:pt x="135" y="60"/>
                </a:lnTo>
                <a:lnTo>
                  <a:pt x="144" y="66"/>
                </a:lnTo>
                <a:lnTo>
                  <a:pt x="147" y="66"/>
                </a:lnTo>
                <a:lnTo>
                  <a:pt x="152" y="66"/>
                </a:lnTo>
                <a:lnTo>
                  <a:pt x="149" y="57"/>
                </a:lnTo>
                <a:lnTo>
                  <a:pt x="144" y="54"/>
                </a:lnTo>
                <a:lnTo>
                  <a:pt x="141" y="46"/>
                </a:lnTo>
                <a:lnTo>
                  <a:pt x="135" y="43"/>
                </a:lnTo>
                <a:lnTo>
                  <a:pt x="141" y="34"/>
                </a:lnTo>
                <a:lnTo>
                  <a:pt x="147" y="37"/>
                </a:lnTo>
                <a:lnTo>
                  <a:pt x="152" y="34"/>
                </a:lnTo>
                <a:lnTo>
                  <a:pt x="155" y="31"/>
                </a:lnTo>
                <a:lnTo>
                  <a:pt x="161" y="34"/>
                </a:lnTo>
                <a:lnTo>
                  <a:pt x="167" y="34"/>
                </a:lnTo>
                <a:lnTo>
                  <a:pt x="172" y="37"/>
                </a:lnTo>
                <a:lnTo>
                  <a:pt x="178" y="37"/>
                </a:lnTo>
                <a:lnTo>
                  <a:pt x="184" y="37"/>
                </a:lnTo>
                <a:lnTo>
                  <a:pt x="190" y="40"/>
                </a:lnTo>
                <a:lnTo>
                  <a:pt x="192" y="40"/>
                </a:lnTo>
                <a:lnTo>
                  <a:pt x="192" y="34"/>
                </a:lnTo>
                <a:lnTo>
                  <a:pt x="187" y="31"/>
                </a:lnTo>
                <a:lnTo>
                  <a:pt x="184" y="28"/>
                </a:lnTo>
                <a:lnTo>
                  <a:pt x="184" y="23"/>
                </a:lnTo>
                <a:lnTo>
                  <a:pt x="181" y="26"/>
                </a:lnTo>
                <a:lnTo>
                  <a:pt x="175" y="26"/>
                </a:lnTo>
                <a:lnTo>
                  <a:pt x="167" y="26"/>
                </a:lnTo>
                <a:lnTo>
                  <a:pt x="161" y="20"/>
                </a:lnTo>
                <a:lnTo>
                  <a:pt x="155" y="17"/>
                </a:lnTo>
                <a:lnTo>
                  <a:pt x="147" y="11"/>
                </a:lnTo>
                <a:lnTo>
                  <a:pt x="138" y="17"/>
                </a:lnTo>
                <a:lnTo>
                  <a:pt x="138" y="23"/>
                </a:lnTo>
                <a:lnTo>
                  <a:pt x="132" y="26"/>
                </a:lnTo>
                <a:lnTo>
                  <a:pt x="132" y="31"/>
                </a:lnTo>
                <a:lnTo>
                  <a:pt x="118" y="31"/>
                </a:lnTo>
                <a:lnTo>
                  <a:pt x="115" y="28"/>
                </a:lnTo>
                <a:lnTo>
                  <a:pt x="106" y="28"/>
                </a:lnTo>
                <a:lnTo>
                  <a:pt x="101" y="17"/>
                </a:lnTo>
                <a:lnTo>
                  <a:pt x="95" y="14"/>
                </a:lnTo>
                <a:lnTo>
                  <a:pt x="89" y="11"/>
                </a:lnTo>
                <a:lnTo>
                  <a:pt x="86" y="11"/>
                </a:lnTo>
                <a:lnTo>
                  <a:pt x="86" y="8"/>
                </a:lnTo>
                <a:lnTo>
                  <a:pt x="86" y="6"/>
                </a:lnTo>
                <a:lnTo>
                  <a:pt x="83" y="0"/>
                </a:lnTo>
                <a:lnTo>
                  <a:pt x="66" y="6"/>
                </a:lnTo>
                <a:lnTo>
                  <a:pt x="60" y="6"/>
                </a:lnTo>
                <a:lnTo>
                  <a:pt x="58" y="14"/>
                </a:lnTo>
                <a:lnTo>
                  <a:pt x="55" y="11"/>
                </a:lnTo>
                <a:lnTo>
                  <a:pt x="52" y="11"/>
                </a:lnTo>
                <a:lnTo>
                  <a:pt x="52" y="20"/>
                </a:lnTo>
                <a:lnTo>
                  <a:pt x="49" y="17"/>
                </a:lnTo>
                <a:lnTo>
                  <a:pt x="49" y="14"/>
                </a:lnTo>
                <a:lnTo>
                  <a:pt x="43" y="20"/>
                </a:lnTo>
                <a:lnTo>
                  <a:pt x="43" y="17"/>
                </a:lnTo>
                <a:lnTo>
                  <a:pt x="40" y="14"/>
                </a:lnTo>
                <a:lnTo>
                  <a:pt x="35" y="26"/>
                </a:lnTo>
                <a:lnTo>
                  <a:pt x="26" y="14"/>
                </a:lnTo>
                <a:lnTo>
                  <a:pt x="20" y="14"/>
                </a:lnTo>
                <a:lnTo>
                  <a:pt x="20" y="26"/>
                </a:lnTo>
                <a:lnTo>
                  <a:pt x="12" y="20"/>
                </a:lnTo>
                <a:lnTo>
                  <a:pt x="6" y="23"/>
                </a:lnTo>
                <a:lnTo>
                  <a:pt x="3" y="26"/>
                </a:lnTo>
                <a:lnTo>
                  <a:pt x="9" y="34"/>
                </a:lnTo>
                <a:lnTo>
                  <a:pt x="6" y="34"/>
                </a:lnTo>
                <a:lnTo>
                  <a:pt x="3" y="37"/>
                </a:lnTo>
                <a:lnTo>
                  <a:pt x="0" y="37"/>
                </a:lnTo>
                <a:lnTo>
                  <a:pt x="6" y="43"/>
                </a:lnTo>
                <a:lnTo>
                  <a:pt x="3" y="51"/>
                </a:lnTo>
                <a:lnTo>
                  <a:pt x="6" y="51"/>
                </a:lnTo>
                <a:lnTo>
                  <a:pt x="14" y="54"/>
                </a:lnTo>
                <a:lnTo>
                  <a:pt x="14" y="6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12" name="Freeform 217"/>
          <p:cNvSpPr>
            <a:spLocks/>
          </p:cNvSpPr>
          <p:nvPr/>
        </p:nvSpPr>
        <p:spPr bwMode="gray">
          <a:xfrm>
            <a:off x="5773040" y="2515569"/>
            <a:ext cx="6002" cy="9000"/>
          </a:xfrm>
          <a:custGeom>
            <a:avLst/>
            <a:gdLst>
              <a:gd name="T0" fmla="*/ 2147483647 w 3"/>
              <a:gd name="T1" fmla="*/ 2147483647 h 6"/>
              <a:gd name="T2" fmla="*/ 2147483647 w 3"/>
              <a:gd name="T3" fmla="*/ 2147483647 h 6"/>
              <a:gd name="T4" fmla="*/ 2147483647 w 3"/>
              <a:gd name="T5" fmla="*/ 2147483647 h 6"/>
              <a:gd name="T6" fmla="*/ 2147483647 w 3"/>
              <a:gd name="T7" fmla="*/ 2147483647 h 6"/>
              <a:gd name="T8" fmla="*/ 2147483647 w 3"/>
              <a:gd name="T9" fmla="*/ 0 h 6"/>
              <a:gd name="T10" fmla="*/ 2147483647 w 3"/>
              <a:gd name="T11" fmla="*/ 0 h 6"/>
              <a:gd name="T12" fmla="*/ 0 w 3"/>
              <a:gd name="T13" fmla="*/ 2147483647 h 6"/>
              <a:gd name="T14" fmla="*/ 0 w 3"/>
              <a:gd name="T15" fmla="*/ 2147483647 h 6"/>
              <a:gd name="T16" fmla="*/ 2147483647 w 3"/>
              <a:gd name="T17" fmla="*/ 2147483647 h 6"/>
              <a:gd name="T18" fmla="*/ 2147483647 w 3"/>
              <a:gd name="T19" fmla="*/ 2147483647 h 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"/>
              <a:gd name="T31" fmla="*/ 0 h 6"/>
              <a:gd name="T32" fmla="*/ 3 w 3"/>
              <a:gd name="T33" fmla="*/ 6 h 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" h="6">
                <a:moveTo>
                  <a:pt x="3" y="6"/>
                </a:moveTo>
                <a:lnTo>
                  <a:pt x="3" y="6"/>
                </a:lnTo>
                <a:lnTo>
                  <a:pt x="3" y="3"/>
                </a:ln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13" name="Freeform 218"/>
          <p:cNvSpPr>
            <a:spLocks/>
          </p:cNvSpPr>
          <p:nvPr/>
        </p:nvSpPr>
        <p:spPr bwMode="gray">
          <a:xfrm>
            <a:off x="5583007" y="2202060"/>
            <a:ext cx="266047" cy="208506"/>
          </a:xfrm>
          <a:custGeom>
            <a:avLst/>
            <a:gdLst>
              <a:gd name="T0" fmla="*/ 2147483647 w 132"/>
              <a:gd name="T1" fmla="*/ 2147483647 h 138"/>
              <a:gd name="T2" fmla="*/ 2147483647 w 132"/>
              <a:gd name="T3" fmla="*/ 2147483647 h 138"/>
              <a:gd name="T4" fmla="*/ 2147483647 w 132"/>
              <a:gd name="T5" fmla="*/ 2147483647 h 138"/>
              <a:gd name="T6" fmla="*/ 2147483647 w 132"/>
              <a:gd name="T7" fmla="*/ 2147483647 h 138"/>
              <a:gd name="T8" fmla="*/ 2147483647 w 132"/>
              <a:gd name="T9" fmla="*/ 2147483647 h 138"/>
              <a:gd name="T10" fmla="*/ 2147483647 w 132"/>
              <a:gd name="T11" fmla="*/ 2147483647 h 138"/>
              <a:gd name="T12" fmla="*/ 2147483647 w 132"/>
              <a:gd name="T13" fmla="*/ 2147483647 h 138"/>
              <a:gd name="T14" fmla="*/ 2147483647 w 132"/>
              <a:gd name="T15" fmla="*/ 2147483647 h 138"/>
              <a:gd name="T16" fmla="*/ 2147483647 w 132"/>
              <a:gd name="T17" fmla="*/ 2147483647 h 138"/>
              <a:gd name="T18" fmla="*/ 2147483647 w 132"/>
              <a:gd name="T19" fmla="*/ 2147483647 h 138"/>
              <a:gd name="T20" fmla="*/ 2147483647 w 132"/>
              <a:gd name="T21" fmla="*/ 2147483647 h 138"/>
              <a:gd name="T22" fmla="*/ 2147483647 w 132"/>
              <a:gd name="T23" fmla="*/ 2147483647 h 138"/>
              <a:gd name="T24" fmla="*/ 2147483647 w 132"/>
              <a:gd name="T25" fmla="*/ 2147483647 h 138"/>
              <a:gd name="T26" fmla="*/ 2147483647 w 132"/>
              <a:gd name="T27" fmla="*/ 2147483647 h 138"/>
              <a:gd name="T28" fmla="*/ 2147483647 w 132"/>
              <a:gd name="T29" fmla="*/ 2147483647 h 138"/>
              <a:gd name="T30" fmla="*/ 2147483647 w 132"/>
              <a:gd name="T31" fmla="*/ 2147483647 h 138"/>
              <a:gd name="T32" fmla="*/ 2147483647 w 132"/>
              <a:gd name="T33" fmla="*/ 2147483647 h 138"/>
              <a:gd name="T34" fmla="*/ 2147483647 w 132"/>
              <a:gd name="T35" fmla="*/ 2147483647 h 138"/>
              <a:gd name="T36" fmla="*/ 2147483647 w 132"/>
              <a:gd name="T37" fmla="*/ 2147483647 h 138"/>
              <a:gd name="T38" fmla="*/ 2147483647 w 132"/>
              <a:gd name="T39" fmla="*/ 2147483647 h 138"/>
              <a:gd name="T40" fmla="*/ 2147483647 w 132"/>
              <a:gd name="T41" fmla="*/ 2147483647 h 138"/>
              <a:gd name="T42" fmla="*/ 2147483647 w 132"/>
              <a:gd name="T43" fmla="*/ 2147483647 h 138"/>
              <a:gd name="T44" fmla="*/ 2147483647 w 132"/>
              <a:gd name="T45" fmla="*/ 2147483647 h 138"/>
              <a:gd name="T46" fmla="*/ 2147483647 w 132"/>
              <a:gd name="T47" fmla="*/ 2147483647 h 138"/>
              <a:gd name="T48" fmla="*/ 2147483647 w 132"/>
              <a:gd name="T49" fmla="*/ 2147483647 h 138"/>
              <a:gd name="T50" fmla="*/ 2147483647 w 132"/>
              <a:gd name="T51" fmla="*/ 2147483647 h 138"/>
              <a:gd name="T52" fmla="*/ 2147483647 w 132"/>
              <a:gd name="T53" fmla="*/ 2147483647 h 138"/>
              <a:gd name="T54" fmla="*/ 2147483647 w 132"/>
              <a:gd name="T55" fmla="*/ 2147483647 h 138"/>
              <a:gd name="T56" fmla="*/ 2147483647 w 132"/>
              <a:gd name="T57" fmla="*/ 2147483647 h 138"/>
              <a:gd name="T58" fmla="*/ 2147483647 w 132"/>
              <a:gd name="T59" fmla="*/ 2147483647 h 138"/>
              <a:gd name="T60" fmla="*/ 2147483647 w 132"/>
              <a:gd name="T61" fmla="*/ 2147483647 h 138"/>
              <a:gd name="T62" fmla="*/ 2147483647 w 132"/>
              <a:gd name="T63" fmla="*/ 2147483647 h 138"/>
              <a:gd name="T64" fmla="*/ 2147483647 w 132"/>
              <a:gd name="T65" fmla="*/ 2147483647 h 138"/>
              <a:gd name="T66" fmla="*/ 2147483647 w 132"/>
              <a:gd name="T67" fmla="*/ 0 h 138"/>
              <a:gd name="T68" fmla="*/ 2147483647 w 132"/>
              <a:gd name="T69" fmla="*/ 2147483647 h 138"/>
              <a:gd name="T70" fmla="*/ 2147483647 w 132"/>
              <a:gd name="T71" fmla="*/ 2147483647 h 138"/>
              <a:gd name="T72" fmla="*/ 2147483647 w 132"/>
              <a:gd name="T73" fmla="*/ 2147483647 h 138"/>
              <a:gd name="T74" fmla="*/ 2147483647 w 132"/>
              <a:gd name="T75" fmla="*/ 2147483647 h 138"/>
              <a:gd name="T76" fmla="*/ 2147483647 w 132"/>
              <a:gd name="T77" fmla="*/ 2147483647 h 138"/>
              <a:gd name="T78" fmla="*/ 2147483647 w 132"/>
              <a:gd name="T79" fmla="*/ 2147483647 h 138"/>
              <a:gd name="T80" fmla="*/ 0 w 132"/>
              <a:gd name="T81" fmla="*/ 2147483647 h 138"/>
              <a:gd name="T82" fmla="*/ 0 w 132"/>
              <a:gd name="T83" fmla="*/ 2147483647 h 138"/>
              <a:gd name="T84" fmla="*/ 2147483647 w 132"/>
              <a:gd name="T85" fmla="*/ 2147483647 h 138"/>
              <a:gd name="T86" fmla="*/ 2147483647 w 132"/>
              <a:gd name="T87" fmla="*/ 2147483647 h 138"/>
              <a:gd name="T88" fmla="*/ 2147483647 w 132"/>
              <a:gd name="T89" fmla="*/ 2147483647 h 13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32"/>
              <a:gd name="T136" fmla="*/ 0 h 138"/>
              <a:gd name="T137" fmla="*/ 132 w 132"/>
              <a:gd name="T138" fmla="*/ 138 h 138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32" h="138">
                <a:moveTo>
                  <a:pt x="5" y="101"/>
                </a:moveTo>
                <a:lnTo>
                  <a:pt x="8" y="104"/>
                </a:lnTo>
                <a:lnTo>
                  <a:pt x="14" y="104"/>
                </a:lnTo>
                <a:lnTo>
                  <a:pt x="17" y="107"/>
                </a:lnTo>
                <a:lnTo>
                  <a:pt x="20" y="104"/>
                </a:lnTo>
                <a:lnTo>
                  <a:pt x="22" y="104"/>
                </a:lnTo>
                <a:lnTo>
                  <a:pt x="28" y="107"/>
                </a:lnTo>
                <a:lnTo>
                  <a:pt x="34" y="109"/>
                </a:lnTo>
                <a:lnTo>
                  <a:pt x="25" y="118"/>
                </a:lnTo>
                <a:lnTo>
                  <a:pt x="22" y="135"/>
                </a:lnTo>
                <a:lnTo>
                  <a:pt x="31" y="135"/>
                </a:lnTo>
                <a:lnTo>
                  <a:pt x="37" y="130"/>
                </a:lnTo>
                <a:lnTo>
                  <a:pt x="43" y="132"/>
                </a:lnTo>
                <a:lnTo>
                  <a:pt x="51" y="135"/>
                </a:lnTo>
                <a:lnTo>
                  <a:pt x="57" y="135"/>
                </a:lnTo>
                <a:lnTo>
                  <a:pt x="63" y="138"/>
                </a:lnTo>
                <a:lnTo>
                  <a:pt x="66" y="135"/>
                </a:lnTo>
                <a:lnTo>
                  <a:pt x="74" y="135"/>
                </a:lnTo>
                <a:lnTo>
                  <a:pt x="74" y="138"/>
                </a:lnTo>
                <a:lnTo>
                  <a:pt x="80" y="138"/>
                </a:lnTo>
                <a:lnTo>
                  <a:pt x="91" y="132"/>
                </a:lnTo>
                <a:lnTo>
                  <a:pt x="100" y="132"/>
                </a:lnTo>
                <a:lnTo>
                  <a:pt x="100" y="135"/>
                </a:lnTo>
                <a:lnTo>
                  <a:pt x="103" y="135"/>
                </a:lnTo>
                <a:lnTo>
                  <a:pt x="100" y="127"/>
                </a:lnTo>
                <a:lnTo>
                  <a:pt x="100" y="121"/>
                </a:lnTo>
                <a:lnTo>
                  <a:pt x="106" y="121"/>
                </a:lnTo>
                <a:lnTo>
                  <a:pt x="109" y="115"/>
                </a:lnTo>
                <a:lnTo>
                  <a:pt x="111" y="115"/>
                </a:lnTo>
                <a:lnTo>
                  <a:pt x="106" y="107"/>
                </a:lnTo>
                <a:lnTo>
                  <a:pt x="94" y="98"/>
                </a:lnTo>
                <a:lnTo>
                  <a:pt x="94" y="89"/>
                </a:lnTo>
                <a:lnTo>
                  <a:pt x="86" y="86"/>
                </a:lnTo>
                <a:lnTo>
                  <a:pt x="89" y="84"/>
                </a:lnTo>
                <a:lnTo>
                  <a:pt x="91" y="84"/>
                </a:lnTo>
                <a:lnTo>
                  <a:pt x="91" y="81"/>
                </a:lnTo>
                <a:lnTo>
                  <a:pt x="94" y="81"/>
                </a:lnTo>
                <a:lnTo>
                  <a:pt x="100" y="81"/>
                </a:lnTo>
                <a:lnTo>
                  <a:pt x="103" y="78"/>
                </a:lnTo>
                <a:lnTo>
                  <a:pt x="111" y="75"/>
                </a:lnTo>
                <a:lnTo>
                  <a:pt x="120" y="72"/>
                </a:lnTo>
                <a:lnTo>
                  <a:pt x="123" y="69"/>
                </a:lnTo>
                <a:lnTo>
                  <a:pt x="126" y="69"/>
                </a:lnTo>
                <a:lnTo>
                  <a:pt x="126" y="75"/>
                </a:lnTo>
                <a:lnTo>
                  <a:pt x="129" y="72"/>
                </a:lnTo>
                <a:lnTo>
                  <a:pt x="132" y="66"/>
                </a:lnTo>
                <a:lnTo>
                  <a:pt x="126" y="58"/>
                </a:lnTo>
                <a:lnTo>
                  <a:pt x="123" y="55"/>
                </a:lnTo>
                <a:lnTo>
                  <a:pt x="126" y="52"/>
                </a:lnTo>
                <a:lnTo>
                  <a:pt x="129" y="52"/>
                </a:lnTo>
                <a:lnTo>
                  <a:pt x="126" y="49"/>
                </a:lnTo>
                <a:lnTo>
                  <a:pt x="123" y="49"/>
                </a:lnTo>
                <a:lnTo>
                  <a:pt x="120" y="49"/>
                </a:lnTo>
                <a:lnTo>
                  <a:pt x="123" y="46"/>
                </a:lnTo>
                <a:lnTo>
                  <a:pt x="123" y="43"/>
                </a:lnTo>
                <a:lnTo>
                  <a:pt x="117" y="35"/>
                </a:lnTo>
                <a:lnTo>
                  <a:pt x="120" y="29"/>
                </a:lnTo>
                <a:lnTo>
                  <a:pt x="117" y="15"/>
                </a:lnTo>
                <a:lnTo>
                  <a:pt x="109" y="12"/>
                </a:lnTo>
                <a:lnTo>
                  <a:pt x="103" y="9"/>
                </a:lnTo>
                <a:lnTo>
                  <a:pt x="97" y="9"/>
                </a:lnTo>
                <a:lnTo>
                  <a:pt x="94" y="9"/>
                </a:lnTo>
                <a:lnTo>
                  <a:pt x="80" y="15"/>
                </a:lnTo>
                <a:lnTo>
                  <a:pt x="68" y="15"/>
                </a:lnTo>
                <a:lnTo>
                  <a:pt x="74" y="9"/>
                </a:lnTo>
                <a:lnTo>
                  <a:pt x="71" y="9"/>
                </a:lnTo>
                <a:lnTo>
                  <a:pt x="66" y="9"/>
                </a:lnTo>
                <a:lnTo>
                  <a:pt x="60" y="9"/>
                </a:lnTo>
                <a:lnTo>
                  <a:pt x="57" y="6"/>
                </a:lnTo>
                <a:lnTo>
                  <a:pt x="57" y="3"/>
                </a:lnTo>
                <a:lnTo>
                  <a:pt x="54" y="3"/>
                </a:lnTo>
                <a:lnTo>
                  <a:pt x="45" y="0"/>
                </a:lnTo>
                <a:lnTo>
                  <a:pt x="37" y="0"/>
                </a:lnTo>
                <a:lnTo>
                  <a:pt x="37" y="3"/>
                </a:lnTo>
                <a:lnTo>
                  <a:pt x="40" y="9"/>
                </a:lnTo>
                <a:lnTo>
                  <a:pt x="40" y="15"/>
                </a:lnTo>
                <a:lnTo>
                  <a:pt x="40" y="18"/>
                </a:lnTo>
                <a:lnTo>
                  <a:pt x="37" y="23"/>
                </a:lnTo>
                <a:lnTo>
                  <a:pt x="31" y="23"/>
                </a:lnTo>
                <a:lnTo>
                  <a:pt x="25" y="20"/>
                </a:lnTo>
                <a:lnTo>
                  <a:pt x="17" y="23"/>
                </a:lnTo>
                <a:lnTo>
                  <a:pt x="20" y="35"/>
                </a:lnTo>
                <a:lnTo>
                  <a:pt x="17" y="41"/>
                </a:lnTo>
                <a:lnTo>
                  <a:pt x="11" y="43"/>
                </a:lnTo>
                <a:lnTo>
                  <a:pt x="17" y="49"/>
                </a:lnTo>
                <a:lnTo>
                  <a:pt x="11" y="52"/>
                </a:lnTo>
                <a:lnTo>
                  <a:pt x="11" y="58"/>
                </a:lnTo>
                <a:lnTo>
                  <a:pt x="0" y="55"/>
                </a:lnTo>
                <a:lnTo>
                  <a:pt x="0" y="58"/>
                </a:lnTo>
                <a:lnTo>
                  <a:pt x="5" y="61"/>
                </a:lnTo>
                <a:lnTo>
                  <a:pt x="0" y="72"/>
                </a:lnTo>
                <a:lnTo>
                  <a:pt x="2" y="75"/>
                </a:lnTo>
                <a:lnTo>
                  <a:pt x="5" y="81"/>
                </a:lnTo>
                <a:lnTo>
                  <a:pt x="2" y="86"/>
                </a:lnTo>
                <a:lnTo>
                  <a:pt x="5" y="92"/>
                </a:lnTo>
                <a:lnTo>
                  <a:pt x="8" y="98"/>
                </a:lnTo>
                <a:lnTo>
                  <a:pt x="5" y="101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14" name="Freeform 219"/>
          <p:cNvSpPr>
            <a:spLocks/>
          </p:cNvSpPr>
          <p:nvPr/>
        </p:nvSpPr>
        <p:spPr bwMode="gray">
          <a:xfrm>
            <a:off x="5571004" y="2331063"/>
            <a:ext cx="22003" cy="24001"/>
          </a:xfrm>
          <a:custGeom>
            <a:avLst/>
            <a:gdLst>
              <a:gd name="T0" fmla="*/ 2147483647 w 11"/>
              <a:gd name="T1" fmla="*/ 2147483647 h 15"/>
              <a:gd name="T2" fmla="*/ 0 w 11"/>
              <a:gd name="T3" fmla="*/ 2147483647 h 15"/>
              <a:gd name="T4" fmla="*/ 2147483647 w 11"/>
              <a:gd name="T5" fmla="*/ 2147483647 h 15"/>
              <a:gd name="T6" fmla="*/ 2147483647 w 11"/>
              <a:gd name="T7" fmla="*/ 2147483647 h 15"/>
              <a:gd name="T8" fmla="*/ 2147483647 w 11"/>
              <a:gd name="T9" fmla="*/ 2147483647 h 15"/>
              <a:gd name="T10" fmla="*/ 2147483647 w 11"/>
              <a:gd name="T11" fmla="*/ 2147483647 h 15"/>
              <a:gd name="T12" fmla="*/ 2147483647 w 11"/>
              <a:gd name="T13" fmla="*/ 2147483647 h 15"/>
              <a:gd name="T14" fmla="*/ 2147483647 w 11"/>
              <a:gd name="T15" fmla="*/ 0 h 15"/>
              <a:gd name="T16" fmla="*/ 2147483647 w 11"/>
              <a:gd name="T17" fmla="*/ 0 h 15"/>
              <a:gd name="T18" fmla="*/ 2147483647 w 11"/>
              <a:gd name="T19" fmla="*/ 2147483647 h 1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1"/>
              <a:gd name="T31" fmla="*/ 0 h 15"/>
              <a:gd name="T32" fmla="*/ 11 w 11"/>
              <a:gd name="T33" fmla="*/ 15 h 15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1" h="15">
                <a:moveTo>
                  <a:pt x="3" y="3"/>
                </a:moveTo>
                <a:lnTo>
                  <a:pt x="0" y="6"/>
                </a:lnTo>
                <a:lnTo>
                  <a:pt x="6" y="15"/>
                </a:lnTo>
                <a:lnTo>
                  <a:pt x="8" y="12"/>
                </a:lnTo>
                <a:lnTo>
                  <a:pt x="11" y="12"/>
                </a:lnTo>
                <a:lnTo>
                  <a:pt x="8" y="9"/>
                </a:lnTo>
                <a:lnTo>
                  <a:pt x="6" y="0"/>
                </a:lnTo>
                <a:lnTo>
                  <a:pt x="3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15" name="Freeform 220"/>
          <p:cNvSpPr>
            <a:spLocks/>
          </p:cNvSpPr>
          <p:nvPr/>
        </p:nvSpPr>
        <p:spPr bwMode="gray">
          <a:xfrm>
            <a:off x="5779042" y="2680573"/>
            <a:ext cx="100018" cy="48001"/>
          </a:xfrm>
          <a:custGeom>
            <a:avLst/>
            <a:gdLst>
              <a:gd name="T0" fmla="*/ 2147483647 w 49"/>
              <a:gd name="T1" fmla="*/ 2147483647 h 32"/>
              <a:gd name="T2" fmla="*/ 2147483647 w 49"/>
              <a:gd name="T3" fmla="*/ 2147483647 h 32"/>
              <a:gd name="T4" fmla="*/ 2147483647 w 49"/>
              <a:gd name="T5" fmla="*/ 2147483647 h 32"/>
              <a:gd name="T6" fmla="*/ 2147483647 w 49"/>
              <a:gd name="T7" fmla="*/ 2147483647 h 32"/>
              <a:gd name="T8" fmla="*/ 2147483647 w 49"/>
              <a:gd name="T9" fmla="*/ 2147483647 h 32"/>
              <a:gd name="T10" fmla="*/ 2147483647 w 49"/>
              <a:gd name="T11" fmla="*/ 2147483647 h 32"/>
              <a:gd name="T12" fmla="*/ 2147483647 w 49"/>
              <a:gd name="T13" fmla="*/ 0 h 32"/>
              <a:gd name="T14" fmla="*/ 2147483647 w 49"/>
              <a:gd name="T15" fmla="*/ 2147483647 h 32"/>
              <a:gd name="T16" fmla="*/ 2147483647 w 49"/>
              <a:gd name="T17" fmla="*/ 2147483647 h 32"/>
              <a:gd name="T18" fmla="*/ 2147483647 w 49"/>
              <a:gd name="T19" fmla="*/ 2147483647 h 32"/>
              <a:gd name="T20" fmla="*/ 2147483647 w 49"/>
              <a:gd name="T21" fmla="*/ 0 h 32"/>
              <a:gd name="T22" fmla="*/ 2147483647 w 49"/>
              <a:gd name="T23" fmla="*/ 0 h 32"/>
              <a:gd name="T24" fmla="*/ 0 w 49"/>
              <a:gd name="T25" fmla="*/ 2147483647 h 32"/>
              <a:gd name="T26" fmla="*/ 0 w 49"/>
              <a:gd name="T27" fmla="*/ 2147483647 h 32"/>
              <a:gd name="T28" fmla="*/ 0 w 49"/>
              <a:gd name="T29" fmla="*/ 2147483647 h 32"/>
              <a:gd name="T30" fmla="*/ 0 w 49"/>
              <a:gd name="T31" fmla="*/ 2147483647 h 32"/>
              <a:gd name="T32" fmla="*/ 2147483647 w 49"/>
              <a:gd name="T33" fmla="*/ 2147483647 h 32"/>
              <a:gd name="T34" fmla="*/ 2147483647 w 49"/>
              <a:gd name="T35" fmla="*/ 2147483647 h 32"/>
              <a:gd name="T36" fmla="*/ 2147483647 w 49"/>
              <a:gd name="T37" fmla="*/ 2147483647 h 32"/>
              <a:gd name="T38" fmla="*/ 2147483647 w 49"/>
              <a:gd name="T39" fmla="*/ 2147483647 h 32"/>
              <a:gd name="T40" fmla="*/ 2147483647 w 49"/>
              <a:gd name="T41" fmla="*/ 2147483647 h 32"/>
              <a:gd name="T42" fmla="*/ 2147483647 w 49"/>
              <a:gd name="T43" fmla="*/ 2147483647 h 32"/>
              <a:gd name="T44" fmla="*/ 2147483647 w 49"/>
              <a:gd name="T45" fmla="*/ 2147483647 h 32"/>
              <a:gd name="T46" fmla="*/ 2147483647 w 49"/>
              <a:gd name="T47" fmla="*/ 2147483647 h 32"/>
              <a:gd name="T48" fmla="*/ 2147483647 w 49"/>
              <a:gd name="T49" fmla="*/ 2147483647 h 32"/>
              <a:gd name="T50" fmla="*/ 2147483647 w 49"/>
              <a:gd name="T51" fmla="*/ 2147483647 h 32"/>
              <a:gd name="T52" fmla="*/ 2147483647 w 49"/>
              <a:gd name="T53" fmla="*/ 2147483647 h 32"/>
              <a:gd name="T54" fmla="*/ 2147483647 w 49"/>
              <a:gd name="T55" fmla="*/ 2147483647 h 32"/>
              <a:gd name="T56" fmla="*/ 2147483647 w 49"/>
              <a:gd name="T57" fmla="*/ 2147483647 h 32"/>
              <a:gd name="T58" fmla="*/ 2147483647 w 49"/>
              <a:gd name="T59" fmla="*/ 2147483647 h 32"/>
              <a:gd name="T60" fmla="*/ 2147483647 w 49"/>
              <a:gd name="T61" fmla="*/ 2147483647 h 32"/>
              <a:gd name="T62" fmla="*/ 2147483647 w 49"/>
              <a:gd name="T63" fmla="*/ 2147483647 h 32"/>
              <a:gd name="T64" fmla="*/ 2147483647 w 49"/>
              <a:gd name="T65" fmla="*/ 2147483647 h 32"/>
              <a:gd name="T66" fmla="*/ 2147483647 w 49"/>
              <a:gd name="T67" fmla="*/ 2147483647 h 32"/>
              <a:gd name="T68" fmla="*/ 2147483647 w 49"/>
              <a:gd name="T69" fmla="*/ 2147483647 h 32"/>
              <a:gd name="T70" fmla="*/ 2147483647 w 49"/>
              <a:gd name="T71" fmla="*/ 2147483647 h 32"/>
              <a:gd name="T72" fmla="*/ 2147483647 w 49"/>
              <a:gd name="T73" fmla="*/ 0 h 32"/>
              <a:gd name="T74" fmla="*/ 2147483647 w 49"/>
              <a:gd name="T75" fmla="*/ 0 h 32"/>
              <a:gd name="T76" fmla="*/ 2147483647 w 49"/>
              <a:gd name="T77" fmla="*/ 0 h 32"/>
              <a:gd name="T78" fmla="*/ 2147483647 w 49"/>
              <a:gd name="T79" fmla="*/ 2147483647 h 32"/>
              <a:gd name="T80" fmla="*/ 2147483647 w 49"/>
              <a:gd name="T81" fmla="*/ 2147483647 h 32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49"/>
              <a:gd name="T124" fmla="*/ 0 h 32"/>
              <a:gd name="T125" fmla="*/ 49 w 49"/>
              <a:gd name="T126" fmla="*/ 32 h 32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49" h="32">
                <a:moveTo>
                  <a:pt x="37" y="3"/>
                </a:moveTo>
                <a:lnTo>
                  <a:pt x="37" y="3"/>
                </a:lnTo>
                <a:lnTo>
                  <a:pt x="35" y="6"/>
                </a:lnTo>
                <a:lnTo>
                  <a:pt x="29" y="6"/>
                </a:lnTo>
                <a:lnTo>
                  <a:pt x="17" y="3"/>
                </a:lnTo>
                <a:lnTo>
                  <a:pt x="12" y="0"/>
                </a:lnTo>
                <a:lnTo>
                  <a:pt x="9" y="6"/>
                </a:lnTo>
                <a:lnTo>
                  <a:pt x="6" y="3"/>
                </a:lnTo>
                <a:lnTo>
                  <a:pt x="6" y="0"/>
                </a:lnTo>
                <a:lnTo>
                  <a:pt x="0" y="6"/>
                </a:lnTo>
                <a:lnTo>
                  <a:pt x="0" y="9"/>
                </a:lnTo>
                <a:lnTo>
                  <a:pt x="0" y="12"/>
                </a:lnTo>
                <a:lnTo>
                  <a:pt x="9" y="15"/>
                </a:lnTo>
                <a:lnTo>
                  <a:pt x="17" y="20"/>
                </a:lnTo>
                <a:lnTo>
                  <a:pt x="20" y="20"/>
                </a:lnTo>
                <a:lnTo>
                  <a:pt x="23" y="23"/>
                </a:lnTo>
                <a:lnTo>
                  <a:pt x="26" y="23"/>
                </a:lnTo>
                <a:lnTo>
                  <a:pt x="29" y="23"/>
                </a:lnTo>
                <a:lnTo>
                  <a:pt x="32" y="29"/>
                </a:lnTo>
                <a:lnTo>
                  <a:pt x="37" y="32"/>
                </a:lnTo>
                <a:lnTo>
                  <a:pt x="43" y="29"/>
                </a:lnTo>
                <a:lnTo>
                  <a:pt x="46" y="26"/>
                </a:lnTo>
                <a:lnTo>
                  <a:pt x="43" y="20"/>
                </a:lnTo>
                <a:lnTo>
                  <a:pt x="46" y="15"/>
                </a:lnTo>
                <a:lnTo>
                  <a:pt x="46" y="6"/>
                </a:lnTo>
                <a:lnTo>
                  <a:pt x="49" y="3"/>
                </a:lnTo>
                <a:lnTo>
                  <a:pt x="46" y="0"/>
                </a:lnTo>
                <a:lnTo>
                  <a:pt x="40" y="0"/>
                </a:lnTo>
                <a:lnTo>
                  <a:pt x="37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16" name="Freeform 221"/>
          <p:cNvSpPr>
            <a:spLocks/>
          </p:cNvSpPr>
          <p:nvPr/>
        </p:nvSpPr>
        <p:spPr bwMode="gray">
          <a:xfrm>
            <a:off x="6219121" y="2646071"/>
            <a:ext cx="12002" cy="13501"/>
          </a:xfrm>
          <a:custGeom>
            <a:avLst/>
            <a:gdLst>
              <a:gd name="T0" fmla="*/ 2147483647 w 6"/>
              <a:gd name="T1" fmla="*/ 0 h 9"/>
              <a:gd name="T2" fmla="*/ 0 w 6"/>
              <a:gd name="T3" fmla="*/ 2147483647 h 9"/>
              <a:gd name="T4" fmla="*/ 2147483647 w 6"/>
              <a:gd name="T5" fmla="*/ 2147483647 h 9"/>
              <a:gd name="T6" fmla="*/ 2147483647 w 6"/>
              <a:gd name="T7" fmla="*/ 0 h 9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9"/>
              <a:gd name="T14" fmla="*/ 6 w 6"/>
              <a:gd name="T15" fmla="*/ 9 h 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9">
                <a:moveTo>
                  <a:pt x="3" y="0"/>
                </a:moveTo>
                <a:lnTo>
                  <a:pt x="0" y="6"/>
                </a:lnTo>
                <a:lnTo>
                  <a:pt x="6" y="9"/>
                </a:lnTo>
                <a:lnTo>
                  <a:pt x="3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17" name="Freeform 222"/>
          <p:cNvSpPr>
            <a:spLocks/>
          </p:cNvSpPr>
          <p:nvPr/>
        </p:nvSpPr>
        <p:spPr bwMode="gray">
          <a:xfrm>
            <a:off x="5072914" y="2710574"/>
            <a:ext cx="690125" cy="538514"/>
          </a:xfrm>
          <a:custGeom>
            <a:avLst/>
            <a:gdLst>
              <a:gd name="T0" fmla="*/ 2147483647 w 342"/>
              <a:gd name="T1" fmla="*/ 2147483647 h 356"/>
              <a:gd name="T2" fmla="*/ 2147483647 w 342"/>
              <a:gd name="T3" fmla="*/ 2147483647 h 356"/>
              <a:gd name="T4" fmla="*/ 2147483647 w 342"/>
              <a:gd name="T5" fmla="*/ 2147483647 h 356"/>
              <a:gd name="T6" fmla="*/ 2147483647 w 342"/>
              <a:gd name="T7" fmla="*/ 2147483647 h 356"/>
              <a:gd name="T8" fmla="*/ 2147483647 w 342"/>
              <a:gd name="T9" fmla="*/ 2147483647 h 356"/>
              <a:gd name="T10" fmla="*/ 2147483647 w 342"/>
              <a:gd name="T11" fmla="*/ 2147483647 h 356"/>
              <a:gd name="T12" fmla="*/ 2147483647 w 342"/>
              <a:gd name="T13" fmla="*/ 2147483647 h 356"/>
              <a:gd name="T14" fmla="*/ 2147483647 w 342"/>
              <a:gd name="T15" fmla="*/ 2147483647 h 356"/>
              <a:gd name="T16" fmla="*/ 2147483647 w 342"/>
              <a:gd name="T17" fmla="*/ 2147483647 h 356"/>
              <a:gd name="T18" fmla="*/ 2147483647 w 342"/>
              <a:gd name="T19" fmla="*/ 2147483647 h 356"/>
              <a:gd name="T20" fmla="*/ 2147483647 w 342"/>
              <a:gd name="T21" fmla="*/ 2147483647 h 356"/>
              <a:gd name="T22" fmla="*/ 2147483647 w 342"/>
              <a:gd name="T23" fmla="*/ 2147483647 h 356"/>
              <a:gd name="T24" fmla="*/ 2147483647 w 342"/>
              <a:gd name="T25" fmla="*/ 2147483647 h 356"/>
              <a:gd name="T26" fmla="*/ 2147483647 w 342"/>
              <a:gd name="T27" fmla="*/ 2147483647 h 356"/>
              <a:gd name="T28" fmla="*/ 2147483647 w 342"/>
              <a:gd name="T29" fmla="*/ 2147483647 h 356"/>
              <a:gd name="T30" fmla="*/ 2147483647 w 342"/>
              <a:gd name="T31" fmla="*/ 2147483647 h 356"/>
              <a:gd name="T32" fmla="*/ 2147483647 w 342"/>
              <a:gd name="T33" fmla="*/ 2147483647 h 356"/>
              <a:gd name="T34" fmla="*/ 0 w 342"/>
              <a:gd name="T35" fmla="*/ 2147483647 h 356"/>
              <a:gd name="T36" fmla="*/ 2147483647 w 342"/>
              <a:gd name="T37" fmla="*/ 2147483647 h 356"/>
              <a:gd name="T38" fmla="*/ 2147483647 w 342"/>
              <a:gd name="T39" fmla="*/ 2147483647 h 356"/>
              <a:gd name="T40" fmla="*/ 2147483647 w 342"/>
              <a:gd name="T41" fmla="*/ 2147483647 h 356"/>
              <a:gd name="T42" fmla="*/ 2147483647 w 342"/>
              <a:gd name="T43" fmla="*/ 2147483647 h 356"/>
              <a:gd name="T44" fmla="*/ 2147483647 w 342"/>
              <a:gd name="T45" fmla="*/ 2147483647 h 356"/>
              <a:gd name="T46" fmla="*/ 2147483647 w 342"/>
              <a:gd name="T47" fmla="*/ 2147483647 h 356"/>
              <a:gd name="T48" fmla="*/ 2147483647 w 342"/>
              <a:gd name="T49" fmla="*/ 2147483647 h 356"/>
              <a:gd name="T50" fmla="*/ 2147483647 w 342"/>
              <a:gd name="T51" fmla="*/ 2147483647 h 356"/>
              <a:gd name="T52" fmla="*/ 2147483647 w 342"/>
              <a:gd name="T53" fmla="*/ 2147483647 h 356"/>
              <a:gd name="T54" fmla="*/ 2147483647 w 342"/>
              <a:gd name="T55" fmla="*/ 2147483647 h 356"/>
              <a:gd name="T56" fmla="*/ 2147483647 w 342"/>
              <a:gd name="T57" fmla="*/ 2147483647 h 356"/>
              <a:gd name="T58" fmla="*/ 2147483647 w 342"/>
              <a:gd name="T59" fmla="*/ 2147483647 h 356"/>
              <a:gd name="T60" fmla="*/ 2147483647 w 342"/>
              <a:gd name="T61" fmla="*/ 2147483647 h 356"/>
              <a:gd name="T62" fmla="*/ 2147483647 w 342"/>
              <a:gd name="T63" fmla="*/ 2147483647 h 356"/>
              <a:gd name="T64" fmla="*/ 2147483647 w 342"/>
              <a:gd name="T65" fmla="*/ 2147483647 h 356"/>
              <a:gd name="T66" fmla="*/ 2147483647 w 342"/>
              <a:gd name="T67" fmla="*/ 2147483647 h 356"/>
              <a:gd name="T68" fmla="*/ 2147483647 w 342"/>
              <a:gd name="T69" fmla="*/ 2147483647 h 356"/>
              <a:gd name="T70" fmla="*/ 2147483647 w 342"/>
              <a:gd name="T71" fmla="*/ 2147483647 h 356"/>
              <a:gd name="T72" fmla="*/ 2147483647 w 342"/>
              <a:gd name="T73" fmla="*/ 2147483647 h 356"/>
              <a:gd name="T74" fmla="*/ 2147483647 w 342"/>
              <a:gd name="T75" fmla="*/ 2147483647 h 356"/>
              <a:gd name="T76" fmla="*/ 2147483647 w 342"/>
              <a:gd name="T77" fmla="*/ 2147483647 h 356"/>
              <a:gd name="T78" fmla="*/ 2147483647 w 342"/>
              <a:gd name="T79" fmla="*/ 2147483647 h 356"/>
              <a:gd name="T80" fmla="*/ 2147483647 w 342"/>
              <a:gd name="T81" fmla="*/ 2147483647 h 356"/>
              <a:gd name="T82" fmla="*/ 2147483647 w 342"/>
              <a:gd name="T83" fmla="*/ 2147483647 h 356"/>
              <a:gd name="T84" fmla="*/ 2147483647 w 342"/>
              <a:gd name="T85" fmla="*/ 2147483647 h 356"/>
              <a:gd name="T86" fmla="*/ 2147483647 w 342"/>
              <a:gd name="T87" fmla="*/ 2147483647 h 356"/>
              <a:gd name="T88" fmla="*/ 2147483647 w 342"/>
              <a:gd name="T89" fmla="*/ 2147483647 h 356"/>
              <a:gd name="T90" fmla="*/ 2147483647 w 342"/>
              <a:gd name="T91" fmla="*/ 2147483647 h 356"/>
              <a:gd name="T92" fmla="*/ 2147483647 w 342"/>
              <a:gd name="T93" fmla="*/ 2147483647 h 356"/>
              <a:gd name="T94" fmla="*/ 2147483647 w 342"/>
              <a:gd name="T95" fmla="*/ 2147483647 h 356"/>
              <a:gd name="T96" fmla="*/ 2147483647 w 342"/>
              <a:gd name="T97" fmla="*/ 2147483647 h 356"/>
              <a:gd name="T98" fmla="*/ 2147483647 w 342"/>
              <a:gd name="T99" fmla="*/ 2147483647 h 356"/>
              <a:gd name="T100" fmla="*/ 2147483647 w 342"/>
              <a:gd name="T101" fmla="*/ 2147483647 h 356"/>
              <a:gd name="T102" fmla="*/ 2147483647 w 342"/>
              <a:gd name="T103" fmla="*/ 2147483647 h 356"/>
              <a:gd name="T104" fmla="*/ 2147483647 w 342"/>
              <a:gd name="T105" fmla="*/ 2147483647 h 356"/>
              <a:gd name="T106" fmla="*/ 2147483647 w 342"/>
              <a:gd name="T107" fmla="*/ 2147483647 h 356"/>
              <a:gd name="T108" fmla="*/ 2147483647 w 342"/>
              <a:gd name="T109" fmla="*/ 2147483647 h 356"/>
              <a:gd name="T110" fmla="*/ 2147483647 w 342"/>
              <a:gd name="T111" fmla="*/ 2147483647 h 356"/>
              <a:gd name="T112" fmla="*/ 2147483647 w 342"/>
              <a:gd name="T113" fmla="*/ 2147483647 h 356"/>
              <a:gd name="T114" fmla="*/ 2147483647 w 342"/>
              <a:gd name="T115" fmla="*/ 2147483647 h 35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342"/>
              <a:gd name="T175" fmla="*/ 0 h 356"/>
              <a:gd name="T176" fmla="*/ 342 w 342"/>
              <a:gd name="T177" fmla="*/ 356 h 35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342" h="356">
                <a:moveTo>
                  <a:pt x="204" y="9"/>
                </a:moveTo>
                <a:lnTo>
                  <a:pt x="204" y="9"/>
                </a:lnTo>
                <a:lnTo>
                  <a:pt x="198" y="9"/>
                </a:lnTo>
                <a:lnTo>
                  <a:pt x="192" y="12"/>
                </a:lnTo>
                <a:lnTo>
                  <a:pt x="169" y="15"/>
                </a:lnTo>
                <a:lnTo>
                  <a:pt x="152" y="20"/>
                </a:lnTo>
                <a:lnTo>
                  <a:pt x="146" y="29"/>
                </a:lnTo>
                <a:lnTo>
                  <a:pt x="138" y="29"/>
                </a:lnTo>
                <a:lnTo>
                  <a:pt x="129" y="35"/>
                </a:lnTo>
                <a:lnTo>
                  <a:pt x="120" y="40"/>
                </a:lnTo>
                <a:lnTo>
                  <a:pt x="112" y="43"/>
                </a:lnTo>
                <a:lnTo>
                  <a:pt x="118" y="46"/>
                </a:lnTo>
                <a:lnTo>
                  <a:pt x="120" y="61"/>
                </a:lnTo>
                <a:lnTo>
                  <a:pt x="120" y="78"/>
                </a:lnTo>
                <a:lnTo>
                  <a:pt x="132" y="92"/>
                </a:lnTo>
                <a:lnTo>
                  <a:pt x="126" y="104"/>
                </a:lnTo>
                <a:lnTo>
                  <a:pt x="98" y="101"/>
                </a:lnTo>
                <a:lnTo>
                  <a:pt x="95" y="106"/>
                </a:lnTo>
                <a:lnTo>
                  <a:pt x="83" y="109"/>
                </a:lnTo>
                <a:lnTo>
                  <a:pt x="86" y="121"/>
                </a:lnTo>
                <a:lnTo>
                  <a:pt x="77" y="129"/>
                </a:lnTo>
                <a:lnTo>
                  <a:pt x="72" y="132"/>
                </a:lnTo>
                <a:lnTo>
                  <a:pt x="66" y="135"/>
                </a:lnTo>
                <a:lnTo>
                  <a:pt x="57" y="144"/>
                </a:lnTo>
                <a:lnTo>
                  <a:pt x="40" y="147"/>
                </a:lnTo>
                <a:lnTo>
                  <a:pt x="37" y="152"/>
                </a:lnTo>
                <a:lnTo>
                  <a:pt x="29" y="147"/>
                </a:lnTo>
                <a:lnTo>
                  <a:pt x="23" y="155"/>
                </a:lnTo>
                <a:lnTo>
                  <a:pt x="3" y="167"/>
                </a:lnTo>
                <a:lnTo>
                  <a:pt x="0" y="187"/>
                </a:lnTo>
                <a:lnTo>
                  <a:pt x="0" y="193"/>
                </a:lnTo>
                <a:lnTo>
                  <a:pt x="164" y="313"/>
                </a:lnTo>
                <a:lnTo>
                  <a:pt x="164" y="316"/>
                </a:lnTo>
                <a:lnTo>
                  <a:pt x="164" y="319"/>
                </a:lnTo>
                <a:lnTo>
                  <a:pt x="169" y="322"/>
                </a:lnTo>
                <a:lnTo>
                  <a:pt x="175" y="330"/>
                </a:lnTo>
                <a:lnTo>
                  <a:pt x="181" y="328"/>
                </a:lnTo>
                <a:lnTo>
                  <a:pt x="187" y="336"/>
                </a:lnTo>
                <a:lnTo>
                  <a:pt x="198" y="339"/>
                </a:lnTo>
                <a:lnTo>
                  <a:pt x="195" y="351"/>
                </a:lnTo>
                <a:lnTo>
                  <a:pt x="198" y="356"/>
                </a:lnTo>
                <a:lnTo>
                  <a:pt x="241" y="348"/>
                </a:lnTo>
                <a:lnTo>
                  <a:pt x="255" y="330"/>
                </a:lnTo>
                <a:lnTo>
                  <a:pt x="310" y="287"/>
                </a:lnTo>
                <a:lnTo>
                  <a:pt x="342" y="264"/>
                </a:lnTo>
                <a:lnTo>
                  <a:pt x="333" y="256"/>
                </a:lnTo>
                <a:lnTo>
                  <a:pt x="327" y="250"/>
                </a:lnTo>
                <a:lnTo>
                  <a:pt x="319" y="253"/>
                </a:lnTo>
                <a:lnTo>
                  <a:pt x="319" y="250"/>
                </a:lnTo>
                <a:lnTo>
                  <a:pt x="316" y="244"/>
                </a:lnTo>
                <a:lnTo>
                  <a:pt x="310" y="236"/>
                </a:lnTo>
                <a:lnTo>
                  <a:pt x="307" y="227"/>
                </a:lnTo>
                <a:lnTo>
                  <a:pt x="301" y="218"/>
                </a:lnTo>
                <a:lnTo>
                  <a:pt x="301" y="216"/>
                </a:lnTo>
                <a:lnTo>
                  <a:pt x="310" y="210"/>
                </a:lnTo>
                <a:lnTo>
                  <a:pt x="304" y="193"/>
                </a:lnTo>
                <a:lnTo>
                  <a:pt x="310" y="181"/>
                </a:lnTo>
                <a:lnTo>
                  <a:pt x="307" y="164"/>
                </a:lnTo>
                <a:lnTo>
                  <a:pt x="307" y="150"/>
                </a:lnTo>
                <a:lnTo>
                  <a:pt x="298" y="135"/>
                </a:lnTo>
                <a:lnTo>
                  <a:pt x="301" y="135"/>
                </a:lnTo>
                <a:lnTo>
                  <a:pt x="296" y="104"/>
                </a:lnTo>
                <a:lnTo>
                  <a:pt x="284" y="95"/>
                </a:lnTo>
                <a:lnTo>
                  <a:pt x="284" y="86"/>
                </a:lnTo>
                <a:lnTo>
                  <a:pt x="273" y="81"/>
                </a:lnTo>
                <a:lnTo>
                  <a:pt x="270" y="63"/>
                </a:lnTo>
                <a:lnTo>
                  <a:pt x="278" y="49"/>
                </a:lnTo>
                <a:lnTo>
                  <a:pt x="284" y="40"/>
                </a:lnTo>
                <a:lnTo>
                  <a:pt x="278" y="29"/>
                </a:lnTo>
                <a:lnTo>
                  <a:pt x="284" y="20"/>
                </a:lnTo>
                <a:lnTo>
                  <a:pt x="278" y="15"/>
                </a:lnTo>
                <a:lnTo>
                  <a:pt x="284" y="9"/>
                </a:lnTo>
                <a:lnTo>
                  <a:pt x="287" y="6"/>
                </a:lnTo>
                <a:lnTo>
                  <a:pt x="284" y="6"/>
                </a:lnTo>
                <a:lnTo>
                  <a:pt x="278" y="9"/>
                </a:lnTo>
                <a:lnTo>
                  <a:pt x="275" y="9"/>
                </a:lnTo>
                <a:lnTo>
                  <a:pt x="273" y="3"/>
                </a:lnTo>
                <a:lnTo>
                  <a:pt x="267" y="3"/>
                </a:lnTo>
                <a:lnTo>
                  <a:pt x="264" y="3"/>
                </a:lnTo>
                <a:lnTo>
                  <a:pt x="261" y="6"/>
                </a:lnTo>
                <a:lnTo>
                  <a:pt x="258" y="6"/>
                </a:lnTo>
                <a:lnTo>
                  <a:pt x="255" y="3"/>
                </a:lnTo>
                <a:lnTo>
                  <a:pt x="253" y="0"/>
                </a:lnTo>
                <a:lnTo>
                  <a:pt x="253" y="3"/>
                </a:lnTo>
                <a:lnTo>
                  <a:pt x="247" y="6"/>
                </a:lnTo>
                <a:lnTo>
                  <a:pt x="244" y="9"/>
                </a:lnTo>
                <a:lnTo>
                  <a:pt x="235" y="15"/>
                </a:lnTo>
                <a:lnTo>
                  <a:pt x="232" y="9"/>
                </a:lnTo>
                <a:lnTo>
                  <a:pt x="232" y="3"/>
                </a:lnTo>
                <a:lnTo>
                  <a:pt x="230" y="3"/>
                </a:lnTo>
                <a:lnTo>
                  <a:pt x="224" y="3"/>
                </a:lnTo>
                <a:lnTo>
                  <a:pt x="221" y="6"/>
                </a:lnTo>
                <a:lnTo>
                  <a:pt x="215" y="3"/>
                </a:lnTo>
                <a:lnTo>
                  <a:pt x="209" y="3"/>
                </a:lnTo>
                <a:lnTo>
                  <a:pt x="207" y="9"/>
                </a:lnTo>
                <a:lnTo>
                  <a:pt x="204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18" name="Freeform 223"/>
          <p:cNvSpPr>
            <a:spLocks/>
          </p:cNvSpPr>
          <p:nvPr/>
        </p:nvSpPr>
        <p:spPr bwMode="gray">
          <a:xfrm>
            <a:off x="5639016" y="2119558"/>
            <a:ext cx="88016" cy="78002"/>
          </a:xfrm>
          <a:custGeom>
            <a:avLst/>
            <a:gdLst>
              <a:gd name="T0" fmla="*/ 2147483647 w 43"/>
              <a:gd name="T1" fmla="*/ 2147483647 h 51"/>
              <a:gd name="T2" fmla="*/ 2147483647 w 43"/>
              <a:gd name="T3" fmla="*/ 2147483647 h 51"/>
              <a:gd name="T4" fmla="*/ 2147483647 w 43"/>
              <a:gd name="T5" fmla="*/ 2147483647 h 51"/>
              <a:gd name="T6" fmla="*/ 2147483647 w 43"/>
              <a:gd name="T7" fmla="*/ 2147483647 h 51"/>
              <a:gd name="T8" fmla="*/ 2147483647 w 43"/>
              <a:gd name="T9" fmla="*/ 2147483647 h 51"/>
              <a:gd name="T10" fmla="*/ 2147483647 w 43"/>
              <a:gd name="T11" fmla="*/ 2147483647 h 51"/>
              <a:gd name="T12" fmla="*/ 2147483647 w 43"/>
              <a:gd name="T13" fmla="*/ 2147483647 h 51"/>
              <a:gd name="T14" fmla="*/ 0 w 43"/>
              <a:gd name="T15" fmla="*/ 2147483647 h 51"/>
              <a:gd name="T16" fmla="*/ 0 w 43"/>
              <a:gd name="T17" fmla="*/ 2147483647 h 51"/>
              <a:gd name="T18" fmla="*/ 0 w 43"/>
              <a:gd name="T19" fmla="*/ 2147483647 h 51"/>
              <a:gd name="T20" fmla="*/ 2147483647 w 43"/>
              <a:gd name="T21" fmla="*/ 2147483647 h 51"/>
              <a:gd name="T22" fmla="*/ 2147483647 w 43"/>
              <a:gd name="T23" fmla="*/ 2147483647 h 51"/>
              <a:gd name="T24" fmla="*/ 2147483647 w 43"/>
              <a:gd name="T25" fmla="*/ 2147483647 h 51"/>
              <a:gd name="T26" fmla="*/ 2147483647 w 43"/>
              <a:gd name="T27" fmla="*/ 2147483647 h 51"/>
              <a:gd name="T28" fmla="*/ 2147483647 w 43"/>
              <a:gd name="T29" fmla="*/ 2147483647 h 51"/>
              <a:gd name="T30" fmla="*/ 2147483647 w 43"/>
              <a:gd name="T31" fmla="*/ 2147483647 h 51"/>
              <a:gd name="T32" fmla="*/ 2147483647 w 43"/>
              <a:gd name="T33" fmla="*/ 2147483647 h 51"/>
              <a:gd name="T34" fmla="*/ 2147483647 w 43"/>
              <a:gd name="T35" fmla="*/ 2147483647 h 51"/>
              <a:gd name="T36" fmla="*/ 2147483647 w 43"/>
              <a:gd name="T37" fmla="*/ 2147483647 h 51"/>
              <a:gd name="T38" fmla="*/ 2147483647 w 43"/>
              <a:gd name="T39" fmla="*/ 2147483647 h 51"/>
              <a:gd name="T40" fmla="*/ 2147483647 w 43"/>
              <a:gd name="T41" fmla="*/ 2147483647 h 51"/>
              <a:gd name="T42" fmla="*/ 2147483647 w 43"/>
              <a:gd name="T43" fmla="*/ 2147483647 h 51"/>
              <a:gd name="T44" fmla="*/ 2147483647 w 43"/>
              <a:gd name="T45" fmla="*/ 2147483647 h 51"/>
              <a:gd name="T46" fmla="*/ 2147483647 w 43"/>
              <a:gd name="T47" fmla="*/ 2147483647 h 51"/>
              <a:gd name="T48" fmla="*/ 2147483647 w 43"/>
              <a:gd name="T49" fmla="*/ 2147483647 h 51"/>
              <a:gd name="T50" fmla="*/ 2147483647 w 43"/>
              <a:gd name="T51" fmla="*/ 2147483647 h 51"/>
              <a:gd name="T52" fmla="*/ 2147483647 w 43"/>
              <a:gd name="T53" fmla="*/ 2147483647 h 51"/>
              <a:gd name="T54" fmla="*/ 2147483647 w 43"/>
              <a:gd name="T55" fmla="*/ 2147483647 h 51"/>
              <a:gd name="T56" fmla="*/ 2147483647 w 43"/>
              <a:gd name="T57" fmla="*/ 2147483647 h 51"/>
              <a:gd name="T58" fmla="*/ 2147483647 w 43"/>
              <a:gd name="T59" fmla="*/ 2147483647 h 51"/>
              <a:gd name="T60" fmla="*/ 2147483647 w 43"/>
              <a:gd name="T61" fmla="*/ 2147483647 h 51"/>
              <a:gd name="T62" fmla="*/ 2147483647 w 43"/>
              <a:gd name="T63" fmla="*/ 2147483647 h 51"/>
              <a:gd name="T64" fmla="*/ 2147483647 w 43"/>
              <a:gd name="T65" fmla="*/ 2147483647 h 51"/>
              <a:gd name="T66" fmla="*/ 2147483647 w 43"/>
              <a:gd name="T67" fmla="*/ 2147483647 h 51"/>
              <a:gd name="T68" fmla="*/ 2147483647 w 43"/>
              <a:gd name="T69" fmla="*/ 2147483647 h 51"/>
              <a:gd name="T70" fmla="*/ 2147483647 w 43"/>
              <a:gd name="T71" fmla="*/ 2147483647 h 51"/>
              <a:gd name="T72" fmla="*/ 2147483647 w 43"/>
              <a:gd name="T73" fmla="*/ 2147483647 h 51"/>
              <a:gd name="T74" fmla="*/ 2147483647 w 43"/>
              <a:gd name="T75" fmla="*/ 2147483647 h 51"/>
              <a:gd name="T76" fmla="*/ 2147483647 w 43"/>
              <a:gd name="T77" fmla="*/ 2147483647 h 51"/>
              <a:gd name="T78" fmla="*/ 2147483647 w 43"/>
              <a:gd name="T79" fmla="*/ 2147483647 h 51"/>
              <a:gd name="T80" fmla="*/ 2147483647 w 43"/>
              <a:gd name="T81" fmla="*/ 2147483647 h 51"/>
              <a:gd name="T82" fmla="*/ 2147483647 w 43"/>
              <a:gd name="T83" fmla="*/ 0 h 51"/>
              <a:gd name="T84" fmla="*/ 2147483647 w 43"/>
              <a:gd name="T85" fmla="*/ 2147483647 h 51"/>
              <a:gd name="T86" fmla="*/ 2147483647 w 43"/>
              <a:gd name="T87" fmla="*/ 2147483647 h 51"/>
              <a:gd name="T88" fmla="*/ 2147483647 w 43"/>
              <a:gd name="T89" fmla="*/ 2147483647 h 51"/>
              <a:gd name="T90" fmla="*/ 2147483647 w 43"/>
              <a:gd name="T91" fmla="*/ 2147483647 h 51"/>
              <a:gd name="T92" fmla="*/ 2147483647 w 43"/>
              <a:gd name="T93" fmla="*/ 2147483647 h 51"/>
              <a:gd name="T94" fmla="*/ 2147483647 w 43"/>
              <a:gd name="T95" fmla="*/ 2147483647 h 51"/>
              <a:gd name="T96" fmla="*/ 2147483647 w 43"/>
              <a:gd name="T97" fmla="*/ 2147483647 h 51"/>
              <a:gd name="T98" fmla="*/ 2147483647 w 43"/>
              <a:gd name="T99" fmla="*/ 2147483647 h 51"/>
              <a:gd name="T100" fmla="*/ 2147483647 w 43"/>
              <a:gd name="T101" fmla="*/ 2147483647 h 51"/>
              <a:gd name="T102" fmla="*/ 2147483647 w 43"/>
              <a:gd name="T103" fmla="*/ 2147483647 h 51"/>
              <a:gd name="T104" fmla="*/ 2147483647 w 43"/>
              <a:gd name="T105" fmla="*/ 2147483647 h 51"/>
              <a:gd name="T106" fmla="*/ 2147483647 w 43"/>
              <a:gd name="T107" fmla="*/ 2147483647 h 51"/>
              <a:gd name="T108" fmla="*/ 2147483647 w 43"/>
              <a:gd name="T109" fmla="*/ 2147483647 h 51"/>
              <a:gd name="T110" fmla="*/ 2147483647 w 43"/>
              <a:gd name="T111" fmla="*/ 2147483647 h 51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43"/>
              <a:gd name="T169" fmla="*/ 0 h 51"/>
              <a:gd name="T170" fmla="*/ 43 w 43"/>
              <a:gd name="T171" fmla="*/ 51 h 51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43" h="51">
                <a:moveTo>
                  <a:pt x="17" y="11"/>
                </a:moveTo>
                <a:lnTo>
                  <a:pt x="17" y="11"/>
                </a:lnTo>
                <a:lnTo>
                  <a:pt x="15" y="11"/>
                </a:lnTo>
                <a:lnTo>
                  <a:pt x="12" y="14"/>
                </a:lnTo>
                <a:lnTo>
                  <a:pt x="3" y="23"/>
                </a:lnTo>
                <a:lnTo>
                  <a:pt x="0" y="26"/>
                </a:lnTo>
                <a:lnTo>
                  <a:pt x="0" y="31"/>
                </a:lnTo>
                <a:lnTo>
                  <a:pt x="3" y="37"/>
                </a:lnTo>
                <a:lnTo>
                  <a:pt x="3" y="40"/>
                </a:lnTo>
                <a:lnTo>
                  <a:pt x="6" y="43"/>
                </a:lnTo>
                <a:lnTo>
                  <a:pt x="9" y="46"/>
                </a:lnTo>
                <a:lnTo>
                  <a:pt x="6" y="51"/>
                </a:lnTo>
                <a:lnTo>
                  <a:pt x="9" y="51"/>
                </a:lnTo>
                <a:lnTo>
                  <a:pt x="17" y="51"/>
                </a:lnTo>
                <a:lnTo>
                  <a:pt x="26" y="51"/>
                </a:lnTo>
                <a:lnTo>
                  <a:pt x="23" y="49"/>
                </a:lnTo>
                <a:lnTo>
                  <a:pt x="23" y="46"/>
                </a:lnTo>
                <a:lnTo>
                  <a:pt x="23" y="43"/>
                </a:lnTo>
                <a:lnTo>
                  <a:pt x="26" y="37"/>
                </a:lnTo>
                <a:lnTo>
                  <a:pt x="35" y="31"/>
                </a:lnTo>
                <a:lnTo>
                  <a:pt x="38" y="29"/>
                </a:lnTo>
                <a:lnTo>
                  <a:pt x="43" y="23"/>
                </a:lnTo>
                <a:lnTo>
                  <a:pt x="38" y="23"/>
                </a:lnTo>
                <a:lnTo>
                  <a:pt x="35" y="20"/>
                </a:lnTo>
                <a:lnTo>
                  <a:pt x="35" y="17"/>
                </a:lnTo>
                <a:lnTo>
                  <a:pt x="38" y="14"/>
                </a:lnTo>
                <a:lnTo>
                  <a:pt x="38" y="11"/>
                </a:lnTo>
                <a:lnTo>
                  <a:pt x="38" y="0"/>
                </a:lnTo>
                <a:lnTo>
                  <a:pt x="29" y="3"/>
                </a:lnTo>
                <a:lnTo>
                  <a:pt x="29" y="6"/>
                </a:lnTo>
                <a:lnTo>
                  <a:pt x="26" y="8"/>
                </a:lnTo>
                <a:lnTo>
                  <a:pt x="20" y="11"/>
                </a:lnTo>
                <a:lnTo>
                  <a:pt x="17" y="14"/>
                </a:lnTo>
                <a:lnTo>
                  <a:pt x="17" y="17"/>
                </a:lnTo>
                <a:lnTo>
                  <a:pt x="15" y="17"/>
                </a:lnTo>
                <a:lnTo>
                  <a:pt x="17" y="11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19" name="Freeform 224"/>
          <p:cNvSpPr>
            <a:spLocks/>
          </p:cNvSpPr>
          <p:nvPr/>
        </p:nvSpPr>
        <p:spPr bwMode="gray">
          <a:xfrm>
            <a:off x="5861056" y="2515569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0 h 6"/>
              <a:gd name="T4" fmla="*/ 0 w 6"/>
              <a:gd name="T5" fmla="*/ 2147483647 h 6"/>
              <a:gd name="T6" fmla="*/ 2147483647 w 6"/>
              <a:gd name="T7" fmla="*/ 2147483647 h 6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6"/>
              <a:gd name="T14" fmla="*/ 6 w 6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6">
                <a:moveTo>
                  <a:pt x="6" y="6"/>
                </a:moveTo>
                <a:lnTo>
                  <a:pt x="6" y="0"/>
                </a:lnTo>
                <a:lnTo>
                  <a:pt x="0" y="3"/>
                </a:lnTo>
                <a:lnTo>
                  <a:pt x="6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20" name="Freeform 225"/>
          <p:cNvSpPr>
            <a:spLocks/>
          </p:cNvSpPr>
          <p:nvPr/>
        </p:nvSpPr>
        <p:spPr bwMode="gray">
          <a:xfrm>
            <a:off x="5500991" y="2623572"/>
            <a:ext cx="18004" cy="9000"/>
          </a:xfrm>
          <a:custGeom>
            <a:avLst/>
            <a:gdLst>
              <a:gd name="T0" fmla="*/ 2147483647 w 9"/>
              <a:gd name="T1" fmla="*/ 2147483647 h 6"/>
              <a:gd name="T2" fmla="*/ 2147483647 w 9"/>
              <a:gd name="T3" fmla="*/ 0 h 6"/>
              <a:gd name="T4" fmla="*/ 2147483647 w 9"/>
              <a:gd name="T5" fmla="*/ 0 h 6"/>
              <a:gd name="T6" fmla="*/ 2147483647 w 9"/>
              <a:gd name="T7" fmla="*/ 0 h 6"/>
              <a:gd name="T8" fmla="*/ 0 w 9"/>
              <a:gd name="T9" fmla="*/ 2147483647 h 6"/>
              <a:gd name="T10" fmla="*/ 0 w 9"/>
              <a:gd name="T11" fmla="*/ 2147483647 h 6"/>
              <a:gd name="T12" fmla="*/ 0 w 9"/>
              <a:gd name="T13" fmla="*/ 2147483647 h 6"/>
              <a:gd name="T14" fmla="*/ 2147483647 w 9"/>
              <a:gd name="T15" fmla="*/ 2147483647 h 6"/>
              <a:gd name="T16" fmla="*/ 2147483647 w 9"/>
              <a:gd name="T17" fmla="*/ 2147483647 h 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9"/>
              <a:gd name="T28" fmla="*/ 0 h 6"/>
              <a:gd name="T29" fmla="*/ 9 w 9"/>
              <a:gd name="T30" fmla="*/ 6 h 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9" h="6">
                <a:moveTo>
                  <a:pt x="9" y="6"/>
                </a:moveTo>
                <a:lnTo>
                  <a:pt x="9" y="0"/>
                </a:lnTo>
                <a:lnTo>
                  <a:pt x="3" y="0"/>
                </a:lnTo>
                <a:lnTo>
                  <a:pt x="0" y="3"/>
                </a:lnTo>
                <a:lnTo>
                  <a:pt x="0" y="6"/>
                </a:lnTo>
                <a:lnTo>
                  <a:pt x="6" y="6"/>
                </a:lnTo>
                <a:lnTo>
                  <a:pt x="9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21" name="Freeform 226"/>
          <p:cNvSpPr>
            <a:spLocks/>
          </p:cNvSpPr>
          <p:nvPr/>
        </p:nvSpPr>
        <p:spPr bwMode="gray">
          <a:xfrm>
            <a:off x="6093097" y="2506568"/>
            <a:ext cx="192035" cy="82502"/>
          </a:xfrm>
          <a:custGeom>
            <a:avLst/>
            <a:gdLst>
              <a:gd name="T0" fmla="*/ 2147483647 w 95"/>
              <a:gd name="T1" fmla="*/ 2147483647 h 55"/>
              <a:gd name="T2" fmla="*/ 2147483647 w 95"/>
              <a:gd name="T3" fmla="*/ 2147483647 h 55"/>
              <a:gd name="T4" fmla="*/ 2147483647 w 95"/>
              <a:gd name="T5" fmla="*/ 2147483647 h 55"/>
              <a:gd name="T6" fmla="*/ 2147483647 w 95"/>
              <a:gd name="T7" fmla="*/ 2147483647 h 55"/>
              <a:gd name="T8" fmla="*/ 2147483647 w 95"/>
              <a:gd name="T9" fmla="*/ 2147483647 h 55"/>
              <a:gd name="T10" fmla="*/ 2147483647 w 95"/>
              <a:gd name="T11" fmla="*/ 2147483647 h 55"/>
              <a:gd name="T12" fmla="*/ 2147483647 w 95"/>
              <a:gd name="T13" fmla="*/ 2147483647 h 55"/>
              <a:gd name="T14" fmla="*/ 2147483647 w 95"/>
              <a:gd name="T15" fmla="*/ 2147483647 h 55"/>
              <a:gd name="T16" fmla="*/ 2147483647 w 95"/>
              <a:gd name="T17" fmla="*/ 2147483647 h 55"/>
              <a:gd name="T18" fmla="*/ 2147483647 w 95"/>
              <a:gd name="T19" fmla="*/ 2147483647 h 55"/>
              <a:gd name="T20" fmla="*/ 2147483647 w 95"/>
              <a:gd name="T21" fmla="*/ 2147483647 h 55"/>
              <a:gd name="T22" fmla="*/ 2147483647 w 95"/>
              <a:gd name="T23" fmla="*/ 2147483647 h 55"/>
              <a:gd name="T24" fmla="*/ 2147483647 w 95"/>
              <a:gd name="T25" fmla="*/ 0 h 55"/>
              <a:gd name="T26" fmla="*/ 0 w 95"/>
              <a:gd name="T27" fmla="*/ 2147483647 h 55"/>
              <a:gd name="T28" fmla="*/ 0 w 95"/>
              <a:gd name="T29" fmla="*/ 2147483647 h 55"/>
              <a:gd name="T30" fmla="*/ 2147483647 w 95"/>
              <a:gd name="T31" fmla="*/ 2147483647 h 55"/>
              <a:gd name="T32" fmla="*/ 2147483647 w 95"/>
              <a:gd name="T33" fmla="*/ 2147483647 h 55"/>
              <a:gd name="T34" fmla="*/ 2147483647 w 95"/>
              <a:gd name="T35" fmla="*/ 2147483647 h 55"/>
              <a:gd name="T36" fmla="*/ 2147483647 w 95"/>
              <a:gd name="T37" fmla="*/ 2147483647 h 55"/>
              <a:gd name="T38" fmla="*/ 2147483647 w 95"/>
              <a:gd name="T39" fmla="*/ 2147483647 h 55"/>
              <a:gd name="T40" fmla="*/ 2147483647 w 95"/>
              <a:gd name="T41" fmla="*/ 2147483647 h 55"/>
              <a:gd name="T42" fmla="*/ 2147483647 w 95"/>
              <a:gd name="T43" fmla="*/ 2147483647 h 55"/>
              <a:gd name="T44" fmla="*/ 2147483647 w 95"/>
              <a:gd name="T45" fmla="*/ 2147483647 h 55"/>
              <a:gd name="T46" fmla="*/ 2147483647 w 95"/>
              <a:gd name="T47" fmla="*/ 2147483647 h 55"/>
              <a:gd name="T48" fmla="*/ 2147483647 w 95"/>
              <a:gd name="T49" fmla="*/ 2147483647 h 55"/>
              <a:gd name="T50" fmla="*/ 2147483647 w 95"/>
              <a:gd name="T51" fmla="*/ 2147483647 h 55"/>
              <a:gd name="T52" fmla="*/ 2147483647 w 95"/>
              <a:gd name="T53" fmla="*/ 2147483647 h 55"/>
              <a:gd name="T54" fmla="*/ 2147483647 w 95"/>
              <a:gd name="T55" fmla="*/ 2147483647 h 55"/>
              <a:gd name="T56" fmla="*/ 2147483647 w 95"/>
              <a:gd name="T57" fmla="*/ 2147483647 h 55"/>
              <a:gd name="T58" fmla="*/ 2147483647 w 95"/>
              <a:gd name="T59" fmla="*/ 2147483647 h 55"/>
              <a:gd name="T60" fmla="*/ 2147483647 w 95"/>
              <a:gd name="T61" fmla="*/ 2147483647 h 55"/>
              <a:gd name="T62" fmla="*/ 2147483647 w 95"/>
              <a:gd name="T63" fmla="*/ 2147483647 h 55"/>
              <a:gd name="T64" fmla="*/ 2147483647 w 95"/>
              <a:gd name="T65" fmla="*/ 2147483647 h 55"/>
              <a:gd name="T66" fmla="*/ 2147483647 w 95"/>
              <a:gd name="T67" fmla="*/ 2147483647 h 55"/>
              <a:gd name="T68" fmla="*/ 2147483647 w 95"/>
              <a:gd name="T69" fmla="*/ 2147483647 h 55"/>
              <a:gd name="T70" fmla="*/ 2147483647 w 95"/>
              <a:gd name="T71" fmla="*/ 2147483647 h 55"/>
              <a:gd name="T72" fmla="*/ 2147483647 w 95"/>
              <a:gd name="T73" fmla="*/ 2147483647 h 55"/>
              <a:gd name="T74" fmla="*/ 2147483647 w 95"/>
              <a:gd name="T75" fmla="*/ 2147483647 h 55"/>
              <a:gd name="T76" fmla="*/ 2147483647 w 95"/>
              <a:gd name="T77" fmla="*/ 2147483647 h 55"/>
              <a:gd name="T78" fmla="*/ 2147483647 w 95"/>
              <a:gd name="T79" fmla="*/ 2147483647 h 55"/>
              <a:gd name="T80" fmla="*/ 2147483647 w 95"/>
              <a:gd name="T81" fmla="*/ 2147483647 h 55"/>
              <a:gd name="T82" fmla="*/ 2147483647 w 95"/>
              <a:gd name="T83" fmla="*/ 2147483647 h 55"/>
              <a:gd name="T84" fmla="*/ 2147483647 w 95"/>
              <a:gd name="T85" fmla="*/ 2147483647 h 5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95"/>
              <a:gd name="T130" fmla="*/ 0 h 55"/>
              <a:gd name="T131" fmla="*/ 95 w 95"/>
              <a:gd name="T132" fmla="*/ 55 h 5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95" h="55">
                <a:moveTo>
                  <a:pt x="92" y="18"/>
                </a:moveTo>
                <a:lnTo>
                  <a:pt x="95" y="12"/>
                </a:lnTo>
                <a:lnTo>
                  <a:pt x="86" y="9"/>
                </a:lnTo>
                <a:lnTo>
                  <a:pt x="78" y="3"/>
                </a:lnTo>
                <a:lnTo>
                  <a:pt x="66" y="3"/>
                </a:lnTo>
                <a:lnTo>
                  <a:pt x="55" y="6"/>
                </a:lnTo>
                <a:lnTo>
                  <a:pt x="46" y="12"/>
                </a:lnTo>
                <a:lnTo>
                  <a:pt x="32" y="9"/>
                </a:lnTo>
                <a:lnTo>
                  <a:pt x="29" y="15"/>
                </a:lnTo>
                <a:lnTo>
                  <a:pt x="3" y="6"/>
                </a:lnTo>
                <a:lnTo>
                  <a:pt x="3" y="3"/>
                </a:lnTo>
                <a:lnTo>
                  <a:pt x="3" y="0"/>
                </a:lnTo>
                <a:lnTo>
                  <a:pt x="0" y="6"/>
                </a:lnTo>
                <a:lnTo>
                  <a:pt x="0" y="12"/>
                </a:lnTo>
                <a:lnTo>
                  <a:pt x="9" y="18"/>
                </a:lnTo>
                <a:lnTo>
                  <a:pt x="9" y="20"/>
                </a:lnTo>
                <a:lnTo>
                  <a:pt x="6" y="26"/>
                </a:lnTo>
                <a:lnTo>
                  <a:pt x="3" y="29"/>
                </a:lnTo>
                <a:lnTo>
                  <a:pt x="3" y="35"/>
                </a:lnTo>
                <a:lnTo>
                  <a:pt x="3" y="38"/>
                </a:lnTo>
                <a:lnTo>
                  <a:pt x="9" y="41"/>
                </a:lnTo>
                <a:lnTo>
                  <a:pt x="12" y="49"/>
                </a:lnTo>
                <a:lnTo>
                  <a:pt x="29" y="52"/>
                </a:lnTo>
                <a:lnTo>
                  <a:pt x="40" y="52"/>
                </a:lnTo>
                <a:lnTo>
                  <a:pt x="49" y="55"/>
                </a:lnTo>
                <a:lnTo>
                  <a:pt x="58" y="55"/>
                </a:lnTo>
                <a:lnTo>
                  <a:pt x="55" y="46"/>
                </a:lnTo>
                <a:lnTo>
                  <a:pt x="58" y="46"/>
                </a:lnTo>
                <a:lnTo>
                  <a:pt x="63" y="43"/>
                </a:lnTo>
                <a:lnTo>
                  <a:pt x="66" y="43"/>
                </a:lnTo>
                <a:lnTo>
                  <a:pt x="75" y="41"/>
                </a:lnTo>
                <a:lnTo>
                  <a:pt x="78" y="41"/>
                </a:lnTo>
                <a:lnTo>
                  <a:pt x="81" y="43"/>
                </a:lnTo>
                <a:lnTo>
                  <a:pt x="89" y="43"/>
                </a:lnTo>
                <a:lnTo>
                  <a:pt x="86" y="41"/>
                </a:lnTo>
                <a:lnTo>
                  <a:pt x="83" y="35"/>
                </a:lnTo>
                <a:lnTo>
                  <a:pt x="83" y="23"/>
                </a:lnTo>
                <a:lnTo>
                  <a:pt x="92" y="18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22" name="Freeform 227"/>
          <p:cNvSpPr>
            <a:spLocks/>
          </p:cNvSpPr>
          <p:nvPr/>
        </p:nvSpPr>
        <p:spPr bwMode="gray">
          <a:xfrm>
            <a:off x="6023086" y="2580070"/>
            <a:ext cx="202036" cy="118504"/>
          </a:xfrm>
          <a:custGeom>
            <a:avLst/>
            <a:gdLst>
              <a:gd name="T0" fmla="*/ 2147483647 w 100"/>
              <a:gd name="T1" fmla="*/ 2147483647 h 78"/>
              <a:gd name="T2" fmla="*/ 2147483647 w 100"/>
              <a:gd name="T3" fmla="*/ 0 h 78"/>
              <a:gd name="T4" fmla="*/ 2147483647 w 100"/>
              <a:gd name="T5" fmla="*/ 2147483647 h 78"/>
              <a:gd name="T6" fmla="*/ 2147483647 w 100"/>
              <a:gd name="T7" fmla="*/ 2147483647 h 78"/>
              <a:gd name="T8" fmla="*/ 2147483647 w 100"/>
              <a:gd name="T9" fmla="*/ 2147483647 h 78"/>
              <a:gd name="T10" fmla="*/ 2147483647 w 100"/>
              <a:gd name="T11" fmla="*/ 2147483647 h 78"/>
              <a:gd name="T12" fmla="*/ 2147483647 w 100"/>
              <a:gd name="T13" fmla="*/ 2147483647 h 78"/>
              <a:gd name="T14" fmla="*/ 2147483647 w 100"/>
              <a:gd name="T15" fmla="*/ 2147483647 h 78"/>
              <a:gd name="T16" fmla="*/ 0 w 100"/>
              <a:gd name="T17" fmla="*/ 2147483647 h 78"/>
              <a:gd name="T18" fmla="*/ 2147483647 w 100"/>
              <a:gd name="T19" fmla="*/ 2147483647 h 78"/>
              <a:gd name="T20" fmla="*/ 0 w 100"/>
              <a:gd name="T21" fmla="*/ 2147483647 h 78"/>
              <a:gd name="T22" fmla="*/ 2147483647 w 100"/>
              <a:gd name="T23" fmla="*/ 2147483647 h 78"/>
              <a:gd name="T24" fmla="*/ 2147483647 w 100"/>
              <a:gd name="T25" fmla="*/ 2147483647 h 78"/>
              <a:gd name="T26" fmla="*/ 2147483647 w 100"/>
              <a:gd name="T27" fmla="*/ 2147483647 h 78"/>
              <a:gd name="T28" fmla="*/ 2147483647 w 100"/>
              <a:gd name="T29" fmla="*/ 2147483647 h 78"/>
              <a:gd name="T30" fmla="*/ 2147483647 w 100"/>
              <a:gd name="T31" fmla="*/ 2147483647 h 78"/>
              <a:gd name="T32" fmla="*/ 2147483647 w 100"/>
              <a:gd name="T33" fmla="*/ 2147483647 h 78"/>
              <a:gd name="T34" fmla="*/ 2147483647 w 100"/>
              <a:gd name="T35" fmla="*/ 2147483647 h 78"/>
              <a:gd name="T36" fmla="*/ 2147483647 w 100"/>
              <a:gd name="T37" fmla="*/ 2147483647 h 78"/>
              <a:gd name="T38" fmla="*/ 2147483647 w 100"/>
              <a:gd name="T39" fmla="*/ 2147483647 h 78"/>
              <a:gd name="T40" fmla="*/ 2147483647 w 100"/>
              <a:gd name="T41" fmla="*/ 2147483647 h 78"/>
              <a:gd name="T42" fmla="*/ 2147483647 w 100"/>
              <a:gd name="T43" fmla="*/ 2147483647 h 78"/>
              <a:gd name="T44" fmla="*/ 2147483647 w 100"/>
              <a:gd name="T45" fmla="*/ 2147483647 h 78"/>
              <a:gd name="T46" fmla="*/ 2147483647 w 100"/>
              <a:gd name="T47" fmla="*/ 2147483647 h 78"/>
              <a:gd name="T48" fmla="*/ 2147483647 w 100"/>
              <a:gd name="T49" fmla="*/ 2147483647 h 78"/>
              <a:gd name="T50" fmla="*/ 2147483647 w 100"/>
              <a:gd name="T51" fmla="*/ 2147483647 h 78"/>
              <a:gd name="T52" fmla="*/ 2147483647 w 100"/>
              <a:gd name="T53" fmla="*/ 2147483647 h 78"/>
              <a:gd name="T54" fmla="*/ 2147483647 w 100"/>
              <a:gd name="T55" fmla="*/ 2147483647 h 78"/>
              <a:gd name="T56" fmla="*/ 2147483647 w 100"/>
              <a:gd name="T57" fmla="*/ 2147483647 h 78"/>
              <a:gd name="T58" fmla="*/ 2147483647 w 100"/>
              <a:gd name="T59" fmla="*/ 2147483647 h 78"/>
              <a:gd name="T60" fmla="*/ 2147483647 w 100"/>
              <a:gd name="T61" fmla="*/ 2147483647 h 78"/>
              <a:gd name="T62" fmla="*/ 2147483647 w 100"/>
              <a:gd name="T63" fmla="*/ 2147483647 h 78"/>
              <a:gd name="T64" fmla="*/ 2147483647 w 100"/>
              <a:gd name="T65" fmla="*/ 2147483647 h 78"/>
              <a:gd name="T66" fmla="*/ 2147483647 w 100"/>
              <a:gd name="T67" fmla="*/ 2147483647 h 78"/>
              <a:gd name="T68" fmla="*/ 2147483647 w 100"/>
              <a:gd name="T69" fmla="*/ 2147483647 h 78"/>
              <a:gd name="T70" fmla="*/ 2147483647 w 100"/>
              <a:gd name="T71" fmla="*/ 2147483647 h 78"/>
              <a:gd name="T72" fmla="*/ 2147483647 w 100"/>
              <a:gd name="T73" fmla="*/ 2147483647 h 78"/>
              <a:gd name="T74" fmla="*/ 2147483647 w 100"/>
              <a:gd name="T75" fmla="*/ 2147483647 h 78"/>
              <a:gd name="T76" fmla="*/ 2147483647 w 100"/>
              <a:gd name="T77" fmla="*/ 2147483647 h 78"/>
              <a:gd name="T78" fmla="*/ 2147483647 w 100"/>
              <a:gd name="T79" fmla="*/ 2147483647 h 78"/>
              <a:gd name="T80" fmla="*/ 2147483647 w 100"/>
              <a:gd name="T81" fmla="*/ 2147483647 h 78"/>
              <a:gd name="T82" fmla="*/ 2147483647 w 100"/>
              <a:gd name="T83" fmla="*/ 2147483647 h 78"/>
              <a:gd name="T84" fmla="*/ 2147483647 w 100"/>
              <a:gd name="T85" fmla="*/ 2147483647 h 78"/>
              <a:gd name="T86" fmla="*/ 2147483647 w 100"/>
              <a:gd name="T87" fmla="*/ 2147483647 h 78"/>
              <a:gd name="T88" fmla="*/ 2147483647 w 100"/>
              <a:gd name="T89" fmla="*/ 2147483647 h 78"/>
              <a:gd name="T90" fmla="*/ 2147483647 w 100"/>
              <a:gd name="T91" fmla="*/ 2147483647 h 78"/>
              <a:gd name="T92" fmla="*/ 2147483647 w 100"/>
              <a:gd name="T93" fmla="*/ 2147483647 h 78"/>
              <a:gd name="T94" fmla="*/ 2147483647 w 100"/>
              <a:gd name="T95" fmla="*/ 2147483647 h 78"/>
              <a:gd name="T96" fmla="*/ 2147483647 w 100"/>
              <a:gd name="T97" fmla="*/ 2147483647 h 78"/>
              <a:gd name="T98" fmla="*/ 2147483647 w 100"/>
              <a:gd name="T99" fmla="*/ 2147483647 h 78"/>
              <a:gd name="T100" fmla="*/ 2147483647 w 100"/>
              <a:gd name="T101" fmla="*/ 2147483647 h 78"/>
              <a:gd name="T102" fmla="*/ 2147483647 w 100"/>
              <a:gd name="T103" fmla="*/ 2147483647 h 78"/>
              <a:gd name="T104" fmla="*/ 2147483647 w 100"/>
              <a:gd name="T105" fmla="*/ 2147483647 h 78"/>
              <a:gd name="T106" fmla="*/ 2147483647 w 100"/>
              <a:gd name="T107" fmla="*/ 2147483647 h 78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00"/>
              <a:gd name="T163" fmla="*/ 0 h 78"/>
              <a:gd name="T164" fmla="*/ 100 w 100"/>
              <a:gd name="T165" fmla="*/ 78 h 78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00" h="78">
                <a:moveTo>
                  <a:pt x="100" y="6"/>
                </a:moveTo>
                <a:lnTo>
                  <a:pt x="100" y="3"/>
                </a:lnTo>
                <a:lnTo>
                  <a:pt x="97" y="0"/>
                </a:lnTo>
                <a:lnTo>
                  <a:pt x="94" y="0"/>
                </a:lnTo>
                <a:lnTo>
                  <a:pt x="94" y="12"/>
                </a:lnTo>
                <a:lnTo>
                  <a:pt x="83" y="9"/>
                </a:lnTo>
                <a:lnTo>
                  <a:pt x="74" y="9"/>
                </a:lnTo>
                <a:lnTo>
                  <a:pt x="63" y="6"/>
                </a:lnTo>
                <a:lnTo>
                  <a:pt x="43" y="3"/>
                </a:lnTo>
                <a:lnTo>
                  <a:pt x="43" y="9"/>
                </a:lnTo>
                <a:lnTo>
                  <a:pt x="31" y="12"/>
                </a:lnTo>
                <a:lnTo>
                  <a:pt x="23" y="17"/>
                </a:lnTo>
                <a:lnTo>
                  <a:pt x="17" y="17"/>
                </a:lnTo>
                <a:lnTo>
                  <a:pt x="17" y="20"/>
                </a:lnTo>
                <a:lnTo>
                  <a:pt x="8" y="29"/>
                </a:lnTo>
                <a:lnTo>
                  <a:pt x="5" y="32"/>
                </a:lnTo>
                <a:lnTo>
                  <a:pt x="3" y="37"/>
                </a:lnTo>
                <a:lnTo>
                  <a:pt x="0" y="43"/>
                </a:lnTo>
                <a:lnTo>
                  <a:pt x="3" y="43"/>
                </a:lnTo>
                <a:lnTo>
                  <a:pt x="3" y="49"/>
                </a:lnTo>
                <a:lnTo>
                  <a:pt x="0" y="52"/>
                </a:lnTo>
                <a:lnTo>
                  <a:pt x="3" y="58"/>
                </a:lnTo>
                <a:lnTo>
                  <a:pt x="8" y="58"/>
                </a:lnTo>
                <a:lnTo>
                  <a:pt x="14" y="60"/>
                </a:lnTo>
                <a:lnTo>
                  <a:pt x="20" y="66"/>
                </a:lnTo>
                <a:lnTo>
                  <a:pt x="31" y="66"/>
                </a:lnTo>
                <a:lnTo>
                  <a:pt x="31" y="63"/>
                </a:lnTo>
                <a:lnTo>
                  <a:pt x="34" y="63"/>
                </a:lnTo>
                <a:lnTo>
                  <a:pt x="43" y="63"/>
                </a:lnTo>
                <a:lnTo>
                  <a:pt x="48" y="69"/>
                </a:lnTo>
                <a:lnTo>
                  <a:pt x="51" y="72"/>
                </a:lnTo>
                <a:lnTo>
                  <a:pt x="54" y="78"/>
                </a:lnTo>
                <a:lnTo>
                  <a:pt x="54" y="72"/>
                </a:lnTo>
                <a:lnTo>
                  <a:pt x="57" y="75"/>
                </a:lnTo>
                <a:lnTo>
                  <a:pt x="60" y="72"/>
                </a:lnTo>
                <a:lnTo>
                  <a:pt x="66" y="78"/>
                </a:lnTo>
                <a:lnTo>
                  <a:pt x="66" y="72"/>
                </a:lnTo>
                <a:lnTo>
                  <a:pt x="66" y="69"/>
                </a:lnTo>
                <a:lnTo>
                  <a:pt x="63" y="69"/>
                </a:lnTo>
                <a:lnTo>
                  <a:pt x="66" y="69"/>
                </a:lnTo>
                <a:lnTo>
                  <a:pt x="71" y="72"/>
                </a:lnTo>
                <a:lnTo>
                  <a:pt x="74" y="69"/>
                </a:lnTo>
                <a:lnTo>
                  <a:pt x="69" y="66"/>
                </a:lnTo>
                <a:lnTo>
                  <a:pt x="69" y="60"/>
                </a:lnTo>
                <a:lnTo>
                  <a:pt x="69" y="58"/>
                </a:lnTo>
                <a:lnTo>
                  <a:pt x="66" y="60"/>
                </a:lnTo>
                <a:lnTo>
                  <a:pt x="60" y="63"/>
                </a:lnTo>
                <a:lnTo>
                  <a:pt x="57" y="63"/>
                </a:lnTo>
                <a:lnTo>
                  <a:pt x="54" y="58"/>
                </a:lnTo>
                <a:lnTo>
                  <a:pt x="48" y="55"/>
                </a:lnTo>
                <a:lnTo>
                  <a:pt x="48" y="52"/>
                </a:lnTo>
                <a:lnTo>
                  <a:pt x="51" y="49"/>
                </a:lnTo>
                <a:lnTo>
                  <a:pt x="54" y="49"/>
                </a:lnTo>
                <a:lnTo>
                  <a:pt x="54" y="46"/>
                </a:lnTo>
                <a:lnTo>
                  <a:pt x="46" y="43"/>
                </a:lnTo>
                <a:lnTo>
                  <a:pt x="43" y="37"/>
                </a:lnTo>
                <a:lnTo>
                  <a:pt x="40" y="32"/>
                </a:lnTo>
                <a:lnTo>
                  <a:pt x="37" y="20"/>
                </a:lnTo>
                <a:lnTo>
                  <a:pt x="46" y="23"/>
                </a:lnTo>
                <a:lnTo>
                  <a:pt x="54" y="26"/>
                </a:lnTo>
                <a:lnTo>
                  <a:pt x="57" y="26"/>
                </a:lnTo>
                <a:lnTo>
                  <a:pt x="60" y="26"/>
                </a:lnTo>
                <a:lnTo>
                  <a:pt x="57" y="17"/>
                </a:lnTo>
                <a:lnTo>
                  <a:pt x="60" y="17"/>
                </a:lnTo>
                <a:lnTo>
                  <a:pt x="63" y="17"/>
                </a:lnTo>
                <a:lnTo>
                  <a:pt x="71" y="14"/>
                </a:lnTo>
                <a:lnTo>
                  <a:pt x="71" y="17"/>
                </a:lnTo>
                <a:lnTo>
                  <a:pt x="74" y="17"/>
                </a:lnTo>
                <a:lnTo>
                  <a:pt x="74" y="14"/>
                </a:lnTo>
                <a:lnTo>
                  <a:pt x="77" y="14"/>
                </a:lnTo>
                <a:lnTo>
                  <a:pt x="80" y="14"/>
                </a:lnTo>
                <a:lnTo>
                  <a:pt x="86" y="17"/>
                </a:lnTo>
                <a:lnTo>
                  <a:pt x="89" y="17"/>
                </a:lnTo>
                <a:lnTo>
                  <a:pt x="92" y="17"/>
                </a:lnTo>
                <a:lnTo>
                  <a:pt x="94" y="14"/>
                </a:lnTo>
                <a:lnTo>
                  <a:pt x="94" y="9"/>
                </a:lnTo>
                <a:lnTo>
                  <a:pt x="100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23" name="Freeform 228"/>
          <p:cNvSpPr>
            <a:spLocks/>
          </p:cNvSpPr>
          <p:nvPr/>
        </p:nvSpPr>
        <p:spPr bwMode="gray">
          <a:xfrm>
            <a:off x="6209118" y="2671573"/>
            <a:ext cx="10002" cy="13500"/>
          </a:xfrm>
          <a:custGeom>
            <a:avLst/>
            <a:gdLst>
              <a:gd name="T0" fmla="*/ 0 w 5"/>
              <a:gd name="T1" fmla="*/ 0 h 9"/>
              <a:gd name="T2" fmla="*/ 0 w 5"/>
              <a:gd name="T3" fmla="*/ 2147483647 h 9"/>
              <a:gd name="T4" fmla="*/ 0 w 5"/>
              <a:gd name="T5" fmla="*/ 2147483647 h 9"/>
              <a:gd name="T6" fmla="*/ 2147483647 w 5"/>
              <a:gd name="T7" fmla="*/ 2147483647 h 9"/>
              <a:gd name="T8" fmla="*/ 2147483647 w 5"/>
              <a:gd name="T9" fmla="*/ 0 h 9"/>
              <a:gd name="T10" fmla="*/ 0 w 5"/>
              <a:gd name="T11" fmla="*/ 0 h 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"/>
              <a:gd name="T19" fmla="*/ 0 h 9"/>
              <a:gd name="T20" fmla="*/ 5 w 5"/>
              <a:gd name="T21" fmla="*/ 9 h 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" h="9">
                <a:moveTo>
                  <a:pt x="0" y="0"/>
                </a:moveTo>
                <a:lnTo>
                  <a:pt x="0" y="3"/>
                </a:lnTo>
                <a:lnTo>
                  <a:pt x="0" y="6"/>
                </a:lnTo>
                <a:lnTo>
                  <a:pt x="5" y="9"/>
                </a:lnTo>
                <a:lnTo>
                  <a:pt x="5" y="0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24" name="Freeform 229"/>
          <p:cNvSpPr>
            <a:spLocks/>
          </p:cNvSpPr>
          <p:nvPr/>
        </p:nvSpPr>
        <p:spPr bwMode="gray">
          <a:xfrm>
            <a:off x="6071094" y="2271062"/>
            <a:ext cx="542097" cy="208506"/>
          </a:xfrm>
          <a:custGeom>
            <a:avLst/>
            <a:gdLst>
              <a:gd name="T0" fmla="*/ 2147483647 w 269"/>
              <a:gd name="T1" fmla="*/ 2147483647 h 138"/>
              <a:gd name="T2" fmla="*/ 2147483647 w 269"/>
              <a:gd name="T3" fmla="*/ 2147483647 h 138"/>
              <a:gd name="T4" fmla="*/ 2147483647 w 269"/>
              <a:gd name="T5" fmla="*/ 2147483647 h 138"/>
              <a:gd name="T6" fmla="*/ 2147483647 w 269"/>
              <a:gd name="T7" fmla="*/ 2147483647 h 138"/>
              <a:gd name="T8" fmla="*/ 2147483647 w 269"/>
              <a:gd name="T9" fmla="*/ 2147483647 h 138"/>
              <a:gd name="T10" fmla="*/ 2147483647 w 269"/>
              <a:gd name="T11" fmla="*/ 2147483647 h 138"/>
              <a:gd name="T12" fmla="*/ 2147483647 w 269"/>
              <a:gd name="T13" fmla="*/ 2147483647 h 138"/>
              <a:gd name="T14" fmla="*/ 2147483647 w 269"/>
              <a:gd name="T15" fmla="*/ 2147483647 h 138"/>
              <a:gd name="T16" fmla="*/ 2147483647 w 269"/>
              <a:gd name="T17" fmla="*/ 2147483647 h 138"/>
              <a:gd name="T18" fmla="*/ 2147483647 w 269"/>
              <a:gd name="T19" fmla="*/ 2147483647 h 138"/>
              <a:gd name="T20" fmla="*/ 2147483647 w 269"/>
              <a:gd name="T21" fmla="*/ 2147483647 h 138"/>
              <a:gd name="T22" fmla="*/ 2147483647 w 269"/>
              <a:gd name="T23" fmla="*/ 2147483647 h 138"/>
              <a:gd name="T24" fmla="*/ 2147483647 w 269"/>
              <a:gd name="T25" fmla="*/ 2147483647 h 138"/>
              <a:gd name="T26" fmla="*/ 2147483647 w 269"/>
              <a:gd name="T27" fmla="*/ 2147483647 h 138"/>
              <a:gd name="T28" fmla="*/ 2147483647 w 269"/>
              <a:gd name="T29" fmla="*/ 2147483647 h 138"/>
              <a:gd name="T30" fmla="*/ 2147483647 w 269"/>
              <a:gd name="T31" fmla="*/ 2147483647 h 138"/>
              <a:gd name="T32" fmla="*/ 2147483647 w 269"/>
              <a:gd name="T33" fmla="*/ 2147483647 h 138"/>
              <a:gd name="T34" fmla="*/ 2147483647 w 269"/>
              <a:gd name="T35" fmla="*/ 2147483647 h 138"/>
              <a:gd name="T36" fmla="*/ 2147483647 w 269"/>
              <a:gd name="T37" fmla="*/ 2147483647 h 138"/>
              <a:gd name="T38" fmla="*/ 2147483647 w 269"/>
              <a:gd name="T39" fmla="*/ 2147483647 h 138"/>
              <a:gd name="T40" fmla="*/ 2147483647 w 269"/>
              <a:gd name="T41" fmla="*/ 2147483647 h 138"/>
              <a:gd name="T42" fmla="*/ 2147483647 w 269"/>
              <a:gd name="T43" fmla="*/ 2147483647 h 138"/>
              <a:gd name="T44" fmla="*/ 0 w 269"/>
              <a:gd name="T45" fmla="*/ 2147483647 h 138"/>
              <a:gd name="T46" fmla="*/ 2147483647 w 269"/>
              <a:gd name="T47" fmla="*/ 2147483647 h 138"/>
              <a:gd name="T48" fmla="*/ 2147483647 w 269"/>
              <a:gd name="T49" fmla="*/ 2147483647 h 138"/>
              <a:gd name="T50" fmla="*/ 2147483647 w 269"/>
              <a:gd name="T51" fmla="*/ 2147483647 h 138"/>
              <a:gd name="T52" fmla="*/ 2147483647 w 269"/>
              <a:gd name="T53" fmla="*/ 2147483647 h 138"/>
              <a:gd name="T54" fmla="*/ 2147483647 w 269"/>
              <a:gd name="T55" fmla="*/ 2147483647 h 138"/>
              <a:gd name="T56" fmla="*/ 2147483647 w 269"/>
              <a:gd name="T57" fmla="*/ 2147483647 h 138"/>
              <a:gd name="T58" fmla="*/ 2147483647 w 269"/>
              <a:gd name="T59" fmla="*/ 2147483647 h 138"/>
              <a:gd name="T60" fmla="*/ 2147483647 w 269"/>
              <a:gd name="T61" fmla="*/ 2147483647 h 138"/>
              <a:gd name="T62" fmla="*/ 2147483647 w 269"/>
              <a:gd name="T63" fmla="*/ 2147483647 h 138"/>
              <a:gd name="T64" fmla="*/ 2147483647 w 269"/>
              <a:gd name="T65" fmla="*/ 2147483647 h 138"/>
              <a:gd name="T66" fmla="*/ 2147483647 w 269"/>
              <a:gd name="T67" fmla="*/ 2147483647 h 138"/>
              <a:gd name="T68" fmla="*/ 2147483647 w 269"/>
              <a:gd name="T69" fmla="*/ 2147483647 h 138"/>
              <a:gd name="T70" fmla="*/ 2147483647 w 269"/>
              <a:gd name="T71" fmla="*/ 2147483647 h 138"/>
              <a:gd name="T72" fmla="*/ 2147483647 w 269"/>
              <a:gd name="T73" fmla="*/ 2147483647 h 138"/>
              <a:gd name="T74" fmla="*/ 2147483647 w 269"/>
              <a:gd name="T75" fmla="*/ 2147483647 h 138"/>
              <a:gd name="T76" fmla="*/ 2147483647 w 269"/>
              <a:gd name="T77" fmla="*/ 2147483647 h 138"/>
              <a:gd name="T78" fmla="*/ 2147483647 w 269"/>
              <a:gd name="T79" fmla="*/ 2147483647 h 138"/>
              <a:gd name="T80" fmla="*/ 2147483647 w 269"/>
              <a:gd name="T81" fmla="*/ 2147483647 h 138"/>
              <a:gd name="T82" fmla="*/ 2147483647 w 269"/>
              <a:gd name="T83" fmla="*/ 2147483647 h 138"/>
              <a:gd name="T84" fmla="*/ 2147483647 w 269"/>
              <a:gd name="T85" fmla="*/ 2147483647 h 138"/>
              <a:gd name="T86" fmla="*/ 2147483647 w 269"/>
              <a:gd name="T87" fmla="*/ 2147483647 h 138"/>
              <a:gd name="T88" fmla="*/ 2147483647 w 269"/>
              <a:gd name="T89" fmla="*/ 2147483647 h 138"/>
              <a:gd name="T90" fmla="*/ 2147483647 w 269"/>
              <a:gd name="T91" fmla="*/ 2147483647 h 138"/>
              <a:gd name="T92" fmla="*/ 2147483647 w 269"/>
              <a:gd name="T93" fmla="*/ 2147483647 h 138"/>
              <a:gd name="T94" fmla="*/ 2147483647 w 269"/>
              <a:gd name="T95" fmla="*/ 2147483647 h 138"/>
              <a:gd name="T96" fmla="*/ 2147483647 w 269"/>
              <a:gd name="T97" fmla="*/ 2147483647 h 138"/>
              <a:gd name="T98" fmla="*/ 2147483647 w 269"/>
              <a:gd name="T99" fmla="*/ 2147483647 h 138"/>
              <a:gd name="T100" fmla="*/ 2147483647 w 269"/>
              <a:gd name="T101" fmla="*/ 2147483647 h 138"/>
              <a:gd name="T102" fmla="*/ 2147483647 w 269"/>
              <a:gd name="T103" fmla="*/ 2147483647 h 138"/>
              <a:gd name="T104" fmla="*/ 2147483647 w 269"/>
              <a:gd name="T105" fmla="*/ 2147483647 h 138"/>
              <a:gd name="T106" fmla="*/ 2147483647 w 269"/>
              <a:gd name="T107" fmla="*/ 2147483647 h 138"/>
              <a:gd name="T108" fmla="*/ 2147483647 w 269"/>
              <a:gd name="T109" fmla="*/ 2147483647 h 138"/>
              <a:gd name="T110" fmla="*/ 2147483647 w 269"/>
              <a:gd name="T111" fmla="*/ 2147483647 h 138"/>
              <a:gd name="T112" fmla="*/ 2147483647 w 269"/>
              <a:gd name="T113" fmla="*/ 2147483647 h 138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269"/>
              <a:gd name="T172" fmla="*/ 0 h 138"/>
              <a:gd name="T173" fmla="*/ 269 w 269"/>
              <a:gd name="T174" fmla="*/ 138 h 138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269" h="138">
                <a:moveTo>
                  <a:pt x="175" y="9"/>
                </a:moveTo>
                <a:lnTo>
                  <a:pt x="169" y="6"/>
                </a:lnTo>
                <a:lnTo>
                  <a:pt x="163" y="3"/>
                </a:lnTo>
                <a:lnTo>
                  <a:pt x="158" y="0"/>
                </a:lnTo>
                <a:lnTo>
                  <a:pt x="152" y="6"/>
                </a:lnTo>
                <a:lnTo>
                  <a:pt x="146" y="3"/>
                </a:lnTo>
                <a:lnTo>
                  <a:pt x="143" y="9"/>
                </a:lnTo>
                <a:lnTo>
                  <a:pt x="135" y="6"/>
                </a:lnTo>
                <a:lnTo>
                  <a:pt x="126" y="9"/>
                </a:lnTo>
                <a:lnTo>
                  <a:pt x="120" y="15"/>
                </a:lnTo>
                <a:lnTo>
                  <a:pt x="126" y="20"/>
                </a:lnTo>
                <a:lnTo>
                  <a:pt x="117" y="23"/>
                </a:lnTo>
                <a:lnTo>
                  <a:pt x="112" y="20"/>
                </a:lnTo>
                <a:lnTo>
                  <a:pt x="109" y="18"/>
                </a:lnTo>
                <a:lnTo>
                  <a:pt x="103" y="20"/>
                </a:lnTo>
                <a:lnTo>
                  <a:pt x="100" y="20"/>
                </a:lnTo>
                <a:lnTo>
                  <a:pt x="97" y="15"/>
                </a:lnTo>
                <a:lnTo>
                  <a:pt x="94" y="20"/>
                </a:lnTo>
                <a:lnTo>
                  <a:pt x="92" y="18"/>
                </a:lnTo>
                <a:lnTo>
                  <a:pt x="86" y="15"/>
                </a:lnTo>
                <a:lnTo>
                  <a:pt x="77" y="18"/>
                </a:lnTo>
                <a:lnTo>
                  <a:pt x="71" y="18"/>
                </a:lnTo>
                <a:lnTo>
                  <a:pt x="69" y="12"/>
                </a:lnTo>
                <a:lnTo>
                  <a:pt x="60" y="12"/>
                </a:lnTo>
                <a:lnTo>
                  <a:pt x="51" y="9"/>
                </a:lnTo>
                <a:lnTo>
                  <a:pt x="48" y="9"/>
                </a:lnTo>
                <a:lnTo>
                  <a:pt x="34" y="12"/>
                </a:lnTo>
                <a:lnTo>
                  <a:pt x="28" y="12"/>
                </a:lnTo>
                <a:lnTo>
                  <a:pt x="25" y="18"/>
                </a:lnTo>
                <a:lnTo>
                  <a:pt x="23" y="18"/>
                </a:lnTo>
                <a:lnTo>
                  <a:pt x="20" y="15"/>
                </a:lnTo>
                <a:lnTo>
                  <a:pt x="25" y="26"/>
                </a:lnTo>
                <a:lnTo>
                  <a:pt x="28" y="35"/>
                </a:lnTo>
                <a:lnTo>
                  <a:pt x="20" y="40"/>
                </a:lnTo>
                <a:lnTo>
                  <a:pt x="14" y="46"/>
                </a:lnTo>
                <a:lnTo>
                  <a:pt x="8" y="55"/>
                </a:lnTo>
                <a:lnTo>
                  <a:pt x="11" y="63"/>
                </a:lnTo>
                <a:lnTo>
                  <a:pt x="14" y="66"/>
                </a:lnTo>
                <a:lnTo>
                  <a:pt x="8" y="66"/>
                </a:lnTo>
                <a:lnTo>
                  <a:pt x="5" y="63"/>
                </a:lnTo>
                <a:lnTo>
                  <a:pt x="3" y="69"/>
                </a:lnTo>
                <a:lnTo>
                  <a:pt x="0" y="72"/>
                </a:lnTo>
                <a:lnTo>
                  <a:pt x="3" y="75"/>
                </a:lnTo>
                <a:lnTo>
                  <a:pt x="11" y="78"/>
                </a:lnTo>
                <a:lnTo>
                  <a:pt x="14" y="81"/>
                </a:lnTo>
                <a:lnTo>
                  <a:pt x="20" y="78"/>
                </a:lnTo>
                <a:lnTo>
                  <a:pt x="25" y="81"/>
                </a:lnTo>
                <a:lnTo>
                  <a:pt x="31" y="81"/>
                </a:lnTo>
                <a:lnTo>
                  <a:pt x="37" y="78"/>
                </a:lnTo>
                <a:lnTo>
                  <a:pt x="46" y="86"/>
                </a:lnTo>
                <a:lnTo>
                  <a:pt x="48" y="84"/>
                </a:lnTo>
                <a:lnTo>
                  <a:pt x="60" y="81"/>
                </a:lnTo>
                <a:lnTo>
                  <a:pt x="66" y="75"/>
                </a:lnTo>
                <a:lnTo>
                  <a:pt x="71" y="75"/>
                </a:lnTo>
                <a:lnTo>
                  <a:pt x="74" y="75"/>
                </a:lnTo>
                <a:lnTo>
                  <a:pt x="83" y="72"/>
                </a:lnTo>
                <a:lnTo>
                  <a:pt x="97" y="78"/>
                </a:lnTo>
                <a:lnTo>
                  <a:pt x="103" y="78"/>
                </a:lnTo>
                <a:lnTo>
                  <a:pt x="112" y="86"/>
                </a:lnTo>
                <a:lnTo>
                  <a:pt x="109" y="89"/>
                </a:lnTo>
                <a:lnTo>
                  <a:pt x="109" y="92"/>
                </a:lnTo>
                <a:lnTo>
                  <a:pt x="117" y="101"/>
                </a:lnTo>
                <a:lnTo>
                  <a:pt x="123" y="109"/>
                </a:lnTo>
                <a:lnTo>
                  <a:pt x="123" y="112"/>
                </a:lnTo>
                <a:lnTo>
                  <a:pt x="123" y="115"/>
                </a:lnTo>
                <a:lnTo>
                  <a:pt x="112" y="112"/>
                </a:lnTo>
                <a:lnTo>
                  <a:pt x="109" y="115"/>
                </a:lnTo>
                <a:lnTo>
                  <a:pt x="109" y="118"/>
                </a:lnTo>
                <a:lnTo>
                  <a:pt x="109" y="121"/>
                </a:lnTo>
                <a:lnTo>
                  <a:pt x="103" y="127"/>
                </a:lnTo>
                <a:lnTo>
                  <a:pt x="100" y="132"/>
                </a:lnTo>
                <a:lnTo>
                  <a:pt x="103" y="132"/>
                </a:lnTo>
                <a:lnTo>
                  <a:pt x="114" y="129"/>
                </a:lnTo>
                <a:lnTo>
                  <a:pt x="120" y="138"/>
                </a:lnTo>
                <a:lnTo>
                  <a:pt x="120" y="132"/>
                </a:lnTo>
                <a:lnTo>
                  <a:pt x="123" y="127"/>
                </a:lnTo>
                <a:lnTo>
                  <a:pt x="132" y="121"/>
                </a:lnTo>
                <a:lnTo>
                  <a:pt x="135" y="115"/>
                </a:lnTo>
                <a:lnTo>
                  <a:pt x="137" y="112"/>
                </a:lnTo>
                <a:lnTo>
                  <a:pt x="143" y="109"/>
                </a:lnTo>
                <a:lnTo>
                  <a:pt x="149" y="109"/>
                </a:lnTo>
                <a:lnTo>
                  <a:pt x="152" y="112"/>
                </a:lnTo>
                <a:lnTo>
                  <a:pt x="155" y="118"/>
                </a:lnTo>
                <a:lnTo>
                  <a:pt x="169" y="118"/>
                </a:lnTo>
                <a:lnTo>
                  <a:pt x="181" y="118"/>
                </a:lnTo>
                <a:lnTo>
                  <a:pt x="189" y="118"/>
                </a:lnTo>
                <a:lnTo>
                  <a:pt x="201" y="115"/>
                </a:lnTo>
                <a:lnTo>
                  <a:pt x="209" y="112"/>
                </a:lnTo>
                <a:lnTo>
                  <a:pt x="221" y="107"/>
                </a:lnTo>
                <a:lnTo>
                  <a:pt x="232" y="104"/>
                </a:lnTo>
                <a:lnTo>
                  <a:pt x="244" y="101"/>
                </a:lnTo>
                <a:lnTo>
                  <a:pt x="247" y="89"/>
                </a:lnTo>
                <a:lnTo>
                  <a:pt x="255" y="84"/>
                </a:lnTo>
                <a:lnTo>
                  <a:pt x="267" y="84"/>
                </a:lnTo>
                <a:lnTo>
                  <a:pt x="269" y="78"/>
                </a:lnTo>
                <a:lnTo>
                  <a:pt x="261" y="69"/>
                </a:lnTo>
                <a:lnTo>
                  <a:pt x="264" y="69"/>
                </a:lnTo>
                <a:lnTo>
                  <a:pt x="267" y="66"/>
                </a:lnTo>
                <a:lnTo>
                  <a:pt x="264" y="63"/>
                </a:lnTo>
                <a:lnTo>
                  <a:pt x="269" y="58"/>
                </a:lnTo>
                <a:lnTo>
                  <a:pt x="267" y="52"/>
                </a:lnTo>
                <a:lnTo>
                  <a:pt x="252" y="52"/>
                </a:lnTo>
                <a:lnTo>
                  <a:pt x="241" y="46"/>
                </a:lnTo>
                <a:lnTo>
                  <a:pt x="238" y="49"/>
                </a:lnTo>
                <a:lnTo>
                  <a:pt x="226" y="38"/>
                </a:lnTo>
                <a:lnTo>
                  <a:pt x="212" y="43"/>
                </a:lnTo>
                <a:lnTo>
                  <a:pt x="203" y="38"/>
                </a:lnTo>
                <a:lnTo>
                  <a:pt x="201" y="40"/>
                </a:lnTo>
                <a:lnTo>
                  <a:pt x="201" y="38"/>
                </a:lnTo>
                <a:lnTo>
                  <a:pt x="198" y="35"/>
                </a:lnTo>
                <a:lnTo>
                  <a:pt x="192" y="29"/>
                </a:lnTo>
                <a:lnTo>
                  <a:pt x="189" y="26"/>
                </a:lnTo>
                <a:lnTo>
                  <a:pt x="189" y="23"/>
                </a:lnTo>
                <a:lnTo>
                  <a:pt x="186" y="23"/>
                </a:lnTo>
                <a:lnTo>
                  <a:pt x="172" y="20"/>
                </a:lnTo>
                <a:lnTo>
                  <a:pt x="169" y="15"/>
                </a:lnTo>
                <a:lnTo>
                  <a:pt x="172" y="12"/>
                </a:lnTo>
                <a:lnTo>
                  <a:pt x="175" y="9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25" name="Freeform 230"/>
          <p:cNvSpPr>
            <a:spLocks/>
          </p:cNvSpPr>
          <p:nvPr/>
        </p:nvSpPr>
        <p:spPr bwMode="gray">
          <a:xfrm>
            <a:off x="6093097" y="2166059"/>
            <a:ext cx="272049" cy="135004"/>
          </a:xfrm>
          <a:custGeom>
            <a:avLst/>
            <a:gdLst>
              <a:gd name="T0" fmla="*/ 2147483647 w 135"/>
              <a:gd name="T1" fmla="*/ 2147483647 h 89"/>
              <a:gd name="T2" fmla="*/ 2147483647 w 135"/>
              <a:gd name="T3" fmla="*/ 0 h 89"/>
              <a:gd name="T4" fmla="*/ 2147483647 w 135"/>
              <a:gd name="T5" fmla="*/ 2147483647 h 89"/>
              <a:gd name="T6" fmla="*/ 2147483647 w 135"/>
              <a:gd name="T7" fmla="*/ 2147483647 h 89"/>
              <a:gd name="T8" fmla="*/ 2147483647 w 135"/>
              <a:gd name="T9" fmla="*/ 2147483647 h 89"/>
              <a:gd name="T10" fmla="*/ 2147483647 w 135"/>
              <a:gd name="T11" fmla="*/ 2147483647 h 89"/>
              <a:gd name="T12" fmla="*/ 2147483647 w 135"/>
              <a:gd name="T13" fmla="*/ 2147483647 h 89"/>
              <a:gd name="T14" fmla="*/ 2147483647 w 135"/>
              <a:gd name="T15" fmla="*/ 2147483647 h 89"/>
              <a:gd name="T16" fmla="*/ 2147483647 w 135"/>
              <a:gd name="T17" fmla="*/ 2147483647 h 89"/>
              <a:gd name="T18" fmla="*/ 2147483647 w 135"/>
              <a:gd name="T19" fmla="*/ 2147483647 h 89"/>
              <a:gd name="T20" fmla="*/ 2147483647 w 135"/>
              <a:gd name="T21" fmla="*/ 2147483647 h 89"/>
              <a:gd name="T22" fmla="*/ 2147483647 w 135"/>
              <a:gd name="T23" fmla="*/ 2147483647 h 89"/>
              <a:gd name="T24" fmla="*/ 2147483647 w 135"/>
              <a:gd name="T25" fmla="*/ 2147483647 h 89"/>
              <a:gd name="T26" fmla="*/ 2147483647 w 135"/>
              <a:gd name="T27" fmla="*/ 2147483647 h 89"/>
              <a:gd name="T28" fmla="*/ 2147483647 w 135"/>
              <a:gd name="T29" fmla="*/ 2147483647 h 89"/>
              <a:gd name="T30" fmla="*/ 2147483647 w 135"/>
              <a:gd name="T31" fmla="*/ 2147483647 h 89"/>
              <a:gd name="T32" fmla="*/ 2147483647 w 135"/>
              <a:gd name="T33" fmla="*/ 2147483647 h 89"/>
              <a:gd name="T34" fmla="*/ 2147483647 w 135"/>
              <a:gd name="T35" fmla="*/ 2147483647 h 89"/>
              <a:gd name="T36" fmla="*/ 2147483647 w 135"/>
              <a:gd name="T37" fmla="*/ 2147483647 h 89"/>
              <a:gd name="T38" fmla="*/ 2147483647 w 135"/>
              <a:gd name="T39" fmla="*/ 2147483647 h 89"/>
              <a:gd name="T40" fmla="*/ 2147483647 w 135"/>
              <a:gd name="T41" fmla="*/ 2147483647 h 89"/>
              <a:gd name="T42" fmla="*/ 2147483647 w 135"/>
              <a:gd name="T43" fmla="*/ 2147483647 h 89"/>
              <a:gd name="T44" fmla="*/ 2147483647 w 135"/>
              <a:gd name="T45" fmla="*/ 2147483647 h 89"/>
              <a:gd name="T46" fmla="*/ 2147483647 w 135"/>
              <a:gd name="T47" fmla="*/ 2147483647 h 89"/>
              <a:gd name="T48" fmla="*/ 2147483647 w 135"/>
              <a:gd name="T49" fmla="*/ 2147483647 h 89"/>
              <a:gd name="T50" fmla="*/ 2147483647 w 135"/>
              <a:gd name="T51" fmla="*/ 2147483647 h 89"/>
              <a:gd name="T52" fmla="*/ 2147483647 w 135"/>
              <a:gd name="T53" fmla="*/ 2147483647 h 89"/>
              <a:gd name="T54" fmla="*/ 2147483647 w 135"/>
              <a:gd name="T55" fmla="*/ 2147483647 h 89"/>
              <a:gd name="T56" fmla="*/ 2147483647 w 135"/>
              <a:gd name="T57" fmla="*/ 2147483647 h 89"/>
              <a:gd name="T58" fmla="*/ 2147483647 w 135"/>
              <a:gd name="T59" fmla="*/ 2147483647 h 89"/>
              <a:gd name="T60" fmla="*/ 2147483647 w 135"/>
              <a:gd name="T61" fmla="*/ 2147483647 h 89"/>
              <a:gd name="T62" fmla="*/ 2147483647 w 135"/>
              <a:gd name="T63" fmla="*/ 2147483647 h 89"/>
              <a:gd name="T64" fmla="*/ 2147483647 w 135"/>
              <a:gd name="T65" fmla="*/ 2147483647 h 89"/>
              <a:gd name="T66" fmla="*/ 2147483647 w 135"/>
              <a:gd name="T67" fmla="*/ 2147483647 h 89"/>
              <a:gd name="T68" fmla="*/ 2147483647 w 135"/>
              <a:gd name="T69" fmla="*/ 2147483647 h 89"/>
              <a:gd name="T70" fmla="*/ 2147483647 w 135"/>
              <a:gd name="T71" fmla="*/ 2147483647 h 89"/>
              <a:gd name="T72" fmla="*/ 2147483647 w 135"/>
              <a:gd name="T73" fmla="*/ 2147483647 h 89"/>
              <a:gd name="T74" fmla="*/ 2147483647 w 135"/>
              <a:gd name="T75" fmla="*/ 2147483647 h 89"/>
              <a:gd name="T76" fmla="*/ 2147483647 w 135"/>
              <a:gd name="T77" fmla="*/ 2147483647 h 89"/>
              <a:gd name="T78" fmla="*/ 2147483647 w 135"/>
              <a:gd name="T79" fmla="*/ 2147483647 h 89"/>
              <a:gd name="T80" fmla="*/ 2147483647 w 135"/>
              <a:gd name="T81" fmla="*/ 2147483647 h 89"/>
              <a:gd name="T82" fmla="*/ 2147483647 w 135"/>
              <a:gd name="T83" fmla="*/ 2147483647 h 89"/>
              <a:gd name="T84" fmla="*/ 2147483647 w 135"/>
              <a:gd name="T85" fmla="*/ 2147483647 h 89"/>
              <a:gd name="T86" fmla="*/ 2147483647 w 135"/>
              <a:gd name="T87" fmla="*/ 2147483647 h 89"/>
              <a:gd name="T88" fmla="*/ 2147483647 w 135"/>
              <a:gd name="T89" fmla="*/ 2147483647 h 89"/>
              <a:gd name="T90" fmla="*/ 2147483647 w 135"/>
              <a:gd name="T91" fmla="*/ 2147483647 h 89"/>
              <a:gd name="T92" fmla="*/ 2147483647 w 135"/>
              <a:gd name="T93" fmla="*/ 2147483647 h 89"/>
              <a:gd name="T94" fmla="*/ 2147483647 w 135"/>
              <a:gd name="T95" fmla="*/ 2147483647 h 89"/>
              <a:gd name="T96" fmla="*/ 2147483647 w 135"/>
              <a:gd name="T97" fmla="*/ 2147483647 h 89"/>
              <a:gd name="T98" fmla="*/ 2147483647 w 135"/>
              <a:gd name="T99" fmla="*/ 2147483647 h 89"/>
              <a:gd name="T100" fmla="*/ 2147483647 w 135"/>
              <a:gd name="T101" fmla="*/ 2147483647 h 89"/>
              <a:gd name="T102" fmla="*/ 2147483647 w 135"/>
              <a:gd name="T103" fmla="*/ 2147483647 h 89"/>
              <a:gd name="T104" fmla="*/ 2147483647 w 135"/>
              <a:gd name="T105" fmla="*/ 2147483647 h 89"/>
              <a:gd name="T106" fmla="*/ 2147483647 w 135"/>
              <a:gd name="T107" fmla="*/ 2147483647 h 89"/>
              <a:gd name="T108" fmla="*/ 2147483647 w 135"/>
              <a:gd name="T109" fmla="*/ 2147483647 h 89"/>
              <a:gd name="T110" fmla="*/ 2147483647 w 135"/>
              <a:gd name="T111" fmla="*/ 2147483647 h 89"/>
              <a:gd name="T112" fmla="*/ 2147483647 w 135"/>
              <a:gd name="T113" fmla="*/ 2147483647 h 89"/>
              <a:gd name="T114" fmla="*/ 2147483647 w 135"/>
              <a:gd name="T115" fmla="*/ 2147483647 h 89"/>
              <a:gd name="T116" fmla="*/ 2147483647 w 135"/>
              <a:gd name="T117" fmla="*/ 2147483647 h 89"/>
              <a:gd name="T118" fmla="*/ 2147483647 w 135"/>
              <a:gd name="T119" fmla="*/ 2147483647 h 89"/>
              <a:gd name="T120" fmla="*/ 2147483647 w 135"/>
              <a:gd name="T121" fmla="*/ 2147483647 h 89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135"/>
              <a:gd name="T184" fmla="*/ 0 h 89"/>
              <a:gd name="T185" fmla="*/ 135 w 135"/>
              <a:gd name="T186" fmla="*/ 89 h 89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135" h="89">
                <a:moveTo>
                  <a:pt x="78" y="3"/>
                </a:moveTo>
                <a:lnTo>
                  <a:pt x="72" y="3"/>
                </a:lnTo>
                <a:lnTo>
                  <a:pt x="69" y="0"/>
                </a:lnTo>
                <a:lnTo>
                  <a:pt x="66" y="3"/>
                </a:lnTo>
                <a:lnTo>
                  <a:pt x="58" y="6"/>
                </a:lnTo>
                <a:lnTo>
                  <a:pt x="43" y="9"/>
                </a:lnTo>
                <a:lnTo>
                  <a:pt x="43" y="12"/>
                </a:lnTo>
                <a:lnTo>
                  <a:pt x="49" y="12"/>
                </a:lnTo>
                <a:lnTo>
                  <a:pt x="49" y="15"/>
                </a:lnTo>
                <a:lnTo>
                  <a:pt x="46" y="20"/>
                </a:lnTo>
                <a:lnTo>
                  <a:pt x="43" y="20"/>
                </a:lnTo>
                <a:lnTo>
                  <a:pt x="40" y="20"/>
                </a:lnTo>
                <a:lnTo>
                  <a:pt x="35" y="23"/>
                </a:lnTo>
                <a:lnTo>
                  <a:pt x="35" y="29"/>
                </a:lnTo>
                <a:lnTo>
                  <a:pt x="37" y="35"/>
                </a:lnTo>
                <a:lnTo>
                  <a:pt x="29" y="38"/>
                </a:lnTo>
                <a:lnTo>
                  <a:pt x="29" y="35"/>
                </a:lnTo>
                <a:lnTo>
                  <a:pt x="26" y="38"/>
                </a:lnTo>
                <a:lnTo>
                  <a:pt x="23" y="38"/>
                </a:lnTo>
                <a:lnTo>
                  <a:pt x="20" y="43"/>
                </a:lnTo>
                <a:lnTo>
                  <a:pt x="17" y="43"/>
                </a:lnTo>
                <a:lnTo>
                  <a:pt x="9" y="41"/>
                </a:lnTo>
                <a:lnTo>
                  <a:pt x="3" y="43"/>
                </a:lnTo>
                <a:lnTo>
                  <a:pt x="12" y="58"/>
                </a:lnTo>
                <a:lnTo>
                  <a:pt x="9" y="64"/>
                </a:lnTo>
                <a:lnTo>
                  <a:pt x="0" y="72"/>
                </a:lnTo>
                <a:lnTo>
                  <a:pt x="6" y="81"/>
                </a:lnTo>
                <a:lnTo>
                  <a:pt x="12" y="84"/>
                </a:lnTo>
                <a:lnTo>
                  <a:pt x="14" y="78"/>
                </a:lnTo>
                <a:lnTo>
                  <a:pt x="23" y="78"/>
                </a:lnTo>
                <a:lnTo>
                  <a:pt x="37" y="75"/>
                </a:lnTo>
                <a:lnTo>
                  <a:pt x="40" y="75"/>
                </a:lnTo>
                <a:lnTo>
                  <a:pt x="58" y="78"/>
                </a:lnTo>
                <a:lnTo>
                  <a:pt x="58" y="81"/>
                </a:lnTo>
                <a:lnTo>
                  <a:pt x="60" y="84"/>
                </a:lnTo>
                <a:lnTo>
                  <a:pt x="66" y="84"/>
                </a:lnTo>
                <a:lnTo>
                  <a:pt x="75" y="81"/>
                </a:lnTo>
                <a:lnTo>
                  <a:pt x="81" y="84"/>
                </a:lnTo>
                <a:lnTo>
                  <a:pt x="86" y="81"/>
                </a:lnTo>
                <a:lnTo>
                  <a:pt x="89" y="81"/>
                </a:lnTo>
                <a:lnTo>
                  <a:pt x="92" y="87"/>
                </a:lnTo>
                <a:lnTo>
                  <a:pt x="95" y="87"/>
                </a:lnTo>
                <a:lnTo>
                  <a:pt x="95" y="84"/>
                </a:lnTo>
                <a:lnTo>
                  <a:pt x="98" y="84"/>
                </a:lnTo>
                <a:lnTo>
                  <a:pt x="103" y="87"/>
                </a:lnTo>
                <a:lnTo>
                  <a:pt x="106" y="89"/>
                </a:lnTo>
                <a:lnTo>
                  <a:pt x="109" y="87"/>
                </a:lnTo>
                <a:lnTo>
                  <a:pt x="106" y="84"/>
                </a:lnTo>
                <a:lnTo>
                  <a:pt x="112" y="75"/>
                </a:lnTo>
                <a:lnTo>
                  <a:pt x="121" y="72"/>
                </a:lnTo>
                <a:lnTo>
                  <a:pt x="115" y="61"/>
                </a:lnTo>
                <a:lnTo>
                  <a:pt x="115" y="58"/>
                </a:lnTo>
                <a:lnTo>
                  <a:pt x="118" y="52"/>
                </a:lnTo>
                <a:lnTo>
                  <a:pt x="121" y="52"/>
                </a:lnTo>
                <a:lnTo>
                  <a:pt x="124" y="55"/>
                </a:lnTo>
                <a:lnTo>
                  <a:pt x="129" y="55"/>
                </a:lnTo>
                <a:lnTo>
                  <a:pt x="132" y="52"/>
                </a:lnTo>
                <a:lnTo>
                  <a:pt x="135" y="49"/>
                </a:lnTo>
                <a:lnTo>
                  <a:pt x="132" y="49"/>
                </a:lnTo>
                <a:lnTo>
                  <a:pt x="132" y="46"/>
                </a:lnTo>
                <a:lnTo>
                  <a:pt x="129" y="43"/>
                </a:lnTo>
                <a:lnTo>
                  <a:pt x="124" y="43"/>
                </a:lnTo>
                <a:lnTo>
                  <a:pt x="121" y="38"/>
                </a:lnTo>
                <a:lnTo>
                  <a:pt x="112" y="35"/>
                </a:lnTo>
                <a:lnTo>
                  <a:pt x="106" y="26"/>
                </a:lnTo>
                <a:lnTo>
                  <a:pt x="103" y="23"/>
                </a:lnTo>
                <a:lnTo>
                  <a:pt x="106" y="20"/>
                </a:lnTo>
                <a:lnTo>
                  <a:pt x="103" y="18"/>
                </a:lnTo>
                <a:lnTo>
                  <a:pt x="103" y="9"/>
                </a:lnTo>
                <a:lnTo>
                  <a:pt x="95" y="6"/>
                </a:lnTo>
                <a:lnTo>
                  <a:pt x="92" y="3"/>
                </a:lnTo>
                <a:lnTo>
                  <a:pt x="89" y="6"/>
                </a:lnTo>
                <a:lnTo>
                  <a:pt x="89" y="9"/>
                </a:lnTo>
                <a:lnTo>
                  <a:pt x="86" y="9"/>
                </a:lnTo>
                <a:lnTo>
                  <a:pt x="83" y="9"/>
                </a:lnTo>
                <a:lnTo>
                  <a:pt x="81" y="6"/>
                </a:lnTo>
                <a:lnTo>
                  <a:pt x="81" y="3"/>
                </a:lnTo>
                <a:lnTo>
                  <a:pt x="78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26" name="Freeform 231"/>
          <p:cNvSpPr>
            <a:spLocks/>
          </p:cNvSpPr>
          <p:nvPr/>
        </p:nvSpPr>
        <p:spPr bwMode="gray">
          <a:xfrm>
            <a:off x="6077095" y="2071556"/>
            <a:ext cx="126023" cy="52501"/>
          </a:xfrm>
          <a:custGeom>
            <a:avLst/>
            <a:gdLst>
              <a:gd name="T0" fmla="*/ 2147483647 w 63"/>
              <a:gd name="T1" fmla="*/ 2147483647 h 35"/>
              <a:gd name="T2" fmla="*/ 2147483647 w 63"/>
              <a:gd name="T3" fmla="*/ 2147483647 h 35"/>
              <a:gd name="T4" fmla="*/ 2147483647 w 63"/>
              <a:gd name="T5" fmla="*/ 2147483647 h 35"/>
              <a:gd name="T6" fmla="*/ 2147483647 w 63"/>
              <a:gd name="T7" fmla="*/ 2147483647 h 35"/>
              <a:gd name="T8" fmla="*/ 2147483647 w 63"/>
              <a:gd name="T9" fmla="*/ 2147483647 h 35"/>
              <a:gd name="T10" fmla="*/ 2147483647 w 63"/>
              <a:gd name="T11" fmla="*/ 2147483647 h 35"/>
              <a:gd name="T12" fmla="*/ 2147483647 w 63"/>
              <a:gd name="T13" fmla="*/ 2147483647 h 35"/>
              <a:gd name="T14" fmla="*/ 2147483647 w 63"/>
              <a:gd name="T15" fmla="*/ 0 h 35"/>
              <a:gd name="T16" fmla="*/ 2147483647 w 63"/>
              <a:gd name="T17" fmla="*/ 0 h 35"/>
              <a:gd name="T18" fmla="*/ 2147483647 w 63"/>
              <a:gd name="T19" fmla="*/ 0 h 35"/>
              <a:gd name="T20" fmla="*/ 2147483647 w 63"/>
              <a:gd name="T21" fmla="*/ 2147483647 h 35"/>
              <a:gd name="T22" fmla="*/ 2147483647 w 63"/>
              <a:gd name="T23" fmla="*/ 2147483647 h 35"/>
              <a:gd name="T24" fmla="*/ 0 w 63"/>
              <a:gd name="T25" fmla="*/ 2147483647 h 35"/>
              <a:gd name="T26" fmla="*/ 0 w 63"/>
              <a:gd name="T27" fmla="*/ 2147483647 h 35"/>
              <a:gd name="T28" fmla="*/ 0 w 63"/>
              <a:gd name="T29" fmla="*/ 2147483647 h 35"/>
              <a:gd name="T30" fmla="*/ 0 w 63"/>
              <a:gd name="T31" fmla="*/ 2147483647 h 35"/>
              <a:gd name="T32" fmla="*/ 0 w 63"/>
              <a:gd name="T33" fmla="*/ 2147483647 h 35"/>
              <a:gd name="T34" fmla="*/ 2147483647 w 63"/>
              <a:gd name="T35" fmla="*/ 2147483647 h 35"/>
              <a:gd name="T36" fmla="*/ 2147483647 w 63"/>
              <a:gd name="T37" fmla="*/ 2147483647 h 35"/>
              <a:gd name="T38" fmla="*/ 2147483647 w 63"/>
              <a:gd name="T39" fmla="*/ 2147483647 h 35"/>
              <a:gd name="T40" fmla="*/ 2147483647 w 63"/>
              <a:gd name="T41" fmla="*/ 2147483647 h 35"/>
              <a:gd name="T42" fmla="*/ 2147483647 w 63"/>
              <a:gd name="T43" fmla="*/ 2147483647 h 35"/>
              <a:gd name="T44" fmla="*/ 2147483647 w 63"/>
              <a:gd name="T45" fmla="*/ 2147483647 h 35"/>
              <a:gd name="T46" fmla="*/ 2147483647 w 63"/>
              <a:gd name="T47" fmla="*/ 2147483647 h 35"/>
              <a:gd name="T48" fmla="*/ 2147483647 w 63"/>
              <a:gd name="T49" fmla="*/ 2147483647 h 35"/>
              <a:gd name="T50" fmla="*/ 2147483647 w 63"/>
              <a:gd name="T51" fmla="*/ 2147483647 h 35"/>
              <a:gd name="T52" fmla="*/ 2147483647 w 63"/>
              <a:gd name="T53" fmla="*/ 2147483647 h 35"/>
              <a:gd name="T54" fmla="*/ 2147483647 w 63"/>
              <a:gd name="T55" fmla="*/ 2147483647 h 35"/>
              <a:gd name="T56" fmla="*/ 2147483647 w 63"/>
              <a:gd name="T57" fmla="*/ 2147483647 h 35"/>
              <a:gd name="T58" fmla="*/ 2147483647 w 63"/>
              <a:gd name="T59" fmla="*/ 2147483647 h 35"/>
              <a:gd name="T60" fmla="*/ 2147483647 w 63"/>
              <a:gd name="T61" fmla="*/ 2147483647 h 35"/>
              <a:gd name="T62" fmla="*/ 2147483647 w 63"/>
              <a:gd name="T63" fmla="*/ 2147483647 h 35"/>
              <a:gd name="T64" fmla="*/ 2147483647 w 63"/>
              <a:gd name="T65" fmla="*/ 2147483647 h 35"/>
              <a:gd name="T66" fmla="*/ 2147483647 w 63"/>
              <a:gd name="T67" fmla="*/ 2147483647 h 35"/>
              <a:gd name="T68" fmla="*/ 2147483647 w 63"/>
              <a:gd name="T69" fmla="*/ 2147483647 h 35"/>
              <a:gd name="T70" fmla="*/ 2147483647 w 63"/>
              <a:gd name="T71" fmla="*/ 2147483647 h 35"/>
              <a:gd name="T72" fmla="*/ 2147483647 w 63"/>
              <a:gd name="T73" fmla="*/ 2147483647 h 35"/>
              <a:gd name="T74" fmla="*/ 2147483647 w 63"/>
              <a:gd name="T75" fmla="*/ 2147483647 h 35"/>
              <a:gd name="T76" fmla="*/ 2147483647 w 63"/>
              <a:gd name="T77" fmla="*/ 2147483647 h 35"/>
              <a:gd name="T78" fmla="*/ 2147483647 w 63"/>
              <a:gd name="T79" fmla="*/ 2147483647 h 35"/>
              <a:gd name="T80" fmla="*/ 2147483647 w 63"/>
              <a:gd name="T81" fmla="*/ 2147483647 h 35"/>
              <a:gd name="T82" fmla="*/ 2147483647 w 63"/>
              <a:gd name="T83" fmla="*/ 2147483647 h 35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63"/>
              <a:gd name="T127" fmla="*/ 0 h 35"/>
              <a:gd name="T128" fmla="*/ 63 w 63"/>
              <a:gd name="T129" fmla="*/ 35 h 35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63" h="35">
                <a:moveTo>
                  <a:pt x="60" y="3"/>
                </a:moveTo>
                <a:lnTo>
                  <a:pt x="60" y="3"/>
                </a:lnTo>
                <a:lnTo>
                  <a:pt x="57" y="3"/>
                </a:lnTo>
                <a:lnTo>
                  <a:pt x="51" y="3"/>
                </a:lnTo>
                <a:lnTo>
                  <a:pt x="43" y="3"/>
                </a:lnTo>
                <a:lnTo>
                  <a:pt x="34" y="0"/>
                </a:lnTo>
                <a:lnTo>
                  <a:pt x="28" y="0"/>
                </a:lnTo>
                <a:lnTo>
                  <a:pt x="17" y="3"/>
                </a:lnTo>
                <a:lnTo>
                  <a:pt x="0" y="6"/>
                </a:lnTo>
                <a:lnTo>
                  <a:pt x="0" y="12"/>
                </a:lnTo>
                <a:lnTo>
                  <a:pt x="0" y="15"/>
                </a:lnTo>
                <a:lnTo>
                  <a:pt x="2" y="20"/>
                </a:lnTo>
                <a:lnTo>
                  <a:pt x="5" y="23"/>
                </a:lnTo>
                <a:lnTo>
                  <a:pt x="11" y="26"/>
                </a:lnTo>
                <a:lnTo>
                  <a:pt x="14" y="23"/>
                </a:lnTo>
                <a:lnTo>
                  <a:pt x="17" y="26"/>
                </a:lnTo>
                <a:lnTo>
                  <a:pt x="17" y="29"/>
                </a:lnTo>
                <a:lnTo>
                  <a:pt x="25" y="26"/>
                </a:lnTo>
                <a:lnTo>
                  <a:pt x="37" y="29"/>
                </a:lnTo>
                <a:lnTo>
                  <a:pt x="45" y="35"/>
                </a:lnTo>
                <a:lnTo>
                  <a:pt x="48" y="35"/>
                </a:lnTo>
                <a:lnTo>
                  <a:pt x="51" y="32"/>
                </a:lnTo>
                <a:lnTo>
                  <a:pt x="57" y="35"/>
                </a:lnTo>
                <a:lnTo>
                  <a:pt x="63" y="32"/>
                </a:lnTo>
                <a:lnTo>
                  <a:pt x="57" y="29"/>
                </a:lnTo>
                <a:lnTo>
                  <a:pt x="57" y="23"/>
                </a:lnTo>
                <a:lnTo>
                  <a:pt x="54" y="17"/>
                </a:lnTo>
                <a:lnTo>
                  <a:pt x="57" y="9"/>
                </a:lnTo>
                <a:lnTo>
                  <a:pt x="60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27" name="Freeform 232"/>
          <p:cNvSpPr>
            <a:spLocks/>
          </p:cNvSpPr>
          <p:nvPr/>
        </p:nvSpPr>
        <p:spPr bwMode="gray">
          <a:xfrm>
            <a:off x="5977077" y="1797048"/>
            <a:ext cx="302055" cy="265508"/>
          </a:xfrm>
          <a:custGeom>
            <a:avLst/>
            <a:gdLst>
              <a:gd name="T0" fmla="*/ 2147483647 w 149"/>
              <a:gd name="T1" fmla="*/ 2147483647 h 175"/>
              <a:gd name="T2" fmla="*/ 2147483647 w 149"/>
              <a:gd name="T3" fmla="*/ 2147483647 h 175"/>
              <a:gd name="T4" fmla="*/ 2147483647 w 149"/>
              <a:gd name="T5" fmla="*/ 2147483647 h 175"/>
              <a:gd name="T6" fmla="*/ 2147483647 w 149"/>
              <a:gd name="T7" fmla="*/ 2147483647 h 175"/>
              <a:gd name="T8" fmla="*/ 2147483647 w 149"/>
              <a:gd name="T9" fmla="*/ 2147483647 h 175"/>
              <a:gd name="T10" fmla="*/ 2147483647 w 149"/>
              <a:gd name="T11" fmla="*/ 2147483647 h 175"/>
              <a:gd name="T12" fmla="*/ 2147483647 w 149"/>
              <a:gd name="T13" fmla="*/ 2147483647 h 175"/>
              <a:gd name="T14" fmla="*/ 2147483647 w 149"/>
              <a:gd name="T15" fmla="*/ 2147483647 h 175"/>
              <a:gd name="T16" fmla="*/ 2147483647 w 149"/>
              <a:gd name="T17" fmla="*/ 2147483647 h 175"/>
              <a:gd name="T18" fmla="*/ 2147483647 w 149"/>
              <a:gd name="T19" fmla="*/ 2147483647 h 175"/>
              <a:gd name="T20" fmla="*/ 2147483647 w 149"/>
              <a:gd name="T21" fmla="*/ 2147483647 h 175"/>
              <a:gd name="T22" fmla="*/ 2147483647 w 149"/>
              <a:gd name="T23" fmla="*/ 2147483647 h 175"/>
              <a:gd name="T24" fmla="*/ 2147483647 w 149"/>
              <a:gd name="T25" fmla="*/ 2147483647 h 175"/>
              <a:gd name="T26" fmla="*/ 0 w 149"/>
              <a:gd name="T27" fmla="*/ 2147483647 h 175"/>
              <a:gd name="T28" fmla="*/ 2147483647 w 149"/>
              <a:gd name="T29" fmla="*/ 2147483647 h 175"/>
              <a:gd name="T30" fmla="*/ 2147483647 w 149"/>
              <a:gd name="T31" fmla="*/ 2147483647 h 175"/>
              <a:gd name="T32" fmla="*/ 2147483647 w 149"/>
              <a:gd name="T33" fmla="*/ 2147483647 h 175"/>
              <a:gd name="T34" fmla="*/ 2147483647 w 149"/>
              <a:gd name="T35" fmla="*/ 2147483647 h 175"/>
              <a:gd name="T36" fmla="*/ 2147483647 w 149"/>
              <a:gd name="T37" fmla="*/ 2147483647 h 175"/>
              <a:gd name="T38" fmla="*/ 2147483647 w 149"/>
              <a:gd name="T39" fmla="*/ 2147483647 h 175"/>
              <a:gd name="T40" fmla="*/ 2147483647 w 149"/>
              <a:gd name="T41" fmla="*/ 2147483647 h 175"/>
              <a:gd name="T42" fmla="*/ 2147483647 w 149"/>
              <a:gd name="T43" fmla="*/ 2147483647 h 175"/>
              <a:gd name="T44" fmla="*/ 2147483647 w 149"/>
              <a:gd name="T45" fmla="*/ 2147483647 h 175"/>
              <a:gd name="T46" fmla="*/ 2147483647 w 149"/>
              <a:gd name="T47" fmla="*/ 2147483647 h 175"/>
              <a:gd name="T48" fmla="*/ 2147483647 w 149"/>
              <a:gd name="T49" fmla="*/ 2147483647 h 175"/>
              <a:gd name="T50" fmla="*/ 2147483647 w 149"/>
              <a:gd name="T51" fmla="*/ 2147483647 h 175"/>
              <a:gd name="T52" fmla="*/ 2147483647 w 149"/>
              <a:gd name="T53" fmla="*/ 2147483647 h 175"/>
              <a:gd name="T54" fmla="*/ 2147483647 w 149"/>
              <a:gd name="T55" fmla="*/ 2147483647 h 175"/>
              <a:gd name="T56" fmla="*/ 2147483647 w 149"/>
              <a:gd name="T57" fmla="*/ 2147483647 h 175"/>
              <a:gd name="T58" fmla="*/ 2147483647 w 149"/>
              <a:gd name="T59" fmla="*/ 2147483647 h 175"/>
              <a:gd name="T60" fmla="*/ 2147483647 w 149"/>
              <a:gd name="T61" fmla="*/ 2147483647 h 175"/>
              <a:gd name="T62" fmla="*/ 2147483647 w 149"/>
              <a:gd name="T63" fmla="*/ 2147483647 h 175"/>
              <a:gd name="T64" fmla="*/ 2147483647 w 149"/>
              <a:gd name="T65" fmla="*/ 2147483647 h 175"/>
              <a:gd name="T66" fmla="*/ 2147483647 w 149"/>
              <a:gd name="T67" fmla="*/ 2147483647 h 175"/>
              <a:gd name="T68" fmla="*/ 2147483647 w 149"/>
              <a:gd name="T69" fmla="*/ 2147483647 h 175"/>
              <a:gd name="T70" fmla="*/ 2147483647 w 149"/>
              <a:gd name="T71" fmla="*/ 2147483647 h 175"/>
              <a:gd name="T72" fmla="*/ 2147483647 w 149"/>
              <a:gd name="T73" fmla="*/ 2147483647 h 175"/>
              <a:gd name="T74" fmla="*/ 2147483647 w 149"/>
              <a:gd name="T75" fmla="*/ 2147483647 h 175"/>
              <a:gd name="T76" fmla="*/ 2147483647 w 149"/>
              <a:gd name="T77" fmla="*/ 2147483647 h 175"/>
              <a:gd name="T78" fmla="*/ 2147483647 w 149"/>
              <a:gd name="T79" fmla="*/ 2147483647 h 175"/>
              <a:gd name="T80" fmla="*/ 2147483647 w 149"/>
              <a:gd name="T81" fmla="*/ 2147483647 h 175"/>
              <a:gd name="T82" fmla="*/ 2147483647 w 149"/>
              <a:gd name="T83" fmla="*/ 2147483647 h 175"/>
              <a:gd name="T84" fmla="*/ 2147483647 w 149"/>
              <a:gd name="T85" fmla="*/ 2147483647 h 175"/>
              <a:gd name="T86" fmla="*/ 2147483647 w 149"/>
              <a:gd name="T87" fmla="*/ 2147483647 h 175"/>
              <a:gd name="T88" fmla="*/ 2147483647 w 149"/>
              <a:gd name="T89" fmla="*/ 2147483647 h 175"/>
              <a:gd name="T90" fmla="*/ 2147483647 w 149"/>
              <a:gd name="T91" fmla="*/ 2147483647 h 175"/>
              <a:gd name="T92" fmla="*/ 2147483647 w 149"/>
              <a:gd name="T93" fmla="*/ 2147483647 h 175"/>
              <a:gd name="T94" fmla="*/ 2147483647 w 149"/>
              <a:gd name="T95" fmla="*/ 2147483647 h 175"/>
              <a:gd name="T96" fmla="*/ 2147483647 w 149"/>
              <a:gd name="T97" fmla="*/ 2147483647 h 175"/>
              <a:gd name="T98" fmla="*/ 2147483647 w 149"/>
              <a:gd name="T99" fmla="*/ 2147483647 h 175"/>
              <a:gd name="T100" fmla="*/ 2147483647 w 149"/>
              <a:gd name="T101" fmla="*/ 2147483647 h 175"/>
              <a:gd name="T102" fmla="*/ 2147483647 w 149"/>
              <a:gd name="T103" fmla="*/ 2147483647 h 175"/>
              <a:gd name="T104" fmla="*/ 2147483647 w 149"/>
              <a:gd name="T105" fmla="*/ 2147483647 h 175"/>
              <a:gd name="T106" fmla="*/ 2147483647 w 149"/>
              <a:gd name="T107" fmla="*/ 2147483647 h 175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49"/>
              <a:gd name="T163" fmla="*/ 0 h 175"/>
              <a:gd name="T164" fmla="*/ 149 w 149"/>
              <a:gd name="T165" fmla="*/ 175 h 175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49" h="175">
                <a:moveTo>
                  <a:pt x="97" y="18"/>
                </a:moveTo>
                <a:lnTo>
                  <a:pt x="97" y="18"/>
                </a:lnTo>
                <a:lnTo>
                  <a:pt x="97" y="12"/>
                </a:lnTo>
                <a:lnTo>
                  <a:pt x="100" y="9"/>
                </a:lnTo>
                <a:lnTo>
                  <a:pt x="100" y="6"/>
                </a:lnTo>
                <a:lnTo>
                  <a:pt x="92" y="3"/>
                </a:lnTo>
                <a:lnTo>
                  <a:pt x="83" y="0"/>
                </a:lnTo>
                <a:lnTo>
                  <a:pt x="71" y="3"/>
                </a:lnTo>
                <a:lnTo>
                  <a:pt x="69" y="6"/>
                </a:lnTo>
                <a:lnTo>
                  <a:pt x="63" y="6"/>
                </a:lnTo>
                <a:lnTo>
                  <a:pt x="63" y="9"/>
                </a:lnTo>
                <a:lnTo>
                  <a:pt x="63" y="12"/>
                </a:lnTo>
                <a:lnTo>
                  <a:pt x="63" y="18"/>
                </a:lnTo>
                <a:lnTo>
                  <a:pt x="63" y="20"/>
                </a:lnTo>
                <a:lnTo>
                  <a:pt x="60" y="20"/>
                </a:lnTo>
                <a:lnTo>
                  <a:pt x="57" y="20"/>
                </a:lnTo>
                <a:lnTo>
                  <a:pt x="49" y="26"/>
                </a:lnTo>
                <a:lnTo>
                  <a:pt x="37" y="23"/>
                </a:lnTo>
                <a:lnTo>
                  <a:pt x="34" y="23"/>
                </a:lnTo>
                <a:lnTo>
                  <a:pt x="28" y="23"/>
                </a:lnTo>
                <a:lnTo>
                  <a:pt x="23" y="23"/>
                </a:lnTo>
                <a:lnTo>
                  <a:pt x="20" y="23"/>
                </a:lnTo>
                <a:lnTo>
                  <a:pt x="17" y="23"/>
                </a:lnTo>
                <a:lnTo>
                  <a:pt x="14" y="20"/>
                </a:lnTo>
                <a:lnTo>
                  <a:pt x="8" y="15"/>
                </a:lnTo>
                <a:lnTo>
                  <a:pt x="3" y="15"/>
                </a:lnTo>
                <a:lnTo>
                  <a:pt x="3" y="18"/>
                </a:lnTo>
                <a:lnTo>
                  <a:pt x="0" y="18"/>
                </a:lnTo>
                <a:lnTo>
                  <a:pt x="8" y="23"/>
                </a:lnTo>
                <a:lnTo>
                  <a:pt x="17" y="26"/>
                </a:lnTo>
                <a:lnTo>
                  <a:pt x="23" y="26"/>
                </a:lnTo>
                <a:lnTo>
                  <a:pt x="28" y="26"/>
                </a:lnTo>
                <a:lnTo>
                  <a:pt x="34" y="32"/>
                </a:lnTo>
                <a:lnTo>
                  <a:pt x="37" y="35"/>
                </a:lnTo>
                <a:lnTo>
                  <a:pt x="40" y="41"/>
                </a:lnTo>
                <a:lnTo>
                  <a:pt x="40" y="43"/>
                </a:lnTo>
                <a:lnTo>
                  <a:pt x="40" y="46"/>
                </a:lnTo>
                <a:lnTo>
                  <a:pt x="43" y="52"/>
                </a:lnTo>
                <a:lnTo>
                  <a:pt x="43" y="58"/>
                </a:lnTo>
                <a:lnTo>
                  <a:pt x="43" y="61"/>
                </a:lnTo>
                <a:lnTo>
                  <a:pt x="43" y="64"/>
                </a:lnTo>
                <a:lnTo>
                  <a:pt x="49" y="72"/>
                </a:lnTo>
                <a:lnTo>
                  <a:pt x="57" y="75"/>
                </a:lnTo>
                <a:lnTo>
                  <a:pt x="63" y="78"/>
                </a:lnTo>
                <a:lnTo>
                  <a:pt x="66" y="84"/>
                </a:lnTo>
                <a:lnTo>
                  <a:pt x="66" y="86"/>
                </a:lnTo>
                <a:lnTo>
                  <a:pt x="63" y="89"/>
                </a:lnTo>
                <a:lnTo>
                  <a:pt x="57" y="86"/>
                </a:lnTo>
                <a:lnTo>
                  <a:pt x="57" y="84"/>
                </a:lnTo>
                <a:lnTo>
                  <a:pt x="51" y="86"/>
                </a:lnTo>
                <a:lnTo>
                  <a:pt x="51" y="92"/>
                </a:lnTo>
                <a:lnTo>
                  <a:pt x="49" y="98"/>
                </a:lnTo>
                <a:lnTo>
                  <a:pt x="43" y="104"/>
                </a:lnTo>
                <a:lnTo>
                  <a:pt x="31" y="109"/>
                </a:lnTo>
                <a:lnTo>
                  <a:pt x="26" y="115"/>
                </a:lnTo>
                <a:lnTo>
                  <a:pt x="23" y="115"/>
                </a:lnTo>
                <a:lnTo>
                  <a:pt x="17" y="115"/>
                </a:lnTo>
                <a:lnTo>
                  <a:pt x="14" y="124"/>
                </a:lnTo>
                <a:lnTo>
                  <a:pt x="11" y="124"/>
                </a:lnTo>
                <a:lnTo>
                  <a:pt x="14" y="127"/>
                </a:lnTo>
                <a:lnTo>
                  <a:pt x="17" y="132"/>
                </a:lnTo>
                <a:lnTo>
                  <a:pt x="17" y="135"/>
                </a:lnTo>
                <a:lnTo>
                  <a:pt x="14" y="135"/>
                </a:lnTo>
                <a:lnTo>
                  <a:pt x="14" y="138"/>
                </a:lnTo>
                <a:lnTo>
                  <a:pt x="17" y="144"/>
                </a:lnTo>
                <a:lnTo>
                  <a:pt x="20" y="144"/>
                </a:lnTo>
                <a:lnTo>
                  <a:pt x="20" y="147"/>
                </a:lnTo>
                <a:lnTo>
                  <a:pt x="20" y="150"/>
                </a:lnTo>
                <a:lnTo>
                  <a:pt x="20" y="153"/>
                </a:lnTo>
                <a:lnTo>
                  <a:pt x="17" y="155"/>
                </a:lnTo>
                <a:lnTo>
                  <a:pt x="17" y="161"/>
                </a:lnTo>
                <a:lnTo>
                  <a:pt x="20" y="164"/>
                </a:lnTo>
                <a:lnTo>
                  <a:pt x="23" y="164"/>
                </a:lnTo>
                <a:lnTo>
                  <a:pt x="28" y="164"/>
                </a:lnTo>
                <a:lnTo>
                  <a:pt x="26" y="167"/>
                </a:lnTo>
                <a:lnTo>
                  <a:pt x="28" y="170"/>
                </a:lnTo>
                <a:lnTo>
                  <a:pt x="34" y="167"/>
                </a:lnTo>
                <a:lnTo>
                  <a:pt x="34" y="173"/>
                </a:lnTo>
                <a:lnTo>
                  <a:pt x="40" y="170"/>
                </a:lnTo>
                <a:lnTo>
                  <a:pt x="43" y="173"/>
                </a:lnTo>
                <a:lnTo>
                  <a:pt x="43" y="175"/>
                </a:lnTo>
                <a:lnTo>
                  <a:pt x="51" y="175"/>
                </a:lnTo>
                <a:lnTo>
                  <a:pt x="60" y="173"/>
                </a:lnTo>
                <a:lnTo>
                  <a:pt x="66" y="170"/>
                </a:lnTo>
                <a:lnTo>
                  <a:pt x="74" y="167"/>
                </a:lnTo>
                <a:lnTo>
                  <a:pt x="77" y="167"/>
                </a:lnTo>
                <a:lnTo>
                  <a:pt x="80" y="167"/>
                </a:lnTo>
                <a:lnTo>
                  <a:pt x="86" y="167"/>
                </a:lnTo>
                <a:lnTo>
                  <a:pt x="94" y="164"/>
                </a:lnTo>
                <a:lnTo>
                  <a:pt x="106" y="164"/>
                </a:lnTo>
                <a:lnTo>
                  <a:pt x="115" y="155"/>
                </a:lnTo>
                <a:lnTo>
                  <a:pt x="129" y="144"/>
                </a:lnTo>
                <a:lnTo>
                  <a:pt x="138" y="135"/>
                </a:lnTo>
                <a:lnTo>
                  <a:pt x="143" y="127"/>
                </a:lnTo>
                <a:lnTo>
                  <a:pt x="149" y="124"/>
                </a:lnTo>
                <a:lnTo>
                  <a:pt x="138" y="115"/>
                </a:lnTo>
                <a:lnTo>
                  <a:pt x="129" y="109"/>
                </a:lnTo>
                <a:lnTo>
                  <a:pt x="126" y="109"/>
                </a:lnTo>
                <a:lnTo>
                  <a:pt x="132" y="101"/>
                </a:lnTo>
                <a:lnTo>
                  <a:pt x="123" y="95"/>
                </a:lnTo>
                <a:lnTo>
                  <a:pt x="126" y="95"/>
                </a:lnTo>
                <a:lnTo>
                  <a:pt x="126" y="89"/>
                </a:lnTo>
                <a:lnTo>
                  <a:pt x="120" y="86"/>
                </a:lnTo>
                <a:lnTo>
                  <a:pt x="117" y="89"/>
                </a:lnTo>
                <a:lnTo>
                  <a:pt x="117" y="86"/>
                </a:lnTo>
                <a:lnTo>
                  <a:pt x="120" y="81"/>
                </a:lnTo>
                <a:lnTo>
                  <a:pt x="117" y="72"/>
                </a:lnTo>
                <a:lnTo>
                  <a:pt x="120" y="69"/>
                </a:lnTo>
                <a:lnTo>
                  <a:pt x="115" y="64"/>
                </a:lnTo>
                <a:lnTo>
                  <a:pt x="106" y="55"/>
                </a:lnTo>
                <a:lnTo>
                  <a:pt x="106" y="52"/>
                </a:lnTo>
                <a:lnTo>
                  <a:pt x="106" y="49"/>
                </a:lnTo>
                <a:lnTo>
                  <a:pt x="109" y="43"/>
                </a:lnTo>
                <a:lnTo>
                  <a:pt x="112" y="43"/>
                </a:lnTo>
                <a:lnTo>
                  <a:pt x="115" y="41"/>
                </a:lnTo>
                <a:lnTo>
                  <a:pt x="109" y="35"/>
                </a:lnTo>
                <a:lnTo>
                  <a:pt x="97" y="32"/>
                </a:lnTo>
                <a:lnTo>
                  <a:pt x="94" y="32"/>
                </a:lnTo>
                <a:lnTo>
                  <a:pt x="94" y="23"/>
                </a:lnTo>
                <a:lnTo>
                  <a:pt x="97" y="23"/>
                </a:lnTo>
                <a:lnTo>
                  <a:pt x="97" y="18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28" name="Freeform 233"/>
          <p:cNvSpPr>
            <a:spLocks/>
          </p:cNvSpPr>
          <p:nvPr/>
        </p:nvSpPr>
        <p:spPr bwMode="gray">
          <a:xfrm>
            <a:off x="6011083" y="2115057"/>
            <a:ext cx="208037" cy="60002"/>
          </a:xfrm>
          <a:custGeom>
            <a:avLst/>
            <a:gdLst>
              <a:gd name="T0" fmla="*/ 2147483647 w 103"/>
              <a:gd name="T1" fmla="*/ 2147483647 h 40"/>
              <a:gd name="T2" fmla="*/ 2147483647 w 103"/>
              <a:gd name="T3" fmla="*/ 2147483647 h 40"/>
              <a:gd name="T4" fmla="*/ 2147483647 w 103"/>
              <a:gd name="T5" fmla="*/ 2147483647 h 40"/>
              <a:gd name="T6" fmla="*/ 2147483647 w 103"/>
              <a:gd name="T7" fmla="*/ 2147483647 h 40"/>
              <a:gd name="T8" fmla="*/ 2147483647 w 103"/>
              <a:gd name="T9" fmla="*/ 2147483647 h 40"/>
              <a:gd name="T10" fmla="*/ 2147483647 w 103"/>
              <a:gd name="T11" fmla="*/ 2147483647 h 40"/>
              <a:gd name="T12" fmla="*/ 2147483647 w 103"/>
              <a:gd name="T13" fmla="*/ 2147483647 h 40"/>
              <a:gd name="T14" fmla="*/ 2147483647 w 103"/>
              <a:gd name="T15" fmla="*/ 2147483647 h 40"/>
              <a:gd name="T16" fmla="*/ 2147483647 w 103"/>
              <a:gd name="T17" fmla="*/ 2147483647 h 40"/>
              <a:gd name="T18" fmla="*/ 2147483647 w 103"/>
              <a:gd name="T19" fmla="*/ 2147483647 h 40"/>
              <a:gd name="T20" fmla="*/ 2147483647 w 103"/>
              <a:gd name="T21" fmla="*/ 2147483647 h 40"/>
              <a:gd name="T22" fmla="*/ 2147483647 w 103"/>
              <a:gd name="T23" fmla="*/ 2147483647 h 40"/>
              <a:gd name="T24" fmla="*/ 2147483647 w 103"/>
              <a:gd name="T25" fmla="*/ 2147483647 h 40"/>
              <a:gd name="T26" fmla="*/ 2147483647 w 103"/>
              <a:gd name="T27" fmla="*/ 2147483647 h 40"/>
              <a:gd name="T28" fmla="*/ 2147483647 w 103"/>
              <a:gd name="T29" fmla="*/ 2147483647 h 40"/>
              <a:gd name="T30" fmla="*/ 0 w 103"/>
              <a:gd name="T31" fmla="*/ 2147483647 h 40"/>
              <a:gd name="T32" fmla="*/ 2147483647 w 103"/>
              <a:gd name="T33" fmla="*/ 2147483647 h 40"/>
              <a:gd name="T34" fmla="*/ 2147483647 w 103"/>
              <a:gd name="T35" fmla="*/ 2147483647 h 40"/>
              <a:gd name="T36" fmla="*/ 2147483647 w 103"/>
              <a:gd name="T37" fmla="*/ 2147483647 h 40"/>
              <a:gd name="T38" fmla="*/ 2147483647 w 103"/>
              <a:gd name="T39" fmla="*/ 2147483647 h 40"/>
              <a:gd name="T40" fmla="*/ 2147483647 w 103"/>
              <a:gd name="T41" fmla="*/ 2147483647 h 40"/>
              <a:gd name="T42" fmla="*/ 2147483647 w 103"/>
              <a:gd name="T43" fmla="*/ 2147483647 h 40"/>
              <a:gd name="T44" fmla="*/ 2147483647 w 103"/>
              <a:gd name="T45" fmla="*/ 2147483647 h 40"/>
              <a:gd name="T46" fmla="*/ 2147483647 w 103"/>
              <a:gd name="T47" fmla="*/ 2147483647 h 40"/>
              <a:gd name="T48" fmla="*/ 2147483647 w 103"/>
              <a:gd name="T49" fmla="*/ 2147483647 h 40"/>
              <a:gd name="T50" fmla="*/ 2147483647 w 103"/>
              <a:gd name="T51" fmla="*/ 2147483647 h 40"/>
              <a:gd name="T52" fmla="*/ 2147483647 w 103"/>
              <a:gd name="T53" fmla="*/ 2147483647 h 40"/>
              <a:gd name="T54" fmla="*/ 2147483647 w 103"/>
              <a:gd name="T55" fmla="*/ 2147483647 h 40"/>
              <a:gd name="T56" fmla="*/ 2147483647 w 103"/>
              <a:gd name="T57" fmla="*/ 2147483647 h 40"/>
              <a:gd name="T58" fmla="*/ 2147483647 w 103"/>
              <a:gd name="T59" fmla="*/ 2147483647 h 40"/>
              <a:gd name="T60" fmla="*/ 2147483647 w 103"/>
              <a:gd name="T61" fmla="*/ 2147483647 h 40"/>
              <a:gd name="T62" fmla="*/ 2147483647 w 103"/>
              <a:gd name="T63" fmla="*/ 2147483647 h 40"/>
              <a:gd name="T64" fmla="*/ 2147483647 w 103"/>
              <a:gd name="T65" fmla="*/ 2147483647 h 40"/>
              <a:gd name="T66" fmla="*/ 2147483647 w 103"/>
              <a:gd name="T67" fmla="*/ 2147483647 h 40"/>
              <a:gd name="T68" fmla="*/ 2147483647 w 103"/>
              <a:gd name="T69" fmla="*/ 2147483647 h 40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03"/>
              <a:gd name="T106" fmla="*/ 0 h 40"/>
              <a:gd name="T107" fmla="*/ 103 w 103"/>
              <a:gd name="T108" fmla="*/ 40 h 40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03" h="40">
                <a:moveTo>
                  <a:pt x="98" y="11"/>
                </a:moveTo>
                <a:lnTo>
                  <a:pt x="98" y="11"/>
                </a:lnTo>
                <a:lnTo>
                  <a:pt x="92" y="11"/>
                </a:lnTo>
                <a:lnTo>
                  <a:pt x="89" y="11"/>
                </a:lnTo>
                <a:lnTo>
                  <a:pt x="86" y="11"/>
                </a:lnTo>
                <a:lnTo>
                  <a:pt x="86" y="9"/>
                </a:lnTo>
                <a:lnTo>
                  <a:pt x="83" y="9"/>
                </a:lnTo>
                <a:lnTo>
                  <a:pt x="80" y="9"/>
                </a:lnTo>
                <a:lnTo>
                  <a:pt x="77" y="9"/>
                </a:lnTo>
                <a:lnTo>
                  <a:pt x="75" y="9"/>
                </a:lnTo>
                <a:lnTo>
                  <a:pt x="69" y="3"/>
                </a:lnTo>
                <a:lnTo>
                  <a:pt x="57" y="0"/>
                </a:lnTo>
                <a:lnTo>
                  <a:pt x="49" y="3"/>
                </a:lnTo>
                <a:lnTo>
                  <a:pt x="49" y="14"/>
                </a:lnTo>
                <a:lnTo>
                  <a:pt x="43" y="17"/>
                </a:lnTo>
                <a:lnTo>
                  <a:pt x="37" y="17"/>
                </a:lnTo>
                <a:lnTo>
                  <a:pt x="23" y="9"/>
                </a:lnTo>
                <a:lnTo>
                  <a:pt x="17" y="6"/>
                </a:lnTo>
                <a:lnTo>
                  <a:pt x="11" y="6"/>
                </a:lnTo>
                <a:lnTo>
                  <a:pt x="6" y="11"/>
                </a:lnTo>
                <a:lnTo>
                  <a:pt x="0" y="17"/>
                </a:lnTo>
                <a:lnTo>
                  <a:pt x="0" y="23"/>
                </a:lnTo>
                <a:lnTo>
                  <a:pt x="3" y="34"/>
                </a:lnTo>
                <a:lnTo>
                  <a:pt x="17" y="29"/>
                </a:lnTo>
                <a:lnTo>
                  <a:pt x="20" y="29"/>
                </a:lnTo>
                <a:lnTo>
                  <a:pt x="32" y="29"/>
                </a:lnTo>
                <a:lnTo>
                  <a:pt x="34" y="29"/>
                </a:lnTo>
                <a:lnTo>
                  <a:pt x="46" y="26"/>
                </a:lnTo>
                <a:lnTo>
                  <a:pt x="57" y="26"/>
                </a:lnTo>
                <a:lnTo>
                  <a:pt x="63" y="32"/>
                </a:lnTo>
                <a:lnTo>
                  <a:pt x="69" y="34"/>
                </a:lnTo>
                <a:lnTo>
                  <a:pt x="83" y="40"/>
                </a:lnTo>
                <a:lnTo>
                  <a:pt x="98" y="37"/>
                </a:lnTo>
                <a:lnTo>
                  <a:pt x="103" y="34"/>
                </a:lnTo>
                <a:lnTo>
                  <a:pt x="100" y="26"/>
                </a:lnTo>
                <a:lnTo>
                  <a:pt x="95" y="23"/>
                </a:lnTo>
                <a:lnTo>
                  <a:pt x="95" y="20"/>
                </a:lnTo>
                <a:lnTo>
                  <a:pt x="98" y="11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29" name="Freeform 234"/>
          <p:cNvSpPr>
            <a:spLocks/>
          </p:cNvSpPr>
          <p:nvPr/>
        </p:nvSpPr>
        <p:spPr bwMode="gray">
          <a:xfrm>
            <a:off x="5825049" y="2202060"/>
            <a:ext cx="296053" cy="162004"/>
          </a:xfrm>
          <a:custGeom>
            <a:avLst/>
            <a:gdLst>
              <a:gd name="T0" fmla="*/ 2147483647 w 146"/>
              <a:gd name="T1" fmla="*/ 2147483647 h 107"/>
              <a:gd name="T2" fmla="*/ 2147483647 w 146"/>
              <a:gd name="T3" fmla="*/ 2147483647 h 107"/>
              <a:gd name="T4" fmla="*/ 2147483647 w 146"/>
              <a:gd name="T5" fmla="*/ 2147483647 h 107"/>
              <a:gd name="T6" fmla="*/ 2147483647 w 146"/>
              <a:gd name="T7" fmla="*/ 2147483647 h 107"/>
              <a:gd name="T8" fmla="*/ 2147483647 w 146"/>
              <a:gd name="T9" fmla="*/ 2147483647 h 107"/>
              <a:gd name="T10" fmla="*/ 2147483647 w 146"/>
              <a:gd name="T11" fmla="*/ 2147483647 h 107"/>
              <a:gd name="T12" fmla="*/ 2147483647 w 146"/>
              <a:gd name="T13" fmla="*/ 2147483647 h 107"/>
              <a:gd name="T14" fmla="*/ 2147483647 w 146"/>
              <a:gd name="T15" fmla="*/ 2147483647 h 107"/>
              <a:gd name="T16" fmla="*/ 2147483647 w 146"/>
              <a:gd name="T17" fmla="*/ 2147483647 h 107"/>
              <a:gd name="T18" fmla="*/ 2147483647 w 146"/>
              <a:gd name="T19" fmla="*/ 2147483647 h 107"/>
              <a:gd name="T20" fmla="*/ 2147483647 w 146"/>
              <a:gd name="T21" fmla="*/ 2147483647 h 107"/>
              <a:gd name="T22" fmla="*/ 2147483647 w 146"/>
              <a:gd name="T23" fmla="*/ 2147483647 h 107"/>
              <a:gd name="T24" fmla="*/ 2147483647 w 146"/>
              <a:gd name="T25" fmla="*/ 2147483647 h 107"/>
              <a:gd name="T26" fmla="*/ 2147483647 w 146"/>
              <a:gd name="T27" fmla="*/ 2147483647 h 107"/>
              <a:gd name="T28" fmla="*/ 2147483647 w 146"/>
              <a:gd name="T29" fmla="*/ 2147483647 h 107"/>
              <a:gd name="T30" fmla="*/ 2147483647 w 146"/>
              <a:gd name="T31" fmla="*/ 2147483647 h 107"/>
              <a:gd name="T32" fmla="*/ 2147483647 w 146"/>
              <a:gd name="T33" fmla="*/ 2147483647 h 107"/>
              <a:gd name="T34" fmla="*/ 2147483647 w 146"/>
              <a:gd name="T35" fmla="*/ 2147483647 h 107"/>
              <a:gd name="T36" fmla="*/ 2147483647 w 146"/>
              <a:gd name="T37" fmla="*/ 2147483647 h 107"/>
              <a:gd name="T38" fmla="*/ 2147483647 w 146"/>
              <a:gd name="T39" fmla="*/ 2147483647 h 107"/>
              <a:gd name="T40" fmla="*/ 2147483647 w 146"/>
              <a:gd name="T41" fmla="*/ 2147483647 h 107"/>
              <a:gd name="T42" fmla="*/ 2147483647 w 146"/>
              <a:gd name="T43" fmla="*/ 2147483647 h 107"/>
              <a:gd name="T44" fmla="*/ 2147483647 w 146"/>
              <a:gd name="T45" fmla="*/ 2147483647 h 107"/>
              <a:gd name="T46" fmla="*/ 2147483647 w 146"/>
              <a:gd name="T47" fmla="*/ 2147483647 h 107"/>
              <a:gd name="T48" fmla="*/ 2147483647 w 146"/>
              <a:gd name="T49" fmla="*/ 2147483647 h 107"/>
              <a:gd name="T50" fmla="*/ 2147483647 w 146"/>
              <a:gd name="T51" fmla="*/ 2147483647 h 107"/>
              <a:gd name="T52" fmla="*/ 2147483647 w 146"/>
              <a:gd name="T53" fmla="*/ 2147483647 h 107"/>
              <a:gd name="T54" fmla="*/ 2147483647 w 146"/>
              <a:gd name="T55" fmla="*/ 2147483647 h 107"/>
              <a:gd name="T56" fmla="*/ 2147483647 w 146"/>
              <a:gd name="T57" fmla="*/ 2147483647 h 107"/>
              <a:gd name="T58" fmla="*/ 2147483647 w 146"/>
              <a:gd name="T59" fmla="*/ 2147483647 h 107"/>
              <a:gd name="T60" fmla="*/ 2147483647 w 146"/>
              <a:gd name="T61" fmla="*/ 2147483647 h 107"/>
              <a:gd name="T62" fmla="*/ 2147483647 w 146"/>
              <a:gd name="T63" fmla="*/ 2147483647 h 107"/>
              <a:gd name="T64" fmla="*/ 2147483647 w 146"/>
              <a:gd name="T65" fmla="*/ 2147483647 h 107"/>
              <a:gd name="T66" fmla="*/ 2147483647 w 146"/>
              <a:gd name="T67" fmla="*/ 0 h 107"/>
              <a:gd name="T68" fmla="*/ 2147483647 w 146"/>
              <a:gd name="T69" fmla="*/ 0 h 107"/>
              <a:gd name="T70" fmla="*/ 2147483647 w 146"/>
              <a:gd name="T71" fmla="*/ 2147483647 h 107"/>
              <a:gd name="T72" fmla="*/ 2147483647 w 146"/>
              <a:gd name="T73" fmla="*/ 2147483647 h 107"/>
              <a:gd name="T74" fmla="*/ 2147483647 w 146"/>
              <a:gd name="T75" fmla="*/ 2147483647 h 107"/>
              <a:gd name="T76" fmla="*/ 2147483647 w 146"/>
              <a:gd name="T77" fmla="*/ 2147483647 h 107"/>
              <a:gd name="T78" fmla="*/ 2147483647 w 146"/>
              <a:gd name="T79" fmla="*/ 2147483647 h 107"/>
              <a:gd name="T80" fmla="*/ 0 w 146"/>
              <a:gd name="T81" fmla="*/ 2147483647 h 107"/>
              <a:gd name="T82" fmla="*/ 2147483647 w 146"/>
              <a:gd name="T83" fmla="*/ 2147483647 h 107"/>
              <a:gd name="T84" fmla="*/ 2147483647 w 146"/>
              <a:gd name="T85" fmla="*/ 2147483647 h 107"/>
              <a:gd name="T86" fmla="*/ 2147483647 w 146"/>
              <a:gd name="T87" fmla="*/ 2147483647 h 107"/>
              <a:gd name="T88" fmla="*/ 2147483647 w 146"/>
              <a:gd name="T89" fmla="*/ 2147483647 h 107"/>
              <a:gd name="T90" fmla="*/ 2147483647 w 146"/>
              <a:gd name="T91" fmla="*/ 2147483647 h 107"/>
              <a:gd name="T92" fmla="*/ 2147483647 w 146"/>
              <a:gd name="T93" fmla="*/ 2147483647 h 107"/>
              <a:gd name="T94" fmla="*/ 2147483647 w 146"/>
              <a:gd name="T95" fmla="*/ 2147483647 h 107"/>
              <a:gd name="T96" fmla="*/ 2147483647 w 146"/>
              <a:gd name="T97" fmla="*/ 2147483647 h 107"/>
              <a:gd name="T98" fmla="*/ 2147483647 w 146"/>
              <a:gd name="T99" fmla="*/ 2147483647 h 107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146"/>
              <a:gd name="T151" fmla="*/ 0 h 107"/>
              <a:gd name="T152" fmla="*/ 146 w 146"/>
              <a:gd name="T153" fmla="*/ 107 h 107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146" h="107">
                <a:moveTo>
                  <a:pt x="9" y="55"/>
                </a:moveTo>
                <a:lnTo>
                  <a:pt x="9" y="55"/>
                </a:lnTo>
                <a:lnTo>
                  <a:pt x="9" y="58"/>
                </a:lnTo>
                <a:lnTo>
                  <a:pt x="14" y="64"/>
                </a:lnTo>
                <a:lnTo>
                  <a:pt x="14" y="66"/>
                </a:lnTo>
                <a:lnTo>
                  <a:pt x="12" y="72"/>
                </a:lnTo>
                <a:lnTo>
                  <a:pt x="23" y="78"/>
                </a:lnTo>
                <a:lnTo>
                  <a:pt x="35" y="78"/>
                </a:lnTo>
                <a:lnTo>
                  <a:pt x="43" y="84"/>
                </a:lnTo>
                <a:lnTo>
                  <a:pt x="52" y="81"/>
                </a:lnTo>
                <a:lnTo>
                  <a:pt x="52" y="84"/>
                </a:lnTo>
                <a:lnTo>
                  <a:pt x="55" y="89"/>
                </a:lnTo>
                <a:lnTo>
                  <a:pt x="58" y="89"/>
                </a:lnTo>
                <a:lnTo>
                  <a:pt x="58" y="86"/>
                </a:lnTo>
                <a:lnTo>
                  <a:pt x="66" y="89"/>
                </a:lnTo>
                <a:lnTo>
                  <a:pt x="75" y="101"/>
                </a:lnTo>
                <a:lnTo>
                  <a:pt x="78" y="95"/>
                </a:lnTo>
                <a:lnTo>
                  <a:pt x="86" y="104"/>
                </a:lnTo>
                <a:lnTo>
                  <a:pt x="92" y="98"/>
                </a:lnTo>
                <a:lnTo>
                  <a:pt x="101" y="101"/>
                </a:lnTo>
                <a:lnTo>
                  <a:pt x="106" y="101"/>
                </a:lnTo>
                <a:lnTo>
                  <a:pt x="118" y="104"/>
                </a:lnTo>
                <a:lnTo>
                  <a:pt x="129" y="107"/>
                </a:lnTo>
                <a:lnTo>
                  <a:pt x="126" y="101"/>
                </a:lnTo>
                <a:lnTo>
                  <a:pt x="126" y="98"/>
                </a:lnTo>
                <a:lnTo>
                  <a:pt x="132" y="89"/>
                </a:lnTo>
                <a:lnTo>
                  <a:pt x="138" y="84"/>
                </a:lnTo>
                <a:lnTo>
                  <a:pt x="146" y="81"/>
                </a:lnTo>
                <a:lnTo>
                  <a:pt x="144" y="75"/>
                </a:lnTo>
                <a:lnTo>
                  <a:pt x="138" y="61"/>
                </a:lnTo>
                <a:lnTo>
                  <a:pt x="129" y="46"/>
                </a:lnTo>
                <a:lnTo>
                  <a:pt x="138" y="38"/>
                </a:lnTo>
                <a:lnTo>
                  <a:pt x="138" y="35"/>
                </a:lnTo>
                <a:lnTo>
                  <a:pt x="132" y="20"/>
                </a:lnTo>
                <a:lnTo>
                  <a:pt x="129" y="15"/>
                </a:lnTo>
                <a:lnTo>
                  <a:pt x="121" y="12"/>
                </a:lnTo>
                <a:lnTo>
                  <a:pt x="101" y="12"/>
                </a:lnTo>
                <a:lnTo>
                  <a:pt x="98" y="12"/>
                </a:lnTo>
                <a:lnTo>
                  <a:pt x="83" y="9"/>
                </a:lnTo>
                <a:lnTo>
                  <a:pt x="78" y="9"/>
                </a:lnTo>
                <a:lnTo>
                  <a:pt x="72" y="12"/>
                </a:lnTo>
                <a:lnTo>
                  <a:pt x="66" y="9"/>
                </a:lnTo>
                <a:lnTo>
                  <a:pt x="63" y="9"/>
                </a:lnTo>
                <a:lnTo>
                  <a:pt x="60" y="6"/>
                </a:lnTo>
                <a:lnTo>
                  <a:pt x="60" y="3"/>
                </a:lnTo>
                <a:lnTo>
                  <a:pt x="60" y="0"/>
                </a:lnTo>
                <a:lnTo>
                  <a:pt x="52" y="0"/>
                </a:lnTo>
                <a:lnTo>
                  <a:pt x="40" y="3"/>
                </a:lnTo>
                <a:lnTo>
                  <a:pt x="32" y="9"/>
                </a:lnTo>
                <a:lnTo>
                  <a:pt x="23" y="12"/>
                </a:lnTo>
                <a:lnTo>
                  <a:pt x="12" y="15"/>
                </a:lnTo>
                <a:lnTo>
                  <a:pt x="9" y="18"/>
                </a:lnTo>
                <a:lnTo>
                  <a:pt x="3" y="18"/>
                </a:lnTo>
                <a:lnTo>
                  <a:pt x="0" y="18"/>
                </a:lnTo>
                <a:lnTo>
                  <a:pt x="3" y="26"/>
                </a:lnTo>
                <a:lnTo>
                  <a:pt x="3" y="29"/>
                </a:lnTo>
                <a:lnTo>
                  <a:pt x="0" y="35"/>
                </a:lnTo>
                <a:lnTo>
                  <a:pt x="9" y="41"/>
                </a:lnTo>
                <a:lnTo>
                  <a:pt x="9" y="43"/>
                </a:lnTo>
                <a:lnTo>
                  <a:pt x="6" y="46"/>
                </a:lnTo>
                <a:lnTo>
                  <a:pt x="9" y="49"/>
                </a:lnTo>
                <a:lnTo>
                  <a:pt x="12" y="52"/>
                </a:lnTo>
                <a:lnTo>
                  <a:pt x="9" y="55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30" name="Freeform 235"/>
          <p:cNvSpPr>
            <a:spLocks/>
          </p:cNvSpPr>
          <p:nvPr/>
        </p:nvSpPr>
        <p:spPr bwMode="gray">
          <a:xfrm>
            <a:off x="6209119" y="2646072"/>
            <a:ext cx="4001" cy="9000"/>
          </a:xfrm>
          <a:custGeom>
            <a:avLst/>
            <a:gdLst>
              <a:gd name="T0" fmla="*/ 2147483647 w 2"/>
              <a:gd name="T1" fmla="*/ 2147483647 h 6"/>
              <a:gd name="T2" fmla="*/ 2147483647 w 2"/>
              <a:gd name="T3" fmla="*/ 0 h 6"/>
              <a:gd name="T4" fmla="*/ 0 w 2"/>
              <a:gd name="T5" fmla="*/ 2147483647 h 6"/>
              <a:gd name="T6" fmla="*/ 2147483647 w 2"/>
              <a:gd name="T7" fmla="*/ 2147483647 h 6"/>
              <a:gd name="T8" fmla="*/ 0 60000 65536"/>
              <a:gd name="T9" fmla="*/ 0 60000 65536"/>
              <a:gd name="T10" fmla="*/ 0 60000 65536"/>
              <a:gd name="T11" fmla="*/ 0 60000 65536"/>
              <a:gd name="T12" fmla="*/ 0 w 2"/>
              <a:gd name="T13" fmla="*/ 0 h 6"/>
              <a:gd name="T14" fmla="*/ 2 w 2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" h="6">
                <a:moveTo>
                  <a:pt x="2" y="6"/>
                </a:moveTo>
                <a:lnTo>
                  <a:pt x="2" y="0"/>
                </a:lnTo>
                <a:lnTo>
                  <a:pt x="0" y="6"/>
                </a:lnTo>
                <a:lnTo>
                  <a:pt x="2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31" name="Freeform 236"/>
          <p:cNvSpPr>
            <a:spLocks/>
          </p:cNvSpPr>
          <p:nvPr/>
        </p:nvSpPr>
        <p:spPr bwMode="gray">
          <a:xfrm>
            <a:off x="6219121" y="2694073"/>
            <a:ext cx="12002" cy="9000"/>
          </a:xfrm>
          <a:custGeom>
            <a:avLst/>
            <a:gdLst>
              <a:gd name="T0" fmla="*/ 0 w 6"/>
              <a:gd name="T1" fmla="*/ 2147483647 h 6"/>
              <a:gd name="T2" fmla="*/ 0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0" y="3"/>
                </a:moveTo>
                <a:lnTo>
                  <a:pt x="0" y="6"/>
                </a:lnTo>
                <a:lnTo>
                  <a:pt x="6" y="6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32" name="Freeform 237"/>
          <p:cNvSpPr>
            <a:spLocks/>
          </p:cNvSpPr>
          <p:nvPr/>
        </p:nvSpPr>
        <p:spPr bwMode="gray">
          <a:xfrm>
            <a:off x="6029086" y="2389565"/>
            <a:ext cx="284051" cy="130503"/>
          </a:xfrm>
          <a:custGeom>
            <a:avLst/>
            <a:gdLst>
              <a:gd name="T0" fmla="*/ 2147483647 w 140"/>
              <a:gd name="T1" fmla="*/ 2147483647 h 86"/>
              <a:gd name="T2" fmla="*/ 2147483647 w 140"/>
              <a:gd name="T3" fmla="*/ 2147483647 h 86"/>
              <a:gd name="T4" fmla="*/ 2147483647 w 140"/>
              <a:gd name="T5" fmla="*/ 2147483647 h 86"/>
              <a:gd name="T6" fmla="*/ 2147483647 w 140"/>
              <a:gd name="T7" fmla="*/ 2147483647 h 86"/>
              <a:gd name="T8" fmla="*/ 2147483647 w 140"/>
              <a:gd name="T9" fmla="*/ 2147483647 h 86"/>
              <a:gd name="T10" fmla="*/ 2147483647 w 140"/>
              <a:gd name="T11" fmla="*/ 2147483647 h 86"/>
              <a:gd name="T12" fmla="*/ 2147483647 w 140"/>
              <a:gd name="T13" fmla="*/ 2147483647 h 86"/>
              <a:gd name="T14" fmla="*/ 2147483647 w 140"/>
              <a:gd name="T15" fmla="*/ 2147483647 h 86"/>
              <a:gd name="T16" fmla="*/ 2147483647 w 140"/>
              <a:gd name="T17" fmla="*/ 2147483647 h 86"/>
              <a:gd name="T18" fmla="*/ 2147483647 w 140"/>
              <a:gd name="T19" fmla="*/ 2147483647 h 86"/>
              <a:gd name="T20" fmla="*/ 2147483647 w 140"/>
              <a:gd name="T21" fmla="*/ 2147483647 h 86"/>
              <a:gd name="T22" fmla="*/ 2147483647 w 140"/>
              <a:gd name="T23" fmla="*/ 2147483647 h 86"/>
              <a:gd name="T24" fmla="*/ 2147483647 w 140"/>
              <a:gd name="T25" fmla="*/ 2147483647 h 86"/>
              <a:gd name="T26" fmla="*/ 2147483647 w 140"/>
              <a:gd name="T27" fmla="*/ 2147483647 h 86"/>
              <a:gd name="T28" fmla="*/ 2147483647 w 140"/>
              <a:gd name="T29" fmla="*/ 2147483647 h 86"/>
              <a:gd name="T30" fmla="*/ 2147483647 w 140"/>
              <a:gd name="T31" fmla="*/ 0 h 86"/>
              <a:gd name="T32" fmla="*/ 2147483647 w 140"/>
              <a:gd name="T33" fmla="*/ 2147483647 h 86"/>
              <a:gd name="T34" fmla="*/ 2147483647 w 140"/>
              <a:gd name="T35" fmla="*/ 2147483647 h 86"/>
              <a:gd name="T36" fmla="*/ 2147483647 w 140"/>
              <a:gd name="T37" fmla="*/ 2147483647 h 86"/>
              <a:gd name="T38" fmla="*/ 2147483647 w 140"/>
              <a:gd name="T39" fmla="*/ 2147483647 h 86"/>
              <a:gd name="T40" fmla="*/ 2147483647 w 140"/>
              <a:gd name="T41" fmla="*/ 2147483647 h 86"/>
              <a:gd name="T42" fmla="*/ 2147483647 w 140"/>
              <a:gd name="T43" fmla="*/ 2147483647 h 86"/>
              <a:gd name="T44" fmla="*/ 2147483647 w 140"/>
              <a:gd name="T45" fmla="*/ 2147483647 h 86"/>
              <a:gd name="T46" fmla="*/ 2147483647 w 140"/>
              <a:gd name="T47" fmla="*/ 2147483647 h 86"/>
              <a:gd name="T48" fmla="*/ 2147483647 w 140"/>
              <a:gd name="T49" fmla="*/ 2147483647 h 86"/>
              <a:gd name="T50" fmla="*/ 2147483647 w 140"/>
              <a:gd name="T51" fmla="*/ 2147483647 h 86"/>
              <a:gd name="T52" fmla="*/ 2147483647 w 140"/>
              <a:gd name="T53" fmla="*/ 2147483647 h 86"/>
              <a:gd name="T54" fmla="*/ 2147483647 w 140"/>
              <a:gd name="T55" fmla="*/ 2147483647 h 86"/>
              <a:gd name="T56" fmla="*/ 2147483647 w 140"/>
              <a:gd name="T57" fmla="*/ 2147483647 h 86"/>
              <a:gd name="T58" fmla="*/ 2147483647 w 140"/>
              <a:gd name="T59" fmla="*/ 2147483647 h 86"/>
              <a:gd name="T60" fmla="*/ 2147483647 w 140"/>
              <a:gd name="T61" fmla="*/ 2147483647 h 86"/>
              <a:gd name="T62" fmla="*/ 2147483647 w 140"/>
              <a:gd name="T63" fmla="*/ 2147483647 h 86"/>
              <a:gd name="T64" fmla="*/ 2147483647 w 140"/>
              <a:gd name="T65" fmla="*/ 2147483647 h 86"/>
              <a:gd name="T66" fmla="*/ 2147483647 w 140"/>
              <a:gd name="T67" fmla="*/ 2147483647 h 86"/>
              <a:gd name="T68" fmla="*/ 2147483647 w 140"/>
              <a:gd name="T69" fmla="*/ 2147483647 h 86"/>
              <a:gd name="T70" fmla="*/ 2147483647 w 140"/>
              <a:gd name="T71" fmla="*/ 2147483647 h 86"/>
              <a:gd name="T72" fmla="*/ 2147483647 w 140"/>
              <a:gd name="T73" fmla="*/ 2147483647 h 86"/>
              <a:gd name="T74" fmla="*/ 2147483647 w 140"/>
              <a:gd name="T75" fmla="*/ 2147483647 h 86"/>
              <a:gd name="T76" fmla="*/ 0 w 140"/>
              <a:gd name="T77" fmla="*/ 2147483647 h 86"/>
              <a:gd name="T78" fmla="*/ 0 w 140"/>
              <a:gd name="T79" fmla="*/ 2147483647 h 86"/>
              <a:gd name="T80" fmla="*/ 2147483647 w 140"/>
              <a:gd name="T81" fmla="*/ 2147483647 h 86"/>
              <a:gd name="T82" fmla="*/ 2147483647 w 140"/>
              <a:gd name="T83" fmla="*/ 2147483647 h 86"/>
              <a:gd name="T84" fmla="*/ 2147483647 w 140"/>
              <a:gd name="T85" fmla="*/ 2147483647 h 86"/>
              <a:gd name="T86" fmla="*/ 2147483647 w 140"/>
              <a:gd name="T87" fmla="*/ 2147483647 h 86"/>
              <a:gd name="T88" fmla="*/ 2147483647 w 140"/>
              <a:gd name="T89" fmla="*/ 2147483647 h 86"/>
              <a:gd name="T90" fmla="*/ 2147483647 w 140"/>
              <a:gd name="T91" fmla="*/ 2147483647 h 86"/>
              <a:gd name="T92" fmla="*/ 2147483647 w 140"/>
              <a:gd name="T93" fmla="*/ 2147483647 h 86"/>
              <a:gd name="T94" fmla="*/ 2147483647 w 140"/>
              <a:gd name="T95" fmla="*/ 2147483647 h 86"/>
              <a:gd name="T96" fmla="*/ 2147483647 w 140"/>
              <a:gd name="T97" fmla="*/ 2147483647 h 86"/>
              <a:gd name="T98" fmla="*/ 2147483647 w 140"/>
              <a:gd name="T99" fmla="*/ 2147483647 h 86"/>
              <a:gd name="T100" fmla="*/ 2147483647 w 140"/>
              <a:gd name="T101" fmla="*/ 2147483647 h 86"/>
              <a:gd name="T102" fmla="*/ 2147483647 w 140"/>
              <a:gd name="T103" fmla="*/ 2147483647 h 86"/>
              <a:gd name="T104" fmla="*/ 2147483647 w 140"/>
              <a:gd name="T105" fmla="*/ 2147483647 h 86"/>
              <a:gd name="T106" fmla="*/ 2147483647 w 140"/>
              <a:gd name="T107" fmla="*/ 2147483647 h 86"/>
              <a:gd name="T108" fmla="*/ 2147483647 w 140"/>
              <a:gd name="T109" fmla="*/ 2147483647 h 86"/>
              <a:gd name="T110" fmla="*/ 2147483647 w 140"/>
              <a:gd name="T111" fmla="*/ 2147483647 h 86"/>
              <a:gd name="T112" fmla="*/ 2147483647 w 140"/>
              <a:gd name="T113" fmla="*/ 2147483647 h 86"/>
              <a:gd name="T114" fmla="*/ 2147483647 w 140"/>
              <a:gd name="T115" fmla="*/ 2147483647 h 86"/>
              <a:gd name="T116" fmla="*/ 2147483647 w 140"/>
              <a:gd name="T117" fmla="*/ 2147483647 h 86"/>
              <a:gd name="T118" fmla="*/ 2147483647 w 140"/>
              <a:gd name="T119" fmla="*/ 2147483647 h 86"/>
              <a:gd name="T120" fmla="*/ 2147483647 w 140"/>
              <a:gd name="T121" fmla="*/ 2147483647 h 86"/>
              <a:gd name="T122" fmla="*/ 2147483647 w 140"/>
              <a:gd name="T123" fmla="*/ 2147483647 h 8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40"/>
              <a:gd name="T187" fmla="*/ 0 h 86"/>
              <a:gd name="T188" fmla="*/ 140 w 140"/>
              <a:gd name="T189" fmla="*/ 86 h 8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40" h="86">
                <a:moveTo>
                  <a:pt x="126" y="83"/>
                </a:moveTo>
                <a:lnTo>
                  <a:pt x="126" y="83"/>
                </a:lnTo>
                <a:lnTo>
                  <a:pt x="129" y="77"/>
                </a:lnTo>
                <a:lnTo>
                  <a:pt x="132" y="69"/>
                </a:lnTo>
                <a:lnTo>
                  <a:pt x="132" y="66"/>
                </a:lnTo>
                <a:lnTo>
                  <a:pt x="137" y="66"/>
                </a:lnTo>
                <a:lnTo>
                  <a:pt x="140" y="63"/>
                </a:lnTo>
                <a:lnTo>
                  <a:pt x="134" y="57"/>
                </a:lnTo>
                <a:lnTo>
                  <a:pt x="123" y="57"/>
                </a:lnTo>
                <a:lnTo>
                  <a:pt x="112" y="51"/>
                </a:lnTo>
                <a:lnTo>
                  <a:pt x="114" y="37"/>
                </a:lnTo>
                <a:lnTo>
                  <a:pt x="114" y="31"/>
                </a:lnTo>
                <a:lnTo>
                  <a:pt x="106" y="20"/>
                </a:lnTo>
                <a:lnTo>
                  <a:pt x="91" y="0"/>
                </a:lnTo>
                <a:lnTo>
                  <a:pt x="89" y="3"/>
                </a:lnTo>
                <a:lnTo>
                  <a:pt x="80" y="6"/>
                </a:lnTo>
                <a:lnTo>
                  <a:pt x="68" y="8"/>
                </a:lnTo>
                <a:lnTo>
                  <a:pt x="66" y="14"/>
                </a:lnTo>
                <a:lnTo>
                  <a:pt x="57" y="6"/>
                </a:lnTo>
                <a:lnTo>
                  <a:pt x="54" y="8"/>
                </a:lnTo>
                <a:lnTo>
                  <a:pt x="45" y="8"/>
                </a:lnTo>
                <a:lnTo>
                  <a:pt x="37" y="3"/>
                </a:lnTo>
                <a:lnTo>
                  <a:pt x="34" y="6"/>
                </a:lnTo>
                <a:lnTo>
                  <a:pt x="31" y="8"/>
                </a:lnTo>
                <a:lnTo>
                  <a:pt x="23" y="11"/>
                </a:lnTo>
                <a:lnTo>
                  <a:pt x="20" y="14"/>
                </a:lnTo>
                <a:lnTo>
                  <a:pt x="23" y="20"/>
                </a:lnTo>
                <a:lnTo>
                  <a:pt x="20" y="23"/>
                </a:lnTo>
                <a:lnTo>
                  <a:pt x="17" y="26"/>
                </a:lnTo>
                <a:lnTo>
                  <a:pt x="11" y="31"/>
                </a:lnTo>
                <a:lnTo>
                  <a:pt x="5" y="37"/>
                </a:lnTo>
                <a:lnTo>
                  <a:pt x="2" y="37"/>
                </a:lnTo>
                <a:lnTo>
                  <a:pt x="0" y="40"/>
                </a:lnTo>
                <a:lnTo>
                  <a:pt x="5" y="46"/>
                </a:lnTo>
                <a:lnTo>
                  <a:pt x="5" y="49"/>
                </a:lnTo>
                <a:lnTo>
                  <a:pt x="2" y="51"/>
                </a:lnTo>
                <a:lnTo>
                  <a:pt x="14" y="63"/>
                </a:lnTo>
                <a:lnTo>
                  <a:pt x="17" y="66"/>
                </a:lnTo>
                <a:lnTo>
                  <a:pt x="23" y="69"/>
                </a:lnTo>
                <a:lnTo>
                  <a:pt x="25" y="63"/>
                </a:lnTo>
                <a:lnTo>
                  <a:pt x="37" y="69"/>
                </a:lnTo>
                <a:lnTo>
                  <a:pt x="37" y="72"/>
                </a:lnTo>
                <a:lnTo>
                  <a:pt x="31" y="74"/>
                </a:lnTo>
                <a:lnTo>
                  <a:pt x="40" y="77"/>
                </a:lnTo>
                <a:lnTo>
                  <a:pt x="37" y="80"/>
                </a:lnTo>
                <a:lnTo>
                  <a:pt x="57" y="86"/>
                </a:lnTo>
                <a:lnTo>
                  <a:pt x="60" y="83"/>
                </a:lnTo>
                <a:lnTo>
                  <a:pt x="77" y="86"/>
                </a:lnTo>
                <a:lnTo>
                  <a:pt x="86" y="80"/>
                </a:lnTo>
                <a:lnTo>
                  <a:pt x="97" y="77"/>
                </a:lnTo>
                <a:lnTo>
                  <a:pt x="109" y="77"/>
                </a:lnTo>
                <a:lnTo>
                  <a:pt x="120" y="83"/>
                </a:lnTo>
                <a:lnTo>
                  <a:pt x="126" y="86"/>
                </a:lnTo>
                <a:lnTo>
                  <a:pt x="126" y="8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33" name="Freeform 238"/>
          <p:cNvSpPr>
            <a:spLocks/>
          </p:cNvSpPr>
          <p:nvPr/>
        </p:nvSpPr>
        <p:spPr bwMode="gray">
          <a:xfrm>
            <a:off x="6219121" y="2385065"/>
            <a:ext cx="94016" cy="81002"/>
          </a:xfrm>
          <a:custGeom>
            <a:avLst/>
            <a:gdLst>
              <a:gd name="T0" fmla="*/ 2147483647 w 46"/>
              <a:gd name="T1" fmla="*/ 2147483647 h 54"/>
              <a:gd name="T2" fmla="*/ 2147483647 w 46"/>
              <a:gd name="T3" fmla="*/ 2147483647 h 54"/>
              <a:gd name="T4" fmla="*/ 2147483647 w 46"/>
              <a:gd name="T5" fmla="*/ 0 h 54"/>
              <a:gd name="T6" fmla="*/ 0 w 46"/>
              <a:gd name="T7" fmla="*/ 2147483647 h 54"/>
              <a:gd name="T8" fmla="*/ 0 w 46"/>
              <a:gd name="T9" fmla="*/ 2147483647 h 54"/>
              <a:gd name="T10" fmla="*/ 2147483647 w 46"/>
              <a:gd name="T11" fmla="*/ 2147483647 h 54"/>
              <a:gd name="T12" fmla="*/ 2147483647 w 46"/>
              <a:gd name="T13" fmla="*/ 2147483647 h 54"/>
              <a:gd name="T14" fmla="*/ 2147483647 w 46"/>
              <a:gd name="T15" fmla="*/ 2147483647 h 54"/>
              <a:gd name="T16" fmla="*/ 2147483647 w 46"/>
              <a:gd name="T17" fmla="*/ 2147483647 h 54"/>
              <a:gd name="T18" fmla="*/ 2147483647 w 46"/>
              <a:gd name="T19" fmla="*/ 2147483647 h 54"/>
              <a:gd name="T20" fmla="*/ 2147483647 w 46"/>
              <a:gd name="T21" fmla="*/ 2147483647 h 54"/>
              <a:gd name="T22" fmla="*/ 2147483647 w 46"/>
              <a:gd name="T23" fmla="*/ 2147483647 h 54"/>
              <a:gd name="T24" fmla="*/ 2147483647 w 46"/>
              <a:gd name="T25" fmla="*/ 2147483647 h 54"/>
              <a:gd name="T26" fmla="*/ 2147483647 w 46"/>
              <a:gd name="T27" fmla="*/ 2147483647 h 54"/>
              <a:gd name="T28" fmla="*/ 2147483647 w 46"/>
              <a:gd name="T29" fmla="*/ 2147483647 h 54"/>
              <a:gd name="T30" fmla="*/ 2147483647 w 46"/>
              <a:gd name="T31" fmla="*/ 2147483647 h 54"/>
              <a:gd name="T32" fmla="*/ 2147483647 w 46"/>
              <a:gd name="T33" fmla="*/ 2147483647 h 54"/>
              <a:gd name="T34" fmla="*/ 2147483647 w 46"/>
              <a:gd name="T35" fmla="*/ 2147483647 h 54"/>
              <a:gd name="T36" fmla="*/ 2147483647 w 46"/>
              <a:gd name="T37" fmla="*/ 2147483647 h 54"/>
              <a:gd name="T38" fmla="*/ 2147483647 w 46"/>
              <a:gd name="T39" fmla="*/ 2147483647 h 54"/>
              <a:gd name="T40" fmla="*/ 2147483647 w 46"/>
              <a:gd name="T41" fmla="*/ 2147483647 h 54"/>
              <a:gd name="T42" fmla="*/ 2147483647 w 46"/>
              <a:gd name="T43" fmla="*/ 2147483647 h 54"/>
              <a:gd name="T44" fmla="*/ 2147483647 w 46"/>
              <a:gd name="T45" fmla="*/ 2147483647 h 54"/>
              <a:gd name="T46" fmla="*/ 2147483647 w 46"/>
              <a:gd name="T47" fmla="*/ 2147483647 h 54"/>
              <a:gd name="T48" fmla="*/ 2147483647 w 46"/>
              <a:gd name="T49" fmla="*/ 2147483647 h 54"/>
              <a:gd name="T50" fmla="*/ 2147483647 w 46"/>
              <a:gd name="T51" fmla="*/ 2147483647 h 54"/>
              <a:gd name="T52" fmla="*/ 2147483647 w 46"/>
              <a:gd name="T53" fmla="*/ 2147483647 h 54"/>
              <a:gd name="T54" fmla="*/ 2147483647 w 46"/>
              <a:gd name="T55" fmla="*/ 2147483647 h 54"/>
              <a:gd name="T56" fmla="*/ 2147483647 w 46"/>
              <a:gd name="T57" fmla="*/ 2147483647 h 54"/>
              <a:gd name="T58" fmla="*/ 2147483647 w 46"/>
              <a:gd name="T59" fmla="*/ 2147483647 h 54"/>
              <a:gd name="T60" fmla="*/ 2147483647 w 46"/>
              <a:gd name="T61" fmla="*/ 2147483647 h 54"/>
              <a:gd name="T62" fmla="*/ 2147483647 w 46"/>
              <a:gd name="T63" fmla="*/ 2147483647 h 54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46"/>
              <a:gd name="T97" fmla="*/ 0 h 54"/>
              <a:gd name="T98" fmla="*/ 46 w 46"/>
              <a:gd name="T99" fmla="*/ 54 h 54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46" h="54">
                <a:moveTo>
                  <a:pt x="26" y="6"/>
                </a:moveTo>
                <a:lnTo>
                  <a:pt x="20" y="6"/>
                </a:lnTo>
                <a:lnTo>
                  <a:pt x="9" y="0"/>
                </a:lnTo>
                <a:lnTo>
                  <a:pt x="0" y="3"/>
                </a:lnTo>
                <a:lnTo>
                  <a:pt x="15" y="23"/>
                </a:lnTo>
                <a:lnTo>
                  <a:pt x="23" y="34"/>
                </a:lnTo>
                <a:lnTo>
                  <a:pt x="23" y="40"/>
                </a:lnTo>
                <a:lnTo>
                  <a:pt x="20" y="52"/>
                </a:lnTo>
                <a:lnTo>
                  <a:pt x="23" y="54"/>
                </a:lnTo>
                <a:lnTo>
                  <a:pt x="26" y="49"/>
                </a:lnTo>
                <a:lnTo>
                  <a:pt x="32" y="43"/>
                </a:lnTo>
                <a:lnTo>
                  <a:pt x="29" y="37"/>
                </a:lnTo>
                <a:lnTo>
                  <a:pt x="32" y="37"/>
                </a:lnTo>
                <a:lnTo>
                  <a:pt x="38" y="34"/>
                </a:lnTo>
                <a:lnTo>
                  <a:pt x="46" y="37"/>
                </a:lnTo>
                <a:lnTo>
                  <a:pt x="43" y="29"/>
                </a:lnTo>
                <a:lnTo>
                  <a:pt x="32" y="17"/>
                </a:lnTo>
                <a:lnTo>
                  <a:pt x="32" y="14"/>
                </a:lnTo>
                <a:lnTo>
                  <a:pt x="35" y="11"/>
                </a:lnTo>
                <a:lnTo>
                  <a:pt x="26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34" name="Freeform 239"/>
          <p:cNvSpPr>
            <a:spLocks/>
          </p:cNvSpPr>
          <p:nvPr/>
        </p:nvSpPr>
        <p:spPr bwMode="gray">
          <a:xfrm>
            <a:off x="6163111" y="2724074"/>
            <a:ext cx="10001" cy="4501"/>
          </a:xfrm>
          <a:custGeom>
            <a:avLst/>
            <a:gdLst>
              <a:gd name="T0" fmla="*/ 2147483647 w 5"/>
              <a:gd name="T1" fmla="*/ 2147483647 h 3"/>
              <a:gd name="T2" fmla="*/ 2147483647 w 5"/>
              <a:gd name="T3" fmla="*/ 0 h 3"/>
              <a:gd name="T4" fmla="*/ 0 w 5"/>
              <a:gd name="T5" fmla="*/ 0 h 3"/>
              <a:gd name="T6" fmla="*/ 2147483647 w 5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5"/>
              <a:gd name="T13" fmla="*/ 0 h 3"/>
              <a:gd name="T14" fmla="*/ 5 w 5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" h="3">
                <a:moveTo>
                  <a:pt x="5" y="3"/>
                </a:moveTo>
                <a:lnTo>
                  <a:pt x="5" y="0"/>
                </a:lnTo>
                <a:lnTo>
                  <a:pt x="0" y="0"/>
                </a:lnTo>
                <a:lnTo>
                  <a:pt x="5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35" name="Rectangle 240"/>
          <p:cNvSpPr>
            <a:spLocks noChangeArrowheads="1"/>
          </p:cNvSpPr>
          <p:nvPr/>
        </p:nvSpPr>
        <p:spPr bwMode="gray">
          <a:xfrm>
            <a:off x="6163111" y="2698573"/>
            <a:ext cx="4001" cy="4500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136" name="Rectangle 241"/>
          <p:cNvSpPr>
            <a:spLocks noChangeArrowheads="1"/>
          </p:cNvSpPr>
          <p:nvPr/>
        </p:nvSpPr>
        <p:spPr bwMode="gray">
          <a:xfrm>
            <a:off x="6225122" y="2728574"/>
            <a:ext cx="12002" cy="4500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137" name="Rectangle 242"/>
          <p:cNvSpPr>
            <a:spLocks noChangeArrowheads="1"/>
          </p:cNvSpPr>
          <p:nvPr/>
        </p:nvSpPr>
        <p:spPr bwMode="gray">
          <a:xfrm>
            <a:off x="5651019" y="2202059"/>
            <a:ext cx="2000" cy="1501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138" name="Freeform 243"/>
          <p:cNvSpPr>
            <a:spLocks/>
          </p:cNvSpPr>
          <p:nvPr/>
        </p:nvSpPr>
        <p:spPr bwMode="gray">
          <a:xfrm>
            <a:off x="5412975" y="2655072"/>
            <a:ext cx="18004" cy="9000"/>
          </a:xfrm>
          <a:custGeom>
            <a:avLst/>
            <a:gdLst>
              <a:gd name="T0" fmla="*/ 2147483647 w 9"/>
              <a:gd name="T1" fmla="*/ 0 h 6"/>
              <a:gd name="T2" fmla="*/ 2147483647 w 9"/>
              <a:gd name="T3" fmla="*/ 0 h 6"/>
              <a:gd name="T4" fmla="*/ 0 w 9"/>
              <a:gd name="T5" fmla="*/ 2147483647 h 6"/>
              <a:gd name="T6" fmla="*/ 0 w 9"/>
              <a:gd name="T7" fmla="*/ 2147483647 h 6"/>
              <a:gd name="T8" fmla="*/ 2147483647 w 9"/>
              <a:gd name="T9" fmla="*/ 2147483647 h 6"/>
              <a:gd name="T10" fmla="*/ 2147483647 w 9"/>
              <a:gd name="T11" fmla="*/ 2147483647 h 6"/>
              <a:gd name="T12" fmla="*/ 2147483647 w 9"/>
              <a:gd name="T13" fmla="*/ 2147483647 h 6"/>
              <a:gd name="T14" fmla="*/ 2147483647 w 9"/>
              <a:gd name="T15" fmla="*/ 2147483647 h 6"/>
              <a:gd name="T16" fmla="*/ 2147483647 w 9"/>
              <a:gd name="T17" fmla="*/ 0 h 6"/>
              <a:gd name="T18" fmla="*/ 2147483647 w 9"/>
              <a:gd name="T19" fmla="*/ 0 h 6"/>
              <a:gd name="T20" fmla="*/ 2147483647 w 9"/>
              <a:gd name="T21" fmla="*/ 0 h 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9"/>
              <a:gd name="T34" fmla="*/ 0 h 6"/>
              <a:gd name="T35" fmla="*/ 9 w 9"/>
              <a:gd name="T36" fmla="*/ 6 h 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9" h="6">
                <a:moveTo>
                  <a:pt x="9" y="0"/>
                </a:moveTo>
                <a:lnTo>
                  <a:pt x="6" y="0"/>
                </a:lnTo>
                <a:lnTo>
                  <a:pt x="0" y="3"/>
                </a:lnTo>
                <a:lnTo>
                  <a:pt x="3" y="6"/>
                </a:lnTo>
                <a:lnTo>
                  <a:pt x="6" y="6"/>
                </a:lnTo>
                <a:lnTo>
                  <a:pt x="9" y="6"/>
                </a:lnTo>
                <a:lnTo>
                  <a:pt x="9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39" name="Freeform 244"/>
          <p:cNvSpPr>
            <a:spLocks/>
          </p:cNvSpPr>
          <p:nvPr/>
        </p:nvSpPr>
        <p:spPr bwMode="gray">
          <a:xfrm>
            <a:off x="5084916" y="1585544"/>
            <a:ext cx="10002" cy="7500"/>
          </a:xfrm>
          <a:custGeom>
            <a:avLst/>
            <a:gdLst>
              <a:gd name="T0" fmla="*/ 0 w 5"/>
              <a:gd name="T1" fmla="*/ 0 h 5"/>
              <a:gd name="T2" fmla="*/ 0 w 5"/>
              <a:gd name="T3" fmla="*/ 2147483647 h 5"/>
              <a:gd name="T4" fmla="*/ 2147483647 w 5"/>
              <a:gd name="T5" fmla="*/ 2147483647 h 5"/>
              <a:gd name="T6" fmla="*/ 2147483647 w 5"/>
              <a:gd name="T7" fmla="*/ 2147483647 h 5"/>
              <a:gd name="T8" fmla="*/ 2147483647 w 5"/>
              <a:gd name="T9" fmla="*/ 0 h 5"/>
              <a:gd name="T10" fmla="*/ 0 w 5"/>
              <a:gd name="T11" fmla="*/ 0 h 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"/>
              <a:gd name="T19" fmla="*/ 0 h 5"/>
              <a:gd name="T20" fmla="*/ 5 w 5"/>
              <a:gd name="T21" fmla="*/ 5 h 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" h="5">
                <a:moveTo>
                  <a:pt x="0" y="0"/>
                </a:moveTo>
                <a:lnTo>
                  <a:pt x="0" y="3"/>
                </a:lnTo>
                <a:lnTo>
                  <a:pt x="3" y="5"/>
                </a:lnTo>
                <a:lnTo>
                  <a:pt x="5" y="3"/>
                </a:lnTo>
                <a:lnTo>
                  <a:pt x="5" y="0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40" name="Freeform 245"/>
          <p:cNvSpPr>
            <a:spLocks/>
          </p:cNvSpPr>
          <p:nvPr/>
        </p:nvSpPr>
        <p:spPr bwMode="gray">
          <a:xfrm>
            <a:off x="5078915" y="2571070"/>
            <a:ext cx="102018" cy="148504"/>
          </a:xfrm>
          <a:custGeom>
            <a:avLst/>
            <a:gdLst>
              <a:gd name="T0" fmla="*/ 0 w 51"/>
              <a:gd name="T1" fmla="*/ 2147483647 h 98"/>
              <a:gd name="T2" fmla="*/ 2147483647 w 51"/>
              <a:gd name="T3" fmla="*/ 2147483647 h 98"/>
              <a:gd name="T4" fmla="*/ 2147483647 w 51"/>
              <a:gd name="T5" fmla="*/ 2147483647 h 98"/>
              <a:gd name="T6" fmla="*/ 2147483647 w 51"/>
              <a:gd name="T7" fmla="*/ 2147483647 h 98"/>
              <a:gd name="T8" fmla="*/ 2147483647 w 51"/>
              <a:gd name="T9" fmla="*/ 2147483647 h 98"/>
              <a:gd name="T10" fmla="*/ 2147483647 w 51"/>
              <a:gd name="T11" fmla="*/ 2147483647 h 98"/>
              <a:gd name="T12" fmla="*/ 2147483647 w 51"/>
              <a:gd name="T13" fmla="*/ 2147483647 h 98"/>
              <a:gd name="T14" fmla="*/ 2147483647 w 51"/>
              <a:gd name="T15" fmla="*/ 2147483647 h 98"/>
              <a:gd name="T16" fmla="*/ 2147483647 w 51"/>
              <a:gd name="T17" fmla="*/ 2147483647 h 98"/>
              <a:gd name="T18" fmla="*/ 2147483647 w 51"/>
              <a:gd name="T19" fmla="*/ 2147483647 h 98"/>
              <a:gd name="T20" fmla="*/ 2147483647 w 51"/>
              <a:gd name="T21" fmla="*/ 2147483647 h 98"/>
              <a:gd name="T22" fmla="*/ 2147483647 w 51"/>
              <a:gd name="T23" fmla="*/ 2147483647 h 98"/>
              <a:gd name="T24" fmla="*/ 2147483647 w 51"/>
              <a:gd name="T25" fmla="*/ 2147483647 h 98"/>
              <a:gd name="T26" fmla="*/ 2147483647 w 51"/>
              <a:gd name="T27" fmla="*/ 2147483647 h 98"/>
              <a:gd name="T28" fmla="*/ 2147483647 w 51"/>
              <a:gd name="T29" fmla="*/ 2147483647 h 98"/>
              <a:gd name="T30" fmla="*/ 2147483647 w 51"/>
              <a:gd name="T31" fmla="*/ 2147483647 h 98"/>
              <a:gd name="T32" fmla="*/ 2147483647 w 51"/>
              <a:gd name="T33" fmla="*/ 2147483647 h 98"/>
              <a:gd name="T34" fmla="*/ 2147483647 w 51"/>
              <a:gd name="T35" fmla="*/ 2147483647 h 98"/>
              <a:gd name="T36" fmla="*/ 2147483647 w 51"/>
              <a:gd name="T37" fmla="*/ 2147483647 h 98"/>
              <a:gd name="T38" fmla="*/ 2147483647 w 51"/>
              <a:gd name="T39" fmla="*/ 2147483647 h 98"/>
              <a:gd name="T40" fmla="*/ 2147483647 w 51"/>
              <a:gd name="T41" fmla="*/ 2147483647 h 98"/>
              <a:gd name="T42" fmla="*/ 2147483647 w 51"/>
              <a:gd name="T43" fmla="*/ 2147483647 h 98"/>
              <a:gd name="T44" fmla="*/ 2147483647 w 51"/>
              <a:gd name="T45" fmla="*/ 2147483647 h 98"/>
              <a:gd name="T46" fmla="*/ 2147483647 w 51"/>
              <a:gd name="T47" fmla="*/ 2147483647 h 98"/>
              <a:gd name="T48" fmla="*/ 2147483647 w 51"/>
              <a:gd name="T49" fmla="*/ 2147483647 h 98"/>
              <a:gd name="T50" fmla="*/ 2147483647 w 51"/>
              <a:gd name="T51" fmla="*/ 2147483647 h 98"/>
              <a:gd name="T52" fmla="*/ 2147483647 w 51"/>
              <a:gd name="T53" fmla="*/ 2147483647 h 98"/>
              <a:gd name="T54" fmla="*/ 2147483647 w 51"/>
              <a:gd name="T55" fmla="*/ 2147483647 h 98"/>
              <a:gd name="T56" fmla="*/ 2147483647 w 51"/>
              <a:gd name="T57" fmla="*/ 2147483647 h 98"/>
              <a:gd name="T58" fmla="*/ 2147483647 w 51"/>
              <a:gd name="T59" fmla="*/ 2147483647 h 98"/>
              <a:gd name="T60" fmla="*/ 2147483647 w 51"/>
              <a:gd name="T61" fmla="*/ 2147483647 h 98"/>
              <a:gd name="T62" fmla="*/ 2147483647 w 51"/>
              <a:gd name="T63" fmla="*/ 2147483647 h 98"/>
              <a:gd name="T64" fmla="*/ 2147483647 w 51"/>
              <a:gd name="T65" fmla="*/ 2147483647 h 98"/>
              <a:gd name="T66" fmla="*/ 2147483647 w 51"/>
              <a:gd name="T67" fmla="*/ 2147483647 h 98"/>
              <a:gd name="T68" fmla="*/ 2147483647 w 51"/>
              <a:gd name="T69" fmla="*/ 2147483647 h 98"/>
              <a:gd name="T70" fmla="*/ 2147483647 w 51"/>
              <a:gd name="T71" fmla="*/ 2147483647 h 98"/>
              <a:gd name="T72" fmla="*/ 2147483647 w 51"/>
              <a:gd name="T73" fmla="*/ 2147483647 h 98"/>
              <a:gd name="T74" fmla="*/ 2147483647 w 51"/>
              <a:gd name="T75" fmla="*/ 0 h 98"/>
              <a:gd name="T76" fmla="*/ 2147483647 w 51"/>
              <a:gd name="T77" fmla="*/ 2147483647 h 98"/>
              <a:gd name="T78" fmla="*/ 2147483647 w 51"/>
              <a:gd name="T79" fmla="*/ 2147483647 h 98"/>
              <a:gd name="T80" fmla="*/ 2147483647 w 51"/>
              <a:gd name="T81" fmla="*/ 2147483647 h 98"/>
              <a:gd name="T82" fmla="*/ 2147483647 w 51"/>
              <a:gd name="T83" fmla="*/ 2147483647 h 98"/>
              <a:gd name="T84" fmla="*/ 2147483647 w 51"/>
              <a:gd name="T85" fmla="*/ 2147483647 h 98"/>
              <a:gd name="T86" fmla="*/ 2147483647 w 51"/>
              <a:gd name="T87" fmla="*/ 2147483647 h 98"/>
              <a:gd name="T88" fmla="*/ 2147483647 w 51"/>
              <a:gd name="T89" fmla="*/ 2147483647 h 98"/>
              <a:gd name="T90" fmla="*/ 2147483647 w 51"/>
              <a:gd name="T91" fmla="*/ 2147483647 h 98"/>
              <a:gd name="T92" fmla="*/ 2147483647 w 51"/>
              <a:gd name="T93" fmla="*/ 2147483647 h 98"/>
              <a:gd name="T94" fmla="*/ 2147483647 w 51"/>
              <a:gd name="T95" fmla="*/ 2147483647 h 98"/>
              <a:gd name="T96" fmla="*/ 0 w 51"/>
              <a:gd name="T97" fmla="*/ 2147483647 h 98"/>
              <a:gd name="T98" fmla="*/ 0 w 51"/>
              <a:gd name="T99" fmla="*/ 2147483647 h 98"/>
              <a:gd name="T100" fmla="*/ 0 w 51"/>
              <a:gd name="T101" fmla="*/ 2147483647 h 98"/>
              <a:gd name="T102" fmla="*/ 0 w 51"/>
              <a:gd name="T103" fmla="*/ 2147483647 h 98"/>
              <a:gd name="T104" fmla="*/ 0 w 51"/>
              <a:gd name="T105" fmla="*/ 2147483647 h 98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51"/>
              <a:gd name="T160" fmla="*/ 0 h 98"/>
              <a:gd name="T161" fmla="*/ 51 w 51"/>
              <a:gd name="T162" fmla="*/ 98 h 98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51" h="98">
                <a:moveTo>
                  <a:pt x="0" y="64"/>
                </a:moveTo>
                <a:lnTo>
                  <a:pt x="3" y="69"/>
                </a:lnTo>
                <a:lnTo>
                  <a:pt x="6" y="66"/>
                </a:lnTo>
                <a:lnTo>
                  <a:pt x="6" y="75"/>
                </a:lnTo>
                <a:lnTo>
                  <a:pt x="6" y="92"/>
                </a:lnTo>
                <a:lnTo>
                  <a:pt x="6" y="98"/>
                </a:lnTo>
                <a:lnTo>
                  <a:pt x="8" y="95"/>
                </a:lnTo>
                <a:lnTo>
                  <a:pt x="14" y="98"/>
                </a:lnTo>
                <a:lnTo>
                  <a:pt x="23" y="95"/>
                </a:lnTo>
                <a:lnTo>
                  <a:pt x="26" y="95"/>
                </a:lnTo>
                <a:lnTo>
                  <a:pt x="26" y="87"/>
                </a:lnTo>
                <a:lnTo>
                  <a:pt x="28" y="81"/>
                </a:lnTo>
                <a:lnTo>
                  <a:pt x="34" y="75"/>
                </a:lnTo>
                <a:lnTo>
                  <a:pt x="31" y="66"/>
                </a:lnTo>
                <a:lnTo>
                  <a:pt x="34" y="58"/>
                </a:lnTo>
                <a:lnTo>
                  <a:pt x="28" y="46"/>
                </a:lnTo>
                <a:lnTo>
                  <a:pt x="37" y="41"/>
                </a:lnTo>
                <a:lnTo>
                  <a:pt x="34" y="35"/>
                </a:lnTo>
                <a:lnTo>
                  <a:pt x="37" y="32"/>
                </a:lnTo>
                <a:lnTo>
                  <a:pt x="40" y="29"/>
                </a:lnTo>
                <a:lnTo>
                  <a:pt x="43" y="15"/>
                </a:lnTo>
                <a:lnTo>
                  <a:pt x="51" y="6"/>
                </a:lnTo>
                <a:lnTo>
                  <a:pt x="49" y="3"/>
                </a:lnTo>
                <a:lnTo>
                  <a:pt x="40" y="3"/>
                </a:lnTo>
                <a:lnTo>
                  <a:pt x="37" y="6"/>
                </a:lnTo>
                <a:lnTo>
                  <a:pt x="34" y="6"/>
                </a:lnTo>
                <a:lnTo>
                  <a:pt x="28" y="3"/>
                </a:lnTo>
                <a:lnTo>
                  <a:pt x="23" y="6"/>
                </a:lnTo>
                <a:lnTo>
                  <a:pt x="20" y="0"/>
                </a:lnTo>
                <a:lnTo>
                  <a:pt x="11" y="3"/>
                </a:lnTo>
                <a:lnTo>
                  <a:pt x="11" y="9"/>
                </a:lnTo>
                <a:lnTo>
                  <a:pt x="11" y="18"/>
                </a:lnTo>
                <a:lnTo>
                  <a:pt x="11" y="26"/>
                </a:lnTo>
                <a:lnTo>
                  <a:pt x="8" y="35"/>
                </a:lnTo>
                <a:lnTo>
                  <a:pt x="6" y="43"/>
                </a:lnTo>
                <a:lnTo>
                  <a:pt x="0" y="52"/>
                </a:lnTo>
                <a:lnTo>
                  <a:pt x="0" y="58"/>
                </a:lnTo>
                <a:lnTo>
                  <a:pt x="0" y="64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41" name="Freeform 246"/>
          <p:cNvSpPr>
            <a:spLocks/>
          </p:cNvSpPr>
          <p:nvPr/>
        </p:nvSpPr>
        <p:spPr bwMode="gray">
          <a:xfrm>
            <a:off x="5424977" y="2550069"/>
            <a:ext cx="18004" cy="9000"/>
          </a:xfrm>
          <a:custGeom>
            <a:avLst/>
            <a:gdLst>
              <a:gd name="T0" fmla="*/ 2147483647 w 9"/>
              <a:gd name="T1" fmla="*/ 2147483647 h 6"/>
              <a:gd name="T2" fmla="*/ 2147483647 w 9"/>
              <a:gd name="T3" fmla="*/ 2147483647 h 6"/>
              <a:gd name="T4" fmla="*/ 2147483647 w 9"/>
              <a:gd name="T5" fmla="*/ 0 h 6"/>
              <a:gd name="T6" fmla="*/ 0 w 9"/>
              <a:gd name="T7" fmla="*/ 0 h 6"/>
              <a:gd name="T8" fmla="*/ 0 w 9"/>
              <a:gd name="T9" fmla="*/ 0 h 6"/>
              <a:gd name="T10" fmla="*/ 2147483647 w 9"/>
              <a:gd name="T11" fmla="*/ 2147483647 h 6"/>
              <a:gd name="T12" fmla="*/ 2147483647 w 9"/>
              <a:gd name="T13" fmla="*/ 2147483647 h 6"/>
              <a:gd name="T14" fmla="*/ 2147483647 w 9"/>
              <a:gd name="T15" fmla="*/ 2147483647 h 6"/>
              <a:gd name="T16" fmla="*/ 2147483647 w 9"/>
              <a:gd name="T17" fmla="*/ 2147483647 h 6"/>
              <a:gd name="T18" fmla="*/ 2147483647 w 9"/>
              <a:gd name="T19" fmla="*/ 2147483647 h 6"/>
              <a:gd name="T20" fmla="*/ 2147483647 w 9"/>
              <a:gd name="T21" fmla="*/ 2147483647 h 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9"/>
              <a:gd name="T34" fmla="*/ 0 h 6"/>
              <a:gd name="T35" fmla="*/ 9 w 9"/>
              <a:gd name="T36" fmla="*/ 6 h 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9" h="6">
                <a:moveTo>
                  <a:pt x="3" y="6"/>
                </a:moveTo>
                <a:lnTo>
                  <a:pt x="9" y="3"/>
                </a:lnTo>
                <a:lnTo>
                  <a:pt x="6" y="0"/>
                </a:lnTo>
                <a:lnTo>
                  <a:pt x="0" y="0"/>
                </a:lnTo>
                <a:lnTo>
                  <a:pt x="3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42" name="Freeform 247"/>
          <p:cNvSpPr>
            <a:spLocks/>
          </p:cNvSpPr>
          <p:nvPr/>
        </p:nvSpPr>
        <p:spPr bwMode="gray">
          <a:xfrm>
            <a:off x="5843053" y="2506568"/>
            <a:ext cx="18003" cy="4500"/>
          </a:xfrm>
          <a:custGeom>
            <a:avLst/>
            <a:gdLst>
              <a:gd name="T0" fmla="*/ 0 w 8"/>
              <a:gd name="T1" fmla="*/ 0 h 3"/>
              <a:gd name="T2" fmla="*/ 2147483647 w 8"/>
              <a:gd name="T3" fmla="*/ 2147483647 h 3"/>
              <a:gd name="T4" fmla="*/ 2147483647 w 8"/>
              <a:gd name="T5" fmla="*/ 0 h 3"/>
              <a:gd name="T6" fmla="*/ 0 w 8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8"/>
              <a:gd name="T13" fmla="*/ 0 h 3"/>
              <a:gd name="T14" fmla="*/ 8 w 8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" h="3">
                <a:moveTo>
                  <a:pt x="0" y="0"/>
                </a:moveTo>
                <a:lnTo>
                  <a:pt x="8" y="3"/>
                </a:lnTo>
                <a:lnTo>
                  <a:pt x="5" y="0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43" name="Freeform 248"/>
          <p:cNvSpPr>
            <a:spLocks/>
          </p:cNvSpPr>
          <p:nvPr/>
        </p:nvSpPr>
        <p:spPr bwMode="gray">
          <a:xfrm>
            <a:off x="5577004" y="2401565"/>
            <a:ext cx="144026" cy="52501"/>
          </a:xfrm>
          <a:custGeom>
            <a:avLst/>
            <a:gdLst>
              <a:gd name="T0" fmla="*/ 2147483647 w 71"/>
              <a:gd name="T1" fmla="*/ 2147483647 h 35"/>
              <a:gd name="T2" fmla="*/ 2147483647 w 71"/>
              <a:gd name="T3" fmla="*/ 2147483647 h 35"/>
              <a:gd name="T4" fmla="*/ 2147483647 w 71"/>
              <a:gd name="T5" fmla="*/ 2147483647 h 35"/>
              <a:gd name="T6" fmla="*/ 2147483647 w 71"/>
              <a:gd name="T7" fmla="*/ 2147483647 h 35"/>
              <a:gd name="T8" fmla="*/ 2147483647 w 71"/>
              <a:gd name="T9" fmla="*/ 2147483647 h 35"/>
              <a:gd name="T10" fmla="*/ 0 w 71"/>
              <a:gd name="T11" fmla="*/ 2147483647 h 35"/>
              <a:gd name="T12" fmla="*/ 2147483647 w 71"/>
              <a:gd name="T13" fmla="*/ 2147483647 h 35"/>
              <a:gd name="T14" fmla="*/ 2147483647 w 71"/>
              <a:gd name="T15" fmla="*/ 2147483647 h 35"/>
              <a:gd name="T16" fmla="*/ 2147483647 w 71"/>
              <a:gd name="T17" fmla="*/ 2147483647 h 35"/>
              <a:gd name="T18" fmla="*/ 2147483647 w 71"/>
              <a:gd name="T19" fmla="*/ 2147483647 h 35"/>
              <a:gd name="T20" fmla="*/ 2147483647 w 71"/>
              <a:gd name="T21" fmla="*/ 2147483647 h 35"/>
              <a:gd name="T22" fmla="*/ 2147483647 w 71"/>
              <a:gd name="T23" fmla="*/ 2147483647 h 35"/>
              <a:gd name="T24" fmla="*/ 2147483647 w 71"/>
              <a:gd name="T25" fmla="*/ 2147483647 h 35"/>
              <a:gd name="T26" fmla="*/ 2147483647 w 71"/>
              <a:gd name="T27" fmla="*/ 2147483647 h 35"/>
              <a:gd name="T28" fmla="*/ 2147483647 w 71"/>
              <a:gd name="T29" fmla="*/ 2147483647 h 35"/>
              <a:gd name="T30" fmla="*/ 2147483647 w 71"/>
              <a:gd name="T31" fmla="*/ 2147483647 h 35"/>
              <a:gd name="T32" fmla="*/ 2147483647 w 71"/>
              <a:gd name="T33" fmla="*/ 2147483647 h 35"/>
              <a:gd name="T34" fmla="*/ 2147483647 w 71"/>
              <a:gd name="T35" fmla="*/ 2147483647 h 35"/>
              <a:gd name="T36" fmla="*/ 2147483647 w 71"/>
              <a:gd name="T37" fmla="*/ 2147483647 h 35"/>
              <a:gd name="T38" fmla="*/ 2147483647 w 71"/>
              <a:gd name="T39" fmla="*/ 2147483647 h 35"/>
              <a:gd name="T40" fmla="*/ 2147483647 w 71"/>
              <a:gd name="T41" fmla="*/ 2147483647 h 35"/>
              <a:gd name="T42" fmla="*/ 2147483647 w 71"/>
              <a:gd name="T43" fmla="*/ 2147483647 h 35"/>
              <a:gd name="T44" fmla="*/ 2147483647 w 71"/>
              <a:gd name="T45" fmla="*/ 2147483647 h 35"/>
              <a:gd name="T46" fmla="*/ 2147483647 w 71"/>
              <a:gd name="T47" fmla="*/ 2147483647 h 35"/>
              <a:gd name="T48" fmla="*/ 2147483647 w 71"/>
              <a:gd name="T49" fmla="*/ 2147483647 h 35"/>
              <a:gd name="T50" fmla="*/ 2147483647 w 71"/>
              <a:gd name="T51" fmla="*/ 2147483647 h 35"/>
              <a:gd name="T52" fmla="*/ 2147483647 w 71"/>
              <a:gd name="T53" fmla="*/ 2147483647 h 35"/>
              <a:gd name="T54" fmla="*/ 2147483647 w 71"/>
              <a:gd name="T55" fmla="*/ 2147483647 h 35"/>
              <a:gd name="T56" fmla="*/ 2147483647 w 71"/>
              <a:gd name="T57" fmla="*/ 2147483647 h 35"/>
              <a:gd name="T58" fmla="*/ 2147483647 w 71"/>
              <a:gd name="T59" fmla="*/ 2147483647 h 35"/>
              <a:gd name="T60" fmla="*/ 2147483647 w 71"/>
              <a:gd name="T61" fmla="*/ 2147483647 h 35"/>
              <a:gd name="T62" fmla="*/ 2147483647 w 71"/>
              <a:gd name="T63" fmla="*/ 2147483647 h 35"/>
              <a:gd name="T64" fmla="*/ 2147483647 w 71"/>
              <a:gd name="T65" fmla="*/ 2147483647 h 35"/>
              <a:gd name="T66" fmla="*/ 2147483647 w 71"/>
              <a:gd name="T67" fmla="*/ 2147483647 h 35"/>
              <a:gd name="T68" fmla="*/ 2147483647 w 71"/>
              <a:gd name="T69" fmla="*/ 2147483647 h 35"/>
              <a:gd name="T70" fmla="*/ 2147483647 w 71"/>
              <a:gd name="T71" fmla="*/ 2147483647 h 35"/>
              <a:gd name="T72" fmla="*/ 2147483647 w 71"/>
              <a:gd name="T73" fmla="*/ 2147483647 h 35"/>
              <a:gd name="T74" fmla="*/ 2147483647 w 71"/>
              <a:gd name="T75" fmla="*/ 0 h 35"/>
              <a:gd name="T76" fmla="*/ 2147483647 w 71"/>
              <a:gd name="T77" fmla="*/ 2147483647 h 35"/>
              <a:gd name="T78" fmla="*/ 2147483647 w 71"/>
              <a:gd name="T79" fmla="*/ 2147483647 h 35"/>
              <a:gd name="T80" fmla="*/ 2147483647 w 71"/>
              <a:gd name="T81" fmla="*/ 2147483647 h 35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71"/>
              <a:gd name="T124" fmla="*/ 0 h 35"/>
              <a:gd name="T125" fmla="*/ 71 w 71"/>
              <a:gd name="T126" fmla="*/ 35 h 35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71" h="35">
                <a:moveTo>
                  <a:pt x="20" y="9"/>
                </a:moveTo>
                <a:lnTo>
                  <a:pt x="20" y="9"/>
                </a:lnTo>
                <a:lnTo>
                  <a:pt x="17" y="9"/>
                </a:lnTo>
                <a:lnTo>
                  <a:pt x="14" y="12"/>
                </a:lnTo>
                <a:lnTo>
                  <a:pt x="5" y="23"/>
                </a:lnTo>
                <a:lnTo>
                  <a:pt x="0" y="29"/>
                </a:lnTo>
                <a:lnTo>
                  <a:pt x="3" y="32"/>
                </a:lnTo>
                <a:lnTo>
                  <a:pt x="8" y="21"/>
                </a:lnTo>
                <a:lnTo>
                  <a:pt x="14" y="32"/>
                </a:lnTo>
                <a:lnTo>
                  <a:pt x="17" y="35"/>
                </a:lnTo>
                <a:lnTo>
                  <a:pt x="23" y="32"/>
                </a:lnTo>
                <a:lnTo>
                  <a:pt x="28" y="35"/>
                </a:lnTo>
                <a:lnTo>
                  <a:pt x="28" y="26"/>
                </a:lnTo>
                <a:lnTo>
                  <a:pt x="31" y="26"/>
                </a:lnTo>
                <a:lnTo>
                  <a:pt x="37" y="26"/>
                </a:lnTo>
                <a:lnTo>
                  <a:pt x="46" y="35"/>
                </a:lnTo>
                <a:lnTo>
                  <a:pt x="51" y="23"/>
                </a:lnTo>
                <a:lnTo>
                  <a:pt x="51" y="26"/>
                </a:lnTo>
                <a:lnTo>
                  <a:pt x="54" y="29"/>
                </a:lnTo>
                <a:lnTo>
                  <a:pt x="60" y="23"/>
                </a:lnTo>
                <a:lnTo>
                  <a:pt x="60" y="26"/>
                </a:lnTo>
                <a:lnTo>
                  <a:pt x="63" y="21"/>
                </a:lnTo>
                <a:lnTo>
                  <a:pt x="66" y="23"/>
                </a:lnTo>
                <a:lnTo>
                  <a:pt x="69" y="15"/>
                </a:lnTo>
                <a:lnTo>
                  <a:pt x="71" y="15"/>
                </a:lnTo>
                <a:lnTo>
                  <a:pt x="71" y="6"/>
                </a:lnTo>
                <a:lnTo>
                  <a:pt x="69" y="6"/>
                </a:lnTo>
                <a:lnTo>
                  <a:pt x="66" y="9"/>
                </a:lnTo>
                <a:lnTo>
                  <a:pt x="60" y="6"/>
                </a:lnTo>
                <a:lnTo>
                  <a:pt x="54" y="6"/>
                </a:lnTo>
                <a:lnTo>
                  <a:pt x="46" y="3"/>
                </a:lnTo>
                <a:lnTo>
                  <a:pt x="40" y="0"/>
                </a:lnTo>
                <a:lnTo>
                  <a:pt x="34" y="6"/>
                </a:lnTo>
                <a:lnTo>
                  <a:pt x="23" y="6"/>
                </a:lnTo>
                <a:lnTo>
                  <a:pt x="20" y="9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44" name="Freeform 249"/>
          <p:cNvSpPr>
            <a:spLocks/>
          </p:cNvSpPr>
          <p:nvPr/>
        </p:nvSpPr>
        <p:spPr bwMode="gray">
          <a:xfrm>
            <a:off x="4932888" y="2749575"/>
            <a:ext cx="394072" cy="240006"/>
          </a:xfrm>
          <a:custGeom>
            <a:avLst/>
            <a:gdLst>
              <a:gd name="T0" fmla="*/ 2147483647 w 195"/>
              <a:gd name="T1" fmla="*/ 2147483647 h 158"/>
              <a:gd name="T2" fmla="*/ 2147483647 w 195"/>
              <a:gd name="T3" fmla="*/ 2147483647 h 158"/>
              <a:gd name="T4" fmla="*/ 2147483647 w 195"/>
              <a:gd name="T5" fmla="*/ 2147483647 h 158"/>
              <a:gd name="T6" fmla="*/ 2147483647 w 195"/>
              <a:gd name="T7" fmla="*/ 2147483647 h 158"/>
              <a:gd name="T8" fmla="*/ 2147483647 w 195"/>
              <a:gd name="T9" fmla="*/ 2147483647 h 158"/>
              <a:gd name="T10" fmla="*/ 2147483647 w 195"/>
              <a:gd name="T11" fmla="*/ 2147483647 h 158"/>
              <a:gd name="T12" fmla="*/ 2147483647 w 195"/>
              <a:gd name="T13" fmla="*/ 2147483647 h 158"/>
              <a:gd name="T14" fmla="*/ 2147483647 w 195"/>
              <a:gd name="T15" fmla="*/ 2147483647 h 158"/>
              <a:gd name="T16" fmla="*/ 2147483647 w 195"/>
              <a:gd name="T17" fmla="*/ 2147483647 h 158"/>
              <a:gd name="T18" fmla="*/ 2147483647 w 195"/>
              <a:gd name="T19" fmla="*/ 2147483647 h 158"/>
              <a:gd name="T20" fmla="*/ 2147483647 w 195"/>
              <a:gd name="T21" fmla="*/ 2147483647 h 158"/>
              <a:gd name="T22" fmla="*/ 2147483647 w 195"/>
              <a:gd name="T23" fmla="*/ 2147483647 h 158"/>
              <a:gd name="T24" fmla="*/ 2147483647 w 195"/>
              <a:gd name="T25" fmla="*/ 2147483647 h 158"/>
              <a:gd name="T26" fmla="*/ 2147483647 w 195"/>
              <a:gd name="T27" fmla="*/ 2147483647 h 158"/>
              <a:gd name="T28" fmla="*/ 2147483647 w 195"/>
              <a:gd name="T29" fmla="*/ 2147483647 h 158"/>
              <a:gd name="T30" fmla="*/ 2147483647 w 195"/>
              <a:gd name="T31" fmla="*/ 2147483647 h 158"/>
              <a:gd name="T32" fmla="*/ 2147483647 w 195"/>
              <a:gd name="T33" fmla="*/ 2147483647 h 158"/>
              <a:gd name="T34" fmla="*/ 2147483647 w 195"/>
              <a:gd name="T35" fmla="*/ 2147483647 h 158"/>
              <a:gd name="T36" fmla="*/ 2147483647 w 195"/>
              <a:gd name="T37" fmla="*/ 2147483647 h 158"/>
              <a:gd name="T38" fmla="*/ 2147483647 w 195"/>
              <a:gd name="T39" fmla="*/ 0 h 158"/>
              <a:gd name="T40" fmla="*/ 2147483647 w 195"/>
              <a:gd name="T41" fmla="*/ 2147483647 h 158"/>
              <a:gd name="T42" fmla="*/ 2147483647 w 195"/>
              <a:gd name="T43" fmla="*/ 2147483647 h 158"/>
              <a:gd name="T44" fmla="*/ 2147483647 w 195"/>
              <a:gd name="T45" fmla="*/ 2147483647 h 158"/>
              <a:gd name="T46" fmla="*/ 2147483647 w 195"/>
              <a:gd name="T47" fmla="*/ 2147483647 h 158"/>
              <a:gd name="T48" fmla="*/ 2147483647 w 195"/>
              <a:gd name="T49" fmla="*/ 2147483647 h 158"/>
              <a:gd name="T50" fmla="*/ 2147483647 w 195"/>
              <a:gd name="T51" fmla="*/ 2147483647 h 158"/>
              <a:gd name="T52" fmla="*/ 2147483647 w 195"/>
              <a:gd name="T53" fmla="*/ 2147483647 h 158"/>
              <a:gd name="T54" fmla="*/ 2147483647 w 195"/>
              <a:gd name="T55" fmla="*/ 2147483647 h 158"/>
              <a:gd name="T56" fmla="*/ 2147483647 w 195"/>
              <a:gd name="T57" fmla="*/ 2147483647 h 158"/>
              <a:gd name="T58" fmla="*/ 2147483647 w 195"/>
              <a:gd name="T59" fmla="*/ 2147483647 h 158"/>
              <a:gd name="T60" fmla="*/ 2147483647 w 195"/>
              <a:gd name="T61" fmla="*/ 2147483647 h 158"/>
              <a:gd name="T62" fmla="*/ 2147483647 w 195"/>
              <a:gd name="T63" fmla="*/ 2147483647 h 158"/>
              <a:gd name="T64" fmla="*/ 2147483647 w 195"/>
              <a:gd name="T65" fmla="*/ 2147483647 h 158"/>
              <a:gd name="T66" fmla="*/ 2147483647 w 195"/>
              <a:gd name="T67" fmla="*/ 2147483647 h 158"/>
              <a:gd name="T68" fmla="*/ 2147483647 w 195"/>
              <a:gd name="T69" fmla="*/ 2147483647 h 158"/>
              <a:gd name="T70" fmla="*/ 2147483647 w 195"/>
              <a:gd name="T71" fmla="*/ 2147483647 h 158"/>
              <a:gd name="T72" fmla="*/ 2147483647 w 195"/>
              <a:gd name="T73" fmla="*/ 2147483647 h 158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195"/>
              <a:gd name="T112" fmla="*/ 0 h 158"/>
              <a:gd name="T113" fmla="*/ 195 w 195"/>
              <a:gd name="T114" fmla="*/ 158 h 158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195" h="158">
                <a:moveTo>
                  <a:pt x="6" y="152"/>
                </a:moveTo>
                <a:lnTo>
                  <a:pt x="6" y="152"/>
                </a:lnTo>
                <a:lnTo>
                  <a:pt x="0" y="158"/>
                </a:lnTo>
                <a:lnTo>
                  <a:pt x="66" y="158"/>
                </a:lnTo>
                <a:lnTo>
                  <a:pt x="69" y="141"/>
                </a:lnTo>
                <a:lnTo>
                  <a:pt x="89" y="126"/>
                </a:lnTo>
                <a:lnTo>
                  <a:pt x="98" y="118"/>
                </a:lnTo>
                <a:lnTo>
                  <a:pt x="103" y="121"/>
                </a:lnTo>
                <a:lnTo>
                  <a:pt x="106" y="118"/>
                </a:lnTo>
                <a:lnTo>
                  <a:pt x="126" y="115"/>
                </a:lnTo>
                <a:lnTo>
                  <a:pt x="132" y="106"/>
                </a:lnTo>
                <a:lnTo>
                  <a:pt x="138" y="103"/>
                </a:lnTo>
                <a:lnTo>
                  <a:pt x="146" y="101"/>
                </a:lnTo>
                <a:lnTo>
                  <a:pt x="152" y="95"/>
                </a:lnTo>
                <a:lnTo>
                  <a:pt x="149" y="80"/>
                </a:lnTo>
                <a:lnTo>
                  <a:pt x="164" y="78"/>
                </a:lnTo>
                <a:lnTo>
                  <a:pt x="167" y="72"/>
                </a:lnTo>
                <a:lnTo>
                  <a:pt x="195" y="72"/>
                </a:lnTo>
                <a:lnTo>
                  <a:pt x="195" y="66"/>
                </a:lnTo>
                <a:lnTo>
                  <a:pt x="187" y="52"/>
                </a:lnTo>
                <a:lnTo>
                  <a:pt x="187" y="35"/>
                </a:lnTo>
                <a:lnTo>
                  <a:pt x="184" y="23"/>
                </a:lnTo>
                <a:lnTo>
                  <a:pt x="172" y="17"/>
                </a:lnTo>
                <a:lnTo>
                  <a:pt x="172" y="14"/>
                </a:lnTo>
                <a:lnTo>
                  <a:pt x="169" y="12"/>
                </a:lnTo>
                <a:lnTo>
                  <a:pt x="169" y="9"/>
                </a:lnTo>
                <a:lnTo>
                  <a:pt x="164" y="14"/>
                </a:lnTo>
                <a:lnTo>
                  <a:pt x="155" y="12"/>
                </a:lnTo>
                <a:lnTo>
                  <a:pt x="146" y="14"/>
                </a:lnTo>
                <a:lnTo>
                  <a:pt x="141" y="12"/>
                </a:lnTo>
                <a:lnTo>
                  <a:pt x="138" y="12"/>
                </a:lnTo>
                <a:lnTo>
                  <a:pt x="132" y="0"/>
                </a:lnTo>
                <a:lnTo>
                  <a:pt x="126" y="3"/>
                </a:lnTo>
                <a:lnTo>
                  <a:pt x="121" y="6"/>
                </a:lnTo>
                <a:lnTo>
                  <a:pt x="118" y="14"/>
                </a:lnTo>
                <a:lnTo>
                  <a:pt x="109" y="26"/>
                </a:lnTo>
                <a:lnTo>
                  <a:pt x="103" y="35"/>
                </a:lnTo>
                <a:lnTo>
                  <a:pt x="98" y="43"/>
                </a:lnTo>
                <a:lnTo>
                  <a:pt x="83" y="52"/>
                </a:lnTo>
                <a:lnTo>
                  <a:pt x="72" y="58"/>
                </a:lnTo>
                <a:lnTo>
                  <a:pt x="66" y="60"/>
                </a:lnTo>
                <a:lnTo>
                  <a:pt x="66" y="63"/>
                </a:lnTo>
                <a:lnTo>
                  <a:pt x="63" y="66"/>
                </a:lnTo>
                <a:lnTo>
                  <a:pt x="63" y="72"/>
                </a:lnTo>
                <a:lnTo>
                  <a:pt x="57" y="78"/>
                </a:lnTo>
                <a:lnTo>
                  <a:pt x="55" y="83"/>
                </a:lnTo>
                <a:lnTo>
                  <a:pt x="55" y="89"/>
                </a:lnTo>
                <a:lnTo>
                  <a:pt x="55" y="98"/>
                </a:lnTo>
                <a:lnTo>
                  <a:pt x="55" y="106"/>
                </a:lnTo>
                <a:lnTo>
                  <a:pt x="55" y="112"/>
                </a:lnTo>
                <a:lnTo>
                  <a:pt x="49" y="121"/>
                </a:lnTo>
                <a:lnTo>
                  <a:pt x="43" y="129"/>
                </a:lnTo>
                <a:lnTo>
                  <a:pt x="32" y="138"/>
                </a:lnTo>
                <a:lnTo>
                  <a:pt x="17" y="149"/>
                </a:lnTo>
                <a:lnTo>
                  <a:pt x="6" y="15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45" name="Freeform 250"/>
          <p:cNvSpPr>
            <a:spLocks/>
          </p:cNvSpPr>
          <p:nvPr/>
        </p:nvSpPr>
        <p:spPr bwMode="gray">
          <a:xfrm>
            <a:off x="6163111" y="2659572"/>
            <a:ext cx="10001" cy="4500"/>
          </a:xfrm>
          <a:custGeom>
            <a:avLst/>
            <a:gdLst>
              <a:gd name="T0" fmla="*/ 0 w 5"/>
              <a:gd name="T1" fmla="*/ 2147483647 h 3"/>
              <a:gd name="T2" fmla="*/ 2147483647 w 5"/>
              <a:gd name="T3" fmla="*/ 2147483647 h 3"/>
              <a:gd name="T4" fmla="*/ 2147483647 w 5"/>
              <a:gd name="T5" fmla="*/ 2147483647 h 3"/>
              <a:gd name="T6" fmla="*/ 2147483647 w 5"/>
              <a:gd name="T7" fmla="*/ 0 h 3"/>
              <a:gd name="T8" fmla="*/ 0 w 5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3"/>
              <a:gd name="T17" fmla="*/ 5 w 5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3">
                <a:moveTo>
                  <a:pt x="0" y="3"/>
                </a:moveTo>
                <a:lnTo>
                  <a:pt x="5" y="3"/>
                </a:lnTo>
                <a:lnTo>
                  <a:pt x="2" y="0"/>
                </a:lnTo>
                <a:lnTo>
                  <a:pt x="0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46" name="Freeform 251"/>
          <p:cNvSpPr>
            <a:spLocks/>
          </p:cNvSpPr>
          <p:nvPr/>
        </p:nvSpPr>
        <p:spPr bwMode="gray">
          <a:xfrm>
            <a:off x="6145107" y="2758575"/>
            <a:ext cx="86016" cy="21001"/>
          </a:xfrm>
          <a:custGeom>
            <a:avLst/>
            <a:gdLst>
              <a:gd name="T0" fmla="*/ 0 w 43"/>
              <a:gd name="T1" fmla="*/ 2147483647 h 14"/>
              <a:gd name="T2" fmla="*/ 2147483647 w 43"/>
              <a:gd name="T3" fmla="*/ 2147483647 h 14"/>
              <a:gd name="T4" fmla="*/ 2147483647 w 43"/>
              <a:gd name="T5" fmla="*/ 2147483647 h 14"/>
              <a:gd name="T6" fmla="*/ 2147483647 w 43"/>
              <a:gd name="T7" fmla="*/ 2147483647 h 14"/>
              <a:gd name="T8" fmla="*/ 2147483647 w 43"/>
              <a:gd name="T9" fmla="*/ 2147483647 h 14"/>
              <a:gd name="T10" fmla="*/ 2147483647 w 43"/>
              <a:gd name="T11" fmla="*/ 2147483647 h 14"/>
              <a:gd name="T12" fmla="*/ 2147483647 w 43"/>
              <a:gd name="T13" fmla="*/ 2147483647 h 14"/>
              <a:gd name="T14" fmla="*/ 2147483647 w 43"/>
              <a:gd name="T15" fmla="*/ 2147483647 h 14"/>
              <a:gd name="T16" fmla="*/ 2147483647 w 43"/>
              <a:gd name="T17" fmla="*/ 2147483647 h 14"/>
              <a:gd name="T18" fmla="*/ 2147483647 w 43"/>
              <a:gd name="T19" fmla="*/ 2147483647 h 14"/>
              <a:gd name="T20" fmla="*/ 2147483647 w 43"/>
              <a:gd name="T21" fmla="*/ 2147483647 h 14"/>
              <a:gd name="T22" fmla="*/ 2147483647 w 43"/>
              <a:gd name="T23" fmla="*/ 2147483647 h 14"/>
              <a:gd name="T24" fmla="*/ 2147483647 w 43"/>
              <a:gd name="T25" fmla="*/ 0 h 14"/>
              <a:gd name="T26" fmla="*/ 2147483647 w 43"/>
              <a:gd name="T27" fmla="*/ 2147483647 h 14"/>
              <a:gd name="T28" fmla="*/ 2147483647 w 43"/>
              <a:gd name="T29" fmla="*/ 2147483647 h 14"/>
              <a:gd name="T30" fmla="*/ 2147483647 w 43"/>
              <a:gd name="T31" fmla="*/ 0 h 14"/>
              <a:gd name="T32" fmla="*/ 0 w 43"/>
              <a:gd name="T33" fmla="*/ 2147483647 h 1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43"/>
              <a:gd name="T52" fmla="*/ 0 h 14"/>
              <a:gd name="T53" fmla="*/ 43 w 43"/>
              <a:gd name="T54" fmla="*/ 14 h 14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43" h="14">
                <a:moveTo>
                  <a:pt x="0" y="3"/>
                </a:moveTo>
                <a:lnTo>
                  <a:pt x="3" y="8"/>
                </a:lnTo>
                <a:lnTo>
                  <a:pt x="11" y="8"/>
                </a:lnTo>
                <a:lnTo>
                  <a:pt x="17" y="8"/>
                </a:lnTo>
                <a:lnTo>
                  <a:pt x="20" y="14"/>
                </a:lnTo>
                <a:lnTo>
                  <a:pt x="26" y="14"/>
                </a:lnTo>
                <a:lnTo>
                  <a:pt x="32" y="11"/>
                </a:lnTo>
                <a:lnTo>
                  <a:pt x="43" y="11"/>
                </a:lnTo>
                <a:lnTo>
                  <a:pt x="43" y="6"/>
                </a:lnTo>
                <a:lnTo>
                  <a:pt x="34" y="6"/>
                </a:lnTo>
                <a:lnTo>
                  <a:pt x="34" y="3"/>
                </a:lnTo>
                <a:lnTo>
                  <a:pt x="26" y="3"/>
                </a:lnTo>
                <a:lnTo>
                  <a:pt x="20" y="0"/>
                </a:lnTo>
                <a:lnTo>
                  <a:pt x="17" y="3"/>
                </a:lnTo>
                <a:lnTo>
                  <a:pt x="9" y="3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47" name="Freeform 252"/>
          <p:cNvSpPr>
            <a:spLocks/>
          </p:cNvSpPr>
          <p:nvPr/>
        </p:nvSpPr>
        <p:spPr bwMode="gray">
          <a:xfrm>
            <a:off x="5987080" y="2190059"/>
            <a:ext cx="84015" cy="25501"/>
          </a:xfrm>
          <a:custGeom>
            <a:avLst/>
            <a:gdLst>
              <a:gd name="T0" fmla="*/ 2147483647 w 41"/>
              <a:gd name="T1" fmla="*/ 0 h 17"/>
              <a:gd name="T2" fmla="*/ 2147483647 w 41"/>
              <a:gd name="T3" fmla="*/ 0 h 17"/>
              <a:gd name="T4" fmla="*/ 2147483647 w 41"/>
              <a:gd name="T5" fmla="*/ 2147483647 h 17"/>
              <a:gd name="T6" fmla="*/ 2147483647 w 41"/>
              <a:gd name="T7" fmla="*/ 2147483647 h 17"/>
              <a:gd name="T8" fmla="*/ 2147483647 w 41"/>
              <a:gd name="T9" fmla="*/ 2147483647 h 17"/>
              <a:gd name="T10" fmla="*/ 2147483647 w 41"/>
              <a:gd name="T11" fmla="*/ 2147483647 h 17"/>
              <a:gd name="T12" fmla="*/ 0 w 41"/>
              <a:gd name="T13" fmla="*/ 2147483647 h 17"/>
              <a:gd name="T14" fmla="*/ 0 w 41"/>
              <a:gd name="T15" fmla="*/ 2147483647 h 17"/>
              <a:gd name="T16" fmla="*/ 2147483647 w 41"/>
              <a:gd name="T17" fmla="*/ 2147483647 h 17"/>
              <a:gd name="T18" fmla="*/ 2147483647 w 41"/>
              <a:gd name="T19" fmla="*/ 2147483647 h 17"/>
              <a:gd name="T20" fmla="*/ 2147483647 w 41"/>
              <a:gd name="T21" fmla="*/ 2147483647 h 17"/>
              <a:gd name="T22" fmla="*/ 2147483647 w 41"/>
              <a:gd name="T23" fmla="*/ 2147483647 h 17"/>
              <a:gd name="T24" fmla="*/ 2147483647 w 41"/>
              <a:gd name="T25" fmla="*/ 2147483647 h 17"/>
              <a:gd name="T26" fmla="*/ 2147483647 w 41"/>
              <a:gd name="T27" fmla="*/ 2147483647 h 17"/>
              <a:gd name="T28" fmla="*/ 2147483647 w 41"/>
              <a:gd name="T29" fmla="*/ 2147483647 h 17"/>
              <a:gd name="T30" fmla="*/ 2147483647 w 41"/>
              <a:gd name="T31" fmla="*/ 2147483647 h 17"/>
              <a:gd name="T32" fmla="*/ 2147483647 w 41"/>
              <a:gd name="T33" fmla="*/ 2147483647 h 17"/>
              <a:gd name="T34" fmla="*/ 2147483647 w 41"/>
              <a:gd name="T35" fmla="*/ 2147483647 h 17"/>
              <a:gd name="T36" fmla="*/ 2147483647 w 41"/>
              <a:gd name="T37" fmla="*/ 2147483647 h 17"/>
              <a:gd name="T38" fmla="*/ 2147483647 w 41"/>
              <a:gd name="T39" fmla="*/ 2147483647 h 17"/>
              <a:gd name="T40" fmla="*/ 2147483647 w 41"/>
              <a:gd name="T41" fmla="*/ 2147483647 h 17"/>
              <a:gd name="T42" fmla="*/ 2147483647 w 41"/>
              <a:gd name="T43" fmla="*/ 2147483647 h 17"/>
              <a:gd name="T44" fmla="*/ 2147483647 w 41"/>
              <a:gd name="T45" fmla="*/ 2147483647 h 17"/>
              <a:gd name="T46" fmla="*/ 2147483647 w 41"/>
              <a:gd name="T47" fmla="*/ 2147483647 h 17"/>
              <a:gd name="T48" fmla="*/ 2147483647 w 41"/>
              <a:gd name="T49" fmla="*/ 2147483647 h 17"/>
              <a:gd name="T50" fmla="*/ 2147483647 w 41"/>
              <a:gd name="T51" fmla="*/ 2147483647 h 17"/>
              <a:gd name="T52" fmla="*/ 2147483647 w 41"/>
              <a:gd name="T53" fmla="*/ 2147483647 h 17"/>
              <a:gd name="T54" fmla="*/ 2147483647 w 41"/>
              <a:gd name="T55" fmla="*/ 2147483647 h 17"/>
              <a:gd name="T56" fmla="*/ 2147483647 w 41"/>
              <a:gd name="T57" fmla="*/ 2147483647 h 17"/>
              <a:gd name="T58" fmla="*/ 2147483647 w 41"/>
              <a:gd name="T59" fmla="*/ 0 h 17"/>
              <a:gd name="T60" fmla="*/ 2147483647 w 41"/>
              <a:gd name="T61" fmla="*/ 0 h 17"/>
              <a:gd name="T62" fmla="*/ 2147483647 w 41"/>
              <a:gd name="T63" fmla="*/ 0 h 17"/>
              <a:gd name="T64" fmla="*/ 2147483647 w 41"/>
              <a:gd name="T65" fmla="*/ 0 h 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41"/>
              <a:gd name="T100" fmla="*/ 0 h 17"/>
              <a:gd name="T101" fmla="*/ 41 w 41"/>
              <a:gd name="T102" fmla="*/ 17 h 17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41" h="17">
                <a:moveTo>
                  <a:pt x="15" y="0"/>
                </a:moveTo>
                <a:lnTo>
                  <a:pt x="15" y="0"/>
                </a:lnTo>
                <a:lnTo>
                  <a:pt x="12" y="3"/>
                </a:lnTo>
                <a:lnTo>
                  <a:pt x="6" y="5"/>
                </a:lnTo>
                <a:lnTo>
                  <a:pt x="3" y="5"/>
                </a:lnTo>
                <a:lnTo>
                  <a:pt x="0" y="14"/>
                </a:lnTo>
                <a:lnTo>
                  <a:pt x="3" y="14"/>
                </a:lnTo>
                <a:lnTo>
                  <a:pt x="18" y="17"/>
                </a:lnTo>
                <a:lnTo>
                  <a:pt x="21" y="17"/>
                </a:lnTo>
                <a:lnTo>
                  <a:pt x="41" y="14"/>
                </a:lnTo>
                <a:lnTo>
                  <a:pt x="41" y="11"/>
                </a:lnTo>
                <a:lnTo>
                  <a:pt x="38" y="5"/>
                </a:lnTo>
                <a:lnTo>
                  <a:pt x="32" y="5"/>
                </a:lnTo>
                <a:lnTo>
                  <a:pt x="29" y="5"/>
                </a:lnTo>
                <a:lnTo>
                  <a:pt x="18" y="3"/>
                </a:lnTo>
                <a:lnTo>
                  <a:pt x="15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48" name="Freeform 253"/>
          <p:cNvSpPr>
            <a:spLocks/>
          </p:cNvSpPr>
          <p:nvPr/>
        </p:nvSpPr>
        <p:spPr bwMode="gray">
          <a:xfrm>
            <a:off x="5897063" y="2385065"/>
            <a:ext cx="190035" cy="73502"/>
          </a:xfrm>
          <a:custGeom>
            <a:avLst/>
            <a:gdLst>
              <a:gd name="T0" fmla="*/ 2147483647 w 94"/>
              <a:gd name="T1" fmla="*/ 2147483647 h 49"/>
              <a:gd name="T2" fmla="*/ 2147483647 w 94"/>
              <a:gd name="T3" fmla="*/ 2147483647 h 49"/>
              <a:gd name="T4" fmla="*/ 2147483647 w 94"/>
              <a:gd name="T5" fmla="*/ 2147483647 h 49"/>
              <a:gd name="T6" fmla="*/ 2147483647 w 94"/>
              <a:gd name="T7" fmla="*/ 2147483647 h 49"/>
              <a:gd name="T8" fmla="*/ 2147483647 w 94"/>
              <a:gd name="T9" fmla="*/ 2147483647 h 49"/>
              <a:gd name="T10" fmla="*/ 2147483647 w 94"/>
              <a:gd name="T11" fmla="*/ 2147483647 h 49"/>
              <a:gd name="T12" fmla="*/ 2147483647 w 94"/>
              <a:gd name="T13" fmla="*/ 2147483647 h 49"/>
              <a:gd name="T14" fmla="*/ 2147483647 w 94"/>
              <a:gd name="T15" fmla="*/ 2147483647 h 49"/>
              <a:gd name="T16" fmla="*/ 2147483647 w 94"/>
              <a:gd name="T17" fmla="*/ 2147483647 h 49"/>
              <a:gd name="T18" fmla="*/ 2147483647 w 94"/>
              <a:gd name="T19" fmla="*/ 2147483647 h 49"/>
              <a:gd name="T20" fmla="*/ 2147483647 w 94"/>
              <a:gd name="T21" fmla="*/ 2147483647 h 49"/>
              <a:gd name="T22" fmla="*/ 2147483647 w 94"/>
              <a:gd name="T23" fmla="*/ 2147483647 h 49"/>
              <a:gd name="T24" fmla="*/ 2147483647 w 94"/>
              <a:gd name="T25" fmla="*/ 2147483647 h 49"/>
              <a:gd name="T26" fmla="*/ 2147483647 w 94"/>
              <a:gd name="T27" fmla="*/ 2147483647 h 49"/>
              <a:gd name="T28" fmla="*/ 2147483647 w 94"/>
              <a:gd name="T29" fmla="*/ 2147483647 h 49"/>
              <a:gd name="T30" fmla="*/ 2147483647 w 94"/>
              <a:gd name="T31" fmla="*/ 2147483647 h 49"/>
              <a:gd name="T32" fmla="*/ 2147483647 w 94"/>
              <a:gd name="T33" fmla="*/ 2147483647 h 49"/>
              <a:gd name="T34" fmla="*/ 2147483647 w 94"/>
              <a:gd name="T35" fmla="*/ 2147483647 h 49"/>
              <a:gd name="T36" fmla="*/ 2147483647 w 94"/>
              <a:gd name="T37" fmla="*/ 2147483647 h 49"/>
              <a:gd name="T38" fmla="*/ 2147483647 w 94"/>
              <a:gd name="T39" fmla="*/ 2147483647 h 49"/>
              <a:gd name="T40" fmla="*/ 2147483647 w 94"/>
              <a:gd name="T41" fmla="*/ 2147483647 h 49"/>
              <a:gd name="T42" fmla="*/ 2147483647 w 94"/>
              <a:gd name="T43" fmla="*/ 2147483647 h 49"/>
              <a:gd name="T44" fmla="*/ 2147483647 w 94"/>
              <a:gd name="T45" fmla="*/ 2147483647 h 49"/>
              <a:gd name="T46" fmla="*/ 2147483647 w 94"/>
              <a:gd name="T47" fmla="*/ 2147483647 h 49"/>
              <a:gd name="T48" fmla="*/ 2147483647 w 94"/>
              <a:gd name="T49" fmla="*/ 0 h 49"/>
              <a:gd name="T50" fmla="*/ 2147483647 w 94"/>
              <a:gd name="T51" fmla="*/ 0 h 49"/>
              <a:gd name="T52" fmla="*/ 2147483647 w 94"/>
              <a:gd name="T53" fmla="*/ 0 h 49"/>
              <a:gd name="T54" fmla="*/ 2147483647 w 94"/>
              <a:gd name="T55" fmla="*/ 2147483647 h 49"/>
              <a:gd name="T56" fmla="*/ 2147483647 w 94"/>
              <a:gd name="T57" fmla="*/ 2147483647 h 49"/>
              <a:gd name="T58" fmla="*/ 2147483647 w 94"/>
              <a:gd name="T59" fmla="*/ 2147483647 h 49"/>
              <a:gd name="T60" fmla="*/ 2147483647 w 94"/>
              <a:gd name="T61" fmla="*/ 2147483647 h 49"/>
              <a:gd name="T62" fmla="*/ 2147483647 w 94"/>
              <a:gd name="T63" fmla="*/ 2147483647 h 49"/>
              <a:gd name="T64" fmla="*/ 2147483647 w 94"/>
              <a:gd name="T65" fmla="*/ 2147483647 h 49"/>
              <a:gd name="T66" fmla="*/ 2147483647 w 94"/>
              <a:gd name="T67" fmla="*/ 2147483647 h 49"/>
              <a:gd name="T68" fmla="*/ 2147483647 w 94"/>
              <a:gd name="T69" fmla="*/ 2147483647 h 49"/>
              <a:gd name="T70" fmla="*/ 2147483647 w 94"/>
              <a:gd name="T71" fmla="*/ 2147483647 h 49"/>
              <a:gd name="T72" fmla="*/ 2147483647 w 94"/>
              <a:gd name="T73" fmla="*/ 2147483647 h 49"/>
              <a:gd name="T74" fmla="*/ 2147483647 w 94"/>
              <a:gd name="T75" fmla="*/ 2147483647 h 49"/>
              <a:gd name="T76" fmla="*/ 2147483647 w 94"/>
              <a:gd name="T77" fmla="*/ 2147483647 h 49"/>
              <a:gd name="T78" fmla="*/ 2147483647 w 94"/>
              <a:gd name="T79" fmla="*/ 2147483647 h 49"/>
              <a:gd name="T80" fmla="*/ 2147483647 w 94"/>
              <a:gd name="T81" fmla="*/ 2147483647 h 49"/>
              <a:gd name="T82" fmla="*/ 0 w 94"/>
              <a:gd name="T83" fmla="*/ 2147483647 h 49"/>
              <a:gd name="T84" fmla="*/ 0 w 94"/>
              <a:gd name="T85" fmla="*/ 2147483647 h 49"/>
              <a:gd name="T86" fmla="*/ 2147483647 w 94"/>
              <a:gd name="T87" fmla="*/ 2147483647 h 49"/>
              <a:gd name="T88" fmla="*/ 2147483647 w 94"/>
              <a:gd name="T89" fmla="*/ 2147483647 h 49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94"/>
              <a:gd name="T136" fmla="*/ 0 h 49"/>
              <a:gd name="T137" fmla="*/ 94 w 94"/>
              <a:gd name="T138" fmla="*/ 49 h 49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94" h="49">
                <a:moveTo>
                  <a:pt x="11" y="40"/>
                </a:moveTo>
                <a:lnTo>
                  <a:pt x="14" y="43"/>
                </a:lnTo>
                <a:lnTo>
                  <a:pt x="23" y="46"/>
                </a:lnTo>
                <a:lnTo>
                  <a:pt x="28" y="49"/>
                </a:lnTo>
                <a:lnTo>
                  <a:pt x="34" y="49"/>
                </a:lnTo>
                <a:lnTo>
                  <a:pt x="34" y="46"/>
                </a:lnTo>
                <a:lnTo>
                  <a:pt x="40" y="46"/>
                </a:lnTo>
                <a:lnTo>
                  <a:pt x="43" y="43"/>
                </a:lnTo>
                <a:lnTo>
                  <a:pt x="48" y="40"/>
                </a:lnTo>
                <a:lnTo>
                  <a:pt x="63" y="40"/>
                </a:lnTo>
                <a:lnTo>
                  <a:pt x="66" y="37"/>
                </a:lnTo>
                <a:lnTo>
                  <a:pt x="68" y="37"/>
                </a:lnTo>
                <a:lnTo>
                  <a:pt x="71" y="37"/>
                </a:lnTo>
                <a:lnTo>
                  <a:pt x="74" y="34"/>
                </a:lnTo>
                <a:lnTo>
                  <a:pt x="80" y="26"/>
                </a:lnTo>
                <a:lnTo>
                  <a:pt x="83" y="23"/>
                </a:lnTo>
                <a:lnTo>
                  <a:pt x="83" y="17"/>
                </a:lnTo>
                <a:lnTo>
                  <a:pt x="89" y="11"/>
                </a:lnTo>
                <a:lnTo>
                  <a:pt x="94" y="9"/>
                </a:lnTo>
                <a:lnTo>
                  <a:pt x="94" y="6"/>
                </a:lnTo>
                <a:lnTo>
                  <a:pt x="86" y="3"/>
                </a:lnTo>
                <a:lnTo>
                  <a:pt x="83" y="3"/>
                </a:lnTo>
                <a:lnTo>
                  <a:pt x="77" y="0"/>
                </a:lnTo>
                <a:lnTo>
                  <a:pt x="68" y="0"/>
                </a:lnTo>
                <a:lnTo>
                  <a:pt x="60" y="0"/>
                </a:lnTo>
                <a:lnTo>
                  <a:pt x="63" y="6"/>
                </a:lnTo>
                <a:lnTo>
                  <a:pt x="57" y="9"/>
                </a:lnTo>
                <a:lnTo>
                  <a:pt x="48" y="9"/>
                </a:lnTo>
                <a:lnTo>
                  <a:pt x="34" y="14"/>
                </a:lnTo>
                <a:lnTo>
                  <a:pt x="20" y="14"/>
                </a:lnTo>
                <a:lnTo>
                  <a:pt x="11" y="9"/>
                </a:lnTo>
                <a:lnTo>
                  <a:pt x="8" y="14"/>
                </a:lnTo>
                <a:lnTo>
                  <a:pt x="2" y="14"/>
                </a:lnTo>
                <a:lnTo>
                  <a:pt x="5" y="14"/>
                </a:lnTo>
                <a:lnTo>
                  <a:pt x="5" y="17"/>
                </a:lnTo>
                <a:lnTo>
                  <a:pt x="2" y="20"/>
                </a:lnTo>
                <a:lnTo>
                  <a:pt x="2" y="29"/>
                </a:lnTo>
                <a:lnTo>
                  <a:pt x="0" y="29"/>
                </a:lnTo>
                <a:lnTo>
                  <a:pt x="2" y="34"/>
                </a:lnTo>
                <a:lnTo>
                  <a:pt x="11" y="4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49" name="Freeform 254"/>
          <p:cNvSpPr>
            <a:spLocks/>
          </p:cNvSpPr>
          <p:nvPr/>
        </p:nvSpPr>
        <p:spPr bwMode="gray">
          <a:xfrm>
            <a:off x="5913065" y="2355064"/>
            <a:ext cx="164030" cy="46502"/>
          </a:xfrm>
          <a:custGeom>
            <a:avLst/>
            <a:gdLst>
              <a:gd name="T0" fmla="*/ 2147483647 w 81"/>
              <a:gd name="T1" fmla="*/ 2147483647 h 31"/>
              <a:gd name="T2" fmla="*/ 2147483647 w 81"/>
              <a:gd name="T3" fmla="*/ 2147483647 h 31"/>
              <a:gd name="T4" fmla="*/ 2147483647 w 81"/>
              <a:gd name="T5" fmla="*/ 2147483647 h 31"/>
              <a:gd name="T6" fmla="*/ 2147483647 w 81"/>
              <a:gd name="T7" fmla="*/ 2147483647 h 31"/>
              <a:gd name="T8" fmla="*/ 2147483647 w 81"/>
              <a:gd name="T9" fmla="*/ 2147483647 h 31"/>
              <a:gd name="T10" fmla="*/ 2147483647 w 81"/>
              <a:gd name="T11" fmla="*/ 2147483647 h 31"/>
              <a:gd name="T12" fmla="*/ 2147483647 w 81"/>
              <a:gd name="T13" fmla="*/ 0 h 31"/>
              <a:gd name="T14" fmla="*/ 2147483647 w 81"/>
              <a:gd name="T15" fmla="*/ 2147483647 h 31"/>
              <a:gd name="T16" fmla="*/ 2147483647 w 81"/>
              <a:gd name="T17" fmla="*/ 0 h 31"/>
              <a:gd name="T18" fmla="*/ 2147483647 w 81"/>
              <a:gd name="T19" fmla="*/ 2147483647 h 31"/>
              <a:gd name="T20" fmla="*/ 2147483647 w 81"/>
              <a:gd name="T21" fmla="*/ 2147483647 h 31"/>
              <a:gd name="T22" fmla="*/ 2147483647 w 81"/>
              <a:gd name="T23" fmla="*/ 2147483647 h 31"/>
              <a:gd name="T24" fmla="*/ 0 w 81"/>
              <a:gd name="T25" fmla="*/ 2147483647 h 31"/>
              <a:gd name="T26" fmla="*/ 2147483647 w 81"/>
              <a:gd name="T27" fmla="*/ 2147483647 h 31"/>
              <a:gd name="T28" fmla="*/ 2147483647 w 81"/>
              <a:gd name="T29" fmla="*/ 2147483647 h 31"/>
              <a:gd name="T30" fmla="*/ 2147483647 w 81"/>
              <a:gd name="T31" fmla="*/ 2147483647 h 31"/>
              <a:gd name="T32" fmla="*/ 2147483647 w 81"/>
              <a:gd name="T33" fmla="*/ 2147483647 h 31"/>
              <a:gd name="T34" fmla="*/ 2147483647 w 81"/>
              <a:gd name="T35" fmla="*/ 2147483647 h 31"/>
              <a:gd name="T36" fmla="*/ 2147483647 w 81"/>
              <a:gd name="T37" fmla="*/ 2147483647 h 31"/>
              <a:gd name="T38" fmla="*/ 2147483647 w 81"/>
              <a:gd name="T39" fmla="*/ 2147483647 h 31"/>
              <a:gd name="T40" fmla="*/ 2147483647 w 81"/>
              <a:gd name="T41" fmla="*/ 2147483647 h 31"/>
              <a:gd name="T42" fmla="*/ 2147483647 w 81"/>
              <a:gd name="T43" fmla="*/ 2147483647 h 31"/>
              <a:gd name="T44" fmla="*/ 2147483647 w 81"/>
              <a:gd name="T45" fmla="*/ 2147483647 h 31"/>
              <a:gd name="T46" fmla="*/ 2147483647 w 81"/>
              <a:gd name="T47" fmla="*/ 2147483647 h 31"/>
              <a:gd name="T48" fmla="*/ 2147483647 w 81"/>
              <a:gd name="T49" fmla="*/ 2147483647 h 31"/>
              <a:gd name="T50" fmla="*/ 2147483647 w 81"/>
              <a:gd name="T51" fmla="*/ 2147483647 h 31"/>
              <a:gd name="T52" fmla="*/ 2147483647 w 81"/>
              <a:gd name="T53" fmla="*/ 2147483647 h 31"/>
              <a:gd name="T54" fmla="*/ 2147483647 w 81"/>
              <a:gd name="T55" fmla="*/ 2147483647 h 31"/>
              <a:gd name="T56" fmla="*/ 2147483647 w 81"/>
              <a:gd name="T57" fmla="*/ 2147483647 h 31"/>
              <a:gd name="T58" fmla="*/ 2147483647 w 81"/>
              <a:gd name="T59" fmla="*/ 2147483647 h 31"/>
              <a:gd name="T60" fmla="*/ 2147483647 w 81"/>
              <a:gd name="T61" fmla="*/ 2147483647 h 31"/>
              <a:gd name="T62" fmla="*/ 2147483647 w 81"/>
              <a:gd name="T63" fmla="*/ 2147483647 h 3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81"/>
              <a:gd name="T97" fmla="*/ 0 h 31"/>
              <a:gd name="T98" fmla="*/ 81 w 81"/>
              <a:gd name="T99" fmla="*/ 31 h 31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81" h="31">
                <a:moveTo>
                  <a:pt x="75" y="6"/>
                </a:moveTo>
                <a:lnTo>
                  <a:pt x="75" y="6"/>
                </a:lnTo>
                <a:lnTo>
                  <a:pt x="63" y="3"/>
                </a:lnTo>
                <a:lnTo>
                  <a:pt x="58" y="6"/>
                </a:lnTo>
                <a:lnTo>
                  <a:pt x="49" y="3"/>
                </a:lnTo>
                <a:lnTo>
                  <a:pt x="43" y="6"/>
                </a:lnTo>
                <a:lnTo>
                  <a:pt x="35" y="0"/>
                </a:lnTo>
                <a:lnTo>
                  <a:pt x="29" y="3"/>
                </a:lnTo>
                <a:lnTo>
                  <a:pt x="26" y="0"/>
                </a:lnTo>
                <a:lnTo>
                  <a:pt x="20" y="3"/>
                </a:lnTo>
                <a:lnTo>
                  <a:pt x="12" y="11"/>
                </a:lnTo>
                <a:lnTo>
                  <a:pt x="3" y="11"/>
                </a:lnTo>
                <a:lnTo>
                  <a:pt x="0" y="17"/>
                </a:lnTo>
                <a:lnTo>
                  <a:pt x="3" y="26"/>
                </a:lnTo>
                <a:lnTo>
                  <a:pt x="15" y="31"/>
                </a:lnTo>
                <a:lnTo>
                  <a:pt x="26" y="31"/>
                </a:lnTo>
                <a:lnTo>
                  <a:pt x="40" y="26"/>
                </a:lnTo>
                <a:lnTo>
                  <a:pt x="49" y="26"/>
                </a:lnTo>
                <a:lnTo>
                  <a:pt x="52" y="23"/>
                </a:lnTo>
                <a:lnTo>
                  <a:pt x="49" y="14"/>
                </a:lnTo>
                <a:lnTo>
                  <a:pt x="60" y="17"/>
                </a:lnTo>
                <a:lnTo>
                  <a:pt x="69" y="14"/>
                </a:lnTo>
                <a:lnTo>
                  <a:pt x="75" y="20"/>
                </a:lnTo>
                <a:lnTo>
                  <a:pt x="75" y="17"/>
                </a:lnTo>
                <a:lnTo>
                  <a:pt x="78" y="11"/>
                </a:lnTo>
                <a:lnTo>
                  <a:pt x="81" y="8"/>
                </a:lnTo>
                <a:lnTo>
                  <a:pt x="75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50" name="Freeform 255"/>
          <p:cNvSpPr>
            <a:spLocks/>
          </p:cNvSpPr>
          <p:nvPr/>
        </p:nvSpPr>
        <p:spPr bwMode="gray">
          <a:xfrm>
            <a:off x="6011084" y="2635571"/>
            <a:ext cx="12002" cy="4500"/>
          </a:xfrm>
          <a:custGeom>
            <a:avLst/>
            <a:gdLst>
              <a:gd name="T0" fmla="*/ 2147483647 w 6"/>
              <a:gd name="T1" fmla="*/ 0 h 3"/>
              <a:gd name="T2" fmla="*/ 0 w 6"/>
              <a:gd name="T3" fmla="*/ 0 h 3"/>
              <a:gd name="T4" fmla="*/ 0 w 6"/>
              <a:gd name="T5" fmla="*/ 0 h 3"/>
              <a:gd name="T6" fmla="*/ 2147483647 w 6"/>
              <a:gd name="T7" fmla="*/ 2147483647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6" y="0"/>
                </a:moveTo>
                <a:lnTo>
                  <a:pt x="0" y="0"/>
                </a:lnTo>
                <a:lnTo>
                  <a:pt x="3" y="3"/>
                </a:lnTo>
                <a:lnTo>
                  <a:pt x="6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51" name="Rectangle 256"/>
          <p:cNvSpPr>
            <a:spLocks noChangeArrowheads="1"/>
          </p:cNvSpPr>
          <p:nvPr/>
        </p:nvSpPr>
        <p:spPr bwMode="gray">
          <a:xfrm>
            <a:off x="6011083" y="2640071"/>
            <a:ext cx="6000" cy="6000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152" name="Freeform 257"/>
          <p:cNvSpPr>
            <a:spLocks/>
          </p:cNvSpPr>
          <p:nvPr/>
        </p:nvSpPr>
        <p:spPr bwMode="gray">
          <a:xfrm>
            <a:off x="6005082" y="2632572"/>
            <a:ext cx="6002" cy="3000"/>
          </a:xfrm>
          <a:custGeom>
            <a:avLst/>
            <a:gdLst>
              <a:gd name="T0" fmla="*/ 0 w 3"/>
              <a:gd name="T1" fmla="*/ 0 h 2"/>
              <a:gd name="T2" fmla="*/ 2147483647 w 3"/>
              <a:gd name="T3" fmla="*/ 2147483647 h 2"/>
              <a:gd name="T4" fmla="*/ 2147483647 w 3"/>
              <a:gd name="T5" fmla="*/ 2147483647 h 2"/>
              <a:gd name="T6" fmla="*/ 0 w 3"/>
              <a:gd name="T7" fmla="*/ 0 h 2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2"/>
              <a:gd name="T14" fmla="*/ 3 w 3"/>
              <a:gd name="T15" fmla="*/ 2 h 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2">
                <a:moveTo>
                  <a:pt x="0" y="0"/>
                </a:moveTo>
                <a:lnTo>
                  <a:pt x="3" y="2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53" name="Freeform 258"/>
          <p:cNvSpPr>
            <a:spLocks/>
          </p:cNvSpPr>
          <p:nvPr/>
        </p:nvSpPr>
        <p:spPr bwMode="gray">
          <a:xfrm>
            <a:off x="6173112" y="2715074"/>
            <a:ext cx="6002" cy="4501"/>
          </a:xfrm>
          <a:custGeom>
            <a:avLst/>
            <a:gdLst>
              <a:gd name="T0" fmla="*/ 2147483647 w 3"/>
              <a:gd name="T1" fmla="*/ 0 h 3"/>
              <a:gd name="T2" fmla="*/ 0 w 3"/>
              <a:gd name="T3" fmla="*/ 0 h 3"/>
              <a:gd name="T4" fmla="*/ 2147483647 w 3"/>
              <a:gd name="T5" fmla="*/ 2147483647 h 3"/>
              <a:gd name="T6" fmla="*/ 2147483647 w 3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3" y="0"/>
                </a:moveTo>
                <a:lnTo>
                  <a:pt x="0" y="0"/>
                </a:lnTo>
                <a:lnTo>
                  <a:pt x="3" y="3"/>
                </a:lnTo>
                <a:lnTo>
                  <a:pt x="3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54" name="Freeform 259"/>
          <p:cNvSpPr>
            <a:spLocks/>
          </p:cNvSpPr>
          <p:nvPr/>
        </p:nvSpPr>
        <p:spPr bwMode="gray">
          <a:xfrm>
            <a:off x="6017084" y="2158559"/>
            <a:ext cx="162030" cy="70501"/>
          </a:xfrm>
          <a:custGeom>
            <a:avLst/>
            <a:gdLst>
              <a:gd name="T0" fmla="*/ 2147483647 w 80"/>
              <a:gd name="T1" fmla="*/ 2147483647 h 46"/>
              <a:gd name="T2" fmla="*/ 0 w 80"/>
              <a:gd name="T3" fmla="*/ 2147483647 h 46"/>
              <a:gd name="T4" fmla="*/ 0 w 80"/>
              <a:gd name="T5" fmla="*/ 2147483647 h 46"/>
              <a:gd name="T6" fmla="*/ 2147483647 w 80"/>
              <a:gd name="T7" fmla="*/ 2147483647 h 46"/>
              <a:gd name="T8" fmla="*/ 2147483647 w 80"/>
              <a:gd name="T9" fmla="*/ 2147483647 h 46"/>
              <a:gd name="T10" fmla="*/ 2147483647 w 80"/>
              <a:gd name="T11" fmla="*/ 2147483647 h 46"/>
              <a:gd name="T12" fmla="*/ 2147483647 w 80"/>
              <a:gd name="T13" fmla="*/ 2147483647 h 46"/>
              <a:gd name="T14" fmla="*/ 2147483647 w 80"/>
              <a:gd name="T15" fmla="*/ 2147483647 h 46"/>
              <a:gd name="T16" fmla="*/ 2147483647 w 80"/>
              <a:gd name="T17" fmla="*/ 2147483647 h 46"/>
              <a:gd name="T18" fmla="*/ 2147483647 w 80"/>
              <a:gd name="T19" fmla="*/ 2147483647 h 46"/>
              <a:gd name="T20" fmla="*/ 2147483647 w 80"/>
              <a:gd name="T21" fmla="*/ 2147483647 h 46"/>
              <a:gd name="T22" fmla="*/ 2147483647 w 80"/>
              <a:gd name="T23" fmla="*/ 2147483647 h 46"/>
              <a:gd name="T24" fmla="*/ 2147483647 w 80"/>
              <a:gd name="T25" fmla="*/ 2147483647 h 46"/>
              <a:gd name="T26" fmla="*/ 2147483647 w 80"/>
              <a:gd name="T27" fmla="*/ 2147483647 h 46"/>
              <a:gd name="T28" fmla="*/ 2147483647 w 80"/>
              <a:gd name="T29" fmla="*/ 2147483647 h 46"/>
              <a:gd name="T30" fmla="*/ 2147483647 w 80"/>
              <a:gd name="T31" fmla="*/ 2147483647 h 46"/>
              <a:gd name="T32" fmla="*/ 2147483647 w 80"/>
              <a:gd name="T33" fmla="*/ 2147483647 h 46"/>
              <a:gd name="T34" fmla="*/ 2147483647 w 80"/>
              <a:gd name="T35" fmla="*/ 2147483647 h 46"/>
              <a:gd name="T36" fmla="*/ 2147483647 w 80"/>
              <a:gd name="T37" fmla="*/ 2147483647 h 46"/>
              <a:gd name="T38" fmla="*/ 2147483647 w 80"/>
              <a:gd name="T39" fmla="*/ 2147483647 h 46"/>
              <a:gd name="T40" fmla="*/ 2147483647 w 80"/>
              <a:gd name="T41" fmla="*/ 2147483647 h 46"/>
              <a:gd name="T42" fmla="*/ 2147483647 w 80"/>
              <a:gd name="T43" fmla="*/ 2147483647 h 46"/>
              <a:gd name="T44" fmla="*/ 2147483647 w 80"/>
              <a:gd name="T45" fmla="*/ 2147483647 h 46"/>
              <a:gd name="T46" fmla="*/ 2147483647 w 80"/>
              <a:gd name="T47" fmla="*/ 0 h 46"/>
              <a:gd name="T48" fmla="*/ 2147483647 w 80"/>
              <a:gd name="T49" fmla="*/ 0 h 46"/>
              <a:gd name="T50" fmla="*/ 2147483647 w 80"/>
              <a:gd name="T51" fmla="*/ 2147483647 h 46"/>
              <a:gd name="T52" fmla="*/ 2147483647 w 80"/>
              <a:gd name="T53" fmla="*/ 2147483647 h 46"/>
              <a:gd name="T54" fmla="*/ 2147483647 w 80"/>
              <a:gd name="T55" fmla="*/ 2147483647 h 46"/>
              <a:gd name="T56" fmla="*/ 2147483647 w 80"/>
              <a:gd name="T57" fmla="*/ 2147483647 h 46"/>
              <a:gd name="T58" fmla="*/ 2147483647 w 80"/>
              <a:gd name="T59" fmla="*/ 2147483647 h 46"/>
              <a:gd name="T60" fmla="*/ 2147483647 w 80"/>
              <a:gd name="T61" fmla="*/ 2147483647 h 46"/>
              <a:gd name="T62" fmla="*/ 2147483647 w 80"/>
              <a:gd name="T63" fmla="*/ 2147483647 h 4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80"/>
              <a:gd name="T97" fmla="*/ 0 h 46"/>
              <a:gd name="T98" fmla="*/ 80 w 80"/>
              <a:gd name="T99" fmla="*/ 46 h 4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80" h="46">
                <a:moveTo>
                  <a:pt x="6" y="5"/>
                </a:moveTo>
                <a:lnTo>
                  <a:pt x="6" y="5"/>
                </a:lnTo>
                <a:lnTo>
                  <a:pt x="0" y="8"/>
                </a:lnTo>
                <a:lnTo>
                  <a:pt x="0" y="11"/>
                </a:lnTo>
                <a:lnTo>
                  <a:pt x="3" y="17"/>
                </a:lnTo>
                <a:lnTo>
                  <a:pt x="6" y="20"/>
                </a:lnTo>
                <a:lnTo>
                  <a:pt x="8" y="20"/>
                </a:lnTo>
                <a:lnTo>
                  <a:pt x="14" y="23"/>
                </a:lnTo>
                <a:lnTo>
                  <a:pt x="17" y="23"/>
                </a:lnTo>
                <a:lnTo>
                  <a:pt x="23" y="23"/>
                </a:lnTo>
                <a:lnTo>
                  <a:pt x="26" y="25"/>
                </a:lnTo>
                <a:lnTo>
                  <a:pt x="29" y="28"/>
                </a:lnTo>
                <a:lnTo>
                  <a:pt x="31" y="28"/>
                </a:lnTo>
                <a:lnTo>
                  <a:pt x="31" y="31"/>
                </a:lnTo>
                <a:lnTo>
                  <a:pt x="29" y="37"/>
                </a:lnTo>
                <a:lnTo>
                  <a:pt x="37" y="40"/>
                </a:lnTo>
                <a:lnTo>
                  <a:pt x="40" y="46"/>
                </a:lnTo>
                <a:lnTo>
                  <a:pt x="46" y="43"/>
                </a:lnTo>
                <a:lnTo>
                  <a:pt x="54" y="43"/>
                </a:lnTo>
                <a:lnTo>
                  <a:pt x="57" y="40"/>
                </a:lnTo>
                <a:lnTo>
                  <a:pt x="60" y="40"/>
                </a:lnTo>
                <a:lnTo>
                  <a:pt x="66" y="37"/>
                </a:lnTo>
                <a:lnTo>
                  <a:pt x="66" y="40"/>
                </a:lnTo>
                <a:lnTo>
                  <a:pt x="69" y="37"/>
                </a:lnTo>
                <a:lnTo>
                  <a:pt x="66" y="34"/>
                </a:lnTo>
                <a:lnTo>
                  <a:pt x="69" y="25"/>
                </a:lnTo>
                <a:lnTo>
                  <a:pt x="74" y="23"/>
                </a:lnTo>
                <a:lnTo>
                  <a:pt x="80" y="23"/>
                </a:lnTo>
                <a:lnTo>
                  <a:pt x="80" y="20"/>
                </a:lnTo>
                <a:lnTo>
                  <a:pt x="77" y="17"/>
                </a:lnTo>
                <a:lnTo>
                  <a:pt x="77" y="14"/>
                </a:lnTo>
                <a:lnTo>
                  <a:pt x="66" y="8"/>
                </a:lnTo>
                <a:lnTo>
                  <a:pt x="57" y="5"/>
                </a:lnTo>
                <a:lnTo>
                  <a:pt x="51" y="0"/>
                </a:lnTo>
                <a:lnTo>
                  <a:pt x="43" y="0"/>
                </a:lnTo>
                <a:lnTo>
                  <a:pt x="31" y="3"/>
                </a:lnTo>
                <a:lnTo>
                  <a:pt x="29" y="3"/>
                </a:lnTo>
                <a:lnTo>
                  <a:pt x="17" y="3"/>
                </a:lnTo>
                <a:lnTo>
                  <a:pt x="14" y="3"/>
                </a:lnTo>
                <a:lnTo>
                  <a:pt x="6" y="5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55" name="Freeform 260"/>
          <p:cNvSpPr>
            <a:spLocks/>
          </p:cNvSpPr>
          <p:nvPr/>
        </p:nvSpPr>
        <p:spPr bwMode="gray">
          <a:xfrm>
            <a:off x="6191116" y="2710574"/>
            <a:ext cx="18003" cy="9000"/>
          </a:xfrm>
          <a:custGeom>
            <a:avLst/>
            <a:gdLst>
              <a:gd name="T0" fmla="*/ 2147483647 w 9"/>
              <a:gd name="T1" fmla="*/ 0 h 6"/>
              <a:gd name="T2" fmla="*/ 0 w 9"/>
              <a:gd name="T3" fmla="*/ 2147483647 h 6"/>
              <a:gd name="T4" fmla="*/ 2147483647 w 9"/>
              <a:gd name="T5" fmla="*/ 2147483647 h 6"/>
              <a:gd name="T6" fmla="*/ 2147483647 w 9"/>
              <a:gd name="T7" fmla="*/ 0 h 6"/>
              <a:gd name="T8" fmla="*/ 2147483647 w 9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6"/>
              <a:gd name="T17" fmla="*/ 9 w 9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6">
                <a:moveTo>
                  <a:pt x="3" y="0"/>
                </a:moveTo>
                <a:lnTo>
                  <a:pt x="0" y="3"/>
                </a:lnTo>
                <a:lnTo>
                  <a:pt x="6" y="6"/>
                </a:lnTo>
                <a:lnTo>
                  <a:pt x="9" y="0"/>
                </a:lnTo>
                <a:lnTo>
                  <a:pt x="3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56" name="Freeform 261"/>
          <p:cNvSpPr>
            <a:spLocks/>
          </p:cNvSpPr>
          <p:nvPr/>
        </p:nvSpPr>
        <p:spPr bwMode="gray">
          <a:xfrm>
            <a:off x="6173112" y="2689574"/>
            <a:ext cx="18004" cy="13500"/>
          </a:xfrm>
          <a:custGeom>
            <a:avLst/>
            <a:gdLst>
              <a:gd name="T0" fmla="*/ 2147483647 w 9"/>
              <a:gd name="T1" fmla="*/ 2147483647 h 9"/>
              <a:gd name="T2" fmla="*/ 2147483647 w 9"/>
              <a:gd name="T3" fmla="*/ 2147483647 h 9"/>
              <a:gd name="T4" fmla="*/ 2147483647 w 9"/>
              <a:gd name="T5" fmla="*/ 2147483647 h 9"/>
              <a:gd name="T6" fmla="*/ 2147483647 w 9"/>
              <a:gd name="T7" fmla="*/ 2147483647 h 9"/>
              <a:gd name="T8" fmla="*/ 2147483647 w 9"/>
              <a:gd name="T9" fmla="*/ 0 h 9"/>
              <a:gd name="T10" fmla="*/ 0 w 9"/>
              <a:gd name="T11" fmla="*/ 2147483647 h 9"/>
              <a:gd name="T12" fmla="*/ 2147483647 w 9"/>
              <a:gd name="T13" fmla="*/ 2147483647 h 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"/>
              <a:gd name="T22" fmla="*/ 0 h 9"/>
              <a:gd name="T23" fmla="*/ 9 w 9"/>
              <a:gd name="T24" fmla="*/ 9 h 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" h="9">
                <a:moveTo>
                  <a:pt x="6" y="9"/>
                </a:moveTo>
                <a:lnTo>
                  <a:pt x="9" y="6"/>
                </a:lnTo>
                <a:lnTo>
                  <a:pt x="9" y="3"/>
                </a:lnTo>
                <a:lnTo>
                  <a:pt x="3" y="3"/>
                </a:lnTo>
                <a:lnTo>
                  <a:pt x="3" y="0"/>
                </a:lnTo>
                <a:lnTo>
                  <a:pt x="0" y="3"/>
                </a:lnTo>
                <a:lnTo>
                  <a:pt x="6" y="9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57" name="Freeform 262"/>
          <p:cNvSpPr>
            <a:spLocks/>
          </p:cNvSpPr>
          <p:nvPr/>
        </p:nvSpPr>
        <p:spPr bwMode="gray">
          <a:xfrm>
            <a:off x="6179114" y="2640071"/>
            <a:ext cx="6000" cy="6000"/>
          </a:xfrm>
          <a:custGeom>
            <a:avLst/>
            <a:gdLst>
              <a:gd name="T0" fmla="*/ 0 w 3"/>
              <a:gd name="T1" fmla="*/ 0 h 3"/>
              <a:gd name="T2" fmla="*/ 0 w 3"/>
              <a:gd name="T3" fmla="*/ 2147483647 h 3"/>
              <a:gd name="T4" fmla="*/ 2147483647 w 3"/>
              <a:gd name="T5" fmla="*/ 2147483647 h 3"/>
              <a:gd name="T6" fmla="*/ 0 w 3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0" y="0"/>
                </a:moveTo>
                <a:lnTo>
                  <a:pt x="0" y="3"/>
                </a:lnTo>
                <a:lnTo>
                  <a:pt x="3" y="3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58" name="Freeform 263"/>
          <p:cNvSpPr>
            <a:spLocks/>
          </p:cNvSpPr>
          <p:nvPr/>
        </p:nvSpPr>
        <p:spPr bwMode="gray">
          <a:xfrm>
            <a:off x="6197117" y="2724074"/>
            <a:ext cx="6002" cy="4501"/>
          </a:xfrm>
          <a:custGeom>
            <a:avLst/>
            <a:gdLst>
              <a:gd name="T0" fmla="*/ 0 w 3"/>
              <a:gd name="T1" fmla="*/ 2147483647 h 3"/>
              <a:gd name="T2" fmla="*/ 2147483647 w 3"/>
              <a:gd name="T3" fmla="*/ 0 h 3"/>
              <a:gd name="T4" fmla="*/ 0 w 3"/>
              <a:gd name="T5" fmla="*/ 0 h 3"/>
              <a:gd name="T6" fmla="*/ 0 w 3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0" y="3"/>
                </a:move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59" name="Freeform 264"/>
          <p:cNvSpPr>
            <a:spLocks/>
          </p:cNvSpPr>
          <p:nvPr/>
        </p:nvSpPr>
        <p:spPr bwMode="gray">
          <a:xfrm>
            <a:off x="6117102" y="2733074"/>
            <a:ext cx="10002" cy="7501"/>
          </a:xfrm>
          <a:custGeom>
            <a:avLst/>
            <a:gdLst>
              <a:gd name="T0" fmla="*/ 0 w 5"/>
              <a:gd name="T1" fmla="*/ 2147483647 h 5"/>
              <a:gd name="T2" fmla="*/ 2147483647 w 5"/>
              <a:gd name="T3" fmla="*/ 2147483647 h 5"/>
              <a:gd name="T4" fmla="*/ 2147483647 w 5"/>
              <a:gd name="T5" fmla="*/ 0 h 5"/>
              <a:gd name="T6" fmla="*/ 0 w 5"/>
              <a:gd name="T7" fmla="*/ 2147483647 h 5"/>
              <a:gd name="T8" fmla="*/ 0 w 5"/>
              <a:gd name="T9" fmla="*/ 2147483647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5"/>
              <a:gd name="T17" fmla="*/ 5 w 5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5">
                <a:moveTo>
                  <a:pt x="0" y="5"/>
                </a:moveTo>
                <a:lnTo>
                  <a:pt x="5" y="5"/>
                </a:lnTo>
                <a:lnTo>
                  <a:pt x="2" y="0"/>
                </a:lnTo>
                <a:lnTo>
                  <a:pt x="0" y="2"/>
                </a:lnTo>
                <a:lnTo>
                  <a:pt x="0" y="5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60" name="Freeform 265"/>
          <p:cNvSpPr>
            <a:spLocks/>
          </p:cNvSpPr>
          <p:nvPr/>
        </p:nvSpPr>
        <p:spPr bwMode="gray">
          <a:xfrm>
            <a:off x="5987079" y="2554570"/>
            <a:ext cx="64012" cy="81002"/>
          </a:xfrm>
          <a:custGeom>
            <a:avLst/>
            <a:gdLst>
              <a:gd name="T0" fmla="*/ 2147483647 w 32"/>
              <a:gd name="T1" fmla="*/ 2147483647 h 54"/>
              <a:gd name="T2" fmla="*/ 2147483647 w 32"/>
              <a:gd name="T3" fmla="*/ 2147483647 h 54"/>
              <a:gd name="T4" fmla="*/ 2147483647 w 32"/>
              <a:gd name="T5" fmla="*/ 2147483647 h 54"/>
              <a:gd name="T6" fmla="*/ 2147483647 w 32"/>
              <a:gd name="T7" fmla="*/ 2147483647 h 54"/>
              <a:gd name="T8" fmla="*/ 2147483647 w 32"/>
              <a:gd name="T9" fmla="*/ 2147483647 h 54"/>
              <a:gd name="T10" fmla="*/ 2147483647 w 32"/>
              <a:gd name="T11" fmla="*/ 2147483647 h 54"/>
              <a:gd name="T12" fmla="*/ 2147483647 w 32"/>
              <a:gd name="T13" fmla="*/ 2147483647 h 54"/>
              <a:gd name="T14" fmla="*/ 2147483647 w 32"/>
              <a:gd name="T15" fmla="*/ 2147483647 h 54"/>
              <a:gd name="T16" fmla="*/ 2147483647 w 32"/>
              <a:gd name="T17" fmla="*/ 2147483647 h 54"/>
              <a:gd name="T18" fmla="*/ 2147483647 w 32"/>
              <a:gd name="T19" fmla="*/ 2147483647 h 54"/>
              <a:gd name="T20" fmla="*/ 2147483647 w 32"/>
              <a:gd name="T21" fmla="*/ 2147483647 h 54"/>
              <a:gd name="T22" fmla="*/ 2147483647 w 32"/>
              <a:gd name="T23" fmla="*/ 0 h 54"/>
              <a:gd name="T24" fmla="*/ 2147483647 w 32"/>
              <a:gd name="T25" fmla="*/ 2147483647 h 54"/>
              <a:gd name="T26" fmla="*/ 2147483647 w 32"/>
              <a:gd name="T27" fmla="*/ 2147483647 h 54"/>
              <a:gd name="T28" fmla="*/ 2147483647 w 32"/>
              <a:gd name="T29" fmla="*/ 2147483647 h 54"/>
              <a:gd name="T30" fmla="*/ 2147483647 w 32"/>
              <a:gd name="T31" fmla="*/ 2147483647 h 54"/>
              <a:gd name="T32" fmla="*/ 0 w 32"/>
              <a:gd name="T33" fmla="*/ 2147483647 h 54"/>
              <a:gd name="T34" fmla="*/ 2147483647 w 32"/>
              <a:gd name="T35" fmla="*/ 2147483647 h 54"/>
              <a:gd name="T36" fmla="*/ 2147483647 w 32"/>
              <a:gd name="T37" fmla="*/ 2147483647 h 54"/>
              <a:gd name="T38" fmla="*/ 2147483647 w 32"/>
              <a:gd name="T39" fmla="*/ 2147483647 h 54"/>
              <a:gd name="T40" fmla="*/ 2147483647 w 32"/>
              <a:gd name="T41" fmla="*/ 2147483647 h 54"/>
              <a:gd name="T42" fmla="*/ 2147483647 w 32"/>
              <a:gd name="T43" fmla="*/ 2147483647 h 54"/>
              <a:gd name="T44" fmla="*/ 2147483647 w 32"/>
              <a:gd name="T45" fmla="*/ 2147483647 h 54"/>
              <a:gd name="T46" fmla="*/ 2147483647 w 32"/>
              <a:gd name="T47" fmla="*/ 2147483647 h 54"/>
              <a:gd name="T48" fmla="*/ 2147483647 w 32"/>
              <a:gd name="T49" fmla="*/ 2147483647 h 54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32"/>
              <a:gd name="T76" fmla="*/ 0 h 54"/>
              <a:gd name="T77" fmla="*/ 32 w 32"/>
              <a:gd name="T78" fmla="*/ 54 h 54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32" h="54">
                <a:moveTo>
                  <a:pt x="18" y="54"/>
                </a:moveTo>
                <a:lnTo>
                  <a:pt x="21" y="49"/>
                </a:lnTo>
                <a:lnTo>
                  <a:pt x="23" y="43"/>
                </a:lnTo>
                <a:lnTo>
                  <a:pt x="32" y="37"/>
                </a:lnTo>
                <a:lnTo>
                  <a:pt x="32" y="34"/>
                </a:lnTo>
                <a:lnTo>
                  <a:pt x="29" y="34"/>
                </a:lnTo>
                <a:lnTo>
                  <a:pt x="23" y="29"/>
                </a:lnTo>
                <a:lnTo>
                  <a:pt x="23" y="20"/>
                </a:lnTo>
                <a:lnTo>
                  <a:pt x="23" y="11"/>
                </a:lnTo>
                <a:lnTo>
                  <a:pt x="18" y="6"/>
                </a:lnTo>
                <a:lnTo>
                  <a:pt x="15" y="0"/>
                </a:lnTo>
                <a:lnTo>
                  <a:pt x="9" y="6"/>
                </a:lnTo>
                <a:lnTo>
                  <a:pt x="9" y="3"/>
                </a:lnTo>
                <a:lnTo>
                  <a:pt x="6" y="6"/>
                </a:lnTo>
                <a:lnTo>
                  <a:pt x="0" y="11"/>
                </a:lnTo>
                <a:lnTo>
                  <a:pt x="6" y="14"/>
                </a:lnTo>
                <a:lnTo>
                  <a:pt x="6" y="20"/>
                </a:lnTo>
                <a:lnTo>
                  <a:pt x="6" y="34"/>
                </a:lnTo>
                <a:lnTo>
                  <a:pt x="6" y="46"/>
                </a:lnTo>
                <a:lnTo>
                  <a:pt x="12" y="46"/>
                </a:lnTo>
                <a:lnTo>
                  <a:pt x="15" y="52"/>
                </a:lnTo>
                <a:lnTo>
                  <a:pt x="18" y="54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61" name="Freeform 266"/>
          <p:cNvSpPr>
            <a:spLocks/>
          </p:cNvSpPr>
          <p:nvPr/>
        </p:nvSpPr>
        <p:spPr bwMode="gray">
          <a:xfrm>
            <a:off x="6039089" y="2568070"/>
            <a:ext cx="66011" cy="33001"/>
          </a:xfrm>
          <a:custGeom>
            <a:avLst/>
            <a:gdLst>
              <a:gd name="T0" fmla="*/ 2147483647 w 32"/>
              <a:gd name="T1" fmla="*/ 2147483647 h 22"/>
              <a:gd name="T2" fmla="*/ 2147483647 w 32"/>
              <a:gd name="T3" fmla="*/ 2147483647 h 22"/>
              <a:gd name="T4" fmla="*/ 2147483647 w 32"/>
              <a:gd name="T5" fmla="*/ 2147483647 h 22"/>
              <a:gd name="T6" fmla="*/ 2147483647 w 32"/>
              <a:gd name="T7" fmla="*/ 2147483647 h 22"/>
              <a:gd name="T8" fmla="*/ 2147483647 w 32"/>
              <a:gd name="T9" fmla="*/ 0 h 22"/>
              <a:gd name="T10" fmla="*/ 2147483647 w 32"/>
              <a:gd name="T11" fmla="*/ 0 h 22"/>
              <a:gd name="T12" fmla="*/ 2147483647 w 32"/>
              <a:gd name="T13" fmla="*/ 0 h 22"/>
              <a:gd name="T14" fmla="*/ 0 w 32"/>
              <a:gd name="T15" fmla="*/ 2147483647 h 22"/>
              <a:gd name="T16" fmla="*/ 0 w 32"/>
              <a:gd name="T17" fmla="*/ 2147483647 h 22"/>
              <a:gd name="T18" fmla="*/ 2147483647 w 32"/>
              <a:gd name="T19" fmla="*/ 2147483647 h 22"/>
              <a:gd name="T20" fmla="*/ 2147483647 w 32"/>
              <a:gd name="T21" fmla="*/ 2147483647 h 22"/>
              <a:gd name="T22" fmla="*/ 2147483647 w 32"/>
              <a:gd name="T23" fmla="*/ 2147483647 h 22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32"/>
              <a:gd name="T37" fmla="*/ 0 h 22"/>
              <a:gd name="T38" fmla="*/ 32 w 32"/>
              <a:gd name="T39" fmla="*/ 22 h 22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32" h="22">
                <a:moveTo>
                  <a:pt x="20" y="17"/>
                </a:moveTo>
                <a:lnTo>
                  <a:pt x="32" y="14"/>
                </a:lnTo>
                <a:lnTo>
                  <a:pt x="32" y="8"/>
                </a:lnTo>
                <a:lnTo>
                  <a:pt x="32" y="2"/>
                </a:lnTo>
                <a:lnTo>
                  <a:pt x="23" y="0"/>
                </a:lnTo>
                <a:lnTo>
                  <a:pt x="15" y="0"/>
                </a:lnTo>
                <a:lnTo>
                  <a:pt x="9" y="0"/>
                </a:lnTo>
                <a:lnTo>
                  <a:pt x="0" y="2"/>
                </a:lnTo>
                <a:lnTo>
                  <a:pt x="0" y="20"/>
                </a:lnTo>
                <a:lnTo>
                  <a:pt x="6" y="22"/>
                </a:lnTo>
                <a:lnTo>
                  <a:pt x="15" y="22"/>
                </a:lnTo>
                <a:lnTo>
                  <a:pt x="20" y="17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62" name="Freeform 267"/>
          <p:cNvSpPr>
            <a:spLocks/>
          </p:cNvSpPr>
          <p:nvPr/>
        </p:nvSpPr>
        <p:spPr bwMode="gray">
          <a:xfrm>
            <a:off x="6033086" y="2671573"/>
            <a:ext cx="18004" cy="13500"/>
          </a:xfrm>
          <a:custGeom>
            <a:avLst/>
            <a:gdLst>
              <a:gd name="T0" fmla="*/ 2147483647 w 9"/>
              <a:gd name="T1" fmla="*/ 2147483647 h 9"/>
              <a:gd name="T2" fmla="*/ 2147483647 w 9"/>
              <a:gd name="T3" fmla="*/ 0 h 9"/>
              <a:gd name="T4" fmla="*/ 0 w 9"/>
              <a:gd name="T5" fmla="*/ 2147483647 h 9"/>
              <a:gd name="T6" fmla="*/ 2147483647 w 9"/>
              <a:gd name="T7" fmla="*/ 2147483647 h 9"/>
              <a:gd name="T8" fmla="*/ 2147483647 w 9"/>
              <a:gd name="T9" fmla="*/ 2147483647 h 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9"/>
              <a:gd name="T17" fmla="*/ 9 w 9"/>
              <a:gd name="T18" fmla="*/ 9 h 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9">
                <a:moveTo>
                  <a:pt x="9" y="9"/>
                </a:moveTo>
                <a:lnTo>
                  <a:pt x="3" y="0"/>
                </a:lnTo>
                <a:lnTo>
                  <a:pt x="0" y="6"/>
                </a:lnTo>
                <a:lnTo>
                  <a:pt x="6" y="9"/>
                </a:lnTo>
                <a:lnTo>
                  <a:pt x="9" y="9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63" name="Freeform 268"/>
          <p:cNvSpPr>
            <a:spLocks/>
          </p:cNvSpPr>
          <p:nvPr/>
        </p:nvSpPr>
        <p:spPr bwMode="gray">
          <a:xfrm>
            <a:off x="6065093" y="2680573"/>
            <a:ext cx="68012" cy="52501"/>
          </a:xfrm>
          <a:custGeom>
            <a:avLst/>
            <a:gdLst>
              <a:gd name="T0" fmla="*/ 2147483647 w 34"/>
              <a:gd name="T1" fmla="*/ 2147483647 h 35"/>
              <a:gd name="T2" fmla="*/ 2147483647 w 34"/>
              <a:gd name="T3" fmla="*/ 2147483647 h 35"/>
              <a:gd name="T4" fmla="*/ 2147483647 w 34"/>
              <a:gd name="T5" fmla="*/ 2147483647 h 35"/>
              <a:gd name="T6" fmla="*/ 2147483647 w 34"/>
              <a:gd name="T7" fmla="*/ 2147483647 h 35"/>
              <a:gd name="T8" fmla="*/ 2147483647 w 34"/>
              <a:gd name="T9" fmla="*/ 2147483647 h 35"/>
              <a:gd name="T10" fmla="*/ 2147483647 w 34"/>
              <a:gd name="T11" fmla="*/ 0 h 35"/>
              <a:gd name="T12" fmla="*/ 2147483647 w 34"/>
              <a:gd name="T13" fmla="*/ 0 h 35"/>
              <a:gd name="T14" fmla="*/ 2147483647 w 34"/>
              <a:gd name="T15" fmla="*/ 0 h 35"/>
              <a:gd name="T16" fmla="*/ 2147483647 w 34"/>
              <a:gd name="T17" fmla="*/ 0 h 35"/>
              <a:gd name="T18" fmla="*/ 2147483647 w 34"/>
              <a:gd name="T19" fmla="*/ 2147483647 h 35"/>
              <a:gd name="T20" fmla="*/ 0 w 34"/>
              <a:gd name="T21" fmla="*/ 2147483647 h 35"/>
              <a:gd name="T22" fmla="*/ 0 w 34"/>
              <a:gd name="T23" fmla="*/ 2147483647 h 35"/>
              <a:gd name="T24" fmla="*/ 2147483647 w 34"/>
              <a:gd name="T25" fmla="*/ 2147483647 h 35"/>
              <a:gd name="T26" fmla="*/ 2147483647 w 34"/>
              <a:gd name="T27" fmla="*/ 2147483647 h 35"/>
              <a:gd name="T28" fmla="*/ 2147483647 w 34"/>
              <a:gd name="T29" fmla="*/ 2147483647 h 35"/>
              <a:gd name="T30" fmla="*/ 2147483647 w 34"/>
              <a:gd name="T31" fmla="*/ 2147483647 h 35"/>
              <a:gd name="T32" fmla="*/ 2147483647 w 34"/>
              <a:gd name="T33" fmla="*/ 2147483647 h 35"/>
              <a:gd name="T34" fmla="*/ 2147483647 w 34"/>
              <a:gd name="T35" fmla="*/ 2147483647 h 35"/>
              <a:gd name="T36" fmla="*/ 2147483647 w 34"/>
              <a:gd name="T37" fmla="*/ 2147483647 h 35"/>
              <a:gd name="T38" fmla="*/ 2147483647 w 34"/>
              <a:gd name="T39" fmla="*/ 2147483647 h 35"/>
              <a:gd name="T40" fmla="*/ 2147483647 w 34"/>
              <a:gd name="T41" fmla="*/ 2147483647 h 35"/>
              <a:gd name="T42" fmla="*/ 2147483647 w 34"/>
              <a:gd name="T43" fmla="*/ 2147483647 h 35"/>
              <a:gd name="T44" fmla="*/ 2147483647 w 34"/>
              <a:gd name="T45" fmla="*/ 2147483647 h 35"/>
              <a:gd name="T46" fmla="*/ 2147483647 w 34"/>
              <a:gd name="T47" fmla="*/ 2147483647 h 35"/>
              <a:gd name="T48" fmla="*/ 2147483647 w 34"/>
              <a:gd name="T49" fmla="*/ 2147483647 h 35"/>
              <a:gd name="T50" fmla="*/ 2147483647 w 34"/>
              <a:gd name="T51" fmla="*/ 2147483647 h 35"/>
              <a:gd name="T52" fmla="*/ 2147483647 w 34"/>
              <a:gd name="T53" fmla="*/ 2147483647 h 35"/>
              <a:gd name="T54" fmla="*/ 2147483647 w 34"/>
              <a:gd name="T55" fmla="*/ 2147483647 h 35"/>
              <a:gd name="T56" fmla="*/ 2147483647 w 34"/>
              <a:gd name="T57" fmla="*/ 2147483647 h 35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34"/>
              <a:gd name="T88" fmla="*/ 0 h 35"/>
              <a:gd name="T89" fmla="*/ 34 w 34"/>
              <a:gd name="T90" fmla="*/ 35 h 35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34" h="35">
                <a:moveTo>
                  <a:pt x="34" y="15"/>
                </a:moveTo>
                <a:lnTo>
                  <a:pt x="34" y="15"/>
                </a:lnTo>
                <a:lnTo>
                  <a:pt x="31" y="12"/>
                </a:lnTo>
                <a:lnTo>
                  <a:pt x="26" y="6"/>
                </a:lnTo>
                <a:lnTo>
                  <a:pt x="17" y="0"/>
                </a:lnTo>
                <a:lnTo>
                  <a:pt x="14" y="0"/>
                </a:lnTo>
                <a:lnTo>
                  <a:pt x="8" y="0"/>
                </a:lnTo>
                <a:lnTo>
                  <a:pt x="3" y="3"/>
                </a:lnTo>
                <a:lnTo>
                  <a:pt x="0" y="9"/>
                </a:lnTo>
                <a:lnTo>
                  <a:pt x="3" y="9"/>
                </a:lnTo>
                <a:lnTo>
                  <a:pt x="6" y="9"/>
                </a:lnTo>
                <a:lnTo>
                  <a:pt x="6" y="12"/>
                </a:lnTo>
                <a:lnTo>
                  <a:pt x="8" y="17"/>
                </a:lnTo>
                <a:lnTo>
                  <a:pt x="6" y="20"/>
                </a:lnTo>
                <a:lnTo>
                  <a:pt x="8" y="29"/>
                </a:lnTo>
                <a:lnTo>
                  <a:pt x="14" y="20"/>
                </a:lnTo>
                <a:lnTo>
                  <a:pt x="17" y="32"/>
                </a:lnTo>
                <a:lnTo>
                  <a:pt x="20" y="26"/>
                </a:lnTo>
                <a:lnTo>
                  <a:pt x="23" y="29"/>
                </a:lnTo>
                <a:lnTo>
                  <a:pt x="28" y="35"/>
                </a:lnTo>
                <a:lnTo>
                  <a:pt x="34" y="35"/>
                </a:lnTo>
                <a:lnTo>
                  <a:pt x="28" y="23"/>
                </a:lnTo>
                <a:lnTo>
                  <a:pt x="26" y="17"/>
                </a:lnTo>
                <a:lnTo>
                  <a:pt x="26" y="15"/>
                </a:lnTo>
                <a:lnTo>
                  <a:pt x="34" y="15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64" name="Freeform 269"/>
          <p:cNvSpPr>
            <a:spLocks/>
          </p:cNvSpPr>
          <p:nvPr/>
        </p:nvSpPr>
        <p:spPr bwMode="gray">
          <a:xfrm>
            <a:off x="5448981" y="2628071"/>
            <a:ext cx="42008" cy="22501"/>
          </a:xfrm>
          <a:custGeom>
            <a:avLst/>
            <a:gdLst>
              <a:gd name="T0" fmla="*/ 2147483647 w 20"/>
              <a:gd name="T1" fmla="*/ 0 h 14"/>
              <a:gd name="T2" fmla="*/ 2147483647 w 20"/>
              <a:gd name="T3" fmla="*/ 0 h 14"/>
              <a:gd name="T4" fmla="*/ 2147483647 w 20"/>
              <a:gd name="T5" fmla="*/ 2147483647 h 14"/>
              <a:gd name="T6" fmla="*/ 2147483647 w 20"/>
              <a:gd name="T7" fmla="*/ 2147483647 h 14"/>
              <a:gd name="T8" fmla="*/ 2147483647 w 20"/>
              <a:gd name="T9" fmla="*/ 2147483647 h 14"/>
              <a:gd name="T10" fmla="*/ 0 w 20"/>
              <a:gd name="T11" fmla="*/ 2147483647 h 14"/>
              <a:gd name="T12" fmla="*/ 2147483647 w 20"/>
              <a:gd name="T13" fmla="*/ 2147483647 h 14"/>
              <a:gd name="T14" fmla="*/ 2147483647 w 20"/>
              <a:gd name="T15" fmla="*/ 2147483647 h 14"/>
              <a:gd name="T16" fmla="*/ 2147483647 w 20"/>
              <a:gd name="T17" fmla="*/ 2147483647 h 14"/>
              <a:gd name="T18" fmla="*/ 2147483647 w 20"/>
              <a:gd name="T19" fmla="*/ 2147483647 h 14"/>
              <a:gd name="T20" fmla="*/ 2147483647 w 20"/>
              <a:gd name="T21" fmla="*/ 2147483647 h 14"/>
              <a:gd name="T22" fmla="*/ 2147483647 w 20"/>
              <a:gd name="T23" fmla="*/ 2147483647 h 14"/>
              <a:gd name="T24" fmla="*/ 2147483647 w 20"/>
              <a:gd name="T25" fmla="*/ 2147483647 h 14"/>
              <a:gd name="T26" fmla="*/ 2147483647 w 20"/>
              <a:gd name="T27" fmla="*/ 2147483647 h 14"/>
              <a:gd name="T28" fmla="*/ 2147483647 w 20"/>
              <a:gd name="T29" fmla="*/ 2147483647 h 14"/>
              <a:gd name="T30" fmla="*/ 2147483647 w 20"/>
              <a:gd name="T31" fmla="*/ 0 h 14"/>
              <a:gd name="T32" fmla="*/ 2147483647 w 20"/>
              <a:gd name="T33" fmla="*/ 0 h 1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20"/>
              <a:gd name="T52" fmla="*/ 0 h 14"/>
              <a:gd name="T53" fmla="*/ 20 w 20"/>
              <a:gd name="T54" fmla="*/ 14 h 14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20" h="14">
                <a:moveTo>
                  <a:pt x="14" y="0"/>
                </a:moveTo>
                <a:lnTo>
                  <a:pt x="14" y="0"/>
                </a:lnTo>
                <a:lnTo>
                  <a:pt x="8" y="3"/>
                </a:lnTo>
                <a:lnTo>
                  <a:pt x="2" y="5"/>
                </a:lnTo>
                <a:lnTo>
                  <a:pt x="0" y="8"/>
                </a:lnTo>
                <a:lnTo>
                  <a:pt x="2" y="11"/>
                </a:lnTo>
                <a:lnTo>
                  <a:pt x="8" y="11"/>
                </a:lnTo>
                <a:lnTo>
                  <a:pt x="17" y="14"/>
                </a:lnTo>
                <a:lnTo>
                  <a:pt x="20" y="8"/>
                </a:lnTo>
                <a:lnTo>
                  <a:pt x="20" y="3"/>
                </a:lnTo>
                <a:lnTo>
                  <a:pt x="17" y="3"/>
                </a:lnTo>
                <a:lnTo>
                  <a:pt x="14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65" name="Freeform 270"/>
          <p:cNvSpPr>
            <a:spLocks/>
          </p:cNvSpPr>
          <p:nvPr/>
        </p:nvSpPr>
        <p:spPr bwMode="gray">
          <a:xfrm>
            <a:off x="7043269" y="2554570"/>
            <a:ext cx="488088" cy="213006"/>
          </a:xfrm>
          <a:custGeom>
            <a:avLst/>
            <a:gdLst>
              <a:gd name="T0" fmla="*/ 2147483647 w 241"/>
              <a:gd name="T1" fmla="*/ 2147483647 h 141"/>
              <a:gd name="T2" fmla="*/ 2147483647 w 241"/>
              <a:gd name="T3" fmla="*/ 2147483647 h 141"/>
              <a:gd name="T4" fmla="*/ 2147483647 w 241"/>
              <a:gd name="T5" fmla="*/ 2147483647 h 141"/>
              <a:gd name="T6" fmla="*/ 2147483647 w 241"/>
              <a:gd name="T7" fmla="*/ 2147483647 h 141"/>
              <a:gd name="T8" fmla="*/ 2147483647 w 241"/>
              <a:gd name="T9" fmla="*/ 2147483647 h 141"/>
              <a:gd name="T10" fmla="*/ 2147483647 w 241"/>
              <a:gd name="T11" fmla="*/ 2147483647 h 141"/>
              <a:gd name="T12" fmla="*/ 2147483647 w 241"/>
              <a:gd name="T13" fmla="*/ 2147483647 h 141"/>
              <a:gd name="T14" fmla="*/ 2147483647 w 241"/>
              <a:gd name="T15" fmla="*/ 2147483647 h 141"/>
              <a:gd name="T16" fmla="*/ 2147483647 w 241"/>
              <a:gd name="T17" fmla="*/ 2147483647 h 141"/>
              <a:gd name="T18" fmla="*/ 2147483647 w 241"/>
              <a:gd name="T19" fmla="*/ 2147483647 h 141"/>
              <a:gd name="T20" fmla="*/ 2147483647 w 241"/>
              <a:gd name="T21" fmla="*/ 2147483647 h 141"/>
              <a:gd name="T22" fmla="*/ 2147483647 w 241"/>
              <a:gd name="T23" fmla="*/ 2147483647 h 141"/>
              <a:gd name="T24" fmla="*/ 2147483647 w 241"/>
              <a:gd name="T25" fmla="*/ 2147483647 h 141"/>
              <a:gd name="T26" fmla="*/ 2147483647 w 241"/>
              <a:gd name="T27" fmla="*/ 2147483647 h 141"/>
              <a:gd name="T28" fmla="*/ 2147483647 w 241"/>
              <a:gd name="T29" fmla="*/ 2147483647 h 141"/>
              <a:gd name="T30" fmla="*/ 2147483647 w 241"/>
              <a:gd name="T31" fmla="*/ 2147483647 h 141"/>
              <a:gd name="T32" fmla="*/ 2147483647 w 241"/>
              <a:gd name="T33" fmla="*/ 2147483647 h 141"/>
              <a:gd name="T34" fmla="*/ 2147483647 w 241"/>
              <a:gd name="T35" fmla="*/ 2147483647 h 141"/>
              <a:gd name="T36" fmla="*/ 2147483647 w 241"/>
              <a:gd name="T37" fmla="*/ 2147483647 h 141"/>
              <a:gd name="T38" fmla="*/ 2147483647 w 241"/>
              <a:gd name="T39" fmla="*/ 2147483647 h 141"/>
              <a:gd name="T40" fmla="*/ 2147483647 w 241"/>
              <a:gd name="T41" fmla="*/ 2147483647 h 141"/>
              <a:gd name="T42" fmla="*/ 2147483647 w 241"/>
              <a:gd name="T43" fmla="*/ 2147483647 h 141"/>
              <a:gd name="T44" fmla="*/ 2147483647 w 241"/>
              <a:gd name="T45" fmla="*/ 2147483647 h 141"/>
              <a:gd name="T46" fmla="*/ 2147483647 w 241"/>
              <a:gd name="T47" fmla="*/ 2147483647 h 141"/>
              <a:gd name="T48" fmla="*/ 2147483647 w 241"/>
              <a:gd name="T49" fmla="*/ 2147483647 h 141"/>
              <a:gd name="T50" fmla="*/ 2147483647 w 241"/>
              <a:gd name="T51" fmla="*/ 2147483647 h 141"/>
              <a:gd name="T52" fmla="*/ 2147483647 w 241"/>
              <a:gd name="T53" fmla="*/ 2147483647 h 141"/>
              <a:gd name="T54" fmla="*/ 2147483647 w 241"/>
              <a:gd name="T55" fmla="*/ 2147483647 h 141"/>
              <a:gd name="T56" fmla="*/ 2147483647 w 241"/>
              <a:gd name="T57" fmla="*/ 2147483647 h 141"/>
              <a:gd name="T58" fmla="*/ 2147483647 w 241"/>
              <a:gd name="T59" fmla="*/ 2147483647 h 141"/>
              <a:gd name="T60" fmla="*/ 2147483647 w 241"/>
              <a:gd name="T61" fmla="*/ 2147483647 h 141"/>
              <a:gd name="T62" fmla="*/ 2147483647 w 241"/>
              <a:gd name="T63" fmla="*/ 2147483647 h 141"/>
              <a:gd name="T64" fmla="*/ 2147483647 w 241"/>
              <a:gd name="T65" fmla="*/ 2147483647 h 141"/>
              <a:gd name="T66" fmla="*/ 0 w 241"/>
              <a:gd name="T67" fmla="*/ 2147483647 h 141"/>
              <a:gd name="T68" fmla="*/ 2147483647 w 241"/>
              <a:gd name="T69" fmla="*/ 2147483647 h 141"/>
              <a:gd name="T70" fmla="*/ 2147483647 w 241"/>
              <a:gd name="T71" fmla="*/ 2147483647 h 141"/>
              <a:gd name="T72" fmla="*/ 2147483647 w 241"/>
              <a:gd name="T73" fmla="*/ 2147483647 h 141"/>
              <a:gd name="T74" fmla="*/ 2147483647 w 241"/>
              <a:gd name="T75" fmla="*/ 2147483647 h 141"/>
              <a:gd name="T76" fmla="*/ 2147483647 w 241"/>
              <a:gd name="T77" fmla="*/ 2147483647 h 141"/>
              <a:gd name="T78" fmla="*/ 2147483647 w 241"/>
              <a:gd name="T79" fmla="*/ 2147483647 h 141"/>
              <a:gd name="T80" fmla="*/ 2147483647 w 241"/>
              <a:gd name="T81" fmla="*/ 2147483647 h 141"/>
              <a:gd name="T82" fmla="*/ 2147483647 w 241"/>
              <a:gd name="T83" fmla="*/ 2147483647 h 141"/>
              <a:gd name="T84" fmla="*/ 2147483647 w 241"/>
              <a:gd name="T85" fmla="*/ 2147483647 h 141"/>
              <a:gd name="T86" fmla="*/ 2147483647 w 241"/>
              <a:gd name="T87" fmla="*/ 2147483647 h 141"/>
              <a:gd name="T88" fmla="*/ 2147483647 w 241"/>
              <a:gd name="T89" fmla="*/ 2147483647 h 141"/>
              <a:gd name="T90" fmla="*/ 2147483647 w 241"/>
              <a:gd name="T91" fmla="*/ 2147483647 h 141"/>
              <a:gd name="T92" fmla="*/ 2147483647 w 241"/>
              <a:gd name="T93" fmla="*/ 2147483647 h 141"/>
              <a:gd name="T94" fmla="*/ 2147483647 w 241"/>
              <a:gd name="T95" fmla="*/ 2147483647 h 141"/>
              <a:gd name="T96" fmla="*/ 2147483647 w 241"/>
              <a:gd name="T97" fmla="*/ 2147483647 h 141"/>
              <a:gd name="T98" fmla="*/ 2147483647 w 241"/>
              <a:gd name="T99" fmla="*/ 2147483647 h 141"/>
              <a:gd name="T100" fmla="*/ 2147483647 w 241"/>
              <a:gd name="T101" fmla="*/ 2147483647 h 141"/>
              <a:gd name="T102" fmla="*/ 2147483647 w 241"/>
              <a:gd name="T103" fmla="*/ 2147483647 h 141"/>
              <a:gd name="T104" fmla="*/ 2147483647 w 241"/>
              <a:gd name="T105" fmla="*/ 2147483647 h 141"/>
              <a:gd name="T106" fmla="*/ 2147483647 w 241"/>
              <a:gd name="T107" fmla="*/ 2147483647 h 141"/>
              <a:gd name="T108" fmla="*/ 2147483647 w 241"/>
              <a:gd name="T109" fmla="*/ 2147483647 h 141"/>
              <a:gd name="T110" fmla="*/ 2147483647 w 241"/>
              <a:gd name="T111" fmla="*/ 2147483647 h 141"/>
              <a:gd name="T112" fmla="*/ 2147483647 w 241"/>
              <a:gd name="T113" fmla="*/ 2147483647 h 141"/>
              <a:gd name="T114" fmla="*/ 2147483647 w 241"/>
              <a:gd name="T115" fmla="*/ 2147483647 h 141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241"/>
              <a:gd name="T175" fmla="*/ 0 h 141"/>
              <a:gd name="T176" fmla="*/ 241 w 241"/>
              <a:gd name="T177" fmla="*/ 141 h 141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241" h="141">
                <a:moveTo>
                  <a:pt x="164" y="126"/>
                </a:moveTo>
                <a:lnTo>
                  <a:pt x="164" y="126"/>
                </a:lnTo>
                <a:lnTo>
                  <a:pt x="166" y="129"/>
                </a:lnTo>
                <a:lnTo>
                  <a:pt x="166" y="135"/>
                </a:lnTo>
                <a:lnTo>
                  <a:pt x="178" y="135"/>
                </a:lnTo>
                <a:lnTo>
                  <a:pt x="181" y="141"/>
                </a:lnTo>
                <a:lnTo>
                  <a:pt x="192" y="138"/>
                </a:lnTo>
                <a:lnTo>
                  <a:pt x="192" y="129"/>
                </a:lnTo>
                <a:lnTo>
                  <a:pt x="204" y="126"/>
                </a:lnTo>
                <a:lnTo>
                  <a:pt x="212" y="120"/>
                </a:lnTo>
                <a:lnTo>
                  <a:pt x="212" y="106"/>
                </a:lnTo>
                <a:lnTo>
                  <a:pt x="224" y="103"/>
                </a:lnTo>
                <a:lnTo>
                  <a:pt x="227" y="98"/>
                </a:lnTo>
                <a:lnTo>
                  <a:pt x="230" y="95"/>
                </a:lnTo>
                <a:lnTo>
                  <a:pt x="241" y="98"/>
                </a:lnTo>
                <a:lnTo>
                  <a:pt x="238" y="89"/>
                </a:lnTo>
                <a:lnTo>
                  <a:pt x="238" y="86"/>
                </a:lnTo>
                <a:lnTo>
                  <a:pt x="230" y="86"/>
                </a:lnTo>
                <a:lnTo>
                  <a:pt x="221" y="83"/>
                </a:lnTo>
                <a:lnTo>
                  <a:pt x="209" y="77"/>
                </a:lnTo>
                <a:lnTo>
                  <a:pt x="198" y="72"/>
                </a:lnTo>
                <a:lnTo>
                  <a:pt x="192" y="66"/>
                </a:lnTo>
                <a:lnTo>
                  <a:pt x="181" y="60"/>
                </a:lnTo>
                <a:lnTo>
                  <a:pt x="172" y="57"/>
                </a:lnTo>
                <a:lnTo>
                  <a:pt x="169" y="54"/>
                </a:lnTo>
                <a:lnTo>
                  <a:pt x="164" y="49"/>
                </a:lnTo>
                <a:lnTo>
                  <a:pt x="161" y="40"/>
                </a:lnTo>
                <a:lnTo>
                  <a:pt x="155" y="34"/>
                </a:lnTo>
                <a:lnTo>
                  <a:pt x="152" y="29"/>
                </a:lnTo>
                <a:lnTo>
                  <a:pt x="146" y="26"/>
                </a:lnTo>
                <a:lnTo>
                  <a:pt x="143" y="26"/>
                </a:lnTo>
                <a:lnTo>
                  <a:pt x="141" y="29"/>
                </a:lnTo>
                <a:lnTo>
                  <a:pt x="138" y="29"/>
                </a:lnTo>
                <a:lnTo>
                  <a:pt x="123" y="26"/>
                </a:lnTo>
                <a:lnTo>
                  <a:pt x="120" y="26"/>
                </a:lnTo>
                <a:lnTo>
                  <a:pt x="120" y="23"/>
                </a:lnTo>
                <a:lnTo>
                  <a:pt x="120" y="17"/>
                </a:lnTo>
                <a:lnTo>
                  <a:pt x="118" y="11"/>
                </a:lnTo>
                <a:lnTo>
                  <a:pt x="106" y="6"/>
                </a:lnTo>
                <a:lnTo>
                  <a:pt x="92" y="0"/>
                </a:lnTo>
                <a:lnTo>
                  <a:pt x="98" y="9"/>
                </a:lnTo>
                <a:lnTo>
                  <a:pt x="92" y="6"/>
                </a:lnTo>
                <a:lnTo>
                  <a:pt x="86" y="3"/>
                </a:lnTo>
                <a:lnTo>
                  <a:pt x="86" y="9"/>
                </a:lnTo>
                <a:lnTo>
                  <a:pt x="83" y="9"/>
                </a:lnTo>
                <a:lnTo>
                  <a:pt x="80" y="9"/>
                </a:lnTo>
                <a:lnTo>
                  <a:pt x="77" y="9"/>
                </a:lnTo>
                <a:lnTo>
                  <a:pt x="75" y="17"/>
                </a:lnTo>
                <a:lnTo>
                  <a:pt x="80" y="26"/>
                </a:lnTo>
                <a:lnTo>
                  <a:pt x="60" y="26"/>
                </a:lnTo>
                <a:lnTo>
                  <a:pt x="63" y="26"/>
                </a:lnTo>
                <a:lnTo>
                  <a:pt x="52" y="26"/>
                </a:lnTo>
                <a:lnTo>
                  <a:pt x="49" y="26"/>
                </a:lnTo>
                <a:lnTo>
                  <a:pt x="46" y="23"/>
                </a:lnTo>
                <a:lnTo>
                  <a:pt x="46" y="20"/>
                </a:lnTo>
                <a:lnTo>
                  <a:pt x="37" y="11"/>
                </a:lnTo>
                <a:lnTo>
                  <a:pt x="31" y="9"/>
                </a:lnTo>
                <a:lnTo>
                  <a:pt x="29" y="6"/>
                </a:lnTo>
                <a:lnTo>
                  <a:pt x="23" y="3"/>
                </a:lnTo>
                <a:lnTo>
                  <a:pt x="20" y="6"/>
                </a:lnTo>
                <a:lnTo>
                  <a:pt x="6" y="14"/>
                </a:lnTo>
                <a:lnTo>
                  <a:pt x="0" y="17"/>
                </a:lnTo>
                <a:lnTo>
                  <a:pt x="0" y="20"/>
                </a:lnTo>
                <a:lnTo>
                  <a:pt x="9" y="26"/>
                </a:lnTo>
                <a:lnTo>
                  <a:pt x="9" y="23"/>
                </a:lnTo>
                <a:lnTo>
                  <a:pt x="11" y="14"/>
                </a:lnTo>
                <a:lnTo>
                  <a:pt x="23" y="14"/>
                </a:lnTo>
                <a:lnTo>
                  <a:pt x="26" y="20"/>
                </a:lnTo>
                <a:lnTo>
                  <a:pt x="37" y="29"/>
                </a:lnTo>
                <a:lnTo>
                  <a:pt x="37" y="31"/>
                </a:lnTo>
                <a:lnTo>
                  <a:pt x="34" y="37"/>
                </a:lnTo>
                <a:lnTo>
                  <a:pt x="29" y="37"/>
                </a:lnTo>
                <a:lnTo>
                  <a:pt x="26" y="34"/>
                </a:lnTo>
                <a:lnTo>
                  <a:pt x="17" y="34"/>
                </a:lnTo>
                <a:lnTo>
                  <a:pt x="11" y="31"/>
                </a:lnTo>
                <a:lnTo>
                  <a:pt x="11" y="43"/>
                </a:lnTo>
                <a:lnTo>
                  <a:pt x="14" y="52"/>
                </a:lnTo>
                <a:lnTo>
                  <a:pt x="20" y="52"/>
                </a:lnTo>
                <a:lnTo>
                  <a:pt x="23" y="54"/>
                </a:lnTo>
                <a:lnTo>
                  <a:pt x="20" y="66"/>
                </a:lnTo>
                <a:lnTo>
                  <a:pt x="26" y="63"/>
                </a:lnTo>
                <a:lnTo>
                  <a:pt x="34" y="69"/>
                </a:lnTo>
                <a:lnTo>
                  <a:pt x="37" y="77"/>
                </a:lnTo>
                <a:lnTo>
                  <a:pt x="37" y="98"/>
                </a:lnTo>
                <a:lnTo>
                  <a:pt x="37" y="100"/>
                </a:lnTo>
                <a:lnTo>
                  <a:pt x="46" y="100"/>
                </a:lnTo>
                <a:lnTo>
                  <a:pt x="52" y="92"/>
                </a:lnTo>
                <a:lnTo>
                  <a:pt x="60" y="86"/>
                </a:lnTo>
                <a:lnTo>
                  <a:pt x="66" y="86"/>
                </a:lnTo>
                <a:lnTo>
                  <a:pt x="72" y="86"/>
                </a:lnTo>
                <a:lnTo>
                  <a:pt x="75" y="80"/>
                </a:lnTo>
                <a:lnTo>
                  <a:pt x="86" y="80"/>
                </a:lnTo>
                <a:lnTo>
                  <a:pt x="89" y="80"/>
                </a:lnTo>
                <a:lnTo>
                  <a:pt x="92" y="83"/>
                </a:lnTo>
                <a:lnTo>
                  <a:pt x="98" y="89"/>
                </a:lnTo>
                <a:lnTo>
                  <a:pt x="109" y="92"/>
                </a:lnTo>
                <a:lnTo>
                  <a:pt x="115" y="95"/>
                </a:lnTo>
                <a:lnTo>
                  <a:pt x="118" y="95"/>
                </a:lnTo>
                <a:lnTo>
                  <a:pt x="126" y="95"/>
                </a:lnTo>
                <a:lnTo>
                  <a:pt x="132" y="103"/>
                </a:lnTo>
                <a:lnTo>
                  <a:pt x="135" y="103"/>
                </a:lnTo>
                <a:lnTo>
                  <a:pt x="141" y="106"/>
                </a:lnTo>
                <a:lnTo>
                  <a:pt x="146" y="115"/>
                </a:lnTo>
                <a:lnTo>
                  <a:pt x="149" y="115"/>
                </a:lnTo>
                <a:lnTo>
                  <a:pt x="158" y="115"/>
                </a:lnTo>
                <a:lnTo>
                  <a:pt x="161" y="118"/>
                </a:lnTo>
                <a:lnTo>
                  <a:pt x="164" y="123"/>
                </a:lnTo>
                <a:lnTo>
                  <a:pt x="164" y="12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84" name="Freeform 271"/>
          <p:cNvSpPr>
            <a:spLocks/>
          </p:cNvSpPr>
          <p:nvPr/>
        </p:nvSpPr>
        <p:spPr bwMode="gray">
          <a:xfrm>
            <a:off x="7931429" y="2749575"/>
            <a:ext cx="64012" cy="54001"/>
          </a:xfrm>
          <a:custGeom>
            <a:avLst/>
            <a:gdLst>
              <a:gd name="T0" fmla="*/ 2147483647 w 32"/>
              <a:gd name="T1" fmla="*/ 2147483647 h 35"/>
              <a:gd name="T2" fmla="*/ 2147483647 w 32"/>
              <a:gd name="T3" fmla="*/ 2147483647 h 35"/>
              <a:gd name="T4" fmla="*/ 2147483647 w 32"/>
              <a:gd name="T5" fmla="*/ 2147483647 h 35"/>
              <a:gd name="T6" fmla="*/ 2147483647 w 32"/>
              <a:gd name="T7" fmla="*/ 2147483647 h 35"/>
              <a:gd name="T8" fmla="*/ 2147483647 w 32"/>
              <a:gd name="T9" fmla="*/ 2147483647 h 35"/>
              <a:gd name="T10" fmla="*/ 2147483647 w 32"/>
              <a:gd name="T11" fmla="*/ 2147483647 h 35"/>
              <a:gd name="T12" fmla="*/ 2147483647 w 32"/>
              <a:gd name="T13" fmla="*/ 2147483647 h 35"/>
              <a:gd name="T14" fmla="*/ 2147483647 w 32"/>
              <a:gd name="T15" fmla="*/ 2147483647 h 35"/>
              <a:gd name="T16" fmla="*/ 2147483647 w 32"/>
              <a:gd name="T17" fmla="*/ 2147483647 h 35"/>
              <a:gd name="T18" fmla="*/ 2147483647 w 32"/>
              <a:gd name="T19" fmla="*/ 0 h 35"/>
              <a:gd name="T20" fmla="*/ 2147483647 w 32"/>
              <a:gd name="T21" fmla="*/ 2147483647 h 35"/>
              <a:gd name="T22" fmla="*/ 2147483647 w 32"/>
              <a:gd name="T23" fmla="*/ 2147483647 h 35"/>
              <a:gd name="T24" fmla="*/ 0 w 32"/>
              <a:gd name="T25" fmla="*/ 2147483647 h 35"/>
              <a:gd name="T26" fmla="*/ 2147483647 w 32"/>
              <a:gd name="T27" fmla="*/ 2147483647 h 35"/>
              <a:gd name="T28" fmla="*/ 2147483647 w 32"/>
              <a:gd name="T29" fmla="*/ 2147483647 h 35"/>
              <a:gd name="T30" fmla="*/ 2147483647 w 32"/>
              <a:gd name="T31" fmla="*/ 2147483647 h 35"/>
              <a:gd name="T32" fmla="*/ 2147483647 w 32"/>
              <a:gd name="T33" fmla="*/ 2147483647 h 35"/>
              <a:gd name="T34" fmla="*/ 2147483647 w 32"/>
              <a:gd name="T35" fmla="*/ 2147483647 h 35"/>
              <a:gd name="T36" fmla="*/ 2147483647 w 32"/>
              <a:gd name="T37" fmla="*/ 2147483647 h 35"/>
              <a:gd name="T38" fmla="*/ 2147483647 w 32"/>
              <a:gd name="T39" fmla="*/ 2147483647 h 35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32"/>
              <a:gd name="T61" fmla="*/ 0 h 35"/>
              <a:gd name="T62" fmla="*/ 32 w 32"/>
              <a:gd name="T63" fmla="*/ 35 h 35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32" h="35">
                <a:moveTo>
                  <a:pt x="17" y="35"/>
                </a:moveTo>
                <a:lnTo>
                  <a:pt x="23" y="35"/>
                </a:lnTo>
                <a:lnTo>
                  <a:pt x="29" y="26"/>
                </a:lnTo>
                <a:lnTo>
                  <a:pt x="32" y="23"/>
                </a:lnTo>
                <a:lnTo>
                  <a:pt x="32" y="17"/>
                </a:lnTo>
                <a:lnTo>
                  <a:pt x="32" y="9"/>
                </a:lnTo>
                <a:lnTo>
                  <a:pt x="29" y="6"/>
                </a:lnTo>
                <a:lnTo>
                  <a:pt x="17" y="0"/>
                </a:lnTo>
                <a:lnTo>
                  <a:pt x="12" y="3"/>
                </a:lnTo>
                <a:lnTo>
                  <a:pt x="3" y="6"/>
                </a:lnTo>
                <a:lnTo>
                  <a:pt x="0" y="9"/>
                </a:lnTo>
                <a:lnTo>
                  <a:pt x="3" y="14"/>
                </a:lnTo>
                <a:lnTo>
                  <a:pt x="6" y="23"/>
                </a:lnTo>
                <a:lnTo>
                  <a:pt x="12" y="26"/>
                </a:lnTo>
                <a:lnTo>
                  <a:pt x="17" y="29"/>
                </a:lnTo>
                <a:lnTo>
                  <a:pt x="20" y="32"/>
                </a:lnTo>
                <a:lnTo>
                  <a:pt x="17" y="35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167" name="Freeform 272"/>
          <p:cNvSpPr>
            <a:spLocks/>
          </p:cNvSpPr>
          <p:nvPr/>
        </p:nvSpPr>
        <p:spPr bwMode="gray">
          <a:xfrm>
            <a:off x="7363327" y="2676072"/>
            <a:ext cx="428077" cy="264007"/>
          </a:xfrm>
          <a:custGeom>
            <a:avLst/>
            <a:gdLst>
              <a:gd name="T0" fmla="*/ 2147483647 w 212"/>
              <a:gd name="T1" fmla="*/ 2147483647 h 175"/>
              <a:gd name="T2" fmla="*/ 2147483647 w 212"/>
              <a:gd name="T3" fmla="*/ 2147483647 h 175"/>
              <a:gd name="T4" fmla="*/ 2147483647 w 212"/>
              <a:gd name="T5" fmla="*/ 2147483647 h 175"/>
              <a:gd name="T6" fmla="*/ 2147483647 w 212"/>
              <a:gd name="T7" fmla="*/ 2147483647 h 175"/>
              <a:gd name="T8" fmla="*/ 2147483647 w 212"/>
              <a:gd name="T9" fmla="*/ 2147483647 h 175"/>
              <a:gd name="T10" fmla="*/ 2147483647 w 212"/>
              <a:gd name="T11" fmla="*/ 2147483647 h 175"/>
              <a:gd name="T12" fmla="*/ 2147483647 w 212"/>
              <a:gd name="T13" fmla="*/ 2147483647 h 175"/>
              <a:gd name="T14" fmla="*/ 2147483647 w 212"/>
              <a:gd name="T15" fmla="*/ 0 h 175"/>
              <a:gd name="T16" fmla="*/ 2147483647 w 212"/>
              <a:gd name="T17" fmla="*/ 2147483647 h 175"/>
              <a:gd name="T18" fmla="*/ 2147483647 w 212"/>
              <a:gd name="T19" fmla="*/ 2147483647 h 175"/>
              <a:gd name="T20" fmla="*/ 2147483647 w 212"/>
              <a:gd name="T21" fmla="*/ 2147483647 h 175"/>
              <a:gd name="T22" fmla="*/ 2147483647 w 212"/>
              <a:gd name="T23" fmla="*/ 2147483647 h 175"/>
              <a:gd name="T24" fmla="*/ 2147483647 w 212"/>
              <a:gd name="T25" fmla="*/ 2147483647 h 175"/>
              <a:gd name="T26" fmla="*/ 2147483647 w 212"/>
              <a:gd name="T27" fmla="*/ 2147483647 h 175"/>
              <a:gd name="T28" fmla="*/ 2147483647 w 212"/>
              <a:gd name="T29" fmla="*/ 2147483647 h 175"/>
              <a:gd name="T30" fmla="*/ 2147483647 w 212"/>
              <a:gd name="T31" fmla="*/ 2147483647 h 175"/>
              <a:gd name="T32" fmla="*/ 2147483647 w 212"/>
              <a:gd name="T33" fmla="*/ 2147483647 h 175"/>
              <a:gd name="T34" fmla="*/ 2147483647 w 212"/>
              <a:gd name="T35" fmla="*/ 2147483647 h 175"/>
              <a:gd name="T36" fmla="*/ 2147483647 w 212"/>
              <a:gd name="T37" fmla="*/ 2147483647 h 175"/>
              <a:gd name="T38" fmla="*/ 2147483647 w 212"/>
              <a:gd name="T39" fmla="*/ 2147483647 h 175"/>
              <a:gd name="T40" fmla="*/ 0 w 212"/>
              <a:gd name="T41" fmla="*/ 2147483647 h 175"/>
              <a:gd name="T42" fmla="*/ 2147483647 w 212"/>
              <a:gd name="T43" fmla="*/ 2147483647 h 175"/>
              <a:gd name="T44" fmla="*/ 2147483647 w 212"/>
              <a:gd name="T45" fmla="*/ 2147483647 h 175"/>
              <a:gd name="T46" fmla="*/ 2147483647 w 212"/>
              <a:gd name="T47" fmla="*/ 2147483647 h 175"/>
              <a:gd name="T48" fmla="*/ 2147483647 w 212"/>
              <a:gd name="T49" fmla="*/ 2147483647 h 175"/>
              <a:gd name="T50" fmla="*/ 2147483647 w 212"/>
              <a:gd name="T51" fmla="*/ 2147483647 h 175"/>
              <a:gd name="T52" fmla="*/ 2147483647 w 212"/>
              <a:gd name="T53" fmla="*/ 2147483647 h 175"/>
              <a:gd name="T54" fmla="*/ 2147483647 w 212"/>
              <a:gd name="T55" fmla="*/ 2147483647 h 175"/>
              <a:gd name="T56" fmla="*/ 2147483647 w 212"/>
              <a:gd name="T57" fmla="*/ 2147483647 h 175"/>
              <a:gd name="T58" fmla="*/ 2147483647 w 212"/>
              <a:gd name="T59" fmla="*/ 2147483647 h 175"/>
              <a:gd name="T60" fmla="*/ 2147483647 w 212"/>
              <a:gd name="T61" fmla="*/ 2147483647 h 175"/>
              <a:gd name="T62" fmla="*/ 2147483647 w 212"/>
              <a:gd name="T63" fmla="*/ 2147483647 h 175"/>
              <a:gd name="T64" fmla="*/ 2147483647 w 212"/>
              <a:gd name="T65" fmla="*/ 2147483647 h 175"/>
              <a:gd name="T66" fmla="*/ 2147483647 w 212"/>
              <a:gd name="T67" fmla="*/ 2147483647 h 175"/>
              <a:gd name="T68" fmla="*/ 2147483647 w 212"/>
              <a:gd name="T69" fmla="*/ 2147483647 h 175"/>
              <a:gd name="T70" fmla="*/ 2147483647 w 212"/>
              <a:gd name="T71" fmla="*/ 2147483647 h 175"/>
              <a:gd name="T72" fmla="*/ 2147483647 w 212"/>
              <a:gd name="T73" fmla="*/ 2147483647 h 175"/>
              <a:gd name="T74" fmla="*/ 2147483647 w 212"/>
              <a:gd name="T75" fmla="*/ 2147483647 h 175"/>
              <a:gd name="T76" fmla="*/ 2147483647 w 212"/>
              <a:gd name="T77" fmla="*/ 2147483647 h 175"/>
              <a:gd name="T78" fmla="*/ 2147483647 w 212"/>
              <a:gd name="T79" fmla="*/ 2147483647 h 175"/>
              <a:gd name="T80" fmla="*/ 2147483647 w 212"/>
              <a:gd name="T81" fmla="*/ 2147483647 h 175"/>
              <a:gd name="T82" fmla="*/ 2147483647 w 212"/>
              <a:gd name="T83" fmla="*/ 2147483647 h 175"/>
              <a:gd name="T84" fmla="*/ 2147483647 w 212"/>
              <a:gd name="T85" fmla="*/ 2147483647 h 175"/>
              <a:gd name="T86" fmla="*/ 2147483647 w 212"/>
              <a:gd name="T87" fmla="*/ 2147483647 h 175"/>
              <a:gd name="T88" fmla="*/ 2147483647 w 212"/>
              <a:gd name="T89" fmla="*/ 2147483647 h 175"/>
              <a:gd name="T90" fmla="*/ 2147483647 w 212"/>
              <a:gd name="T91" fmla="*/ 2147483647 h 175"/>
              <a:gd name="T92" fmla="*/ 2147483647 w 212"/>
              <a:gd name="T93" fmla="*/ 2147483647 h 175"/>
              <a:gd name="T94" fmla="*/ 2147483647 w 212"/>
              <a:gd name="T95" fmla="*/ 2147483647 h 175"/>
              <a:gd name="T96" fmla="*/ 2147483647 w 212"/>
              <a:gd name="T97" fmla="*/ 2147483647 h 175"/>
              <a:gd name="T98" fmla="*/ 2147483647 w 212"/>
              <a:gd name="T99" fmla="*/ 2147483647 h 175"/>
              <a:gd name="T100" fmla="*/ 2147483647 w 212"/>
              <a:gd name="T101" fmla="*/ 2147483647 h 175"/>
              <a:gd name="T102" fmla="*/ 2147483647 w 212"/>
              <a:gd name="T103" fmla="*/ 2147483647 h 175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212"/>
              <a:gd name="T157" fmla="*/ 0 h 175"/>
              <a:gd name="T158" fmla="*/ 212 w 212"/>
              <a:gd name="T159" fmla="*/ 175 h 175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212" h="175">
                <a:moveTo>
                  <a:pt x="169" y="38"/>
                </a:moveTo>
                <a:lnTo>
                  <a:pt x="175" y="38"/>
                </a:lnTo>
                <a:lnTo>
                  <a:pt x="184" y="29"/>
                </a:lnTo>
                <a:lnTo>
                  <a:pt x="192" y="29"/>
                </a:lnTo>
                <a:lnTo>
                  <a:pt x="206" y="29"/>
                </a:lnTo>
                <a:lnTo>
                  <a:pt x="212" y="26"/>
                </a:lnTo>
                <a:lnTo>
                  <a:pt x="212" y="23"/>
                </a:lnTo>
                <a:lnTo>
                  <a:pt x="209" y="20"/>
                </a:lnTo>
                <a:lnTo>
                  <a:pt x="201" y="26"/>
                </a:lnTo>
                <a:lnTo>
                  <a:pt x="201" y="23"/>
                </a:lnTo>
                <a:lnTo>
                  <a:pt x="198" y="20"/>
                </a:lnTo>
                <a:lnTo>
                  <a:pt x="189" y="20"/>
                </a:lnTo>
                <a:lnTo>
                  <a:pt x="186" y="29"/>
                </a:lnTo>
                <a:lnTo>
                  <a:pt x="184" y="29"/>
                </a:lnTo>
                <a:lnTo>
                  <a:pt x="178" y="26"/>
                </a:lnTo>
                <a:lnTo>
                  <a:pt x="169" y="35"/>
                </a:lnTo>
                <a:lnTo>
                  <a:pt x="166" y="29"/>
                </a:lnTo>
                <a:lnTo>
                  <a:pt x="161" y="12"/>
                </a:lnTo>
                <a:lnTo>
                  <a:pt x="158" y="12"/>
                </a:lnTo>
                <a:lnTo>
                  <a:pt x="158" y="9"/>
                </a:lnTo>
                <a:lnTo>
                  <a:pt x="155" y="6"/>
                </a:lnTo>
                <a:lnTo>
                  <a:pt x="155" y="0"/>
                </a:lnTo>
                <a:lnTo>
                  <a:pt x="152" y="0"/>
                </a:lnTo>
                <a:lnTo>
                  <a:pt x="149" y="0"/>
                </a:lnTo>
                <a:lnTo>
                  <a:pt x="143" y="9"/>
                </a:lnTo>
                <a:lnTo>
                  <a:pt x="143" y="18"/>
                </a:lnTo>
                <a:lnTo>
                  <a:pt x="143" y="20"/>
                </a:lnTo>
                <a:lnTo>
                  <a:pt x="140" y="20"/>
                </a:lnTo>
                <a:lnTo>
                  <a:pt x="138" y="18"/>
                </a:lnTo>
                <a:lnTo>
                  <a:pt x="135" y="18"/>
                </a:lnTo>
                <a:lnTo>
                  <a:pt x="132" y="18"/>
                </a:lnTo>
                <a:lnTo>
                  <a:pt x="135" y="26"/>
                </a:lnTo>
                <a:lnTo>
                  <a:pt x="132" y="26"/>
                </a:lnTo>
                <a:lnTo>
                  <a:pt x="126" y="26"/>
                </a:lnTo>
                <a:lnTo>
                  <a:pt x="120" y="26"/>
                </a:lnTo>
                <a:lnTo>
                  <a:pt x="109" y="32"/>
                </a:lnTo>
                <a:lnTo>
                  <a:pt x="103" y="26"/>
                </a:lnTo>
                <a:lnTo>
                  <a:pt x="92" y="23"/>
                </a:lnTo>
                <a:lnTo>
                  <a:pt x="86" y="23"/>
                </a:lnTo>
                <a:lnTo>
                  <a:pt x="83" y="23"/>
                </a:lnTo>
                <a:lnTo>
                  <a:pt x="72" y="20"/>
                </a:lnTo>
                <a:lnTo>
                  <a:pt x="69" y="20"/>
                </a:lnTo>
                <a:lnTo>
                  <a:pt x="69" y="23"/>
                </a:lnTo>
                <a:lnTo>
                  <a:pt x="60" y="26"/>
                </a:lnTo>
                <a:lnTo>
                  <a:pt x="57" y="43"/>
                </a:lnTo>
                <a:lnTo>
                  <a:pt x="46" y="49"/>
                </a:lnTo>
                <a:lnTo>
                  <a:pt x="37" y="52"/>
                </a:lnTo>
                <a:lnTo>
                  <a:pt x="37" y="61"/>
                </a:lnTo>
                <a:lnTo>
                  <a:pt x="23" y="63"/>
                </a:lnTo>
                <a:lnTo>
                  <a:pt x="17" y="58"/>
                </a:lnTo>
                <a:lnTo>
                  <a:pt x="8" y="58"/>
                </a:lnTo>
                <a:lnTo>
                  <a:pt x="8" y="63"/>
                </a:lnTo>
                <a:lnTo>
                  <a:pt x="8" y="72"/>
                </a:lnTo>
                <a:lnTo>
                  <a:pt x="6" y="75"/>
                </a:lnTo>
                <a:lnTo>
                  <a:pt x="6" y="78"/>
                </a:lnTo>
                <a:lnTo>
                  <a:pt x="6" y="81"/>
                </a:lnTo>
                <a:lnTo>
                  <a:pt x="0" y="84"/>
                </a:lnTo>
                <a:lnTo>
                  <a:pt x="3" y="86"/>
                </a:lnTo>
                <a:lnTo>
                  <a:pt x="6" y="92"/>
                </a:lnTo>
                <a:lnTo>
                  <a:pt x="8" y="95"/>
                </a:lnTo>
                <a:lnTo>
                  <a:pt x="6" y="107"/>
                </a:lnTo>
                <a:lnTo>
                  <a:pt x="11" y="121"/>
                </a:lnTo>
                <a:lnTo>
                  <a:pt x="17" y="132"/>
                </a:lnTo>
                <a:lnTo>
                  <a:pt x="28" y="135"/>
                </a:lnTo>
                <a:lnTo>
                  <a:pt x="31" y="150"/>
                </a:lnTo>
                <a:lnTo>
                  <a:pt x="26" y="158"/>
                </a:lnTo>
                <a:lnTo>
                  <a:pt x="20" y="167"/>
                </a:lnTo>
                <a:lnTo>
                  <a:pt x="23" y="167"/>
                </a:lnTo>
                <a:lnTo>
                  <a:pt x="28" y="170"/>
                </a:lnTo>
                <a:lnTo>
                  <a:pt x="46" y="175"/>
                </a:lnTo>
                <a:lnTo>
                  <a:pt x="49" y="175"/>
                </a:lnTo>
                <a:lnTo>
                  <a:pt x="51" y="173"/>
                </a:lnTo>
                <a:lnTo>
                  <a:pt x="60" y="173"/>
                </a:lnTo>
                <a:lnTo>
                  <a:pt x="63" y="170"/>
                </a:lnTo>
                <a:lnTo>
                  <a:pt x="72" y="173"/>
                </a:lnTo>
                <a:lnTo>
                  <a:pt x="80" y="173"/>
                </a:lnTo>
                <a:lnTo>
                  <a:pt x="83" y="173"/>
                </a:lnTo>
                <a:lnTo>
                  <a:pt x="95" y="170"/>
                </a:lnTo>
                <a:lnTo>
                  <a:pt x="103" y="167"/>
                </a:lnTo>
                <a:lnTo>
                  <a:pt x="103" y="155"/>
                </a:lnTo>
                <a:lnTo>
                  <a:pt x="103" y="152"/>
                </a:lnTo>
                <a:lnTo>
                  <a:pt x="106" y="144"/>
                </a:lnTo>
                <a:lnTo>
                  <a:pt x="112" y="138"/>
                </a:lnTo>
                <a:lnTo>
                  <a:pt x="120" y="138"/>
                </a:lnTo>
                <a:lnTo>
                  <a:pt x="123" y="141"/>
                </a:lnTo>
                <a:lnTo>
                  <a:pt x="126" y="138"/>
                </a:lnTo>
                <a:lnTo>
                  <a:pt x="120" y="132"/>
                </a:lnTo>
                <a:lnTo>
                  <a:pt x="123" y="132"/>
                </a:lnTo>
                <a:lnTo>
                  <a:pt x="129" y="127"/>
                </a:lnTo>
                <a:lnTo>
                  <a:pt x="135" y="124"/>
                </a:lnTo>
                <a:lnTo>
                  <a:pt x="138" y="127"/>
                </a:lnTo>
                <a:lnTo>
                  <a:pt x="146" y="129"/>
                </a:lnTo>
                <a:lnTo>
                  <a:pt x="146" y="132"/>
                </a:lnTo>
                <a:lnTo>
                  <a:pt x="146" y="129"/>
                </a:lnTo>
                <a:lnTo>
                  <a:pt x="149" y="127"/>
                </a:lnTo>
                <a:lnTo>
                  <a:pt x="146" y="124"/>
                </a:lnTo>
                <a:lnTo>
                  <a:pt x="146" y="121"/>
                </a:lnTo>
                <a:lnTo>
                  <a:pt x="146" y="115"/>
                </a:lnTo>
                <a:lnTo>
                  <a:pt x="149" y="112"/>
                </a:lnTo>
                <a:lnTo>
                  <a:pt x="149" y="104"/>
                </a:lnTo>
                <a:lnTo>
                  <a:pt x="152" y="101"/>
                </a:lnTo>
                <a:lnTo>
                  <a:pt x="158" y="101"/>
                </a:lnTo>
                <a:lnTo>
                  <a:pt x="161" y="101"/>
                </a:lnTo>
                <a:lnTo>
                  <a:pt x="155" y="92"/>
                </a:lnTo>
                <a:lnTo>
                  <a:pt x="152" y="86"/>
                </a:lnTo>
                <a:lnTo>
                  <a:pt x="149" y="84"/>
                </a:lnTo>
                <a:lnTo>
                  <a:pt x="152" y="84"/>
                </a:lnTo>
                <a:lnTo>
                  <a:pt x="163" y="86"/>
                </a:lnTo>
                <a:lnTo>
                  <a:pt x="166" y="86"/>
                </a:lnTo>
                <a:lnTo>
                  <a:pt x="169" y="86"/>
                </a:lnTo>
                <a:lnTo>
                  <a:pt x="169" y="84"/>
                </a:lnTo>
                <a:lnTo>
                  <a:pt x="169" y="78"/>
                </a:lnTo>
                <a:lnTo>
                  <a:pt x="169" y="75"/>
                </a:lnTo>
                <a:lnTo>
                  <a:pt x="175" y="63"/>
                </a:lnTo>
                <a:lnTo>
                  <a:pt x="175" y="61"/>
                </a:lnTo>
                <a:lnTo>
                  <a:pt x="172" y="55"/>
                </a:lnTo>
                <a:lnTo>
                  <a:pt x="166" y="46"/>
                </a:lnTo>
                <a:lnTo>
                  <a:pt x="163" y="46"/>
                </a:lnTo>
                <a:lnTo>
                  <a:pt x="169" y="3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68" name="Freeform 273"/>
          <p:cNvSpPr>
            <a:spLocks/>
          </p:cNvSpPr>
          <p:nvPr/>
        </p:nvSpPr>
        <p:spPr bwMode="gray">
          <a:xfrm>
            <a:off x="6817228" y="2575570"/>
            <a:ext cx="174032" cy="96003"/>
          </a:xfrm>
          <a:custGeom>
            <a:avLst/>
            <a:gdLst>
              <a:gd name="T0" fmla="*/ 2147483647 w 86"/>
              <a:gd name="T1" fmla="*/ 2147483647 h 63"/>
              <a:gd name="T2" fmla="*/ 2147483647 w 86"/>
              <a:gd name="T3" fmla="*/ 2147483647 h 63"/>
              <a:gd name="T4" fmla="*/ 2147483647 w 86"/>
              <a:gd name="T5" fmla="*/ 2147483647 h 63"/>
              <a:gd name="T6" fmla="*/ 2147483647 w 86"/>
              <a:gd name="T7" fmla="*/ 2147483647 h 63"/>
              <a:gd name="T8" fmla="*/ 2147483647 w 86"/>
              <a:gd name="T9" fmla="*/ 2147483647 h 63"/>
              <a:gd name="T10" fmla="*/ 2147483647 w 86"/>
              <a:gd name="T11" fmla="*/ 2147483647 h 63"/>
              <a:gd name="T12" fmla="*/ 2147483647 w 86"/>
              <a:gd name="T13" fmla="*/ 2147483647 h 63"/>
              <a:gd name="T14" fmla="*/ 2147483647 w 86"/>
              <a:gd name="T15" fmla="*/ 2147483647 h 63"/>
              <a:gd name="T16" fmla="*/ 2147483647 w 86"/>
              <a:gd name="T17" fmla="*/ 2147483647 h 63"/>
              <a:gd name="T18" fmla="*/ 2147483647 w 86"/>
              <a:gd name="T19" fmla="*/ 2147483647 h 63"/>
              <a:gd name="T20" fmla="*/ 2147483647 w 86"/>
              <a:gd name="T21" fmla="*/ 2147483647 h 63"/>
              <a:gd name="T22" fmla="*/ 2147483647 w 86"/>
              <a:gd name="T23" fmla="*/ 2147483647 h 63"/>
              <a:gd name="T24" fmla="*/ 2147483647 w 86"/>
              <a:gd name="T25" fmla="*/ 2147483647 h 63"/>
              <a:gd name="T26" fmla="*/ 2147483647 w 86"/>
              <a:gd name="T27" fmla="*/ 2147483647 h 63"/>
              <a:gd name="T28" fmla="*/ 0 w 86"/>
              <a:gd name="T29" fmla="*/ 2147483647 h 63"/>
              <a:gd name="T30" fmla="*/ 2147483647 w 86"/>
              <a:gd name="T31" fmla="*/ 2147483647 h 63"/>
              <a:gd name="T32" fmla="*/ 2147483647 w 86"/>
              <a:gd name="T33" fmla="*/ 2147483647 h 63"/>
              <a:gd name="T34" fmla="*/ 2147483647 w 86"/>
              <a:gd name="T35" fmla="*/ 2147483647 h 63"/>
              <a:gd name="T36" fmla="*/ 2147483647 w 86"/>
              <a:gd name="T37" fmla="*/ 2147483647 h 63"/>
              <a:gd name="T38" fmla="*/ 2147483647 w 86"/>
              <a:gd name="T39" fmla="*/ 2147483647 h 63"/>
              <a:gd name="T40" fmla="*/ 2147483647 w 86"/>
              <a:gd name="T41" fmla="*/ 2147483647 h 63"/>
              <a:gd name="T42" fmla="*/ 2147483647 w 86"/>
              <a:gd name="T43" fmla="*/ 2147483647 h 63"/>
              <a:gd name="T44" fmla="*/ 2147483647 w 86"/>
              <a:gd name="T45" fmla="*/ 2147483647 h 63"/>
              <a:gd name="T46" fmla="*/ 2147483647 w 86"/>
              <a:gd name="T47" fmla="*/ 2147483647 h 63"/>
              <a:gd name="T48" fmla="*/ 2147483647 w 86"/>
              <a:gd name="T49" fmla="*/ 2147483647 h 63"/>
              <a:gd name="T50" fmla="*/ 2147483647 w 86"/>
              <a:gd name="T51" fmla="*/ 2147483647 h 63"/>
              <a:gd name="T52" fmla="*/ 2147483647 w 86"/>
              <a:gd name="T53" fmla="*/ 2147483647 h 63"/>
              <a:gd name="T54" fmla="*/ 2147483647 w 86"/>
              <a:gd name="T55" fmla="*/ 2147483647 h 63"/>
              <a:gd name="T56" fmla="*/ 2147483647 w 86"/>
              <a:gd name="T57" fmla="*/ 2147483647 h 63"/>
              <a:gd name="T58" fmla="*/ 2147483647 w 86"/>
              <a:gd name="T59" fmla="*/ 2147483647 h 63"/>
              <a:gd name="T60" fmla="*/ 2147483647 w 86"/>
              <a:gd name="T61" fmla="*/ 2147483647 h 63"/>
              <a:gd name="T62" fmla="*/ 2147483647 w 86"/>
              <a:gd name="T63" fmla="*/ 2147483647 h 63"/>
              <a:gd name="T64" fmla="*/ 2147483647 w 86"/>
              <a:gd name="T65" fmla="*/ 2147483647 h 63"/>
              <a:gd name="T66" fmla="*/ 2147483647 w 86"/>
              <a:gd name="T67" fmla="*/ 2147483647 h 63"/>
              <a:gd name="T68" fmla="*/ 2147483647 w 86"/>
              <a:gd name="T69" fmla="*/ 2147483647 h 63"/>
              <a:gd name="T70" fmla="*/ 2147483647 w 86"/>
              <a:gd name="T71" fmla="*/ 2147483647 h 63"/>
              <a:gd name="T72" fmla="*/ 2147483647 w 86"/>
              <a:gd name="T73" fmla="*/ 2147483647 h 63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86"/>
              <a:gd name="T112" fmla="*/ 0 h 63"/>
              <a:gd name="T113" fmla="*/ 86 w 86"/>
              <a:gd name="T114" fmla="*/ 63 h 63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86" h="63">
                <a:moveTo>
                  <a:pt x="80" y="29"/>
                </a:moveTo>
                <a:lnTo>
                  <a:pt x="86" y="32"/>
                </a:lnTo>
                <a:lnTo>
                  <a:pt x="80" y="26"/>
                </a:lnTo>
                <a:lnTo>
                  <a:pt x="80" y="20"/>
                </a:lnTo>
                <a:lnTo>
                  <a:pt x="83" y="23"/>
                </a:lnTo>
                <a:lnTo>
                  <a:pt x="80" y="15"/>
                </a:lnTo>
                <a:lnTo>
                  <a:pt x="77" y="15"/>
                </a:lnTo>
                <a:lnTo>
                  <a:pt x="75" y="20"/>
                </a:lnTo>
                <a:lnTo>
                  <a:pt x="75" y="15"/>
                </a:lnTo>
                <a:lnTo>
                  <a:pt x="69" y="20"/>
                </a:lnTo>
                <a:lnTo>
                  <a:pt x="63" y="12"/>
                </a:lnTo>
                <a:lnTo>
                  <a:pt x="54" y="0"/>
                </a:lnTo>
                <a:lnTo>
                  <a:pt x="52" y="3"/>
                </a:lnTo>
                <a:lnTo>
                  <a:pt x="46" y="15"/>
                </a:lnTo>
                <a:lnTo>
                  <a:pt x="46" y="12"/>
                </a:lnTo>
                <a:lnTo>
                  <a:pt x="34" y="12"/>
                </a:lnTo>
                <a:lnTo>
                  <a:pt x="29" y="9"/>
                </a:lnTo>
                <a:lnTo>
                  <a:pt x="26" y="3"/>
                </a:lnTo>
                <a:lnTo>
                  <a:pt x="23" y="0"/>
                </a:lnTo>
                <a:lnTo>
                  <a:pt x="17" y="3"/>
                </a:lnTo>
                <a:lnTo>
                  <a:pt x="26" y="9"/>
                </a:lnTo>
                <a:lnTo>
                  <a:pt x="26" y="15"/>
                </a:lnTo>
                <a:lnTo>
                  <a:pt x="14" y="15"/>
                </a:lnTo>
                <a:lnTo>
                  <a:pt x="9" y="9"/>
                </a:lnTo>
                <a:lnTo>
                  <a:pt x="0" y="9"/>
                </a:lnTo>
                <a:lnTo>
                  <a:pt x="3" y="12"/>
                </a:lnTo>
                <a:lnTo>
                  <a:pt x="6" y="15"/>
                </a:lnTo>
                <a:lnTo>
                  <a:pt x="11" y="17"/>
                </a:lnTo>
                <a:lnTo>
                  <a:pt x="9" y="23"/>
                </a:lnTo>
                <a:lnTo>
                  <a:pt x="11" y="26"/>
                </a:lnTo>
                <a:lnTo>
                  <a:pt x="14" y="29"/>
                </a:lnTo>
                <a:lnTo>
                  <a:pt x="20" y="29"/>
                </a:lnTo>
                <a:lnTo>
                  <a:pt x="20" y="32"/>
                </a:lnTo>
                <a:lnTo>
                  <a:pt x="14" y="35"/>
                </a:lnTo>
                <a:lnTo>
                  <a:pt x="20" y="38"/>
                </a:lnTo>
                <a:lnTo>
                  <a:pt x="29" y="40"/>
                </a:lnTo>
                <a:lnTo>
                  <a:pt x="29" y="49"/>
                </a:lnTo>
                <a:lnTo>
                  <a:pt x="32" y="52"/>
                </a:lnTo>
                <a:lnTo>
                  <a:pt x="37" y="46"/>
                </a:lnTo>
                <a:lnTo>
                  <a:pt x="43" y="40"/>
                </a:lnTo>
                <a:lnTo>
                  <a:pt x="52" y="38"/>
                </a:lnTo>
                <a:lnTo>
                  <a:pt x="60" y="49"/>
                </a:lnTo>
                <a:lnTo>
                  <a:pt x="57" y="49"/>
                </a:lnTo>
                <a:lnTo>
                  <a:pt x="54" y="52"/>
                </a:lnTo>
                <a:lnTo>
                  <a:pt x="60" y="55"/>
                </a:lnTo>
                <a:lnTo>
                  <a:pt x="57" y="55"/>
                </a:lnTo>
                <a:lnTo>
                  <a:pt x="54" y="58"/>
                </a:lnTo>
                <a:lnTo>
                  <a:pt x="57" y="61"/>
                </a:lnTo>
                <a:lnTo>
                  <a:pt x="66" y="63"/>
                </a:lnTo>
                <a:lnTo>
                  <a:pt x="69" y="63"/>
                </a:lnTo>
                <a:lnTo>
                  <a:pt x="66" y="55"/>
                </a:lnTo>
                <a:lnTo>
                  <a:pt x="69" y="55"/>
                </a:lnTo>
                <a:lnTo>
                  <a:pt x="72" y="52"/>
                </a:lnTo>
                <a:lnTo>
                  <a:pt x="72" y="46"/>
                </a:lnTo>
                <a:lnTo>
                  <a:pt x="72" y="35"/>
                </a:lnTo>
                <a:lnTo>
                  <a:pt x="75" y="29"/>
                </a:lnTo>
                <a:lnTo>
                  <a:pt x="80" y="2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87" name="Freeform 274"/>
          <p:cNvSpPr>
            <a:spLocks/>
          </p:cNvSpPr>
          <p:nvPr/>
        </p:nvSpPr>
        <p:spPr bwMode="gray">
          <a:xfrm>
            <a:off x="7751397" y="2241061"/>
            <a:ext cx="1776320" cy="966026"/>
          </a:xfrm>
          <a:custGeom>
            <a:avLst/>
            <a:gdLst>
              <a:gd name="T0" fmla="*/ 2147483647 w 879"/>
              <a:gd name="T1" fmla="*/ 2147483647 h 638"/>
              <a:gd name="T2" fmla="*/ 2147483647 w 879"/>
              <a:gd name="T3" fmla="*/ 2147483647 h 638"/>
              <a:gd name="T4" fmla="*/ 2147483647 w 879"/>
              <a:gd name="T5" fmla="*/ 2147483647 h 638"/>
              <a:gd name="T6" fmla="*/ 2147483647 w 879"/>
              <a:gd name="T7" fmla="*/ 2147483647 h 638"/>
              <a:gd name="T8" fmla="*/ 2147483647 w 879"/>
              <a:gd name="T9" fmla="*/ 2147483647 h 638"/>
              <a:gd name="T10" fmla="*/ 2147483647 w 879"/>
              <a:gd name="T11" fmla="*/ 2147483647 h 638"/>
              <a:gd name="T12" fmla="*/ 2147483647 w 879"/>
              <a:gd name="T13" fmla="*/ 2147483647 h 638"/>
              <a:gd name="T14" fmla="*/ 2147483647 w 879"/>
              <a:gd name="T15" fmla="*/ 2147483647 h 638"/>
              <a:gd name="T16" fmla="*/ 2147483647 w 879"/>
              <a:gd name="T17" fmla="*/ 2147483647 h 638"/>
              <a:gd name="T18" fmla="*/ 2147483647 w 879"/>
              <a:gd name="T19" fmla="*/ 2147483647 h 638"/>
              <a:gd name="T20" fmla="*/ 2147483647 w 879"/>
              <a:gd name="T21" fmla="*/ 2147483647 h 638"/>
              <a:gd name="T22" fmla="*/ 2147483647 w 879"/>
              <a:gd name="T23" fmla="*/ 2147483647 h 638"/>
              <a:gd name="T24" fmla="*/ 2147483647 w 879"/>
              <a:gd name="T25" fmla="*/ 2147483647 h 638"/>
              <a:gd name="T26" fmla="*/ 2147483647 w 879"/>
              <a:gd name="T27" fmla="*/ 2147483647 h 638"/>
              <a:gd name="T28" fmla="*/ 2147483647 w 879"/>
              <a:gd name="T29" fmla="*/ 2147483647 h 638"/>
              <a:gd name="T30" fmla="*/ 2147483647 w 879"/>
              <a:gd name="T31" fmla="*/ 2147483647 h 638"/>
              <a:gd name="T32" fmla="*/ 2147483647 w 879"/>
              <a:gd name="T33" fmla="*/ 2147483647 h 638"/>
              <a:gd name="T34" fmla="*/ 2147483647 w 879"/>
              <a:gd name="T35" fmla="*/ 2147483647 h 638"/>
              <a:gd name="T36" fmla="*/ 2147483647 w 879"/>
              <a:gd name="T37" fmla="*/ 2147483647 h 638"/>
              <a:gd name="T38" fmla="*/ 2147483647 w 879"/>
              <a:gd name="T39" fmla="*/ 2147483647 h 638"/>
              <a:gd name="T40" fmla="*/ 2147483647 w 879"/>
              <a:gd name="T41" fmla="*/ 2147483647 h 638"/>
              <a:gd name="T42" fmla="*/ 2147483647 w 879"/>
              <a:gd name="T43" fmla="*/ 2147483647 h 638"/>
              <a:gd name="T44" fmla="*/ 2147483647 w 879"/>
              <a:gd name="T45" fmla="*/ 2147483647 h 638"/>
              <a:gd name="T46" fmla="*/ 2147483647 w 879"/>
              <a:gd name="T47" fmla="*/ 2147483647 h 638"/>
              <a:gd name="T48" fmla="*/ 2147483647 w 879"/>
              <a:gd name="T49" fmla="*/ 0 h 638"/>
              <a:gd name="T50" fmla="*/ 2147483647 w 879"/>
              <a:gd name="T51" fmla="*/ 2147483647 h 638"/>
              <a:gd name="T52" fmla="*/ 2147483647 w 879"/>
              <a:gd name="T53" fmla="*/ 2147483647 h 638"/>
              <a:gd name="T54" fmla="*/ 2147483647 w 879"/>
              <a:gd name="T55" fmla="*/ 2147483647 h 638"/>
              <a:gd name="T56" fmla="*/ 2147483647 w 879"/>
              <a:gd name="T57" fmla="*/ 2147483647 h 638"/>
              <a:gd name="T58" fmla="*/ 2147483647 w 879"/>
              <a:gd name="T59" fmla="*/ 2147483647 h 638"/>
              <a:gd name="T60" fmla="*/ 2147483647 w 879"/>
              <a:gd name="T61" fmla="*/ 2147483647 h 638"/>
              <a:gd name="T62" fmla="*/ 2147483647 w 879"/>
              <a:gd name="T63" fmla="*/ 2147483647 h 638"/>
              <a:gd name="T64" fmla="*/ 2147483647 w 879"/>
              <a:gd name="T65" fmla="*/ 2147483647 h 638"/>
              <a:gd name="T66" fmla="*/ 2147483647 w 879"/>
              <a:gd name="T67" fmla="*/ 2147483647 h 638"/>
              <a:gd name="T68" fmla="*/ 2147483647 w 879"/>
              <a:gd name="T69" fmla="*/ 2147483647 h 638"/>
              <a:gd name="T70" fmla="*/ 2147483647 w 879"/>
              <a:gd name="T71" fmla="*/ 2147483647 h 638"/>
              <a:gd name="T72" fmla="*/ 2147483647 w 879"/>
              <a:gd name="T73" fmla="*/ 2147483647 h 638"/>
              <a:gd name="T74" fmla="*/ 2147483647 w 879"/>
              <a:gd name="T75" fmla="*/ 2147483647 h 638"/>
              <a:gd name="T76" fmla="*/ 2147483647 w 879"/>
              <a:gd name="T77" fmla="*/ 2147483647 h 638"/>
              <a:gd name="T78" fmla="*/ 2147483647 w 879"/>
              <a:gd name="T79" fmla="*/ 2147483647 h 638"/>
              <a:gd name="T80" fmla="*/ 2147483647 w 879"/>
              <a:gd name="T81" fmla="*/ 2147483647 h 638"/>
              <a:gd name="T82" fmla="*/ 2147483647 w 879"/>
              <a:gd name="T83" fmla="*/ 2147483647 h 638"/>
              <a:gd name="T84" fmla="*/ 2147483647 w 879"/>
              <a:gd name="T85" fmla="*/ 2147483647 h 638"/>
              <a:gd name="T86" fmla="*/ 2147483647 w 879"/>
              <a:gd name="T87" fmla="*/ 2147483647 h 638"/>
              <a:gd name="T88" fmla="*/ 2147483647 w 879"/>
              <a:gd name="T89" fmla="*/ 2147483647 h 638"/>
              <a:gd name="T90" fmla="*/ 2147483647 w 879"/>
              <a:gd name="T91" fmla="*/ 2147483647 h 638"/>
              <a:gd name="T92" fmla="*/ 2147483647 w 879"/>
              <a:gd name="T93" fmla="*/ 2147483647 h 638"/>
              <a:gd name="T94" fmla="*/ 2147483647 w 879"/>
              <a:gd name="T95" fmla="*/ 2147483647 h 638"/>
              <a:gd name="T96" fmla="*/ 2147483647 w 879"/>
              <a:gd name="T97" fmla="*/ 2147483647 h 638"/>
              <a:gd name="T98" fmla="*/ 2147483647 w 879"/>
              <a:gd name="T99" fmla="*/ 2147483647 h 638"/>
              <a:gd name="T100" fmla="*/ 2147483647 w 879"/>
              <a:gd name="T101" fmla="*/ 2147483647 h 638"/>
              <a:gd name="T102" fmla="*/ 2147483647 w 879"/>
              <a:gd name="T103" fmla="*/ 2147483647 h 638"/>
              <a:gd name="T104" fmla="*/ 2147483647 w 879"/>
              <a:gd name="T105" fmla="*/ 2147483647 h 638"/>
              <a:gd name="T106" fmla="*/ 2147483647 w 879"/>
              <a:gd name="T107" fmla="*/ 2147483647 h 638"/>
              <a:gd name="T108" fmla="*/ 2147483647 w 879"/>
              <a:gd name="T109" fmla="*/ 2147483647 h 638"/>
              <a:gd name="T110" fmla="*/ 2147483647 w 879"/>
              <a:gd name="T111" fmla="*/ 2147483647 h 638"/>
              <a:gd name="T112" fmla="*/ 2147483647 w 879"/>
              <a:gd name="T113" fmla="*/ 2147483647 h 638"/>
              <a:gd name="T114" fmla="*/ 2147483647 w 879"/>
              <a:gd name="T115" fmla="*/ 2147483647 h 638"/>
              <a:gd name="T116" fmla="*/ 2147483647 w 879"/>
              <a:gd name="T117" fmla="*/ 2147483647 h 638"/>
              <a:gd name="T118" fmla="*/ 2147483647 w 879"/>
              <a:gd name="T119" fmla="*/ 2147483647 h 638"/>
              <a:gd name="T120" fmla="*/ 2147483647 w 879"/>
              <a:gd name="T121" fmla="*/ 2147483647 h 638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879"/>
              <a:gd name="T184" fmla="*/ 0 h 638"/>
              <a:gd name="T185" fmla="*/ 879 w 879"/>
              <a:gd name="T186" fmla="*/ 638 h 638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879" h="638">
                <a:moveTo>
                  <a:pt x="494" y="606"/>
                </a:moveTo>
                <a:lnTo>
                  <a:pt x="494" y="606"/>
                </a:lnTo>
                <a:lnTo>
                  <a:pt x="500" y="606"/>
                </a:lnTo>
                <a:lnTo>
                  <a:pt x="502" y="606"/>
                </a:lnTo>
                <a:lnTo>
                  <a:pt x="508" y="615"/>
                </a:lnTo>
                <a:lnTo>
                  <a:pt x="514" y="612"/>
                </a:lnTo>
                <a:lnTo>
                  <a:pt x="517" y="606"/>
                </a:lnTo>
                <a:lnTo>
                  <a:pt x="525" y="617"/>
                </a:lnTo>
                <a:lnTo>
                  <a:pt x="525" y="620"/>
                </a:lnTo>
                <a:lnTo>
                  <a:pt x="528" y="620"/>
                </a:lnTo>
                <a:lnTo>
                  <a:pt x="531" y="615"/>
                </a:lnTo>
                <a:lnTo>
                  <a:pt x="525" y="603"/>
                </a:lnTo>
                <a:lnTo>
                  <a:pt x="525" y="594"/>
                </a:lnTo>
                <a:lnTo>
                  <a:pt x="537" y="594"/>
                </a:lnTo>
                <a:lnTo>
                  <a:pt x="540" y="589"/>
                </a:lnTo>
                <a:lnTo>
                  <a:pt x="548" y="594"/>
                </a:lnTo>
                <a:lnTo>
                  <a:pt x="554" y="589"/>
                </a:lnTo>
                <a:lnTo>
                  <a:pt x="557" y="589"/>
                </a:lnTo>
                <a:lnTo>
                  <a:pt x="557" y="592"/>
                </a:lnTo>
                <a:lnTo>
                  <a:pt x="557" y="589"/>
                </a:lnTo>
                <a:lnTo>
                  <a:pt x="566" y="594"/>
                </a:lnTo>
                <a:lnTo>
                  <a:pt x="568" y="586"/>
                </a:lnTo>
                <a:lnTo>
                  <a:pt x="571" y="589"/>
                </a:lnTo>
                <a:lnTo>
                  <a:pt x="574" y="594"/>
                </a:lnTo>
                <a:lnTo>
                  <a:pt x="577" y="589"/>
                </a:lnTo>
                <a:lnTo>
                  <a:pt x="577" y="583"/>
                </a:lnTo>
                <a:lnTo>
                  <a:pt x="586" y="577"/>
                </a:lnTo>
                <a:lnTo>
                  <a:pt x="594" y="583"/>
                </a:lnTo>
                <a:lnTo>
                  <a:pt x="600" y="586"/>
                </a:lnTo>
                <a:lnTo>
                  <a:pt x="614" y="586"/>
                </a:lnTo>
                <a:lnTo>
                  <a:pt x="612" y="594"/>
                </a:lnTo>
                <a:lnTo>
                  <a:pt x="612" y="603"/>
                </a:lnTo>
                <a:lnTo>
                  <a:pt x="623" y="609"/>
                </a:lnTo>
                <a:lnTo>
                  <a:pt x="632" y="612"/>
                </a:lnTo>
                <a:lnTo>
                  <a:pt x="637" y="617"/>
                </a:lnTo>
                <a:lnTo>
                  <a:pt x="640" y="617"/>
                </a:lnTo>
                <a:lnTo>
                  <a:pt x="640" y="615"/>
                </a:lnTo>
                <a:lnTo>
                  <a:pt x="646" y="609"/>
                </a:lnTo>
                <a:lnTo>
                  <a:pt x="652" y="615"/>
                </a:lnTo>
                <a:lnTo>
                  <a:pt x="655" y="617"/>
                </a:lnTo>
                <a:lnTo>
                  <a:pt x="660" y="617"/>
                </a:lnTo>
                <a:lnTo>
                  <a:pt x="666" y="615"/>
                </a:lnTo>
                <a:lnTo>
                  <a:pt x="669" y="617"/>
                </a:lnTo>
                <a:lnTo>
                  <a:pt x="666" y="626"/>
                </a:lnTo>
                <a:lnTo>
                  <a:pt x="672" y="638"/>
                </a:lnTo>
                <a:lnTo>
                  <a:pt x="680" y="638"/>
                </a:lnTo>
                <a:lnTo>
                  <a:pt x="680" y="629"/>
                </a:lnTo>
                <a:lnTo>
                  <a:pt x="680" y="620"/>
                </a:lnTo>
                <a:lnTo>
                  <a:pt x="683" y="617"/>
                </a:lnTo>
                <a:lnTo>
                  <a:pt x="692" y="617"/>
                </a:lnTo>
                <a:lnTo>
                  <a:pt x="698" y="615"/>
                </a:lnTo>
                <a:lnTo>
                  <a:pt x="703" y="612"/>
                </a:lnTo>
                <a:lnTo>
                  <a:pt x="709" y="612"/>
                </a:lnTo>
                <a:lnTo>
                  <a:pt x="712" y="609"/>
                </a:lnTo>
                <a:lnTo>
                  <a:pt x="718" y="609"/>
                </a:lnTo>
                <a:lnTo>
                  <a:pt x="723" y="603"/>
                </a:lnTo>
                <a:lnTo>
                  <a:pt x="726" y="600"/>
                </a:lnTo>
                <a:lnTo>
                  <a:pt x="732" y="603"/>
                </a:lnTo>
                <a:lnTo>
                  <a:pt x="741" y="603"/>
                </a:lnTo>
                <a:lnTo>
                  <a:pt x="744" y="603"/>
                </a:lnTo>
                <a:lnTo>
                  <a:pt x="746" y="597"/>
                </a:lnTo>
                <a:lnTo>
                  <a:pt x="752" y="592"/>
                </a:lnTo>
                <a:lnTo>
                  <a:pt x="758" y="594"/>
                </a:lnTo>
                <a:lnTo>
                  <a:pt x="761" y="592"/>
                </a:lnTo>
                <a:lnTo>
                  <a:pt x="769" y="592"/>
                </a:lnTo>
                <a:lnTo>
                  <a:pt x="778" y="586"/>
                </a:lnTo>
                <a:lnTo>
                  <a:pt x="778" y="577"/>
                </a:lnTo>
                <a:lnTo>
                  <a:pt x="781" y="574"/>
                </a:lnTo>
                <a:lnTo>
                  <a:pt x="787" y="574"/>
                </a:lnTo>
                <a:lnTo>
                  <a:pt x="790" y="577"/>
                </a:lnTo>
                <a:lnTo>
                  <a:pt x="792" y="569"/>
                </a:lnTo>
                <a:lnTo>
                  <a:pt x="795" y="563"/>
                </a:lnTo>
                <a:lnTo>
                  <a:pt x="798" y="560"/>
                </a:lnTo>
                <a:lnTo>
                  <a:pt x="798" y="557"/>
                </a:lnTo>
                <a:lnTo>
                  <a:pt x="804" y="560"/>
                </a:lnTo>
                <a:lnTo>
                  <a:pt x="810" y="554"/>
                </a:lnTo>
                <a:lnTo>
                  <a:pt x="810" y="549"/>
                </a:lnTo>
                <a:lnTo>
                  <a:pt x="812" y="540"/>
                </a:lnTo>
                <a:lnTo>
                  <a:pt x="818" y="540"/>
                </a:lnTo>
                <a:lnTo>
                  <a:pt x="821" y="534"/>
                </a:lnTo>
                <a:lnTo>
                  <a:pt x="815" y="534"/>
                </a:lnTo>
                <a:lnTo>
                  <a:pt x="815" y="528"/>
                </a:lnTo>
                <a:lnTo>
                  <a:pt x="815" y="526"/>
                </a:lnTo>
                <a:lnTo>
                  <a:pt x="818" y="520"/>
                </a:lnTo>
                <a:lnTo>
                  <a:pt x="824" y="514"/>
                </a:lnTo>
                <a:lnTo>
                  <a:pt x="821" y="514"/>
                </a:lnTo>
                <a:lnTo>
                  <a:pt x="821" y="511"/>
                </a:lnTo>
                <a:lnTo>
                  <a:pt x="827" y="503"/>
                </a:lnTo>
                <a:lnTo>
                  <a:pt x="824" y="494"/>
                </a:lnTo>
                <a:lnTo>
                  <a:pt x="830" y="488"/>
                </a:lnTo>
                <a:lnTo>
                  <a:pt x="835" y="485"/>
                </a:lnTo>
                <a:lnTo>
                  <a:pt x="835" y="471"/>
                </a:lnTo>
                <a:lnTo>
                  <a:pt x="835" y="468"/>
                </a:lnTo>
                <a:lnTo>
                  <a:pt x="841" y="462"/>
                </a:lnTo>
                <a:lnTo>
                  <a:pt x="838" y="457"/>
                </a:lnTo>
                <a:lnTo>
                  <a:pt x="841" y="454"/>
                </a:lnTo>
                <a:lnTo>
                  <a:pt x="835" y="442"/>
                </a:lnTo>
                <a:lnTo>
                  <a:pt x="833" y="445"/>
                </a:lnTo>
                <a:lnTo>
                  <a:pt x="833" y="454"/>
                </a:lnTo>
                <a:lnTo>
                  <a:pt x="830" y="457"/>
                </a:lnTo>
                <a:lnTo>
                  <a:pt x="830" y="448"/>
                </a:lnTo>
                <a:lnTo>
                  <a:pt x="830" y="445"/>
                </a:lnTo>
                <a:lnTo>
                  <a:pt x="824" y="445"/>
                </a:lnTo>
                <a:lnTo>
                  <a:pt x="818" y="448"/>
                </a:lnTo>
                <a:lnTo>
                  <a:pt x="815" y="448"/>
                </a:lnTo>
                <a:lnTo>
                  <a:pt x="812" y="448"/>
                </a:lnTo>
                <a:lnTo>
                  <a:pt x="810" y="445"/>
                </a:lnTo>
                <a:lnTo>
                  <a:pt x="807" y="445"/>
                </a:lnTo>
                <a:lnTo>
                  <a:pt x="810" y="442"/>
                </a:lnTo>
                <a:lnTo>
                  <a:pt x="815" y="439"/>
                </a:lnTo>
                <a:lnTo>
                  <a:pt x="818" y="437"/>
                </a:lnTo>
                <a:lnTo>
                  <a:pt x="821" y="437"/>
                </a:lnTo>
                <a:lnTo>
                  <a:pt x="827" y="434"/>
                </a:lnTo>
                <a:lnTo>
                  <a:pt x="824" y="425"/>
                </a:lnTo>
                <a:lnTo>
                  <a:pt x="821" y="416"/>
                </a:lnTo>
                <a:lnTo>
                  <a:pt x="821" y="414"/>
                </a:lnTo>
                <a:lnTo>
                  <a:pt x="815" y="408"/>
                </a:lnTo>
                <a:lnTo>
                  <a:pt x="810" y="402"/>
                </a:lnTo>
                <a:lnTo>
                  <a:pt x="801" y="399"/>
                </a:lnTo>
                <a:lnTo>
                  <a:pt x="798" y="394"/>
                </a:lnTo>
                <a:lnTo>
                  <a:pt x="795" y="388"/>
                </a:lnTo>
                <a:lnTo>
                  <a:pt x="787" y="379"/>
                </a:lnTo>
                <a:lnTo>
                  <a:pt x="784" y="373"/>
                </a:lnTo>
                <a:lnTo>
                  <a:pt x="781" y="368"/>
                </a:lnTo>
                <a:lnTo>
                  <a:pt x="778" y="365"/>
                </a:lnTo>
                <a:lnTo>
                  <a:pt x="769" y="362"/>
                </a:lnTo>
                <a:lnTo>
                  <a:pt x="764" y="359"/>
                </a:lnTo>
                <a:lnTo>
                  <a:pt x="761" y="356"/>
                </a:lnTo>
                <a:lnTo>
                  <a:pt x="758" y="353"/>
                </a:lnTo>
                <a:lnTo>
                  <a:pt x="761" y="345"/>
                </a:lnTo>
                <a:lnTo>
                  <a:pt x="764" y="342"/>
                </a:lnTo>
                <a:lnTo>
                  <a:pt x="764" y="339"/>
                </a:lnTo>
                <a:lnTo>
                  <a:pt x="767" y="336"/>
                </a:lnTo>
                <a:lnTo>
                  <a:pt x="769" y="333"/>
                </a:lnTo>
                <a:lnTo>
                  <a:pt x="772" y="327"/>
                </a:lnTo>
                <a:lnTo>
                  <a:pt x="775" y="319"/>
                </a:lnTo>
                <a:lnTo>
                  <a:pt x="778" y="319"/>
                </a:lnTo>
                <a:lnTo>
                  <a:pt x="784" y="316"/>
                </a:lnTo>
                <a:lnTo>
                  <a:pt x="787" y="313"/>
                </a:lnTo>
                <a:lnTo>
                  <a:pt x="787" y="316"/>
                </a:lnTo>
                <a:lnTo>
                  <a:pt x="792" y="319"/>
                </a:lnTo>
                <a:lnTo>
                  <a:pt x="795" y="307"/>
                </a:lnTo>
                <a:lnTo>
                  <a:pt x="792" y="307"/>
                </a:lnTo>
                <a:lnTo>
                  <a:pt x="787" y="305"/>
                </a:lnTo>
                <a:lnTo>
                  <a:pt x="775" y="305"/>
                </a:lnTo>
                <a:lnTo>
                  <a:pt x="767" y="299"/>
                </a:lnTo>
                <a:lnTo>
                  <a:pt x="761" y="296"/>
                </a:lnTo>
                <a:lnTo>
                  <a:pt x="758" y="296"/>
                </a:lnTo>
                <a:lnTo>
                  <a:pt x="752" y="299"/>
                </a:lnTo>
                <a:lnTo>
                  <a:pt x="752" y="302"/>
                </a:lnTo>
                <a:lnTo>
                  <a:pt x="752" y="307"/>
                </a:lnTo>
                <a:lnTo>
                  <a:pt x="749" y="310"/>
                </a:lnTo>
                <a:lnTo>
                  <a:pt x="746" y="310"/>
                </a:lnTo>
                <a:lnTo>
                  <a:pt x="741" y="310"/>
                </a:lnTo>
                <a:lnTo>
                  <a:pt x="738" y="307"/>
                </a:lnTo>
                <a:lnTo>
                  <a:pt x="735" y="307"/>
                </a:lnTo>
                <a:lnTo>
                  <a:pt x="735" y="305"/>
                </a:lnTo>
                <a:lnTo>
                  <a:pt x="732" y="299"/>
                </a:lnTo>
                <a:lnTo>
                  <a:pt x="732" y="296"/>
                </a:lnTo>
                <a:lnTo>
                  <a:pt x="729" y="293"/>
                </a:lnTo>
                <a:lnTo>
                  <a:pt x="726" y="290"/>
                </a:lnTo>
                <a:lnTo>
                  <a:pt x="723" y="293"/>
                </a:lnTo>
                <a:lnTo>
                  <a:pt x="721" y="293"/>
                </a:lnTo>
                <a:lnTo>
                  <a:pt x="709" y="290"/>
                </a:lnTo>
                <a:lnTo>
                  <a:pt x="706" y="287"/>
                </a:lnTo>
                <a:lnTo>
                  <a:pt x="703" y="284"/>
                </a:lnTo>
                <a:lnTo>
                  <a:pt x="701" y="282"/>
                </a:lnTo>
                <a:lnTo>
                  <a:pt x="701" y="273"/>
                </a:lnTo>
                <a:lnTo>
                  <a:pt x="703" y="270"/>
                </a:lnTo>
                <a:lnTo>
                  <a:pt x="706" y="273"/>
                </a:lnTo>
                <a:lnTo>
                  <a:pt x="709" y="276"/>
                </a:lnTo>
                <a:lnTo>
                  <a:pt x="712" y="273"/>
                </a:lnTo>
                <a:lnTo>
                  <a:pt x="715" y="273"/>
                </a:lnTo>
                <a:lnTo>
                  <a:pt x="718" y="273"/>
                </a:lnTo>
                <a:lnTo>
                  <a:pt x="721" y="270"/>
                </a:lnTo>
                <a:lnTo>
                  <a:pt x="723" y="264"/>
                </a:lnTo>
                <a:lnTo>
                  <a:pt x="723" y="261"/>
                </a:lnTo>
                <a:lnTo>
                  <a:pt x="726" y="259"/>
                </a:lnTo>
                <a:lnTo>
                  <a:pt x="732" y="256"/>
                </a:lnTo>
                <a:lnTo>
                  <a:pt x="732" y="253"/>
                </a:lnTo>
                <a:lnTo>
                  <a:pt x="735" y="247"/>
                </a:lnTo>
                <a:lnTo>
                  <a:pt x="738" y="241"/>
                </a:lnTo>
                <a:lnTo>
                  <a:pt x="741" y="241"/>
                </a:lnTo>
                <a:lnTo>
                  <a:pt x="741" y="238"/>
                </a:lnTo>
                <a:lnTo>
                  <a:pt x="744" y="238"/>
                </a:lnTo>
                <a:lnTo>
                  <a:pt x="746" y="238"/>
                </a:lnTo>
                <a:lnTo>
                  <a:pt x="749" y="238"/>
                </a:lnTo>
                <a:lnTo>
                  <a:pt x="752" y="238"/>
                </a:lnTo>
                <a:lnTo>
                  <a:pt x="758" y="244"/>
                </a:lnTo>
                <a:lnTo>
                  <a:pt x="761" y="247"/>
                </a:lnTo>
                <a:lnTo>
                  <a:pt x="758" y="253"/>
                </a:lnTo>
                <a:lnTo>
                  <a:pt x="752" y="259"/>
                </a:lnTo>
                <a:lnTo>
                  <a:pt x="755" y="264"/>
                </a:lnTo>
                <a:lnTo>
                  <a:pt x="758" y="267"/>
                </a:lnTo>
                <a:lnTo>
                  <a:pt x="761" y="270"/>
                </a:lnTo>
                <a:lnTo>
                  <a:pt x="761" y="273"/>
                </a:lnTo>
                <a:lnTo>
                  <a:pt x="758" y="279"/>
                </a:lnTo>
                <a:lnTo>
                  <a:pt x="758" y="282"/>
                </a:lnTo>
                <a:lnTo>
                  <a:pt x="764" y="282"/>
                </a:lnTo>
                <a:lnTo>
                  <a:pt x="767" y="276"/>
                </a:lnTo>
                <a:lnTo>
                  <a:pt x="769" y="273"/>
                </a:lnTo>
                <a:lnTo>
                  <a:pt x="769" y="270"/>
                </a:lnTo>
                <a:lnTo>
                  <a:pt x="775" y="267"/>
                </a:lnTo>
                <a:lnTo>
                  <a:pt x="784" y="261"/>
                </a:lnTo>
                <a:lnTo>
                  <a:pt x="790" y="261"/>
                </a:lnTo>
                <a:lnTo>
                  <a:pt x="795" y="259"/>
                </a:lnTo>
                <a:lnTo>
                  <a:pt x="795" y="250"/>
                </a:lnTo>
                <a:lnTo>
                  <a:pt x="801" y="247"/>
                </a:lnTo>
                <a:lnTo>
                  <a:pt x="807" y="244"/>
                </a:lnTo>
                <a:lnTo>
                  <a:pt x="810" y="238"/>
                </a:lnTo>
                <a:lnTo>
                  <a:pt x="815" y="230"/>
                </a:lnTo>
                <a:lnTo>
                  <a:pt x="821" y="218"/>
                </a:lnTo>
                <a:lnTo>
                  <a:pt x="841" y="224"/>
                </a:lnTo>
                <a:lnTo>
                  <a:pt x="835" y="216"/>
                </a:lnTo>
                <a:lnTo>
                  <a:pt x="838" y="216"/>
                </a:lnTo>
                <a:lnTo>
                  <a:pt x="850" y="216"/>
                </a:lnTo>
                <a:lnTo>
                  <a:pt x="850" y="213"/>
                </a:lnTo>
                <a:lnTo>
                  <a:pt x="850" y="210"/>
                </a:lnTo>
                <a:lnTo>
                  <a:pt x="853" y="207"/>
                </a:lnTo>
                <a:lnTo>
                  <a:pt x="856" y="204"/>
                </a:lnTo>
                <a:lnTo>
                  <a:pt x="853" y="201"/>
                </a:lnTo>
                <a:lnTo>
                  <a:pt x="856" y="195"/>
                </a:lnTo>
                <a:lnTo>
                  <a:pt x="867" y="201"/>
                </a:lnTo>
                <a:lnTo>
                  <a:pt x="870" y="198"/>
                </a:lnTo>
                <a:lnTo>
                  <a:pt x="870" y="190"/>
                </a:lnTo>
                <a:lnTo>
                  <a:pt x="861" y="178"/>
                </a:lnTo>
                <a:lnTo>
                  <a:pt x="850" y="161"/>
                </a:lnTo>
                <a:lnTo>
                  <a:pt x="858" y="152"/>
                </a:lnTo>
                <a:lnTo>
                  <a:pt x="879" y="155"/>
                </a:lnTo>
                <a:lnTo>
                  <a:pt x="879" y="147"/>
                </a:lnTo>
                <a:lnTo>
                  <a:pt x="879" y="141"/>
                </a:lnTo>
                <a:lnTo>
                  <a:pt x="879" y="132"/>
                </a:lnTo>
                <a:lnTo>
                  <a:pt x="873" y="121"/>
                </a:lnTo>
                <a:lnTo>
                  <a:pt x="873" y="115"/>
                </a:lnTo>
                <a:lnTo>
                  <a:pt x="870" y="115"/>
                </a:lnTo>
                <a:lnTo>
                  <a:pt x="876" y="106"/>
                </a:lnTo>
                <a:lnTo>
                  <a:pt x="870" y="101"/>
                </a:lnTo>
                <a:lnTo>
                  <a:pt x="867" y="101"/>
                </a:lnTo>
                <a:lnTo>
                  <a:pt x="870" y="95"/>
                </a:lnTo>
                <a:lnTo>
                  <a:pt x="861" y="98"/>
                </a:lnTo>
                <a:lnTo>
                  <a:pt x="853" y="104"/>
                </a:lnTo>
                <a:lnTo>
                  <a:pt x="844" y="109"/>
                </a:lnTo>
                <a:lnTo>
                  <a:pt x="818" y="112"/>
                </a:lnTo>
                <a:lnTo>
                  <a:pt x="807" y="98"/>
                </a:lnTo>
                <a:lnTo>
                  <a:pt x="801" y="92"/>
                </a:lnTo>
                <a:lnTo>
                  <a:pt x="801" y="86"/>
                </a:lnTo>
                <a:lnTo>
                  <a:pt x="792" y="86"/>
                </a:lnTo>
                <a:lnTo>
                  <a:pt x="775" y="75"/>
                </a:lnTo>
                <a:lnTo>
                  <a:pt x="764" y="78"/>
                </a:lnTo>
                <a:lnTo>
                  <a:pt x="744" y="72"/>
                </a:lnTo>
                <a:lnTo>
                  <a:pt x="744" y="69"/>
                </a:lnTo>
                <a:lnTo>
                  <a:pt x="741" y="66"/>
                </a:lnTo>
                <a:lnTo>
                  <a:pt x="738" y="60"/>
                </a:lnTo>
                <a:lnTo>
                  <a:pt x="732" y="60"/>
                </a:lnTo>
                <a:lnTo>
                  <a:pt x="729" y="55"/>
                </a:lnTo>
                <a:lnTo>
                  <a:pt x="721" y="49"/>
                </a:lnTo>
                <a:lnTo>
                  <a:pt x="715" y="46"/>
                </a:lnTo>
                <a:lnTo>
                  <a:pt x="709" y="38"/>
                </a:lnTo>
                <a:lnTo>
                  <a:pt x="703" y="32"/>
                </a:lnTo>
                <a:lnTo>
                  <a:pt x="701" y="29"/>
                </a:lnTo>
                <a:lnTo>
                  <a:pt x="698" y="29"/>
                </a:lnTo>
                <a:lnTo>
                  <a:pt x="692" y="23"/>
                </a:lnTo>
                <a:lnTo>
                  <a:pt x="686" y="20"/>
                </a:lnTo>
                <a:lnTo>
                  <a:pt x="675" y="12"/>
                </a:lnTo>
                <a:lnTo>
                  <a:pt x="666" y="6"/>
                </a:lnTo>
                <a:lnTo>
                  <a:pt x="660" y="9"/>
                </a:lnTo>
                <a:lnTo>
                  <a:pt x="657" y="9"/>
                </a:lnTo>
                <a:lnTo>
                  <a:pt x="652" y="6"/>
                </a:lnTo>
                <a:lnTo>
                  <a:pt x="640" y="0"/>
                </a:lnTo>
                <a:lnTo>
                  <a:pt x="635" y="0"/>
                </a:lnTo>
                <a:lnTo>
                  <a:pt x="620" y="0"/>
                </a:lnTo>
                <a:lnTo>
                  <a:pt x="609" y="3"/>
                </a:lnTo>
                <a:lnTo>
                  <a:pt x="603" y="6"/>
                </a:lnTo>
                <a:lnTo>
                  <a:pt x="597" y="12"/>
                </a:lnTo>
                <a:lnTo>
                  <a:pt x="606" y="15"/>
                </a:lnTo>
                <a:lnTo>
                  <a:pt x="612" y="17"/>
                </a:lnTo>
                <a:lnTo>
                  <a:pt x="614" y="26"/>
                </a:lnTo>
                <a:lnTo>
                  <a:pt x="617" y="29"/>
                </a:lnTo>
                <a:lnTo>
                  <a:pt x="614" y="32"/>
                </a:lnTo>
                <a:lnTo>
                  <a:pt x="614" y="35"/>
                </a:lnTo>
                <a:lnTo>
                  <a:pt x="612" y="35"/>
                </a:lnTo>
                <a:lnTo>
                  <a:pt x="612" y="40"/>
                </a:lnTo>
                <a:lnTo>
                  <a:pt x="612" y="46"/>
                </a:lnTo>
                <a:lnTo>
                  <a:pt x="612" y="55"/>
                </a:lnTo>
                <a:lnTo>
                  <a:pt x="614" y="58"/>
                </a:lnTo>
                <a:lnTo>
                  <a:pt x="617" y="63"/>
                </a:lnTo>
                <a:lnTo>
                  <a:pt x="606" y="66"/>
                </a:lnTo>
                <a:lnTo>
                  <a:pt x="603" y="75"/>
                </a:lnTo>
                <a:lnTo>
                  <a:pt x="600" y="75"/>
                </a:lnTo>
                <a:lnTo>
                  <a:pt x="594" y="75"/>
                </a:lnTo>
                <a:lnTo>
                  <a:pt x="586" y="72"/>
                </a:lnTo>
                <a:lnTo>
                  <a:pt x="583" y="69"/>
                </a:lnTo>
                <a:lnTo>
                  <a:pt x="583" y="92"/>
                </a:lnTo>
                <a:lnTo>
                  <a:pt x="583" y="95"/>
                </a:lnTo>
                <a:lnTo>
                  <a:pt x="583" y="101"/>
                </a:lnTo>
                <a:lnTo>
                  <a:pt x="589" y="106"/>
                </a:lnTo>
                <a:lnTo>
                  <a:pt x="600" y="104"/>
                </a:lnTo>
                <a:lnTo>
                  <a:pt x="603" y="104"/>
                </a:lnTo>
                <a:lnTo>
                  <a:pt x="612" y="106"/>
                </a:lnTo>
                <a:lnTo>
                  <a:pt x="620" y="101"/>
                </a:lnTo>
                <a:lnTo>
                  <a:pt x="623" y="98"/>
                </a:lnTo>
                <a:lnTo>
                  <a:pt x="632" y="101"/>
                </a:lnTo>
                <a:lnTo>
                  <a:pt x="635" y="106"/>
                </a:lnTo>
                <a:lnTo>
                  <a:pt x="643" y="109"/>
                </a:lnTo>
                <a:lnTo>
                  <a:pt x="652" y="115"/>
                </a:lnTo>
                <a:lnTo>
                  <a:pt x="663" y="124"/>
                </a:lnTo>
                <a:lnTo>
                  <a:pt x="663" y="127"/>
                </a:lnTo>
                <a:lnTo>
                  <a:pt x="660" y="129"/>
                </a:lnTo>
                <a:lnTo>
                  <a:pt x="655" y="129"/>
                </a:lnTo>
                <a:lnTo>
                  <a:pt x="652" y="129"/>
                </a:lnTo>
                <a:lnTo>
                  <a:pt x="646" y="129"/>
                </a:lnTo>
                <a:lnTo>
                  <a:pt x="643" y="127"/>
                </a:lnTo>
                <a:lnTo>
                  <a:pt x="632" y="129"/>
                </a:lnTo>
                <a:lnTo>
                  <a:pt x="629" y="132"/>
                </a:lnTo>
                <a:lnTo>
                  <a:pt x="629" y="129"/>
                </a:lnTo>
                <a:lnTo>
                  <a:pt x="626" y="135"/>
                </a:lnTo>
                <a:lnTo>
                  <a:pt x="620" y="135"/>
                </a:lnTo>
                <a:lnTo>
                  <a:pt x="614" y="135"/>
                </a:lnTo>
                <a:lnTo>
                  <a:pt x="614" y="138"/>
                </a:lnTo>
                <a:lnTo>
                  <a:pt x="614" y="147"/>
                </a:lnTo>
                <a:lnTo>
                  <a:pt x="612" y="149"/>
                </a:lnTo>
                <a:lnTo>
                  <a:pt x="603" y="155"/>
                </a:lnTo>
                <a:lnTo>
                  <a:pt x="597" y="155"/>
                </a:lnTo>
                <a:lnTo>
                  <a:pt x="594" y="155"/>
                </a:lnTo>
                <a:lnTo>
                  <a:pt x="586" y="164"/>
                </a:lnTo>
                <a:lnTo>
                  <a:pt x="583" y="167"/>
                </a:lnTo>
                <a:lnTo>
                  <a:pt x="574" y="164"/>
                </a:lnTo>
                <a:lnTo>
                  <a:pt x="568" y="161"/>
                </a:lnTo>
                <a:lnTo>
                  <a:pt x="560" y="158"/>
                </a:lnTo>
                <a:lnTo>
                  <a:pt x="554" y="161"/>
                </a:lnTo>
                <a:lnTo>
                  <a:pt x="554" y="164"/>
                </a:lnTo>
                <a:lnTo>
                  <a:pt x="554" y="170"/>
                </a:lnTo>
                <a:lnTo>
                  <a:pt x="571" y="181"/>
                </a:lnTo>
                <a:lnTo>
                  <a:pt x="560" y="193"/>
                </a:lnTo>
                <a:lnTo>
                  <a:pt x="554" y="201"/>
                </a:lnTo>
                <a:lnTo>
                  <a:pt x="546" y="207"/>
                </a:lnTo>
                <a:lnTo>
                  <a:pt x="540" y="210"/>
                </a:lnTo>
                <a:lnTo>
                  <a:pt x="517" y="210"/>
                </a:lnTo>
                <a:lnTo>
                  <a:pt x="502" y="213"/>
                </a:lnTo>
                <a:lnTo>
                  <a:pt x="494" y="218"/>
                </a:lnTo>
                <a:lnTo>
                  <a:pt x="485" y="224"/>
                </a:lnTo>
                <a:lnTo>
                  <a:pt x="479" y="227"/>
                </a:lnTo>
                <a:lnTo>
                  <a:pt x="477" y="227"/>
                </a:lnTo>
                <a:lnTo>
                  <a:pt x="471" y="224"/>
                </a:lnTo>
                <a:lnTo>
                  <a:pt x="468" y="221"/>
                </a:lnTo>
                <a:lnTo>
                  <a:pt x="459" y="221"/>
                </a:lnTo>
                <a:lnTo>
                  <a:pt x="436" y="218"/>
                </a:lnTo>
                <a:lnTo>
                  <a:pt x="428" y="216"/>
                </a:lnTo>
                <a:lnTo>
                  <a:pt x="422" y="210"/>
                </a:lnTo>
                <a:lnTo>
                  <a:pt x="419" y="207"/>
                </a:lnTo>
                <a:lnTo>
                  <a:pt x="411" y="207"/>
                </a:lnTo>
                <a:lnTo>
                  <a:pt x="405" y="207"/>
                </a:lnTo>
                <a:lnTo>
                  <a:pt x="399" y="207"/>
                </a:lnTo>
                <a:lnTo>
                  <a:pt x="391" y="207"/>
                </a:lnTo>
                <a:lnTo>
                  <a:pt x="385" y="207"/>
                </a:lnTo>
                <a:lnTo>
                  <a:pt x="376" y="207"/>
                </a:lnTo>
                <a:lnTo>
                  <a:pt x="350" y="204"/>
                </a:lnTo>
                <a:lnTo>
                  <a:pt x="342" y="204"/>
                </a:lnTo>
                <a:lnTo>
                  <a:pt x="336" y="204"/>
                </a:lnTo>
                <a:lnTo>
                  <a:pt x="330" y="201"/>
                </a:lnTo>
                <a:lnTo>
                  <a:pt x="322" y="195"/>
                </a:lnTo>
                <a:lnTo>
                  <a:pt x="316" y="187"/>
                </a:lnTo>
                <a:lnTo>
                  <a:pt x="310" y="181"/>
                </a:lnTo>
                <a:lnTo>
                  <a:pt x="307" y="181"/>
                </a:lnTo>
                <a:lnTo>
                  <a:pt x="307" y="178"/>
                </a:lnTo>
                <a:lnTo>
                  <a:pt x="307" y="175"/>
                </a:lnTo>
                <a:lnTo>
                  <a:pt x="302" y="175"/>
                </a:lnTo>
                <a:lnTo>
                  <a:pt x="296" y="172"/>
                </a:lnTo>
                <a:lnTo>
                  <a:pt x="284" y="167"/>
                </a:lnTo>
                <a:lnTo>
                  <a:pt x="279" y="164"/>
                </a:lnTo>
                <a:lnTo>
                  <a:pt x="270" y="164"/>
                </a:lnTo>
                <a:lnTo>
                  <a:pt x="267" y="164"/>
                </a:lnTo>
                <a:lnTo>
                  <a:pt x="256" y="161"/>
                </a:lnTo>
                <a:lnTo>
                  <a:pt x="241" y="158"/>
                </a:lnTo>
                <a:lnTo>
                  <a:pt x="233" y="158"/>
                </a:lnTo>
                <a:lnTo>
                  <a:pt x="224" y="149"/>
                </a:lnTo>
                <a:lnTo>
                  <a:pt x="221" y="147"/>
                </a:lnTo>
                <a:lnTo>
                  <a:pt x="224" y="141"/>
                </a:lnTo>
                <a:lnTo>
                  <a:pt x="221" y="129"/>
                </a:lnTo>
                <a:lnTo>
                  <a:pt x="218" y="127"/>
                </a:lnTo>
                <a:lnTo>
                  <a:pt x="213" y="121"/>
                </a:lnTo>
                <a:lnTo>
                  <a:pt x="207" y="115"/>
                </a:lnTo>
                <a:lnTo>
                  <a:pt x="204" y="112"/>
                </a:lnTo>
                <a:lnTo>
                  <a:pt x="195" y="109"/>
                </a:lnTo>
                <a:lnTo>
                  <a:pt x="192" y="106"/>
                </a:lnTo>
                <a:lnTo>
                  <a:pt x="190" y="106"/>
                </a:lnTo>
                <a:lnTo>
                  <a:pt x="187" y="104"/>
                </a:lnTo>
                <a:lnTo>
                  <a:pt x="175" y="104"/>
                </a:lnTo>
                <a:lnTo>
                  <a:pt x="167" y="98"/>
                </a:lnTo>
                <a:lnTo>
                  <a:pt x="161" y="92"/>
                </a:lnTo>
                <a:lnTo>
                  <a:pt x="152" y="86"/>
                </a:lnTo>
                <a:lnTo>
                  <a:pt x="152" y="83"/>
                </a:lnTo>
                <a:lnTo>
                  <a:pt x="144" y="83"/>
                </a:lnTo>
                <a:lnTo>
                  <a:pt x="141" y="83"/>
                </a:lnTo>
                <a:lnTo>
                  <a:pt x="141" y="86"/>
                </a:lnTo>
                <a:lnTo>
                  <a:pt x="144" y="89"/>
                </a:lnTo>
                <a:lnTo>
                  <a:pt x="141" y="95"/>
                </a:lnTo>
                <a:lnTo>
                  <a:pt x="138" y="95"/>
                </a:lnTo>
                <a:lnTo>
                  <a:pt x="135" y="95"/>
                </a:lnTo>
                <a:lnTo>
                  <a:pt x="132" y="95"/>
                </a:lnTo>
                <a:lnTo>
                  <a:pt x="129" y="98"/>
                </a:lnTo>
                <a:lnTo>
                  <a:pt x="129" y="101"/>
                </a:lnTo>
                <a:lnTo>
                  <a:pt x="132" y="106"/>
                </a:lnTo>
                <a:lnTo>
                  <a:pt x="135" y="109"/>
                </a:lnTo>
                <a:lnTo>
                  <a:pt x="138" y="112"/>
                </a:lnTo>
                <a:lnTo>
                  <a:pt x="141" y="118"/>
                </a:lnTo>
                <a:lnTo>
                  <a:pt x="138" y="118"/>
                </a:lnTo>
                <a:lnTo>
                  <a:pt x="135" y="121"/>
                </a:lnTo>
                <a:lnTo>
                  <a:pt x="132" y="124"/>
                </a:lnTo>
                <a:lnTo>
                  <a:pt x="129" y="127"/>
                </a:lnTo>
                <a:lnTo>
                  <a:pt x="124" y="124"/>
                </a:lnTo>
                <a:lnTo>
                  <a:pt x="118" y="121"/>
                </a:lnTo>
                <a:lnTo>
                  <a:pt x="112" y="121"/>
                </a:lnTo>
                <a:lnTo>
                  <a:pt x="103" y="121"/>
                </a:lnTo>
                <a:lnTo>
                  <a:pt x="98" y="118"/>
                </a:lnTo>
                <a:lnTo>
                  <a:pt x="98" y="147"/>
                </a:lnTo>
                <a:lnTo>
                  <a:pt x="103" y="149"/>
                </a:lnTo>
                <a:lnTo>
                  <a:pt x="103" y="152"/>
                </a:lnTo>
                <a:lnTo>
                  <a:pt x="101" y="158"/>
                </a:lnTo>
                <a:lnTo>
                  <a:pt x="98" y="158"/>
                </a:lnTo>
                <a:lnTo>
                  <a:pt x="89" y="155"/>
                </a:lnTo>
                <a:lnTo>
                  <a:pt x="78" y="158"/>
                </a:lnTo>
                <a:lnTo>
                  <a:pt x="66" y="161"/>
                </a:lnTo>
                <a:lnTo>
                  <a:pt x="75" y="164"/>
                </a:lnTo>
                <a:lnTo>
                  <a:pt x="78" y="170"/>
                </a:lnTo>
                <a:lnTo>
                  <a:pt x="78" y="178"/>
                </a:lnTo>
                <a:lnTo>
                  <a:pt x="86" y="187"/>
                </a:lnTo>
                <a:lnTo>
                  <a:pt x="89" y="195"/>
                </a:lnTo>
                <a:lnTo>
                  <a:pt x="89" y="198"/>
                </a:lnTo>
                <a:lnTo>
                  <a:pt x="86" y="198"/>
                </a:lnTo>
                <a:lnTo>
                  <a:pt x="86" y="201"/>
                </a:lnTo>
                <a:lnTo>
                  <a:pt x="83" y="207"/>
                </a:lnTo>
                <a:lnTo>
                  <a:pt x="83" y="210"/>
                </a:lnTo>
                <a:lnTo>
                  <a:pt x="86" y="210"/>
                </a:lnTo>
                <a:lnTo>
                  <a:pt x="89" y="216"/>
                </a:lnTo>
                <a:lnTo>
                  <a:pt x="89" y="218"/>
                </a:lnTo>
                <a:lnTo>
                  <a:pt x="83" y="221"/>
                </a:lnTo>
                <a:lnTo>
                  <a:pt x="78" y="224"/>
                </a:lnTo>
                <a:lnTo>
                  <a:pt x="75" y="227"/>
                </a:lnTo>
                <a:lnTo>
                  <a:pt x="66" y="230"/>
                </a:lnTo>
                <a:lnTo>
                  <a:pt x="58" y="233"/>
                </a:lnTo>
                <a:lnTo>
                  <a:pt x="55" y="238"/>
                </a:lnTo>
                <a:lnTo>
                  <a:pt x="52" y="238"/>
                </a:lnTo>
                <a:lnTo>
                  <a:pt x="43" y="238"/>
                </a:lnTo>
                <a:lnTo>
                  <a:pt x="40" y="250"/>
                </a:lnTo>
                <a:lnTo>
                  <a:pt x="35" y="250"/>
                </a:lnTo>
                <a:lnTo>
                  <a:pt x="29" y="250"/>
                </a:lnTo>
                <a:lnTo>
                  <a:pt x="26" y="253"/>
                </a:lnTo>
                <a:lnTo>
                  <a:pt x="23" y="250"/>
                </a:lnTo>
                <a:lnTo>
                  <a:pt x="20" y="247"/>
                </a:lnTo>
                <a:lnTo>
                  <a:pt x="12" y="247"/>
                </a:lnTo>
                <a:lnTo>
                  <a:pt x="6" y="250"/>
                </a:lnTo>
                <a:lnTo>
                  <a:pt x="3" y="259"/>
                </a:lnTo>
                <a:lnTo>
                  <a:pt x="0" y="264"/>
                </a:lnTo>
                <a:lnTo>
                  <a:pt x="0" y="267"/>
                </a:lnTo>
                <a:lnTo>
                  <a:pt x="3" y="267"/>
                </a:lnTo>
                <a:lnTo>
                  <a:pt x="0" y="267"/>
                </a:lnTo>
                <a:lnTo>
                  <a:pt x="0" y="270"/>
                </a:lnTo>
                <a:lnTo>
                  <a:pt x="3" y="273"/>
                </a:lnTo>
                <a:lnTo>
                  <a:pt x="3" y="276"/>
                </a:lnTo>
                <a:lnTo>
                  <a:pt x="3" y="279"/>
                </a:lnTo>
                <a:lnTo>
                  <a:pt x="6" y="282"/>
                </a:lnTo>
                <a:lnTo>
                  <a:pt x="9" y="279"/>
                </a:lnTo>
                <a:lnTo>
                  <a:pt x="23" y="284"/>
                </a:lnTo>
                <a:lnTo>
                  <a:pt x="23" y="287"/>
                </a:lnTo>
                <a:lnTo>
                  <a:pt x="20" y="293"/>
                </a:lnTo>
                <a:lnTo>
                  <a:pt x="26" y="299"/>
                </a:lnTo>
                <a:lnTo>
                  <a:pt x="35" y="307"/>
                </a:lnTo>
                <a:lnTo>
                  <a:pt x="32" y="310"/>
                </a:lnTo>
                <a:lnTo>
                  <a:pt x="23" y="310"/>
                </a:lnTo>
                <a:lnTo>
                  <a:pt x="35" y="313"/>
                </a:lnTo>
                <a:lnTo>
                  <a:pt x="40" y="316"/>
                </a:lnTo>
                <a:lnTo>
                  <a:pt x="43" y="316"/>
                </a:lnTo>
                <a:lnTo>
                  <a:pt x="52" y="325"/>
                </a:lnTo>
                <a:lnTo>
                  <a:pt x="52" y="330"/>
                </a:lnTo>
                <a:lnTo>
                  <a:pt x="55" y="333"/>
                </a:lnTo>
                <a:lnTo>
                  <a:pt x="60" y="333"/>
                </a:lnTo>
                <a:lnTo>
                  <a:pt x="63" y="336"/>
                </a:lnTo>
                <a:lnTo>
                  <a:pt x="72" y="339"/>
                </a:lnTo>
                <a:lnTo>
                  <a:pt x="80" y="342"/>
                </a:lnTo>
                <a:lnTo>
                  <a:pt x="86" y="345"/>
                </a:lnTo>
                <a:lnTo>
                  <a:pt x="89" y="339"/>
                </a:lnTo>
                <a:lnTo>
                  <a:pt x="101" y="333"/>
                </a:lnTo>
                <a:lnTo>
                  <a:pt x="109" y="333"/>
                </a:lnTo>
                <a:lnTo>
                  <a:pt x="118" y="339"/>
                </a:lnTo>
                <a:lnTo>
                  <a:pt x="124" y="342"/>
                </a:lnTo>
                <a:lnTo>
                  <a:pt x="126" y="342"/>
                </a:lnTo>
                <a:lnTo>
                  <a:pt x="124" y="353"/>
                </a:lnTo>
                <a:lnTo>
                  <a:pt x="124" y="359"/>
                </a:lnTo>
                <a:lnTo>
                  <a:pt x="121" y="365"/>
                </a:lnTo>
                <a:lnTo>
                  <a:pt x="115" y="373"/>
                </a:lnTo>
                <a:lnTo>
                  <a:pt x="109" y="373"/>
                </a:lnTo>
                <a:lnTo>
                  <a:pt x="109" y="382"/>
                </a:lnTo>
                <a:lnTo>
                  <a:pt x="115" y="388"/>
                </a:lnTo>
                <a:lnTo>
                  <a:pt x="121" y="388"/>
                </a:lnTo>
                <a:lnTo>
                  <a:pt x="126" y="396"/>
                </a:lnTo>
                <a:lnTo>
                  <a:pt x="121" y="405"/>
                </a:lnTo>
                <a:lnTo>
                  <a:pt x="115" y="405"/>
                </a:lnTo>
                <a:lnTo>
                  <a:pt x="112" y="405"/>
                </a:lnTo>
                <a:lnTo>
                  <a:pt x="109" y="405"/>
                </a:lnTo>
                <a:lnTo>
                  <a:pt x="109" y="402"/>
                </a:lnTo>
                <a:lnTo>
                  <a:pt x="112" y="411"/>
                </a:lnTo>
                <a:lnTo>
                  <a:pt x="118" y="419"/>
                </a:lnTo>
                <a:lnTo>
                  <a:pt x="118" y="422"/>
                </a:lnTo>
                <a:lnTo>
                  <a:pt x="124" y="422"/>
                </a:lnTo>
                <a:lnTo>
                  <a:pt x="129" y="428"/>
                </a:lnTo>
                <a:lnTo>
                  <a:pt x="138" y="431"/>
                </a:lnTo>
                <a:lnTo>
                  <a:pt x="144" y="437"/>
                </a:lnTo>
                <a:lnTo>
                  <a:pt x="147" y="439"/>
                </a:lnTo>
                <a:lnTo>
                  <a:pt x="155" y="445"/>
                </a:lnTo>
                <a:lnTo>
                  <a:pt x="161" y="448"/>
                </a:lnTo>
                <a:lnTo>
                  <a:pt x="161" y="442"/>
                </a:lnTo>
                <a:lnTo>
                  <a:pt x="172" y="442"/>
                </a:lnTo>
                <a:lnTo>
                  <a:pt x="181" y="448"/>
                </a:lnTo>
                <a:lnTo>
                  <a:pt x="187" y="454"/>
                </a:lnTo>
                <a:lnTo>
                  <a:pt x="198" y="457"/>
                </a:lnTo>
                <a:lnTo>
                  <a:pt x="204" y="465"/>
                </a:lnTo>
                <a:lnTo>
                  <a:pt x="210" y="462"/>
                </a:lnTo>
                <a:lnTo>
                  <a:pt x="218" y="471"/>
                </a:lnTo>
                <a:lnTo>
                  <a:pt x="224" y="477"/>
                </a:lnTo>
                <a:lnTo>
                  <a:pt x="230" y="474"/>
                </a:lnTo>
                <a:lnTo>
                  <a:pt x="233" y="477"/>
                </a:lnTo>
                <a:lnTo>
                  <a:pt x="233" y="480"/>
                </a:lnTo>
                <a:lnTo>
                  <a:pt x="233" y="483"/>
                </a:lnTo>
                <a:lnTo>
                  <a:pt x="236" y="480"/>
                </a:lnTo>
                <a:lnTo>
                  <a:pt x="241" y="483"/>
                </a:lnTo>
                <a:lnTo>
                  <a:pt x="244" y="483"/>
                </a:lnTo>
                <a:lnTo>
                  <a:pt x="247" y="485"/>
                </a:lnTo>
                <a:lnTo>
                  <a:pt x="247" y="483"/>
                </a:lnTo>
                <a:lnTo>
                  <a:pt x="256" y="488"/>
                </a:lnTo>
                <a:lnTo>
                  <a:pt x="261" y="485"/>
                </a:lnTo>
                <a:lnTo>
                  <a:pt x="264" y="485"/>
                </a:lnTo>
                <a:lnTo>
                  <a:pt x="273" y="491"/>
                </a:lnTo>
                <a:lnTo>
                  <a:pt x="287" y="488"/>
                </a:lnTo>
                <a:lnTo>
                  <a:pt x="293" y="485"/>
                </a:lnTo>
                <a:lnTo>
                  <a:pt x="296" y="485"/>
                </a:lnTo>
                <a:lnTo>
                  <a:pt x="296" y="491"/>
                </a:lnTo>
                <a:lnTo>
                  <a:pt x="296" y="500"/>
                </a:lnTo>
                <a:lnTo>
                  <a:pt x="299" y="497"/>
                </a:lnTo>
                <a:lnTo>
                  <a:pt x="307" y="483"/>
                </a:lnTo>
                <a:lnTo>
                  <a:pt x="319" y="483"/>
                </a:lnTo>
                <a:lnTo>
                  <a:pt x="322" y="483"/>
                </a:lnTo>
                <a:lnTo>
                  <a:pt x="324" y="485"/>
                </a:lnTo>
                <a:lnTo>
                  <a:pt x="327" y="485"/>
                </a:lnTo>
                <a:lnTo>
                  <a:pt x="333" y="488"/>
                </a:lnTo>
                <a:lnTo>
                  <a:pt x="342" y="485"/>
                </a:lnTo>
                <a:lnTo>
                  <a:pt x="342" y="488"/>
                </a:lnTo>
                <a:lnTo>
                  <a:pt x="345" y="491"/>
                </a:lnTo>
                <a:lnTo>
                  <a:pt x="350" y="491"/>
                </a:lnTo>
                <a:lnTo>
                  <a:pt x="356" y="491"/>
                </a:lnTo>
                <a:lnTo>
                  <a:pt x="356" y="485"/>
                </a:lnTo>
                <a:lnTo>
                  <a:pt x="365" y="474"/>
                </a:lnTo>
                <a:lnTo>
                  <a:pt x="368" y="474"/>
                </a:lnTo>
                <a:lnTo>
                  <a:pt x="373" y="471"/>
                </a:lnTo>
                <a:lnTo>
                  <a:pt x="382" y="462"/>
                </a:lnTo>
                <a:lnTo>
                  <a:pt x="385" y="462"/>
                </a:lnTo>
                <a:lnTo>
                  <a:pt x="391" y="462"/>
                </a:lnTo>
                <a:lnTo>
                  <a:pt x="399" y="465"/>
                </a:lnTo>
                <a:lnTo>
                  <a:pt x="405" y="462"/>
                </a:lnTo>
                <a:lnTo>
                  <a:pt x="408" y="460"/>
                </a:lnTo>
                <a:lnTo>
                  <a:pt x="413" y="462"/>
                </a:lnTo>
                <a:lnTo>
                  <a:pt x="416" y="462"/>
                </a:lnTo>
                <a:lnTo>
                  <a:pt x="416" y="465"/>
                </a:lnTo>
                <a:lnTo>
                  <a:pt x="413" y="468"/>
                </a:lnTo>
                <a:lnTo>
                  <a:pt x="419" y="468"/>
                </a:lnTo>
                <a:lnTo>
                  <a:pt x="422" y="474"/>
                </a:lnTo>
                <a:lnTo>
                  <a:pt x="422" y="480"/>
                </a:lnTo>
                <a:lnTo>
                  <a:pt x="425" y="480"/>
                </a:lnTo>
                <a:lnTo>
                  <a:pt x="431" y="483"/>
                </a:lnTo>
                <a:lnTo>
                  <a:pt x="434" y="483"/>
                </a:lnTo>
                <a:lnTo>
                  <a:pt x="434" y="480"/>
                </a:lnTo>
                <a:lnTo>
                  <a:pt x="434" y="483"/>
                </a:lnTo>
                <a:lnTo>
                  <a:pt x="436" y="477"/>
                </a:lnTo>
                <a:lnTo>
                  <a:pt x="445" y="480"/>
                </a:lnTo>
                <a:lnTo>
                  <a:pt x="451" y="485"/>
                </a:lnTo>
                <a:lnTo>
                  <a:pt x="457" y="497"/>
                </a:lnTo>
                <a:lnTo>
                  <a:pt x="462" y="494"/>
                </a:lnTo>
                <a:lnTo>
                  <a:pt x="462" y="497"/>
                </a:lnTo>
                <a:lnTo>
                  <a:pt x="465" y="511"/>
                </a:lnTo>
                <a:lnTo>
                  <a:pt x="468" y="520"/>
                </a:lnTo>
                <a:lnTo>
                  <a:pt x="465" y="531"/>
                </a:lnTo>
                <a:lnTo>
                  <a:pt x="459" y="537"/>
                </a:lnTo>
                <a:lnTo>
                  <a:pt x="457" y="543"/>
                </a:lnTo>
                <a:lnTo>
                  <a:pt x="454" y="551"/>
                </a:lnTo>
                <a:lnTo>
                  <a:pt x="454" y="554"/>
                </a:lnTo>
                <a:lnTo>
                  <a:pt x="457" y="563"/>
                </a:lnTo>
                <a:lnTo>
                  <a:pt x="457" y="566"/>
                </a:lnTo>
                <a:lnTo>
                  <a:pt x="465" y="566"/>
                </a:lnTo>
                <a:lnTo>
                  <a:pt x="474" y="563"/>
                </a:lnTo>
                <a:lnTo>
                  <a:pt x="477" y="563"/>
                </a:lnTo>
                <a:lnTo>
                  <a:pt x="477" y="566"/>
                </a:lnTo>
                <a:lnTo>
                  <a:pt x="477" y="572"/>
                </a:lnTo>
                <a:lnTo>
                  <a:pt x="477" y="574"/>
                </a:lnTo>
                <a:lnTo>
                  <a:pt x="479" y="577"/>
                </a:lnTo>
                <a:lnTo>
                  <a:pt x="479" y="580"/>
                </a:lnTo>
                <a:lnTo>
                  <a:pt x="494" y="586"/>
                </a:lnTo>
                <a:lnTo>
                  <a:pt x="491" y="589"/>
                </a:lnTo>
                <a:lnTo>
                  <a:pt x="488" y="592"/>
                </a:lnTo>
                <a:lnTo>
                  <a:pt x="488" y="594"/>
                </a:lnTo>
                <a:lnTo>
                  <a:pt x="488" y="603"/>
                </a:lnTo>
                <a:lnTo>
                  <a:pt x="494" y="606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088" name="Freeform 275"/>
          <p:cNvSpPr>
            <a:spLocks/>
          </p:cNvSpPr>
          <p:nvPr/>
        </p:nvSpPr>
        <p:spPr bwMode="gray">
          <a:xfrm>
            <a:off x="8355505" y="2976081"/>
            <a:ext cx="104019" cy="39001"/>
          </a:xfrm>
          <a:custGeom>
            <a:avLst/>
            <a:gdLst>
              <a:gd name="T0" fmla="*/ 2147483647 w 51"/>
              <a:gd name="T1" fmla="*/ 2147483647 h 26"/>
              <a:gd name="T2" fmla="*/ 2147483647 w 51"/>
              <a:gd name="T3" fmla="*/ 2147483647 h 26"/>
              <a:gd name="T4" fmla="*/ 2147483647 w 51"/>
              <a:gd name="T5" fmla="*/ 2147483647 h 26"/>
              <a:gd name="T6" fmla="*/ 2147483647 w 51"/>
              <a:gd name="T7" fmla="*/ 2147483647 h 26"/>
              <a:gd name="T8" fmla="*/ 2147483647 w 51"/>
              <a:gd name="T9" fmla="*/ 2147483647 h 26"/>
              <a:gd name="T10" fmla="*/ 2147483647 w 51"/>
              <a:gd name="T11" fmla="*/ 2147483647 h 26"/>
              <a:gd name="T12" fmla="*/ 2147483647 w 51"/>
              <a:gd name="T13" fmla="*/ 2147483647 h 26"/>
              <a:gd name="T14" fmla="*/ 2147483647 w 51"/>
              <a:gd name="T15" fmla="*/ 0 h 26"/>
              <a:gd name="T16" fmla="*/ 2147483647 w 51"/>
              <a:gd name="T17" fmla="*/ 0 h 26"/>
              <a:gd name="T18" fmla="*/ 2147483647 w 51"/>
              <a:gd name="T19" fmla="*/ 0 h 26"/>
              <a:gd name="T20" fmla="*/ 2147483647 w 51"/>
              <a:gd name="T21" fmla="*/ 2147483647 h 26"/>
              <a:gd name="T22" fmla="*/ 2147483647 w 51"/>
              <a:gd name="T23" fmla="*/ 2147483647 h 26"/>
              <a:gd name="T24" fmla="*/ 0 w 51"/>
              <a:gd name="T25" fmla="*/ 2147483647 h 26"/>
              <a:gd name="T26" fmla="*/ 0 w 51"/>
              <a:gd name="T27" fmla="*/ 2147483647 h 26"/>
              <a:gd name="T28" fmla="*/ 2147483647 w 51"/>
              <a:gd name="T29" fmla="*/ 2147483647 h 26"/>
              <a:gd name="T30" fmla="*/ 2147483647 w 51"/>
              <a:gd name="T31" fmla="*/ 2147483647 h 26"/>
              <a:gd name="T32" fmla="*/ 2147483647 w 51"/>
              <a:gd name="T33" fmla="*/ 2147483647 h 26"/>
              <a:gd name="T34" fmla="*/ 2147483647 w 51"/>
              <a:gd name="T35" fmla="*/ 2147483647 h 26"/>
              <a:gd name="T36" fmla="*/ 2147483647 w 51"/>
              <a:gd name="T37" fmla="*/ 2147483647 h 26"/>
              <a:gd name="T38" fmla="*/ 2147483647 w 51"/>
              <a:gd name="T39" fmla="*/ 2147483647 h 26"/>
              <a:gd name="T40" fmla="*/ 2147483647 w 51"/>
              <a:gd name="T41" fmla="*/ 2147483647 h 26"/>
              <a:gd name="T42" fmla="*/ 2147483647 w 51"/>
              <a:gd name="T43" fmla="*/ 2147483647 h 26"/>
              <a:gd name="T44" fmla="*/ 2147483647 w 51"/>
              <a:gd name="T45" fmla="*/ 2147483647 h 2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51"/>
              <a:gd name="T70" fmla="*/ 0 h 26"/>
              <a:gd name="T71" fmla="*/ 51 w 51"/>
              <a:gd name="T72" fmla="*/ 26 h 2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51" h="26">
                <a:moveTo>
                  <a:pt x="43" y="9"/>
                </a:moveTo>
                <a:lnTo>
                  <a:pt x="40" y="6"/>
                </a:lnTo>
                <a:lnTo>
                  <a:pt x="34" y="6"/>
                </a:lnTo>
                <a:lnTo>
                  <a:pt x="28" y="3"/>
                </a:lnTo>
                <a:lnTo>
                  <a:pt x="23" y="3"/>
                </a:lnTo>
                <a:lnTo>
                  <a:pt x="20" y="0"/>
                </a:lnTo>
                <a:lnTo>
                  <a:pt x="11" y="0"/>
                </a:lnTo>
                <a:lnTo>
                  <a:pt x="5" y="12"/>
                </a:lnTo>
                <a:lnTo>
                  <a:pt x="0" y="15"/>
                </a:lnTo>
                <a:lnTo>
                  <a:pt x="0" y="20"/>
                </a:lnTo>
                <a:lnTo>
                  <a:pt x="5" y="23"/>
                </a:lnTo>
                <a:lnTo>
                  <a:pt x="14" y="26"/>
                </a:lnTo>
                <a:lnTo>
                  <a:pt x="28" y="26"/>
                </a:lnTo>
                <a:lnTo>
                  <a:pt x="46" y="26"/>
                </a:lnTo>
                <a:lnTo>
                  <a:pt x="51" y="20"/>
                </a:lnTo>
                <a:lnTo>
                  <a:pt x="46" y="18"/>
                </a:lnTo>
                <a:lnTo>
                  <a:pt x="40" y="12"/>
                </a:lnTo>
                <a:lnTo>
                  <a:pt x="43" y="9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089" name="Freeform 276"/>
          <p:cNvSpPr>
            <a:spLocks/>
          </p:cNvSpPr>
          <p:nvPr/>
        </p:nvSpPr>
        <p:spPr bwMode="gray">
          <a:xfrm>
            <a:off x="8325500" y="2940080"/>
            <a:ext cx="302055" cy="219006"/>
          </a:xfrm>
          <a:custGeom>
            <a:avLst/>
            <a:gdLst>
              <a:gd name="T0" fmla="*/ 2147483647 w 150"/>
              <a:gd name="T1" fmla="*/ 2147483647 h 144"/>
              <a:gd name="T2" fmla="*/ 2147483647 w 150"/>
              <a:gd name="T3" fmla="*/ 2147483647 h 144"/>
              <a:gd name="T4" fmla="*/ 2147483647 w 150"/>
              <a:gd name="T5" fmla="*/ 2147483647 h 144"/>
              <a:gd name="T6" fmla="*/ 2147483647 w 150"/>
              <a:gd name="T7" fmla="*/ 2147483647 h 144"/>
              <a:gd name="T8" fmla="*/ 2147483647 w 150"/>
              <a:gd name="T9" fmla="*/ 2147483647 h 144"/>
              <a:gd name="T10" fmla="*/ 2147483647 w 150"/>
              <a:gd name="T11" fmla="*/ 2147483647 h 144"/>
              <a:gd name="T12" fmla="*/ 2147483647 w 150"/>
              <a:gd name="T13" fmla="*/ 2147483647 h 144"/>
              <a:gd name="T14" fmla="*/ 2147483647 w 150"/>
              <a:gd name="T15" fmla="*/ 2147483647 h 144"/>
              <a:gd name="T16" fmla="*/ 2147483647 w 150"/>
              <a:gd name="T17" fmla="*/ 2147483647 h 144"/>
              <a:gd name="T18" fmla="*/ 2147483647 w 150"/>
              <a:gd name="T19" fmla="*/ 2147483647 h 144"/>
              <a:gd name="T20" fmla="*/ 2147483647 w 150"/>
              <a:gd name="T21" fmla="*/ 2147483647 h 144"/>
              <a:gd name="T22" fmla="*/ 2147483647 w 150"/>
              <a:gd name="T23" fmla="*/ 2147483647 h 144"/>
              <a:gd name="T24" fmla="*/ 2147483647 w 150"/>
              <a:gd name="T25" fmla="*/ 0 h 144"/>
              <a:gd name="T26" fmla="*/ 2147483647 w 150"/>
              <a:gd name="T27" fmla="*/ 2147483647 h 144"/>
              <a:gd name="T28" fmla="*/ 2147483647 w 150"/>
              <a:gd name="T29" fmla="*/ 2147483647 h 144"/>
              <a:gd name="T30" fmla="*/ 2147483647 w 150"/>
              <a:gd name="T31" fmla="*/ 2147483647 h 144"/>
              <a:gd name="T32" fmla="*/ 2147483647 w 150"/>
              <a:gd name="T33" fmla="*/ 2147483647 h 144"/>
              <a:gd name="T34" fmla="*/ 2147483647 w 150"/>
              <a:gd name="T35" fmla="*/ 2147483647 h 144"/>
              <a:gd name="T36" fmla="*/ 2147483647 w 150"/>
              <a:gd name="T37" fmla="*/ 2147483647 h 144"/>
              <a:gd name="T38" fmla="*/ 2147483647 w 150"/>
              <a:gd name="T39" fmla="*/ 2147483647 h 144"/>
              <a:gd name="T40" fmla="*/ 2147483647 w 150"/>
              <a:gd name="T41" fmla="*/ 2147483647 h 144"/>
              <a:gd name="T42" fmla="*/ 2147483647 w 150"/>
              <a:gd name="T43" fmla="*/ 2147483647 h 144"/>
              <a:gd name="T44" fmla="*/ 2147483647 w 150"/>
              <a:gd name="T45" fmla="*/ 2147483647 h 144"/>
              <a:gd name="T46" fmla="*/ 2147483647 w 150"/>
              <a:gd name="T47" fmla="*/ 2147483647 h 144"/>
              <a:gd name="T48" fmla="*/ 2147483647 w 150"/>
              <a:gd name="T49" fmla="*/ 2147483647 h 144"/>
              <a:gd name="T50" fmla="*/ 2147483647 w 150"/>
              <a:gd name="T51" fmla="*/ 2147483647 h 144"/>
              <a:gd name="T52" fmla="*/ 2147483647 w 150"/>
              <a:gd name="T53" fmla="*/ 2147483647 h 144"/>
              <a:gd name="T54" fmla="*/ 2147483647 w 150"/>
              <a:gd name="T55" fmla="*/ 2147483647 h 144"/>
              <a:gd name="T56" fmla="*/ 2147483647 w 150"/>
              <a:gd name="T57" fmla="*/ 2147483647 h 144"/>
              <a:gd name="T58" fmla="*/ 2147483647 w 150"/>
              <a:gd name="T59" fmla="*/ 2147483647 h 144"/>
              <a:gd name="T60" fmla="*/ 2147483647 w 150"/>
              <a:gd name="T61" fmla="*/ 2147483647 h 144"/>
              <a:gd name="T62" fmla="*/ 2147483647 w 150"/>
              <a:gd name="T63" fmla="*/ 2147483647 h 144"/>
              <a:gd name="T64" fmla="*/ 2147483647 w 150"/>
              <a:gd name="T65" fmla="*/ 2147483647 h 144"/>
              <a:gd name="T66" fmla="*/ 2147483647 w 150"/>
              <a:gd name="T67" fmla="*/ 2147483647 h 144"/>
              <a:gd name="T68" fmla="*/ 2147483647 w 150"/>
              <a:gd name="T69" fmla="*/ 2147483647 h 144"/>
              <a:gd name="T70" fmla="*/ 2147483647 w 150"/>
              <a:gd name="T71" fmla="*/ 2147483647 h 144"/>
              <a:gd name="T72" fmla="*/ 2147483647 w 150"/>
              <a:gd name="T73" fmla="*/ 2147483647 h 144"/>
              <a:gd name="T74" fmla="*/ 2147483647 w 150"/>
              <a:gd name="T75" fmla="*/ 2147483647 h 144"/>
              <a:gd name="T76" fmla="*/ 2147483647 w 150"/>
              <a:gd name="T77" fmla="*/ 2147483647 h 144"/>
              <a:gd name="T78" fmla="*/ 2147483647 w 150"/>
              <a:gd name="T79" fmla="*/ 2147483647 h 144"/>
              <a:gd name="T80" fmla="*/ 2147483647 w 150"/>
              <a:gd name="T81" fmla="*/ 2147483647 h 144"/>
              <a:gd name="T82" fmla="*/ 2147483647 w 150"/>
              <a:gd name="T83" fmla="*/ 2147483647 h 144"/>
              <a:gd name="T84" fmla="*/ 2147483647 w 150"/>
              <a:gd name="T85" fmla="*/ 2147483647 h 144"/>
              <a:gd name="T86" fmla="*/ 2147483647 w 150"/>
              <a:gd name="T87" fmla="*/ 2147483647 h 144"/>
              <a:gd name="T88" fmla="*/ 2147483647 w 150"/>
              <a:gd name="T89" fmla="*/ 2147483647 h 144"/>
              <a:gd name="T90" fmla="*/ 2147483647 w 150"/>
              <a:gd name="T91" fmla="*/ 2147483647 h 144"/>
              <a:gd name="T92" fmla="*/ 2147483647 w 150"/>
              <a:gd name="T93" fmla="*/ 2147483647 h 144"/>
              <a:gd name="T94" fmla="*/ 2147483647 w 150"/>
              <a:gd name="T95" fmla="*/ 2147483647 h 144"/>
              <a:gd name="T96" fmla="*/ 2147483647 w 150"/>
              <a:gd name="T97" fmla="*/ 2147483647 h 144"/>
              <a:gd name="T98" fmla="*/ 2147483647 w 150"/>
              <a:gd name="T99" fmla="*/ 2147483647 h 144"/>
              <a:gd name="T100" fmla="*/ 2147483647 w 150"/>
              <a:gd name="T101" fmla="*/ 2147483647 h 144"/>
              <a:gd name="T102" fmla="*/ 2147483647 w 150"/>
              <a:gd name="T103" fmla="*/ 2147483647 h 144"/>
              <a:gd name="T104" fmla="*/ 2147483647 w 150"/>
              <a:gd name="T105" fmla="*/ 2147483647 h 144"/>
              <a:gd name="T106" fmla="*/ 2147483647 w 150"/>
              <a:gd name="T107" fmla="*/ 2147483647 h 14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50"/>
              <a:gd name="T163" fmla="*/ 0 h 144"/>
              <a:gd name="T164" fmla="*/ 150 w 150"/>
              <a:gd name="T165" fmla="*/ 144 h 144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50" h="144">
                <a:moveTo>
                  <a:pt x="124" y="49"/>
                </a:moveTo>
                <a:lnTo>
                  <a:pt x="124" y="49"/>
                </a:lnTo>
                <a:lnTo>
                  <a:pt x="129" y="46"/>
                </a:lnTo>
                <a:lnTo>
                  <a:pt x="132" y="43"/>
                </a:lnTo>
                <a:lnTo>
                  <a:pt x="135" y="41"/>
                </a:lnTo>
                <a:lnTo>
                  <a:pt x="141" y="41"/>
                </a:lnTo>
                <a:lnTo>
                  <a:pt x="150" y="43"/>
                </a:lnTo>
                <a:lnTo>
                  <a:pt x="150" y="41"/>
                </a:lnTo>
                <a:lnTo>
                  <a:pt x="144" y="35"/>
                </a:lnTo>
                <a:lnTo>
                  <a:pt x="150" y="23"/>
                </a:lnTo>
                <a:lnTo>
                  <a:pt x="147" y="23"/>
                </a:lnTo>
                <a:lnTo>
                  <a:pt x="141" y="21"/>
                </a:lnTo>
                <a:lnTo>
                  <a:pt x="138" y="21"/>
                </a:lnTo>
                <a:lnTo>
                  <a:pt x="135" y="21"/>
                </a:lnTo>
                <a:lnTo>
                  <a:pt x="132" y="21"/>
                </a:lnTo>
                <a:lnTo>
                  <a:pt x="135" y="12"/>
                </a:lnTo>
                <a:lnTo>
                  <a:pt x="132" y="9"/>
                </a:lnTo>
                <a:lnTo>
                  <a:pt x="129" y="9"/>
                </a:lnTo>
                <a:lnTo>
                  <a:pt x="127" y="9"/>
                </a:lnTo>
                <a:lnTo>
                  <a:pt x="127" y="6"/>
                </a:lnTo>
                <a:lnTo>
                  <a:pt x="129" y="3"/>
                </a:lnTo>
                <a:lnTo>
                  <a:pt x="127" y="3"/>
                </a:lnTo>
                <a:lnTo>
                  <a:pt x="124" y="0"/>
                </a:lnTo>
                <a:lnTo>
                  <a:pt x="115" y="6"/>
                </a:lnTo>
                <a:lnTo>
                  <a:pt x="107" y="6"/>
                </a:lnTo>
                <a:lnTo>
                  <a:pt x="101" y="3"/>
                </a:lnTo>
                <a:lnTo>
                  <a:pt x="92" y="12"/>
                </a:lnTo>
                <a:lnTo>
                  <a:pt x="86" y="15"/>
                </a:lnTo>
                <a:lnTo>
                  <a:pt x="81" y="18"/>
                </a:lnTo>
                <a:lnTo>
                  <a:pt x="75" y="23"/>
                </a:lnTo>
                <a:lnTo>
                  <a:pt x="75" y="32"/>
                </a:lnTo>
                <a:lnTo>
                  <a:pt x="66" y="32"/>
                </a:lnTo>
                <a:lnTo>
                  <a:pt x="61" y="32"/>
                </a:lnTo>
                <a:lnTo>
                  <a:pt x="61" y="35"/>
                </a:lnTo>
                <a:lnTo>
                  <a:pt x="63" y="38"/>
                </a:lnTo>
                <a:lnTo>
                  <a:pt x="69" y="41"/>
                </a:lnTo>
                <a:lnTo>
                  <a:pt x="63" y="52"/>
                </a:lnTo>
                <a:lnTo>
                  <a:pt x="43" y="52"/>
                </a:lnTo>
                <a:lnTo>
                  <a:pt x="29" y="55"/>
                </a:lnTo>
                <a:lnTo>
                  <a:pt x="20" y="52"/>
                </a:lnTo>
                <a:lnTo>
                  <a:pt x="12" y="46"/>
                </a:lnTo>
                <a:lnTo>
                  <a:pt x="12" y="43"/>
                </a:lnTo>
                <a:lnTo>
                  <a:pt x="12" y="41"/>
                </a:lnTo>
                <a:lnTo>
                  <a:pt x="12" y="43"/>
                </a:lnTo>
                <a:lnTo>
                  <a:pt x="9" y="43"/>
                </a:lnTo>
                <a:lnTo>
                  <a:pt x="9" y="41"/>
                </a:lnTo>
                <a:lnTo>
                  <a:pt x="9" y="29"/>
                </a:lnTo>
                <a:lnTo>
                  <a:pt x="9" y="26"/>
                </a:lnTo>
                <a:lnTo>
                  <a:pt x="3" y="29"/>
                </a:lnTo>
                <a:lnTo>
                  <a:pt x="0" y="43"/>
                </a:lnTo>
                <a:lnTo>
                  <a:pt x="6" y="49"/>
                </a:lnTo>
                <a:lnTo>
                  <a:pt x="6" y="52"/>
                </a:lnTo>
                <a:lnTo>
                  <a:pt x="18" y="61"/>
                </a:lnTo>
                <a:lnTo>
                  <a:pt x="20" y="55"/>
                </a:lnTo>
                <a:lnTo>
                  <a:pt x="29" y="64"/>
                </a:lnTo>
                <a:lnTo>
                  <a:pt x="29" y="58"/>
                </a:lnTo>
                <a:lnTo>
                  <a:pt x="32" y="61"/>
                </a:lnTo>
                <a:lnTo>
                  <a:pt x="35" y="64"/>
                </a:lnTo>
                <a:lnTo>
                  <a:pt x="35" y="78"/>
                </a:lnTo>
                <a:lnTo>
                  <a:pt x="40" y="81"/>
                </a:lnTo>
                <a:lnTo>
                  <a:pt x="46" y="81"/>
                </a:lnTo>
                <a:lnTo>
                  <a:pt x="58" y="81"/>
                </a:lnTo>
                <a:lnTo>
                  <a:pt x="63" y="81"/>
                </a:lnTo>
                <a:lnTo>
                  <a:pt x="75" y="78"/>
                </a:lnTo>
                <a:lnTo>
                  <a:pt x="84" y="84"/>
                </a:lnTo>
                <a:lnTo>
                  <a:pt x="84" y="87"/>
                </a:lnTo>
                <a:lnTo>
                  <a:pt x="81" y="89"/>
                </a:lnTo>
                <a:lnTo>
                  <a:pt x="75" y="101"/>
                </a:lnTo>
                <a:lnTo>
                  <a:pt x="66" y="104"/>
                </a:lnTo>
                <a:lnTo>
                  <a:pt x="63" y="110"/>
                </a:lnTo>
                <a:lnTo>
                  <a:pt x="72" y="121"/>
                </a:lnTo>
                <a:lnTo>
                  <a:pt x="75" y="121"/>
                </a:lnTo>
                <a:lnTo>
                  <a:pt x="75" y="112"/>
                </a:lnTo>
                <a:lnTo>
                  <a:pt x="78" y="112"/>
                </a:lnTo>
                <a:lnTo>
                  <a:pt x="81" y="112"/>
                </a:lnTo>
                <a:lnTo>
                  <a:pt x="92" y="141"/>
                </a:lnTo>
                <a:lnTo>
                  <a:pt x="95" y="144"/>
                </a:lnTo>
                <a:lnTo>
                  <a:pt x="98" y="141"/>
                </a:lnTo>
                <a:lnTo>
                  <a:pt x="98" y="135"/>
                </a:lnTo>
                <a:lnTo>
                  <a:pt x="98" y="127"/>
                </a:lnTo>
                <a:lnTo>
                  <a:pt x="101" y="118"/>
                </a:lnTo>
                <a:lnTo>
                  <a:pt x="101" y="115"/>
                </a:lnTo>
                <a:lnTo>
                  <a:pt x="98" y="110"/>
                </a:lnTo>
                <a:lnTo>
                  <a:pt x="95" y="107"/>
                </a:lnTo>
                <a:lnTo>
                  <a:pt x="92" y="101"/>
                </a:lnTo>
                <a:lnTo>
                  <a:pt x="109" y="107"/>
                </a:lnTo>
                <a:lnTo>
                  <a:pt x="112" y="98"/>
                </a:lnTo>
                <a:lnTo>
                  <a:pt x="118" y="87"/>
                </a:lnTo>
                <a:lnTo>
                  <a:pt x="115" y="84"/>
                </a:lnTo>
                <a:lnTo>
                  <a:pt x="112" y="84"/>
                </a:lnTo>
                <a:lnTo>
                  <a:pt x="115" y="81"/>
                </a:lnTo>
                <a:lnTo>
                  <a:pt x="118" y="72"/>
                </a:lnTo>
                <a:lnTo>
                  <a:pt x="121" y="66"/>
                </a:lnTo>
                <a:lnTo>
                  <a:pt x="121" y="64"/>
                </a:lnTo>
                <a:lnTo>
                  <a:pt x="118" y="58"/>
                </a:lnTo>
                <a:lnTo>
                  <a:pt x="118" y="55"/>
                </a:lnTo>
                <a:lnTo>
                  <a:pt x="121" y="49"/>
                </a:lnTo>
                <a:lnTo>
                  <a:pt x="124" y="49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172" name="Freeform 277"/>
          <p:cNvSpPr>
            <a:spLocks/>
          </p:cNvSpPr>
          <p:nvPr/>
        </p:nvSpPr>
        <p:spPr bwMode="gray">
          <a:xfrm>
            <a:off x="6853234" y="2640071"/>
            <a:ext cx="18004" cy="19501"/>
          </a:xfrm>
          <a:custGeom>
            <a:avLst/>
            <a:gdLst>
              <a:gd name="T0" fmla="*/ 2147483647 w 9"/>
              <a:gd name="T1" fmla="*/ 2147483647 h 12"/>
              <a:gd name="T2" fmla="*/ 2147483647 w 9"/>
              <a:gd name="T3" fmla="*/ 2147483647 h 12"/>
              <a:gd name="T4" fmla="*/ 2147483647 w 9"/>
              <a:gd name="T5" fmla="*/ 0 h 12"/>
              <a:gd name="T6" fmla="*/ 2147483647 w 9"/>
              <a:gd name="T7" fmla="*/ 0 h 12"/>
              <a:gd name="T8" fmla="*/ 2147483647 w 9"/>
              <a:gd name="T9" fmla="*/ 0 h 12"/>
              <a:gd name="T10" fmla="*/ 0 w 9"/>
              <a:gd name="T11" fmla="*/ 2147483647 h 12"/>
              <a:gd name="T12" fmla="*/ 2147483647 w 9"/>
              <a:gd name="T13" fmla="*/ 2147483647 h 12"/>
              <a:gd name="T14" fmla="*/ 2147483647 w 9"/>
              <a:gd name="T15" fmla="*/ 2147483647 h 12"/>
              <a:gd name="T16" fmla="*/ 2147483647 w 9"/>
              <a:gd name="T17" fmla="*/ 2147483647 h 12"/>
              <a:gd name="T18" fmla="*/ 2147483647 w 9"/>
              <a:gd name="T19" fmla="*/ 2147483647 h 1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9"/>
              <a:gd name="T31" fmla="*/ 0 h 12"/>
              <a:gd name="T32" fmla="*/ 9 w 9"/>
              <a:gd name="T33" fmla="*/ 12 h 1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9" h="12">
                <a:moveTo>
                  <a:pt x="9" y="12"/>
                </a:moveTo>
                <a:lnTo>
                  <a:pt x="9" y="6"/>
                </a:lnTo>
                <a:lnTo>
                  <a:pt x="9" y="0"/>
                </a:ln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lnTo>
                  <a:pt x="9" y="9"/>
                </a:lnTo>
                <a:lnTo>
                  <a:pt x="9" y="1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91" name="Freeform 278"/>
          <p:cNvSpPr>
            <a:spLocks/>
          </p:cNvSpPr>
          <p:nvPr/>
        </p:nvSpPr>
        <p:spPr bwMode="gray">
          <a:xfrm>
            <a:off x="8049450" y="2914580"/>
            <a:ext cx="282051" cy="109502"/>
          </a:xfrm>
          <a:custGeom>
            <a:avLst/>
            <a:gdLst>
              <a:gd name="T0" fmla="*/ 2147483647 w 140"/>
              <a:gd name="T1" fmla="*/ 2147483647 h 72"/>
              <a:gd name="T2" fmla="*/ 2147483647 w 140"/>
              <a:gd name="T3" fmla="*/ 2147483647 h 72"/>
              <a:gd name="T4" fmla="*/ 2147483647 w 140"/>
              <a:gd name="T5" fmla="*/ 2147483647 h 72"/>
              <a:gd name="T6" fmla="*/ 2147483647 w 140"/>
              <a:gd name="T7" fmla="*/ 2147483647 h 72"/>
              <a:gd name="T8" fmla="*/ 2147483647 w 140"/>
              <a:gd name="T9" fmla="*/ 2147483647 h 72"/>
              <a:gd name="T10" fmla="*/ 2147483647 w 140"/>
              <a:gd name="T11" fmla="*/ 2147483647 h 72"/>
              <a:gd name="T12" fmla="*/ 2147483647 w 140"/>
              <a:gd name="T13" fmla="*/ 2147483647 h 72"/>
              <a:gd name="T14" fmla="*/ 2147483647 w 140"/>
              <a:gd name="T15" fmla="*/ 2147483647 h 72"/>
              <a:gd name="T16" fmla="*/ 2147483647 w 140"/>
              <a:gd name="T17" fmla="*/ 2147483647 h 72"/>
              <a:gd name="T18" fmla="*/ 2147483647 w 140"/>
              <a:gd name="T19" fmla="*/ 2147483647 h 72"/>
              <a:gd name="T20" fmla="*/ 2147483647 w 140"/>
              <a:gd name="T21" fmla="*/ 2147483647 h 72"/>
              <a:gd name="T22" fmla="*/ 2147483647 w 140"/>
              <a:gd name="T23" fmla="*/ 2147483647 h 72"/>
              <a:gd name="T24" fmla="*/ 2147483647 w 140"/>
              <a:gd name="T25" fmla="*/ 2147483647 h 72"/>
              <a:gd name="T26" fmla="*/ 2147483647 w 140"/>
              <a:gd name="T27" fmla="*/ 2147483647 h 72"/>
              <a:gd name="T28" fmla="*/ 2147483647 w 140"/>
              <a:gd name="T29" fmla="*/ 2147483647 h 72"/>
              <a:gd name="T30" fmla="*/ 2147483647 w 140"/>
              <a:gd name="T31" fmla="*/ 2147483647 h 72"/>
              <a:gd name="T32" fmla="*/ 2147483647 w 140"/>
              <a:gd name="T33" fmla="*/ 2147483647 h 72"/>
              <a:gd name="T34" fmla="*/ 2147483647 w 140"/>
              <a:gd name="T35" fmla="*/ 2147483647 h 72"/>
              <a:gd name="T36" fmla="*/ 2147483647 w 140"/>
              <a:gd name="T37" fmla="*/ 2147483647 h 72"/>
              <a:gd name="T38" fmla="*/ 2147483647 w 140"/>
              <a:gd name="T39" fmla="*/ 2147483647 h 72"/>
              <a:gd name="T40" fmla="*/ 2147483647 w 140"/>
              <a:gd name="T41" fmla="*/ 2147483647 h 72"/>
              <a:gd name="T42" fmla="*/ 2147483647 w 140"/>
              <a:gd name="T43" fmla="*/ 2147483647 h 72"/>
              <a:gd name="T44" fmla="*/ 2147483647 w 140"/>
              <a:gd name="T45" fmla="*/ 2147483647 h 72"/>
              <a:gd name="T46" fmla="*/ 2147483647 w 140"/>
              <a:gd name="T47" fmla="*/ 2147483647 h 72"/>
              <a:gd name="T48" fmla="*/ 2147483647 w 140"/>
              <a:gd name="T49" fmla="*/ 2147483647 h 72"/>
              <a:gd name="T50" fmla="*/ 2147483647 w 140"/>
              <a:gd name="T51" fmla="*/ 2147483647 h 72"/>
              <a:gd name="T52" fmla="*/ 2147483647 w 140"/>
              <a:gd name="T53" fmla="*/ 2147483647 h 72"/>
              <a:gd name="T54" fmla="*/ 2147483647 w 140"/>
              <a:gd name="T55" fmla="*/ 2147483647 h 72"/>
              <a:gd name="T56" fmla="*/ 2147483647 w 140"/>
              <a:gd name="T57" fmla="*/ 2147483647 h 72"/>
              <a:gd name="T58" fmla="*/ 2147483647 w 140"/>
              <a:gd name="T59" fmla="*/ 2147483647 h 72"/>
              <a:gd name="T60" fmla="*/ 2147483647 w 140"/>
              <a:gd name="T61" fmla="*/ 2147483647 h 72"/>
              <a:gd name="T62" fmla="*/ 2147483647 w 140"/>
              <a:gd name="T63" fmla="*/ 2147483647 h 72"/>
              <a:gd name="T64" fmla="*/ 2147483647 w 140"/>
              <a:gd name="T65" fmla="*/ 2147483647 h 72"/>
              <a:gd name="T66" fmla="*/ 2147483647 w 140"/>
              <a:gd name="T67" fmla="*/ 2147483647 h 72"/>
              <a:gd name="T68" fmla="*/ 2147483647 w 140"/>
              <a:gd name="T69" fmla="*/ 2147483647 h 72"/>
              <a:gd name="T70" fmla="*/ 2147483647 w 140"/>
              <a:gd name="T71" fmla="*/ 2147483647 h 72"/>
              <a:gd name="T72" fmla="*/ 2147483647 w 140"/>
              <a:gd name="T73" fmla="*/ 0 h 72"/>
              <a:gd name="T74" fmla="*/ 2147483647 w 140"/>
              <a:gd name="T75" fmla="*/ 2147483647 h 72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140"/>
              <a:gd name="T115" fmla="*/ 0 h 72"/>
              <a:gd name="T116" fmla="*/ 140 w 140"/>
              <a:gd name="T117" fmla="*/ 72 h 72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140" h="72">
                <a:moveTo>
                  <a:pt x="2" y="12"/>
                </a:moveTo>
                <a:lnTo>
                  <a:pt x="2" y="23"/>
                </a:lnTo>
                <a:lnTo>
                  <a:pt x="0" y="26"/>
                </a:lnTo>
                <a:lnTo>
                  <a:pt x="17" y="35"/>
                </a:lnTo>
                <a:lnTo>
                  <a:pt x="28" y="43"/>
                </a:lnTo>
                <a:lnTo>
                  <a:pt x="37" y="46"/>
                </a:lnTo>
                <a:lnTo>
                  <a:pt x="48" y="49"/>
                </a:lnTo>
                <a:lnTo>
                  <a:pt x="57" y="55"/>
                </a:lnTo>
                <a:lnTo>
                  <a:pt x="74" y="63"/>
                </a:lnTo>
                <a:lnTo>
                  <a:pt x="77" y="63"/>
                </a:lnTo>
                <a:lnTo>
                  <a:pt x="80" y="66"/>
                </a:lnTo>
                <a:lnTo>
                  <a:pt x="89" y="66"/>
                </a:lnTo>
                <a:lnTo>
                  <a:pt x="100" y="66"/>
                </a:lnTo>
                <a:lnTo>
                  <a:pt x="106" y="69"/>
                </a:lnTo>
                <a:lnTo>
                  <a:pt x="117" y="72"/>
                </a:lnTo>
                <a:lnTo>
                  <a:pt x="120" y="69"/>
                </a:lnTo>
                <a:lnTo>
                  <a:pt x="129" y="72"/>
                </a:lnTo>
                <a:lnTo>
                  <a:pt x="137" y="72"/>
                </a:lnTo>
                <a:lnTo>
                  <a:pt x="140" y="69"/>
                </a:lnTo>
                <a:lnTo>
                  <a:pt x="140" y="66"/>
                </a:lnTo>
                <a:lnTo>
                  <a:pt x="134" y="60"/>
                </a:lnTo>
                <a:lnTo>
                  <a:pt x="134" y="46"/>
                </a:lnTo>
                <a:lnTo>
                  <a:pt x="126" y="49"/>
                </a:lnTo>
                <a:lnTo>
                  <a:pt x="120" y="46"/>
                </a:lnTo>
                <a:lnTo>
                  <a:pt x="114" y="43"/>
                </a:lnTo>
                <a:lnTo>
                  <a:pt x="109" y="46"/>
                </a:lnTo>
                <a:lnTo>
                  <a:pt x="103" y="43"/>
                </a:lnTo>
                <a:lnTo>
                  <a:pt x="106" y="49"/>
                </a:lnTo>
                <a:lnTo>
                  <a:pt x="100" y="46"/>
                </a:lnTo>
                <a:lnTo>
                  <a:pt x="94" y="40"/>
                </a:lnTo>
                <a:lnTo>
                  <a:pt x="89" y="40"/>
                </a:lnTo>
                <a:lnTo>
                  <a:pt x="86" y="40"/>
                </a:lnTo>
                <a:lnTo>
                  <a:pt x="83" y="35"/>
                </a:lnTo>
                <a:lnTo>
                  <a:pt x="77" y="35"/>
                </a:lnTo>
                <a:lnTo>
                  <a:pt x="68" y="26"/>
                </a:lnTo>
                <a:lnTo>
                  <a:pt x="63" y="23"/>
                </a:lnTo>
                <a:lnTo>
                  <a:pt x="54" y="23"/>
                </a:lnTo>
                <a:lnTo>
                  <a:pt x="48" y="15"/>
                </a:lnTo>
                <a:lnTo>
                  <a:pt x="40" y="12"/>
                </a:lnTo>
                <a:lnTo>
                  <a:pt x="31" y="6"/>
                </a:lnTo>
                <a:lnTo>
                  <a:pt x="25" y="0"/>
                </a:lnTo>
                <a:lnTo>
                  <a:pt x="17" y="0"/>
                </a:lnTo>
                <a:lnTo>
                  <a:pt x="20" y="9"/>
                </a:lnTo>
                <a:lnTo>
                  <a:pt x="11" y="6"/>
                </a:lnTo>
                <a:lnTo>
                  <a:pt x="2" y="12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174" name="Freeform 279"/>
          <p:cNvSpPr>
            <a:spLocks/>
          </p:cNvSpPr>
          <p:nvPr/>
        </p:nvSpPr>
        <p:spPr bwMode="gray">
          <a:xfrm>
            <a:off x="6249125" y="2719575"/>
            <a:ext cx="18004" cy="9000"/>
          </a:xfrm>
          <a:custGeom>
            <a:avLst/>
            <a:gdLst>
              <a:gd name="T0" fmla="*/ 2147483647 w 8"/>
              <a:gd name="T1" fmla="*/ 2147483647 h 6"/>
              <a:gd name="T2" fmla="*/ 2147483647 w 8"/>
              <a:gd name="T3" fmla="*/ 0 h 6"/>
              <a:gd name="T4" fmla="*/ 2147483647 w 8"/>
              <a:gd name="T5" fmla="*/ 0 h 6"/>
              <a:gd name="T6" fmla="*/ 0 w 8"/>
              <a:gd name="T7" fmla="*/ 2147483647 h 6"/>
              <a:gd name="T8" fmla="*/ 2147483647 w 8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"/>
              <a:gd name="T16" fmla="*/ 0 h 6"/>
              <a:gd name="T17" fmla="*/ 8 w 8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" h="6">
                <a:moveTo>
                  <a:pt x="5" y="6"/>
                </a:moveTo>
                <a:lnTo>
                  <a:pt x="8" y="0"/>
                </a:lnTo>
                <a:lnTo>
                  <a:pt x="3" y="0"/>
                </a:lnTo>
                <a:lnTo>
                  <a:pt x="0" y="6"/>
                </a:lnTo>
                <a:lnTo>
                  <a:pt x="5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75" name="Freeform 280"/>
          <p:cNvSpPr>
            <a:spLocks/>
          </p:cNvSpPr>
          <p:nvPr/>
        </p:nvSpPr>
        <p:spPr bwMode="gray">
          <a:xfrm>
            <a:off x="8755577" y="3568597"/>
            <a:ext cx="16003" cy="12000"/>
          </a:xfrm>
          <a:custGeom>
            <a:avLst/>
            <a:gdLst>
              <a:gd name="T0" fmla="*/ 2147483647 w 8"/>
              <a:gd name="T1" fmla="*/ 2147483647 h 8"/>
              <a:gd name="T2" fmla="*/ 2147483647 w 8"/>
              <a:gd name="T3" fmla="*/ 2147483647 h 8"/>
              <a:gd name="T4" fmla="*/ 2147483647 w 8"/>
              <a:gd name="T5" fmla="*/ 0 h 8"/>
              <a:gd name="T6" fmla="*/ 2147483647 w 8"/>
              <a:gd name="T7" fmla="*/ 0 h 8"/>
              <a:gd name="T8" fmla="*/ 0 w 8"/>
              <a:gd name="T9" fmla="*/ 2147483647 h 8"/>
              <a:gd name="T10" fmla="*/ 2147483647 w 8"/>
              <a:gd name="T11" fmla="*/ 2147483647 h 8"/>
              <a:gd name="T12" fmla="*/ 2147483647 w 8"/>
              <a:gd name="T13" fmla="*/ 2147483647 h 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8"/>
              <a:gd name="T22" fmla="*/ 0 h 8"/>
              <a:gd name="T23" fmla="*/ 8 w 8"/>
              <a:gd name="T24" fmla="*/ 8 h 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8" h="8">
                <a:moveTo>
                  <a:pt x="5" y="6"/>
                </a:moveTo>
                <a:lnTo>
                  <a:pt x="8" y="6"/>
                </a:lnTo>
                <a:lnTo>
                  <a:pt x="8" y="0"/>
                </a:lnTo>
                <a:lnTo>
                  <a:pt x="3" y="0"/>
                </a:lnTo>
                <a:lnTo>
                  <a:pt x="0" y="6"/>
                </a:lnTo>
                <a:lnTo>
                  <a:pt x="3" y="8"/>
                </a:lnTo>
                <a:lnTo>
                  <a:pt x="5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76" name="Freeform 281"/>
          <p:cNvSpPr>
            <a:spLocks/>
          </p:cNvSpPr>
          <p:nvPr/>
        </p:nvSpPr>
        <p:spPr bwMode="gray">
          <a:xfrm>
            <a:off x="7113282" y="3045082"/>
            <a:ext cx="158029" cy="93003"/>
          </a:xfrm>
          <a:custGeom>
            <a:avLst/>
            <a:gdLst>
              <a:gd name="T0" fmla="*/ 2147483647 w 78"/>
              <a:gd name="T1" fmla="*/ 0 h 61"/>
              <a:gd name="T2" fmla="*/ 2147483647 w 78"/>
              <a:gd name="T3" fmla="*/ 0 h 61"/>
              <a:gd name="T4" fmla="*/ 2147483647 w 78"/>
              <a:gd name="T5" fmla="*/ 2147483647 h 61"/>
              <a:gd name="T6" fmla="*/ 2147483647 w 78"/>
              <a:gd name="T7" fmla="*/ 2147483647 h 61"/>
              <a:gd name="T8" fmla="*/ 2147483647 w 78"/>
              <a:gd name="T9" fmla="*/ 2147483647 h 61"/>
              <a:gd name="T10" fmla="*/ 2147483647 w 78"/>
              <a:gd name="T11" fmla="*/ 2147483647 h 61"/>
              <a:gd name="T12" fmla="*/ 2147483647 w 78"/>
              <a:gd name="T13" fmla="*/ 2147483647 h 61"/>
              <a:gd name="T14" fmla="*/ 2147483647 w 78"/>
              <a:gd name="T15" fmla="*/ 2147483647 h 61"/>
              <a:gd name="T16" fmla="*/ 2147483647 w 78"/>
              <a:gd name="T17" fmla="*/ 2147483647 h 61"/>
              <a:gd name="T18" fmla="*/ 2147483647 w 78"/>
              <a:gd name="T19" fmla="*/ 2147483647 h 61"/>
              <a:gd name="T20" fmla="*/ 2147483647 w 78"/>
              <a:gd name="T21" fmla="*/ 2147483647 h 61"/>
              <a:gd name="T22" fmla="*/ 2147483647 w 78"/>
              <a:gd name="T23" fmla="*/ 2147483647 h 61"/>
              <a:gd name="T24" fmla="*/ 2147483647 w 78"/>
              <a:gd name="T25" fmla="*/ 2147483647 h 61"/>
              <a:gd name="T26" fmla="*/ 2147483647 w 78"/>
              <a:gd name="T27" fmla="*/ 2147483647 h 61"/>
              <a:gd name="T28" fmla="*/ 2147483647 w 78"/>
              <a:gd name="T29" fmla="*/ 2147483647 h 61"/>
              <a:gd name="T30" fmla="*/ 2147483647 w 78"/>
              <a:gd name="T31" fmla="*/ 2147483647 h 61"/>
              <a:gd name="T32" fmla="*/ 2147483647 w 78"/>
              <a:gd name="T33" fmla="*/ 2147483647 h 61"/>
              <a:gd name="T34" fmla="*/ 2147483647 w 78"/>
              <a:gd name="T35" fmla="*/ 2147483647 h 61"/>
              <a:gd name="T36" fmla="*/ 0 w 78"/>
              <a:gd name="T37" fmla="*/ 2147483647 h 61"/>
              <a:gd name="T38" fmla="*/ 0 w 78"/>
              <a:gd name="T39" fmla="*/ 2147483647 h 61"/>
              <a:gd name="T40" fmla="*/ 0 w 78"/>
              <a:gd name="T41" fmla="*/ 2147483647 h 61"/>
              <a:gd name="T42" fmla="*/ 2147483647 w 78"/>
              <a:gd name="T43" fmla="*/ 2147483647 h 61"/>
              <a:gd name="T44" fmla="*/ 2147483647 w 78"/>
              <a:gd name="T45" fmla="*/ 2147483647 h 61"/>
              <a:gd name="T46" fmla="*/ 2147483647 w 78"/>
              <a:gd name="T47" fmla="*/ 2147483647 h 61"/>
              <a:gd name="T48" fmla="*/ 2147483647 w 78"/>
              <a:gd name="T49" fmla="*/ 2147483647 h 61"/>
              <a:gd name="T50" fmla="*/ 2147483647 w 78"/>
              <a:gd name="T51" fmla="*/ 2147483647 h 61"/>
              <a:gd name="T52" fmla="*/ 2147483647 w 78"/>
              <a:gd name="T53" fmla="*/ 2147483647 h 61"/>
              <a:gd name="T54" fmla="*/ 2147483647 w 78"/>
              <a:gd name="T55" fmla="*/ 2147483647 h 61"/>
              <a:gd name="T56" fmla="*/ 2147483647 w 78"/>
              <a:gd name="T57" fmla="*/ 2147483647 h 61"/>
              <a:gd name="T58" fmla="*/ 2147483647 w 78"/>
              <a:gd name="T59" fmla="*/ 2147483647 h 61"/>
              <a:gd name="T60" fmla="*/ 2147483647 w 78"/>
              <a:gd name="T61" fmla="*/ 2147483647 h 61"/>
              <a:gd name="T62" fmla="*/ 2147483647 w 78"/>
              <a:gd name="T63" fmla="*/ 2147483647 h 61"/>
              <a:gd name="T64" fmla="*/ 2147483647 w 78"/>
              <a:gd name="T65" fmla="*/ 2147483647 h 61"/>
              <a:gd name="T66" fmla="*/ 2147483647 w 78"/>
              <a:gd name="T67" fmla="*/ 2147483647 h 61"/>
              <a:gd name="T68" fmla="*/ 2147483647 w 78"/>
              <a:gd name="T69" fmla="*/ 2147483647 h 61"/>
              <a:gd name="T70" fmla="*/ 2147483647 w 78"/>
              <a:gd name="T71" fmla="*/ 2147483647 h 61"/>
              <a:gd name="T72" fmla="*/ 2147483647 w 78"/>
              <a:gd name="T73" fmla="*/ 2147483647 h 61"/>
              <a:gd name="T74" fmla="*/ 2147483647 w 78"/>
              <a:gd name="T75" fmla="*/ 2147483647 h 61"/>
              <a:gd name="T76" fmla="*/ 2147483647 w 78"/>
              <a:gd name="T77" fmla="*/ 2147483647 h 61"/>
              <a:gd name="T78" fmla="*/ 2147483647 w 78"/>
              <a:gd name="T79" fmla="*/ 2147483647 h 61"/>
              <a:gd name="T80" fmla="*/ 2147483647 w 78"/>
              <a:gd name="T81" fmla="*/ 2147483647 h 61"/>
              <a:gd name="T82" fmla="*/ 2147483647 w 78"/>
              <a:gd name="T83" fmla="*/ 2147483647 h 61"/>
              <a:gd name="T84" fmla="*/ 2147483647 w 78"/>
              <a:gd name="T85" fmla="*/ 2147483647 h 61"/>
              <a:gd name="T86" fmla="*/ 2147483647 w 78"/>
              <a:gd name="T87" fmla="*/ 2147483647 h 61"/>
              <a:gd name="T88" fmla="*/ 2147483647 w 78"/>
              <a:gd name="T89" fmla="*/ 0 h 61"/>
              <a:gd name="T90" fmla="*/ 2147483647 w 78"/>
              <a:gd name="T91" fmla="*/ 0 h 61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78"/>
              <a:gd name="T139" fmla="*/ 0 h 61"/>
              <a:gd name="T140" fmla="*/ 78 w 78"/>
              <a:gd name="T141" fmla="*/ 61 h 61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78" h="61">
                <a:moveTo>
                  <a:pt x="66" y="0"/>
                </a:moveTo>
                <a:lnTo>
                  <a:pt x="66" y="0"/>
                </a:lnTo>
                <a:lnTo>
                  <a:pt x="58" y="12"/>
                </a:lnTo>
                <a:lnTo>
                  <a:pt x="46" y="26"/>
                </a:lnTo>
                <a:lnTo>
                  <a:pt x="41" y="32"/>
                </a:lnTo>
                <a:lnTo>
                  <a:pt x="38" y="32"/>
                </a:lnTo>
                <a:lnTo>
                  <a:pt x="35" y="32"/>
                </a:lnTo>
                <a:lnTo>
                  <a:pt x="29" y="35"/>
                </a:lnTo>
                <a:lnTo>
                  <a:pt x="23" y="38"/>
                </a:lnTo>
                <a:lnTo>
                  <a:pt x="20" y="32"/>
                </a:lnTo>
                <a:lnTo>
                  <a:pt x="18" y="32"/>
                </a:lnTo>
                <a:lnTo>
                  <a:pt x="9" y="38"/>
                </a:lnTo>
                <a:lnTo>
                  <a:pt x="3" y="35"/>
                </a:lnTo>
                <a:lnTo>
                  <a:pt x="0" y="29"/>
                </a:lnTo>
                <a:lnTo>
                  <a:pt x="0" y="32"/>
                </a:lnTo>
                <a:lnTo>
                  <a:pt x="3" y="41"/>
                </a:lnTo>
                <a:lnTo>
                  <a:pt x="18" y="58"/>
                </a:lnTo>
                <a:lnTo>
                  <a:pt x="61" y="61"/>
                </a:lnTo>
                <a:lnTo>
                  <a:pt x="58" y="55"/>
                </a:lnTo>
                <a:lnTo>
                  <a:pt x="58" y="52"/>
                </a:lnTo>
                <a:lnTo>
                  <a:pt x="61" y="52"/>
                </a:lnTo>
                <a:lnTo>
                  <a:pt x="61" y="46"/>
                </a:lnTo>
                <a:lnTo>
                  <a:pt x="64" y="41"/>
                </a:lnTo>
                <a:lnTo>
                  <a:pt x="61" y="32"/>
                </a:lnTo>
                <a:lnTo>
                  <a:pt x="64" y="32"/>
                </a:lnTo>
                <a:lnTo>
                  <a:pt x="69" y="32"/>
                </a:lnTo>
                <a:lnTo>
                  <a:pt x="66" y="29"/>
                </a:lnTo>
                <a:lnTo>
                  <a:pt x="66" y="15"/>
                </a:lnTo>
                <a:lnTo>
                  <a:pt x="69" y="15"/>
                </a:lnTo>
                <a:lnTo>
                  <a:pt x="72" y="18"/>
                </a:lnTo>
                <a:lnTo>
                  <a:pt x="75" y="18"/>
                </a:lnTo>
                <a:lnTo>
                  <a:pt x="78" y="15"/>
                </a:lnTo>
                <a:lnTo>
                  <a:pt x="72" y="6"/>
                </a:lnTo>
                <a:lnTo>
                  <a:pt x="66" y="3"/>
                </a:lnTo>
                <a:lnTo>
                  <a:pt x="6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77" name="Freeform 282"/>
          <p:cNvSpPr>
            <a:spLocks/>
          </p:cNvSpPr>
          <p:nvPr/>
        </p:nvSpPr>
        <p:spPr bwMode="gray">
          <a:xfrm>
            <a:off x="6823230" y="3393092"/>
            <a:ext cx="6000" cy="10501"/>
          </a:xfrm>
          <a:custGeom>
            <a:avLst/>
            <a:gdLst>
              <a:gd name="T0" fmla="*/ 2147483647 w 3"/>
              <a:gd name="T1" fmla="*/ 0 h 6"/>
              <a:gd name="T2" fmla="*/ 0 w 3"/>
              <a:gd name="T3" fmla="*/ 0 h 6"/>
              <a:gd name="T4" fmla="*/ 2147483647 w 3"/>
              <a:gd name="T5" fmla="*/ 2147483647 h 6"/>
              <a:gd name="T6" fmla="*/ 2147483647 w 3"/>
              <a:gd name="T7" fmla="*/ 2147483647 h 6"/>
              <a:gd name="T8" fmla="*/ 2147483647 w 3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3" y="0"/>
                </a:moveTo>
                <a:lnTo>
                  <a:pt x="0" y="0"/>
                </a:lnTo>
                <a:lnTo>
                  <a:pt x="3" y="6"/>
                </a:lnTo>
                <a:lnTo>
                  <a:pt x="3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78" name="Freeform 283"/>
          <p:cNvSpPr>
            <a:spLocks/>
          </p:cNvSpPr>
          <p:nvPr/>
        </p:nvSpPr>
        <p:spPr bwMode="gray">
          <a:xfrm>
            <a:off x="6613191" y="3280589"/>
            <a:ext cx="222041" cy="162004"/>
          </a:xfrm>
          <a:custGeom>
            <a:avLst/>
            <a:gdLst>
              <a:gd name="T0" fmla="*/ 2147483647 w 110"/>
              <a:gd name="T1" fmla="*/ 2147483647 h 107"/>
              <a:gd name="T2" fmla="*/ 2147483647 w 110"/>
              <a:gd name="T3" fmla="*/ 2147483647 h 107"/>
              <a:gd name="T4" fmla="*/ 2147483647 w 110"/>
              <a:gd name="T5" fmla="*/ 2147483647 h 107"/>
              <a:gd name="T6" fmla="*/ 2147483647 w 110"/>
              <a:gd name="T7" fmla="*/ 2147483647 h 107"/>
              <a:gd name="T8" fmla="*/ 2147483647 w 110"/>
              <a:gd name="T9" fmla="*/ 2147483647 h 107"/>
              <a:gd name="T10" fmla="*/ 2147483647 w 110"/>
              <a:gd name="T11" fmla="*/ 2147483647 h 107"/>
              <a:gd name="T12" fmla="*/ 2147483647 w 110"/>
              <a:gd name="T13" fmla="*/ 2147483647 h 107"/>
              <a:gd name="T14" fmla="*/ 2147483647 w 110"/>
              <a:gd name="T15" fmla="*/ 2147483647 h 107"/>
              <a:gd name="T16" fmla="*/ 2147483647 w 110"/>
              <a:gd name="T17" fmla="*/ 2147483647 h 107"/>
              <a:gd name="T18" fmla="*/ 2147483647 w 110"/>
              <a:gd name="T19" fmla="*/ 2147483647 h 107"/>
              <a:gd name="T20" fmla="*/ 2147483647 w 110"/>
              <a:gd name="T21" fmla="*/ 2147483647 h 107"/>
              <a:gd name="T22" fmla="*/ 2147483647 w 110"/>
              <a:gd name="T23" fmla="*/ 0 h 107"/>
              <a:gd name="T24" fmla="*/ 2147483647 w 110"/>
              <a:gd name="T25" fmla="*/ 0 h 107"/>
              <a:gd name="T26" fmla="*/ 2147483647 w 110"/>
              <a:gd name="T27" fmla="*/ 2147483647 h 107"/>
              <a:gd name="T28" fmla="*/ 2147483647 w 110"/>
              <a:gd name="T29" fmla="*/ 2147483647 h 107"/>
              <a:gd name="T30" fmla="*/ 2147483647 w 110"/>
              <a:gd name="T31" fmla="*/ 2147483647 h 107"/>
              <a:gd name="T32" fmla="*/ 0 w 110"/>
              <a:gd name="T33" fmla="*/ 2147483647 h 107"/>
              <a:gd name="T34" fmla="*/ 2147483647 w 110"/>
              <a:gd name="T35" fmla="*/ 2147483647 h 107"/>
              <a:gd name="T36" fmla="*/ 2147483647 w 110"/>
              <a:gd name="T37" fmla="*/ 2147483647 h 107"/>
              <a:gd name="T38" fmla="*/ 2147483647 w 110"/>
              <a:gd name="T39" fmla="*/ 2147483647 h 107"/>
              <a:gd name="T40" fmla="*/ 2147483647 w 110"/>
              <a:gd name="T41" fmla="*/ 2147483647 h 107"/>
              <a:gd name="T42" fmla="*/ 2147483647 w 110"/>
              <a:gd name="T43" fmla="*/ 2147483647 h 107"/>
              <a:gd name="T44" fmla="*/ 2147483647 w 110"/>
              <a:gd name="T45" fmla="*/ 2147483647 h 107"/>
              <a:gd name="T46" fmla="*/ 2147483647 w 110"/>
              <a:gd name="T47" fmla="*/ 2147483647 h 107"/>
              <a:gd name="T48" fmla="*/ 2147483647 w 110"/>
              <a:gd name="T49" fmla="*/ 2147483647 h 107"/>
              <a:gd name="T50" fmla="*/ 2147483647 w 110"/>
              <a:gd name="T51" fmla="*/ 2147483647 h 107"/>
              <a:gd name="T52" fmla="*/ 2147483647 w 110"/>
              <a:gd name="T53" fmla="*/ 2147483647 h 107"/>
              <a:gd name="T54" fmla="*/ 2147483647 w 110"/>
              <a:gd name="T55" fmla="*/ 2147483647 h 107"/>
              <a:gd name="T56" fmla="*/ 2147483647 w 110"/>
              <a:gd name="T57" fmla="*/ 2147483647 h 107"/>
              <a:gd name="T58" fmla="*/ 2147483647 w 110"/>
              <a:gd name="T59" fmla="*/ 2147483647 h 107"/>
              <a:gd name="T60" fmla="*/ 2147483647 w 110"/>
              <a:gd name="T61" fmla="*/ 2147483647 h 107"/>
              <a:gd name="T62" fmla="*/ 2147483647 w 110"/>
              <a:gd name="T63" fmla="*/ 2147483647 h 10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10"/>
              <a:gd name="T97" fmla="*/ 0 h 107"/>
              <a:gd name="T98" fmla="*/ 110 w 110"/>
              <a:gd name="T99" fmla="*/ 107 h 107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10" h="107">
                <a:moveTo>
                  <a:pt x="84" y="66"/>
                </a:moveTo>
                <a:lnTo>
                  <a:pt x="84" y="66"/>
                </a:lnTo>
                <a:lnTo>
                  <a:pt x="72" y="61"/>
                </a:lnTo>
                <a:lnTo>
                  <a:pt x="61" y="55"/>
                </a:lnTo>
                <a:lnTo>
                  <a:pt x="61" y="52"/>
                </a:lnTo>
                <a:lnTo>
                  <a:pt x="61" y="49"/>
                </a:lnTo>
                <a:lnTo>
                  <a:pt x="55" y="49"/>
                </a:lnTo>
                <a:lnTo>
                  <a:pt x="52" y="49"/>
                </a:lnTo>
                <a:lnTo>
                  <a:pt x="49" y="46"/>
                </a:lnTo>
                <a:lnTo>
                  <a:pt x="49" y="41"/>
                </a:lnTo>
                <a:lnTo>
                  <a:pt x="46" y="35"/>
                </a:lnTo>
                <a:lnTo>
                  <a:pt x="44" y="23"/>
                </a:lnTo>
                <a:lnTo>
                  <a:pt x="44" y="20"/>
                </a:lnTo>
                <a:lnTo>
                  <a:pt x="41" y="15"/>
                </a:lnTo>
                <a:lnTo>
                  <a:pt x="38" y="6"/>
                </a:lnTo>
                <a:lnTo>
                  <a:pt x="35" y="0"/>
                </a:lnTo>
                <a:lnTo>
                  <a:pt x="29" y="9"/>
                </a:lnTo>
                <a:lnTo>
                  <a:pt x="18" y="12"/>
                </a:lnTo>
                <a:lnTo>
                  <a:pt x="15" y="18"/>
                </a:lnTo>
                <a:lnTo>
                  <a:pt x="9" y="20"/>
                </a:lnTo>
                <a:lnTo>
                  <a:pt x="6" y="29"/>
                </a:lnTo>
                <a:lnTo>
                  <a:pt x="9" y="32"/>
                </a:lnTo>
                <a:lnTo>
                  <a:pt x="3" y="46"/>
                </a:lnTo>
                <a:lnTo>
                  <a:pt x="0" y="58"/>
                </a:lnTo>
                <a:lnTo>
                  <a:pt x="3" y="69"/>
                </a:lnTo>
                <a:lnTo>
                  <a:pt x="9" y="69"/>
                </a:lnTo>
                <a:lnTo>
                  <a:pt x="12" y="66"/>
                </a:lnTo>
                <a:lnTo>
                  <a:pt x="18" y="69"/>
                </a:lnTo>
                <a:lnTo>
                  <a:pt x="23" y="58"/>
                </a:lnTo>
                <a:lnTo>
                  <a:pt x="32" y="66"/>
                </a:lnTo>
                <a:lnTo>
                  <a:pt x="41" y="66"/>
                </a:lnTo>
                <a:lnTo>
                  <a:pt x="44" y="58"/>
                </a:lnTo>
                <a:lnTo>
                  <a:pt x="44" y="61"/>
                </a:lnTo>
                <a:lnTo>
                  <a:pt x="46" y="66"/>
                </a:lnTo>
                <a:lnTo>
                  <a:pt x="49" y="64"/>
                </a:lnTo>
                <a:lnTo>
                  <a:pt x="52" y="64"/>
                </a:lnTo>
                <a:lnTo>
                  <a:pt x="64" y="66"/>
                </a:lnTo>
                <a:lnTo>
                  <a:pt x="72" y="72"/>
                </a:lnTo>
                <a:lnTo>
                  <a:pt x="78" y="81"/>
                </a:lnTo>
                <a:lnTo>
                  <a:pt x="89" y="86"/>
                </a:lnTo>
                <a:lnTo>
                  <a:pt x="98" y="98"/>
                </a:lnTo>
                <a:lnTo>
                  <a:pt x="104" y="107"/>
                </a:lnTo>
                <a:lnTo>
                  <a:pt x="107" y="104"/>
                </a:lnTo>
                <a:lnTo>
                  <a:pt x="110" y="101"/>
                </a:lnTo>
                <a:lnTo>
                  <a:pt x="107" y="98"/>
                </a:lnTo>
                <a:lnTo>
                  <a:pt x="98" y="86"/>
                </a:lnTo>
                <a:lnTo>
                  <a:pt x="92" y="81"/>
                </a:lnTo>
                <a:lnTo>
                  <a:pt x="84" y="6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79" name="Freeform 284"/>
          <p:cNvSpPr>
            <a:spLocks/>
          </p:cNvSpPr>
          <p:nvPr/>
        </p:nvSpPr>
        <p:spPr bwMode="gray">
          <a:xfrm>
            <a:off x="7079276" y="3037583"/>
            <a:ext cx="34005" cy="42001"/>
          </a:xfrm>
          <a:custGeom>
            <a:avLst/>
            <a:gdLst>
              <a:gd name="T0" fmla="*/ 2147483647 w 17"/>
              <a:gd name="T1" fmla="*/ 2147483647 h 28"/>
              <a:gd name="T2" fmla="*/ 2147483647 w 17"/>
              <a:gd name="T3" fmla="*/ 2147483647 h 28"/>
              <a:gd name="T4" fmla="*/ 2147483647 w 17"/>
              <a:gd name="T5" fmla="*/ 2147483647 h 28"/>
              <a:gd name="T6" fmla="*/ 2147483647 w 17"/>
              <a:gd name="T7" fmla="*/ 0 h 28"/>
              <a:gd name="T8" fmla="*/ 2147483647 w 17"/>
              <a:gd name="T9" fmla="*/ 0 h 28"/>
              <a:gd name="T10" fmla="*/ 2147483647 w 17"/>
              <a:gd name="T11" fmla="*/ 0 h 28"/>
              <a:gd name="T12" fmla="*/ 0 w 17"/>
              <a:gd name="T13" fmla="*/ 2147483647 h 28"/>
              <a:gd name="T14" fmla="*/ 0 w 17"/>
              <a:gd name="T15" fmla="*/ 2147483647 h 28"/>
              <a:gd name="T16" fmla="*/ 0 w 17"/>
              <a:gd name="T17" fmla="*/ 2147483647 h 28"/>
              <a:gd name="T18" fmla="*/ 0 w 17"/>
              <a:gd name="T19" fmla="*/ 2147483647 h 28"/>
              <a:gd name="T20" fmla="*/ 0 w 17"/>
              <a:gd name="T21" fmla="*/ 2147483647 h 28"/>
              <a:gd name="T22" fmla="*/ 2147483647 w 17"/>
              <a:gd name="T23" fmla="*/ 2147483647 h 28"/>
              <a:gd name="T24" fmla="*/ 2147483647 w 17"/>
              <a:gd name="T25" fmla="*/ 2147483647 h 28"/>
              <a:gd name="T26" fmla="*/ 2147483647 w 17"/>
              <a:gd name="T27" fmla="*/ 2147483647 h 28"/>
              <a:gd name="T28" fmla="*/ 2147483647 w 17"/>
              <a:gd name="T29" fmla="*/ 2147483647 h 28"/>
              <a:gd name="T30" fmla="*/ 2147483647 w 17"/>
              <a:gd name="T31" fmla="*/ 2147483647 h 28"/>
              <a:gd name="T32" fmla="*/ 2147483647 w 17"/>
              <a:gd name="T33" fmla="*/ 2147483647 h 28"/>
              <a:gd name="T34" fmla="*/ 2147483647 w 17"/>
              <a:gd name="T35" fmla="*/ 2147483647 h 28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7"/>
              <a:gd name="T55" fmla="*/ 0 h 28"/>
              <a:gd name="T56" fmla="*/ 17 w 17"/>
              <a:gd name="T57" fmla="*/ 28 h 28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7" h="28">
                <a:moveTo>
                  <a:pt x="14" y="11"/>
                </a:moveTo>
                <a:lnTo>
                  <a:pt x="12" y="2"/>
                </a:lnTo>
                <a:lnTo>
                  <a:pt x="9" y="0"/>
                </a:lnTo>
                <a:lnTo>
                  <a:pt x="6" y="0"/>
                </a:lnTo>
                <a:lnTo>
                  <a:pt x="0" y="8"/>
                </a:lnTo>
                <a:lnTo>
                  <a:pt x="0" y="17"/>
                </a:lnTo>
                <a:lnTo>
                  <a:pt x="0" y="20"/>
                </a:lnTo>
                <a:lnTo>
                  <a:pt x="3" y="25"/>
                </a:lnTo>
                <a:lnTo>
                  <a:pt x="9" y="28"/>
                </a:lnTo>
                <a:lnTo>
                  <a:pt x="12" y="28"/>
                </a:lnTo>
                <a:lnTo>
                  <a:pt x="12" y="23"/>
                </a:lnTo>
                <a:lnTo>
                  <a:pt x="17" y="23"/>
                </a:lnTo>
                <a:lnTo>
                  <a:pt x="14" y="14"/>
                </a:lnTo>
                <a:lnTo>
                  <a:pt x="14" y="1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80" name="Freeform 285"/>
          <p:cNvSpPr>
            <a:spLocks/>
          </p:cNvSpPr>
          <p:nvPr/>
        </p:nvSpPr>
        <p:spPr bwMode="gray">
          <a:xfrm>
            <a:off x="6657199" y="2706074"/>
            <a:ext cx="334061" cy="238507"/>
          </a:xfrm>
          <a:custGeom>
            <a:avLst/>
            <a:gdLst>
              <a:gd name="T0" fmla="*/ 2147483647 w 166"/>
              <a:gd name="T1" fmla="*/ 2147483647 h 158"/>
              <a:gd name="T2" fmla="*/ 2147483647 w 166"/>
              <a:gd name="T3" fmla="*/ 2147483647 h 158"/>
              <a:gd name="T4" fmla="*/ 2147483647 w 166"/>
              <a:gd name="T5" fmla="*/ 2147483647 h 158"/>
              <a:gd name="T6" fmla="*/ 2147483647 w 166"/>
              <a:gd name="T7" fmla="*/ 2147483647 h 158"/>
              <a:gd name="T8" fmla="*/ 2147483647 w 166"/>
              <a:gd name="T9" fmla="*/ 2147483647 h 158"/>
              <a:gd name="T10" fmla="*/ 2147483647 w 166"/>
              <a:gd name="T11" fmla="*/ 2147483647 h 158"/>
              <a:gd name="T12" fmla="*/ 2147483647 w 166"/>
              <a:gd name="T13" fmla="*/ 2147483647 h 158"/>
              <a:gd name="T14" fmla="*/ 2147483647 w 166"/>
              <a:gd name="T15" fmla="*/ 2147483647 h 158"/>
              <a:gd name="T16" fmla="*/ 2147483647 w 166"/>
              <a:gd name="T17" fmla="*/ 2147483647 h 158"/>
              <a:gd name="T18" fmla="*/ 2147483647 w 166"/>
              <a:gd name="T19" fmla="*/ 2147483647 h 158"/>
              <a:gd name="T20" fmla="*/ 2147483647 w 166"/>
              <a:gd name="T21" fmla="*/ 2147483647 h 158"/>
              <a:gd name="T22" fmla="*/ 2147483647 w 166"/>
              <a:gd name="T23" fmla="*/ 2147483647 h 158"/>
              <a:gd name="T24" fmla="*/ 2147483647 w 166"/>
              <a:gd name="T25" fmla="*/ 2147483647 h 158"/>
              <a:gd name="T26" fmla="*/ 2147483647 w 166"/>
              <a:gd name="T27" fmla="*/ 2147483647 h 158"/>
              <a:gd name="T28" fmla="*/ 2147483647 w 166"/>
              <a:gd name="T29" fmla="*/ 2147483647 h 158"/>
              <a:gd name="T30" fmla="*/ 2147483647 w 166"/>
              <a:gd name="T31" fmla="*/ 2147483647 h 158"/>
              <a:gd name="T32" fmla="*/ 0 w 166"/>
              <a:gd name="T33" fmla="*/ 2147483647 h 158"/>
              <a:gd name="T34" fmla="*/ 2147483647 w 166"/>
              <a:gd name="T35" fmla="*/ 2147483647 h 158"/>
              <a:gd name="T36" fmla="*/ 2147483647 w 166"/>
              <a:gd name="T37" fmla="*/ 2147483647 h 158"/>
              <a:gd name="T38" fmla="*/ 2147483647 w 166"/>
              <a:gd name="T39" fmla="*/ 2147483647 h 158"/>
              <a:gd name="T40" fmla="*/ 2147483647 w 166"/>
              <a:gd name="T41" fmla="*/ 2147483647 h 158"/>
              <a:gd name="T42" fmla="*/ 2147483647 w 166"/>
              <a:gd name="T43" fmla="*/ 2147483647 h 158"/>
              <a:gd name="T44" fmla="*/ 2147483647 w 166"/>
              <a:gd name="T45" fmla="*/ 2147483647 h 158"/>
              <a:gd name="T46" fmla="*/ 2147483647 w 166"/>
              <a:gd name="T47" fmla="*/ 2147483647 h 158"/>
              <a:gd name="T48" fmla="*/ 2147483647 w 166"/>
              <a:gd name="T49" fmla="*/ 2147483647 h 158"/>
              <a:gd name="T50" fmla="*/ 2147483647 w 166"/>
              <a:gd name="T51" fmla="*/ 2147483647 h 158"/>
              <a:gd name="T52" fmla="*/ 2147483647 w 166"/>
              <a:gd name="T53" fmla="*/ 2147483647 h 158"/>
              <a:gd name="T54" fmla="*/ 2147483647 w 166"/>
              <a:gd name="T55" fmla="*/ 2147483647 h 158"/>
              <a:gd name="T56" fmla="*/ 2147483647 w 166"/>
              <a:gd name="T57" fmla="*/ 2147483647 h 158"/>
              <a:gd name="T58" fmla="*/ 2147483647 w 166"/>
              <a:gd name="T59" fmla="*/ 2147483647 h 158"/>
              <a:gd name="T60" fmla="*/ 2147483647 w 166"/>
              <a:gd name="T61" fmla="*/ 2147483647 h 158"/>
              <a:gd name="T62" fmla="*/ 2147483647 w 166"/>
              <a:gd name="T63" fmla="*/ 2147483647 h 158"/>
              <a:gd name="T64" fmla="*/ 2147483647 w 166"/>
              <a:gd name="T65" fmla="*/ 2147483647 h 158"/>
              <a:gd name="T66" fmla="*/ 2147483647 w 166"/>
              <a:gd name="T67" fmla="*/ 2147483647 h 158"/>
              <a:gd name="T68" fmla="*/ 2147483647 w 166"/>
              <a:gd name="T69" fmla="*/ 2147483647 h 158"/>
              <a:gd name="T70" fmla="*/ 2147483647 w 166"/>
              <a:gd name="T71" fmla="*/ 2147483647 h 158"/>
              <a:gd name="T72" fmla="*/ 2147483647 w 166"/>
              <a:gd name="T73" fmla="*/ 2147483647 h 158"/>
              <a:gd name="T74" fmla="*/ 2147483647 w 166"/>
              <a:gd name="T75" fmla="*/ 2147483647 h 158"/>
              <a:gd name="T76" fmla="*/ 2147483647 w 166"/>
              <a:gd name="T77" fmla="*/ 2147483647 h 158"/>
              <a:gd name="T78" fmla="*/ 2147483647 w 166"/>
              <a:gd name="T79" fmla="*/ 2147483647 h 158"/>
              <a:gd name="T80" fmla="*/ 2147483647 w 166"/>
              <a:gd name="T81" fmla="*/ 2147483647 h 158"/>
              <a:gd name="T82" fmla="*/ 2147483647 w 166"/>
              <a:gd name="T83" fmla="*/ 2147483647 h 158"/>
              <a:gd name="T84" fmla="*/ 2147483647 w 166"/>
              <a:gd name="T85" fmla="*/ 2147483647 h 158"/>
              <a:gd name="T86" fmla="*/ 2147483647 w 166"/>
              <a:gd name="T87" fmla="*/ 2147483647 h 158"/>
              <a:gd name="T88" fmla="*/ 2147483647 w 166"/>
              <a:gd name="T89" fmla="*/ 2147483647 h 158"/>
              <a:gd name="T90" fmla="*/ 2147483647 w 166"/>
              <a:gd name="T91" fmla="*/ 2147483647 h 158"/>
              <a:gd name="T92" fmla="*/ 2147483647 w 166"/>
              <a:gd name="T93" fmla="*/ 2147483647 h 158"/>
              <a:gd name="T94" fmla="*/ 2147483647 w 166"/>
              <a:gd name="T95" fmla="*/ 2147483647 h 158"/>
              <a:gd name="T96" fmla="*/ 2147483647 w 166"/>
              <a:gd name="T97" fmla="*/ 2147483647 h 158"/>
              <a:gd name="T98" fmla="*/ 2147483647 w 166"/>
              <a:gd name="T99" fmla="*/ 2147483647 h 158"/>
              <a:gd name="T100" fmla="*/ 2147483647 w 166"/>
              <a:gd name="T101" fmla="*/ 2147483647 h 158"/>
              <a:gd name="T102" fmla="*/ 2147483647 w 166"/>
              <a:gd name="T103" fmla="*/ 2147483647 h 158"/>
              <a:gd name="T104" fmla="*/ 2147483647 w 166"/>
              <a:gd name="T105" fmla="*/ 2147483647 h 158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166"/>
              <a:gd name="T160" fmla="*/ 0 h 158"/>
              <a:gd name="T161" fmla="*/ 166 w 166"/>
              <a:gd name="T162" fmla="*/ 158 h 158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166" h="158">
                <a:moveTo>
                  <a:pt x="112" y="32"/>
                </a:moveTo>
                <a:lnTo>
                  <a:pt x="106" y="32"/>
                </a:lnTo>
                <a:lnTo>
                  <a:pt x="103" y="29"/>
                </a:lnTo>
                <a:lnTo>
                  <a:pt x="97" y="26"/>
                </a:lnTo>
                <a:lnTo>
                  <a:pt x="94" y="23"/>
                </a:lnTo>
                <a:lnTo>
                  <a:pt x="89" y="15"/>
                </a:lnTo>
                <a:lnTo>
                  <a:pt x="86" y="6"/>
                </a:lnTo>
                <a:lnTo>
                  <a:pt x="80" y="12"/>
                </a:lnTo>
                <a:lnTo>
                  <a:pt x="77" y="12"/>
                </a:lnTo>
                <a:lnTo>
                  <a:pt x="77" y="9"/>
                </a:lnTo>
                <a:lnTo>
                  <a:pt x="74" y="3"/>
                </a:lnTo>
                <a:lnTo>
                  <a:pt x="71" y="3"/>
                </a:lnTo>
                <a:lnTo>
                  <a:pt x="63" y="3"/>
                </a:lnTo>
                <a:lnTo>
                  <a:pt x="54" y="0"/>
                </a:lnTo>
                <a:lnTo>
                  <a:pt x="48" y="9"/>
                </a:lnTo>
                <a:lnTo>
                  <a:pt x="43" y="15"/>
                </a:lnTo>
                <a:lnTo>
                  <a:pt x="34" y="18"/>
                </a:lnTo>
                <a:lnTo>
                  <a:pt x="34" y="23"/>
                </a:lnTo>
                <a:lnTo>
                  <a:pt x="37" y="32"/>
                </a:lnTo>
                <a:lnTo>
                  <a:pt x="34" y="38"/>
                </a:lnTo>
                <a:lnTo>
                  <a:pt x="37" y="46"/>
                </a:lnTo>
                <a:lnTo>
                  <a:pt x="34" y="52"/>
                </a:lnTo>
                <a:lnTo>
                  <a:pt x="28" y="61"/>
                </a:lnTo>
                <a:lnTo>
                  <a:pt x="23" y="64"/>
                </a:lnTo>
                <a:lnTo>
                  <a:pt x="14" y="69"/>
                </a:lnTo>
                <a:lnTo>
                  <a:pt x="0" y="81"/>
                </a:lnTo>
                <a:lnTo>
                  <a:pt x="2" y="89"/>
                </a:lnTo>
                <a:lnTo>
                  <a:pt x="5" y="95"/>
                </a:lnTo>
                <a:lnTo>
                  <a:pt x="5" y="98"/>
                </a:lnTo>
                <a:lnTo>
                  <a:pt x="11" y="98"/>
                </a:lnTo>
                <a:lnTo>
                  <a:pt x="14" y="104"/>
                </a:lnTo>
                <a:lnTo>
                  <a:pt x="20" y="101"/>
                </a:lnTo>
                <a:lnTo>
                  <a:pt x="31" y="107"/>
                </a:lnTo>
                <a:lnTo>
                  <a:pt x="40" y="112"/>
                </a:lnTo>
                <a:lnTo>
                  <a:pt x="48" y="115"/>
                </a:lnTo>
                <a:lnTo>
                  <a:pt x="57" y="121"/>
                </a:lnTo>
                <a:lnTo>
                  <a:pt x="63" y="127"/>
                </a:lnTo>
                <a:lnTo>
                  <a:pt x="71" y="135"/>
                </a:lnTo>
                <a:lnTo>
                  <a:pt x="77" y="138"/>
                </a:lnTo>
                <a:lnTo>
                  <a:pt x="86" y="144"/>
                </a:lnTo>
                <a:lnTo>
                  <a:pt x="103" y="158"/>
                </a:lnTo>
                <a:lnTo>
                  <a:pt x="129" y="158"/>
                </a:lnTo>
                <a:lnTo>
                  <a:pt x="132" y="155"/>
                </a:lnTo>
                <a:lnTo>
                  <a:pt x="137" y="150"/>
                </a:lnTo>
                <a:lnTo>
                  <a:pt x="140" y="141"/>
                </a:lnTo>
                <a:lnTo>
                  <a:pt x="152" y="141"/>
                </a:lnTo>
                <a:lnTo>
                  <a:pt x="160" y="150"/>
                </a:lnTo>
                <a:lnTo>
                  <a:pt x="163" y="150"/>
                </a:lnTo>
                <a:lnTo>
                  <a:pt x="166" y="150"/>
                </a:lnTo>
                <a:lnTo>
                  <a:pt x="160" y="147"/>
                </a:lnTo>
                <a:lnTo>
                  <a:pt x="157" y="141"/>
                </a:lnTo>
                <a:lnTo>
                  <a:pt x="155" y="138"/>
                </a:lnTo>
                <a:lnTo>
                  <a:pt x="155" y="132"/>
                </a:lnTo>
                <a:lnTo>
                  <a:pt x="155" y="130"/>
                </a:lnTo>
                <a:lnTo>
                  <a:pt x="152" y="127"/>
                </a:lnTo>
                <a:lnTo>
                  <a:pt x="143" y="121"/>
                </a:lnTo>
                <a:lnTo>
                  <a:pt x="146" y="109"/>
                </a:lnTo>
                <a:lnTo>
                  <a:pt x="137" y="98"/>
                </a:lnTo>
                <a:lnTo>
                  <a:pt x="134" y="98"/>
                </a:lnTo>
                <a:lnTo>
                  <a:pt x="126" y="89"/>
                </a:lnTo>
                <a:lnTo>
                  <a:pt x="114" y="87"/>
                </a:lnTo>
                <a:lnTo>
                  <a:pt x="114" y="84"/>
                </a:lnTo>
                <a:lnTo>
                  <a:pt x="114" y="81"/>
                </a:lnTo>
                <a:lnTo>
                  <a:pt x="106" y="72"/>
                </a:lnTo>
                <a:lnTo>
                  <a:pt x="103" y="69"/>
                </a:lnTo>
                <a:lnTo>
                  <a:pt x="103" y="64"/>
                </a:lnTo>
                <a:lnTo>
                  <a:pt x="103" y="58"/>
                </a:lnTo>
                <a:lnTo>
                  <a:pt x="100" y="58"/>
                </a:lnTo>
                <a:lnTo>
                  <a:pt x="103" y="55"/>
                </a:lnTo>
                <a:lnTo>
                  <a:pt x="106" y="55"/>
                </a:lnTo>
                <a:lnTo>
                  <a:pt x="106" y="49"/>
                </a:lnTo>
                <a:lnTo>
                  <a:pt x="106" y="46"/>
                </a:lnTo>
                <a:lnTo>
                  <a:pt x="112" y="43"/>
                </a:lnTo>
                <a:lnTo>
                  <a:pt x="109" y="38"/>
                </a:lnTo>
                <a:lnTo>
                  <a:pt x="109" y="35"/>
                </a:lnTo>
                <a:lnTo>
                  <a:pt x="112" y="3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81" name="Freeform 286"/>
          <p:cNvSpPr>
            <a:spLocks/>
          </p:cNvSpPr>
          <p:nvPr/>
        </p:nvSpPr>
        <p:spPr bwMode="gray">
          <a:xfrm>
            <a:off x="6213119" y="2568070"/>
            <a:ext cx="610111" cy="181505"/>
          </a:xfrm>
          <a:custGeom>
            <a:avLst/>
            <a:gdLst>
              <a:gd name="T0" fmla="*/ 2147483647 w 302"/>
              <a:gd name="T1" fmla="*/ 2147483647 h 120"/>
              <a:gd name="T2" fmla="*/ 2147483647 w 302"/>
              <a:gd name="T3" fmla="*/ 2147483647 h 120"/>
              <a:gd name="T4" fmla="*/ 2147483647 w 302"/>
              <a:gd name="T5" fmla="*/ 2147483647 h 120"/>
              <a:gd name="T6" fmla="*/ 2147483647 w 302"/>
              <a:gd name="T7" fmla="*/ 2147483647 h 120"/>
              <a:gd name="T8" fmla="*/ 2147483647 w 302"/>
              <a:gd name="T9" fmla="*/ 2147483647 h 120"/>
              <a:gd name="T10" fmla="*/ 2147483647 w 302"/>
              <a:gd name="T11" fmla="*/ 2147483647 h 120"/>
              <a:gd name="T12" fmla="*/ 2147483647 w 302"/>
              <a:gd name="T13" fmla="*/ 2147483647 h 120"/>
              <a:gd name="T14" fmla="*/ 2147483647 w 302"/>
              <a:gd name="T15" fmla="*/ 2147483647 h 120"/>
              <a:gd name="T16" fmla="*/ 2147483647 w 302"/>
              <a:gd name="T17" fmla="*/ 2147483647 h 120"/>
              <a:gd name="T18" fmla="*/ 2147483647 w 302"/>
              <a:gd name="T19" fmla="*/ 2147483647 h 120"/>
              <a:gd name="T20" fmla="*/ 2147483647 w 302"/>
              <a:gd name="T21" fmla="*/ 2147483647 h 120"/>
              <a:gd name="T22" fmla="*/ 2147483647 w 302"/>
              <a:gd name="T23" fmla="*/ 2147483647 h 120"/>
              <a:gd name="T24" fmla="*/ 2147483647 w 302"/>
              <a:gd name="T25" fmla="*/ 2147483647 h 120"/>
              <a:gd name="T26" fmla="*/ 2147483647 w 302"/>
              <a:gd name="T27" fmla="*/ 2147483647 h 120"/>
              <a:gd name="T28" fmla="*/ 2147483647 w 302"/>
              <a:gd name="T29" fmla="*/ 2147483647 h 120"/>
              <a:gd name="T30" fmla="*/ 2147483647 w 302"/>
              <a:gd name="T31" fmla="*/ 2147483647 h 120"/>
              <a:gd name="T32" fmla="*/ 2147483647 w 302"/>
              <a:gd name="T33" fmla="*/ 2147483647 h 120"/>
              <a:gd name="T34" fmla="*/ 2147483647 w 302"/>
              <a:gd name="T35" fmla="*/ 2147483647 h 120"/>
              <a:gd name="T36" fmla="*/ 2147483647 w 302"/>
              <a:gd name="T37" fmla="*/ 2147483647 h 120"/>
              <a:gd name="T38" fmla="*/ 2147483647 w 302"/>
              <a:gd name="T39" fmla="*/ 2147483647 h 120"/>
              <a:gd name="T40" fmla="*/ 2147483647 w 302"/>
              <a:gd name="T41" fmla="*/ 2147483647 h 120"/>
              <a:gd name="T42" fmla="*/ 2147483647 w 302"/>
              <a:gd name="T43" fmla="*/ 2147483647 h 120"/>
              <a:gd name="T44" fmla="*/ 2147483647 w 302"/>
              <a:gd name="T45" fmla="*/ 2147483647 h 120"/>
              <a:gd name="T46" fmla="*/ 2147483647 w 302"/>
              <a:gd name="T47" fmla="*/ 2147483647 h 120"/>
              <a:gd name="T48" fmla="*/ 2147483647 w 302"/>
              <a:gd name="T49" fmla="*/ 2147483647 h 120"/>
              <a:gd name="T50" fmla="*/ 2147483647 w 302"/>
              <a:gd name="T51" fmla="*/ 2147483647 h 120"/>
              <a:gd name="T52" fmla="*/ 2147483647 w 302"/>
              <a:gd name="T53" fmla="*/ 2147483647 h 120"/>
              <a:gd name="T54" fmla="*/ 2147483647 w 302"/>
              <a:gd name="T55" fmla="*/ 2147483647 h 120"/>
              <a:gd name="T56" fmla="*/ 2147483647 w 302"/>
              <a:gd name="T57" fmla="*/ 2147483647 h 120"/>
              <a:gd name="T58" fmla="*/ 2147483647 w 302"/>
              <a:gd name="T59" fmla="*/ 2147483647 h 120"/>
              <a:gd name="T60" fmla="*/ 2147483647 w 302"/>
              <a:gd name="T61" fmla="*/ 2147483647 h 120"/>
              <a:gd name="T62" fmla="*/ 2147483647 w 302"/>
              <a:gd name="T63" fmla="*/ 2147483647 h 120"/>
              <a:gd name="T64" fmla="*/ 2147483647 w 302"/>
              <a:gd name="T65" fmla="*/ 2147483647 h 120"/>
              <a:gd name="T66" fmla="*/ 2147483647 w 302"/>
              <a:gd name="T67" fmla="*/ 2147483647 h 120"/>
              <a:gd name="T68" fmla="*/ 2147483647 w 302"/>
              <a:gd name="T69" fmla="*/ 2147483647 h 120"/>
              <a:gd name="T70" fmla="*/ 2147483647 w 302"/>
              <a:gd name="T71" fmla="*/ 2147483647 h 120"/>
              <a:gd name="T72" fmla="*/ 2147483647 w 302"/>
              <a:gd name="T73" fmla="*/ 2147483647 h 120"/>
              <a:gd name="T74" fmla="*/ 2147483647 w 302"/>
              <a:gd name="T75" fmla="*/ 2147483647 h 120"/>
              <a:gd name="T76" fmla="*/ 2147483647 w 302"/>
              <a:gd name="T77" fmla="*/ 2147483647 h 120"/>
              <a:gd name="T78" fmla="*/ 2147483647 w 302"/>
              <a:gd name="T79" fmla="*/ 2147483647 h 120"/>
              <a:gd name="T80" fmla="*/ 2147483647 w 302"/>
              <a:gd name="T81" fmla="*/ 2147483647 h 120"/>
              <a:gd name="T82" fmla="*/ 2147483647 w 302"/>
              <a:gd name="T83" fmla="*/ 2147483647 h 120"/>
              <a:gd name="T84" fmla="*/ 2147483647 w 302"/>
              <a:gd name="T85" fmla="*/ 2147483647 h 120"/>
              <a:gd name="T86" fmla="*/ 2147483647 w 302"/>
              <a:gd name="T87" fmla="*/ 2147483647 h 120"/>
              <a:gd name="T88" fmla="*/ 2147483647 w 302"/>
              <a:gd name="T89" fmla="*/ 2147483647 h 120"/>
              <a:gd name="T90" fmla="*/ 2147483647 w 302"/>
              <a:gd name="T91" fmla="*/ 2147483647 h 120"/>
              <a:gd name="T92" fmla="*/ 2147483647 w 302"/>
              <a:gd name="T93" fmla="*/ 2147483647 h 120"/>
              <a:gd name="T94" fmla="*/ 2147483647 w 302"/>
              <a:gd name="T95" fmla="*/ 2147483647 h 120"/>
              <a:gd name="T96" fmla="*/ 2147483647 w 302"/>
              <a:gd name="T97" fmla="*/ 2147483647 h 120"/>
              <a:gd name="T98" fmla="*/ 2147483647 w 302"/>
              <a:gd name="T99" fmla="*/ 2147483647 h 120"/>
              <a:gd name="T100" fmla="*/ 2147483647 w 302"/>
              <a:gd name="T101" fmla="*/ 2147483647 h 120"/>
              <a:gd name="T102" fmla="*/ 2147483647 w 302"/>
              <a:gd name="T103" fmla="*/ 2147483647 h 120"/>
              <a:gd name="T104" fmla="*/ 2147483647 w 302"/>
              <a:gd name="T105" fmla="*/ 2147483647 h 120"/>
              <a:gd name="T106" fmla="*/ 2147483647 w 302"/>
              <a:gd name="T107" fmla="*/ 2147483647 h 120"/>
              <a:gd name="T108" fmla="*/ 2147483647 w 302"/>
              <a:gd name="T109" fmla="*/ 2147483647 h 120"/>
              <a:gd name="T110" fmla="*/ 2147483647 w 302"/>
              <a:gd name="T111" fmla="*/ 2147483647 h 120"/>
              <a:gd name="T112" fmla="*/ 2147483647 w 302"/>
              <a:gd name="T113" fmla="*/ 2147483647 h 120"/>
              <a:gd name="T114" fmla="*/ 2147483647 w 302"/>
              <a:gd name="T115" fmla="*/ 2147483647 h 120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302"/>
              <a:gd name="T175" fmla="*/ 0 h 120"/>
              <a:gd name="T176" fmla="*/ 302 w 302"/>
              <a:gd name="T177" fmla="*/ 120 h 120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302" h="120">
                <a:moveTo>
                  <a:pt x="293" y="45"/>
                </a:moveTo>
                <a:lnTo>
                  <a:pt x="287" y="40"/>
                </a:lnTo>
                <a:lnTo>
                  <a:pt x="279" y="40"/>
                </a:lnTo>
                <a:lnTo>
                  <a:pt x="276" y="31"/>
                </a:lnTo>
                <a:lnTo>
                  <a:pt x="273" y="20"/>
                </a:lnTo>
                <a:lnTo>
                  <a:pt x="270" y="20"/>
                </a:lnTo>
                <a:lnTo>
                  <a:pt x="262" y="11"/>
                </a:lnTo>
                <a:lnTo>
                  <a:pt x="259" y="11"/>
                </a:lnTo>
                <a:lnTo>
                  <a:pt x="250" y="14"/>
                </a:lnTo>
                <a:lnTo>
                  <a:pt x="239" y="14"/>
                </a:lnTo>
                <a:lnTo>
                  <a:pt x="239" y="11"/>
                </a:lnTo>
                <a:lnTo>
                  <a:pt x="236" y="17"/>
                </a:lnTo>
                <a:lnTo>
                  <a:pt x="210" y="20"/>
                </a:lnTo>
                <a:lnTo>
                  <a:pt x="193" y="22"/>
                </a:lnTo>
                <a:lnTo>
                  <a:pt x="173" y="17"/>
                </a:lnTo>
                <a:lnTo>
                  <a:pt x="150" y="8"/>
                </a:lnTo>
                <a:lnTo>
                  <a:pt x="138" y="0"/>
                </a:lnTo>
                <a:lnTo>
                  <a:pt x="121" y="2"/>
                </a:lnTo>
                <a:lnTo>
                  <a:pt x="101" y="5"/>
                </a:lnTo>
                <a:lnTo>
                  <a:pt x="89" y="11"/>
                </a:lnTo>
                <a:lnTo>
                  <a:pt x="81" y="17"/>
                </a:lnTo>
                <a:lnTo>
                  <a:pt x="72" y="17"/>
                </a:lnTo>
                <a:lnTo>
                  <a:pt x="58" y="17"/>
                </a:lnTo>
                <a:lnTo>
                  <a:pt x="46" y="17"/>
                </a:lnTo>
                <a:lnTo>
                  <a:pt x="32" y="11"/>
                </a:lnTo>
                <a:lnTo>
                  <a:pt x="29" y="5"/>
                </a:lnTo>
                <a:lnTo>
                  <a:pt x="18" y="5"/>
                </a:lnTo>
                <a:lnTo>
                  <a:pt x="15" y="2"/>
                </a:lnTo>
                <a:lnTo>
                  <a:pt x="6" y="5"/>
                </a:lnTo>
                <a:lnTo>
                  <a:pt x="9" y="8"/>
                </a:lnTo>
                <a:lnTo>
                  <a:pt x="9" y="11"/>
                </a:lnTo>
                <a:lnTo>
                  <a:pt x="9" y="14"/>
                </a:lnTo>
                <a:lnTo>
                  <a:pt x="3" y="20"/>
                </a:lnTo>
                <a:lnTo>
                  <a:pt x="6" y="22"/>
                </a:lnTo>
                <a:lnTo>
                  <a:pt x="0" y="28"/>
                </a:lnTo>
                <a:lnTo>
                  <a:pt x="3" y="28"/>
                </a:lnTo>
                <a:lnTo>
                  <a:pt x="9" y="28"/>
                </a:lnTo>
                <a:lnTo>
                  <a:pt x="18" y="28"/>
                </a:lnTo>
                <a:lnTo>
                  <a:pt x="21" y="22"/>
                </a:lnTo>
                <a:lnTo>
                  <a:pt x="26" y="22"/>
                </a:lnTo>
                <a:lnTo>
                  <a:pt x="38" y="20"/>
                </a:lnTo>
                <a:lnTo>
                  <a:pt x="46" y="22"/>
                </a:lnTo>
                <a:lnTo>
                  <a:pt x="55" y="25"/>
                </a:lnTo>
                <a:lnTo>
                  <a:pt x="55" y="28"/>
                </a:lnTo>
                <a:lnTo>
                  <a:pt x="46" y="28"/>
                </a:lnTo>
                <a:lnTo>
                  <a:pt x="43" y="31"/>
                </a:lnTo>
                <a:lnTo>
                  <a:pt x="46" y="34"/>
                </a:lnTo>
                <a:lnTo>
                  <a:pt x="35" y="31"/>
                </a:lnTo>
                <a:lnTo>
                  <a:pt x="15" y="31"/>
                </a:lnTo>
                <a:lnTo>
                  <a:pt x="9" y="37"/>
                </a:lnTo>
                <a:lnTo>
                  <a:pt x="3" y="37"/>
                </a:lnTo>
                <a:lnTo>
                  <a:pt x="0" y="45"/>
                </a:lnTo>
                <a:lnTo>
                  <a:pt x="0" y="48"/>
                </a:lnTo>
                <a:lnTo>
                  <a:pt x="3" y="51"/>
                </a:lnTo>
                <a:lnTo>
                  <a:pt x="12" y="48"/>
                </a:lnTo>
                <a:lnTo>
                  <a:pt x="12" y="54"/>
                </a:lnTo>
                <a:lnTo>
                  <a:pt x="15" y="60"/>
                </a:lnTo>
                <a:lnTo>
                  <a:pt x="12" y="66"/>
                </a:lnTo>
                <a:lnTo>
                  <a:pt x="12" y="71"/>
                </a:lnTo>
                <a:lnTo>
                  <a:pt x="18" y="71"/>
                </a:lnTo>
                <a:lnTo>
                  <a:pt x="12" y="74"/>
                </a:lnTo>
                <a:lnTo>
                  <a:pt x="12" y="68"/>
                </a:lnTo>
                <a:lnTo>
                  <a:pt x="6" y="66"/>
                </a:lnTo>
                <a:lnTo>
                  <a:pt x="6" y="68"/>
                </a:lnTo>
                <a:lnTo>
                  <a:pt x="9" y="71"/>
                </a:lnTo>
                <a:lnTo>
                  <a:pt x="6" y="74"/>
                </a:lnTo>
                <a:lnTo>
                  <a:pt x="9" y="77"/>
                </a:lnTo>
                <a:lnTo>
                  <a:pt x="12" y="77"/>
                </a:lnTo>
                <a:lnTo>
                  <a:pt x="12" y="74"/>
                </a:lnTo>
                <a:lnTo>
                  <a:pt x="18" y="77"/>
                </a:lnTo>
                <a:lnTo>
                  <a:pt x="23" y="83"/>
                </a:lnTo>
                <a:lnTo>
                  <a:pt x="21" y="86"/>
                </a:lnTo>
                <a:lnTo>
                  <a:pt x="18" y="83"/>
                </a:lnTo>
                <a:lnTo>
                  <a:pt x="12" y="83"/>
                </a:lnTo>
                <a:lnTo>
                  <a:pt x="21" y="89"/>
                </a:lnTo>
                <a:lnTo>
                  <a:pt x="23" y="91"/>
                </a:lnTo>
                <a:lnTo>
                  <a:pt x="26" y="94"/>
                </a:lnTo>
                <a:lnTo>
                  <a:pt x="23" y="97"/>
                </a:lnTo>
                <a:lnTo>
                  <a:pt x="21" y="100"/>
                </a:lnTo>
                <a:lnTo>
                  <a:pt x="29" y="97"/>
                </a:lnTo>
                <a:lnTo>
                  <a:pt x="41" y="97"/>
                </a:lnTo>
                <a:lnTo>
                  <a:pt x="38" y="100"/>
                </a:lnTo>
                <a:lnTo>
                  <a:pt x="43" y="103"/>
                </a:lnTo>
                <a:lnTo>
                  <a:pt x="49" y="106"/>
                </a:lnTo>
                <a:lnTo>
                  <a:pt x="61" y="117"/>
                </a:lnTo>
                <a:lnTo>
                  <a:pt x="72" y="114"/>
                </a:lnTo>
                <a:lnTo>
                  <a:pt x="78" y="109"/>
                </a:lnTo>
                <a:lnTo>
                  <a:pt x="84" y="103"/>
                </a:lnTo>
                <a:lnTo>
                  <a:pt x="92" y="106"/>
                </a:lnTo>
                <a:lnTo>
                  <a:pt x="104" y="111"/>
                </a:lnTo>
                <a:lnTo>
                  <a:pt x="107" y="114"/>
                </a:lnTo>
                <a:lnTo>
                  <a:pt x="112" y="114"/>
                </a:lnTo>
                <a:lnTo>
                  <a:pt x="127" y="114"/>
                </a:lnTo>
                <a:lnTo>
                  <a:pt x="135" y="109"/>
                </a:lnTo>
                <a:lnTo>
                  <a:pt x="144" y="103"/>
                </a:lnTo>
                <a:lnTo>
                  <a:pt x="153" y="103"/>
                </a:lnTo>
                <a:lnTo>
                  <a:pt x="158" y="103"/>
                </a:lnTo>
                <a:lnTo>
                  <a:pt x="161" y="103"/>
                </a:lnTo>
                <a:lnTo>
                  <a:pt x="164" y="100"/>
                </a:lnTo>
                <a:lnTo>
                  <a:pt x="164" y="111"/>
                </a:lnTo>
                <a:lnTo>
                  <a:pt x="164" y="117"/>
                </a:lnTo>
                <a:lnTo>
                  <a:pt x="167" y="120"/>
                </a:lnTo>
                <a:lnTo>
                  <a:pt x="170" y="114"/>
                </a:lnTo>
                <a:lnTo>
                  <a:pt x="170" y="111"/>
                </a:lnTo>
                <a:lnTo>
                  <a:pt x="173" y="111"/>
                </a:lnTo>
                <a:lnTo>
                  <a:pt x="176" y="111"/>
                </a:lnTo>
                <a:lnTo>
                  <a:pt x="173" y="100"/>
                </a:lnTo>
                <a:lnTo>
                  <a:pt x="176" y="100"/>
                </a:lnTo>
                <a:lnTo>
                  <a:pt x="184" y="103"/>
                </a:lnTo>
                <a:lnTo>
                  <a:pt x="196" y="100"/>
                </a:lnTo>
                <a:lnTo>
                  <a:pt x="198" y="100"/>
                </a:lnTo>
                <a:lnTo>
                  <a:pt x="204" y="97"/>
                </a:lnTo>
                <a:lnTo>
                  <a:pt x="204" y="100"/>
                </a:lnTo>
                <a:lnTo>
                  <a:pt x="210" y="103"/>
                </a:lnTo>
                <a:lnTo>
                  <a:pt x="213" y="103"/>
                </a:lnTo>
                <a:lnTo>
                  <a:pt x="230" y="100"/>
                </a:lnTo>
                <a:lnTo>
                  <a:pt x="244" y="94"/>
                </a:lnTo>
                <a:lnTo>
                  <a:pt x="259" y="94"/>
                </a:lnTo>
                <a:lnTo>
                  <a:pt x="265" y="89"/>
                </a:lnTo>
                <a:lnTo>
                  <a:pt x="265" y="91"/>
                </a:lnTo>
                <a:lnTo>
                  <a:pt x="267" y="94"/>
                </a:lnTo>
                <a:lnTo>
                  <a:pt x="270" y="89"/>
                </a:lnTo>
                <a:lnTo>
                  <a:pt x="282" y="91"/>
                </a:lnTo>
                <a:lnTo>
                  <a:pt x="290" y="91"/>
                </a:lnTo>
                <a:lnTo>
                  <a:pt x="293" y="89"/>
                </a:lnTo>
                <a:lnTo>
                  <a:pt x="296" y="91"/>
                </a:lnTo>
                <a:lnTo>
                  <a:pt x="296" y="94"/>
                </a:lnTo>
                <a:lnTo>
                  <a:pt x="299" y="97"/>
                </a:lnTo>
                <a:lnTo>
                  <a:pt x="302" y="94"/>
                </a:lnTo>
                <a:lnTo>
                  <a:pt x="299" y="91"/>
                </a:lnTo>
                <a:lnTo>
                  <a:pt x="296" y="83"/>
                </a:lnTo>
                <a:lnTo>
                  <a:pt x="293" y="80"/>
                </a:lnTo>
                <a:lnTo>
                  <a:pt x="296" y="71"/>
                </a:lnTo>
                <a:lnTo>
                  <a:pt x="290" y="60"/>
                </a:lnTo>
                <a:lnTo>
                  <a:pt x="287" y="54"/>
                </a:lnTo>
                <a:lnTo>
                  <a:pt x="293" y="48"/>
                </a:lnTo>
                <a:lnTo>
                  <a:pt x="293" y="45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82" name="Freeform 287"/>
          <p:cNvSpPr>
            <a:spLocks/>
          </p:cNvSpPr>
          <p:nvPr/>
        </p:nvSpPr>
        <p:spPr bwMode="gray">
          <a:xfrm>
            <a:off x="5314958" y="2428566"/>
            <a:ext cx="6000" cy="7500"/>
          </a:xfrm>
          <a:custGeom>
            <a:avLst/>
            <a:gdLst>
              <a:gd name="T0" fmla="*/ 0 w 3"/>
              <a:gd name="T1" fmla="*/ 0 h 5"/>
              <a:gd name="T2" fmla="*/ 0 w 3"/>
              <a:gd name="T3" fmla="*/ 2147483647 h 5"/>
              <a:gd name="T4" fmla="*/ 2147483647 w 3"/>
              <a:gd name="T5" fmla="*/ 2147483647 h 5"/>
              <a:gd name="T6" fmla="*/ 0 w 3"/>
              <a:gd name="T7" fmla="*/ 0 h 5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5"/>
              <a:gd name="T14" fmla="*/ 3 w 3"/>
              <a:gd name="T15" fmla="*/ 5 h 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5">
                <a:moveTo>
                  <a:pt x="0" y="0"/>
                </a:moveTo>
                <a:lnTo>
                  <a:pt x="0" y="5"/>
                </a:lnTo>
                <a:lnTo>
                  <a:pt x="3" y="5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83" name="Freeform 288"/>
          <p:cNvSpPr>
            <a:spLocks/>
          </p:cNvSpPr>
          <p:nvPr/>
        </p:nvSpPr>
        <p:spPr bwMode="gray">
          <a:xfrm>
            <a:off x="7063273" y="3033082"/>
            <a:ext cx="10001" cy="16501"/>
          </a:xfrm>
          <a:custGeom>
            <a:avLst/>
            <a:gdLst>
              <a:gd name="T0" fmla="*/ 2147483647 w 5"/>
              <a:gd name="T1" fmla="*/ 2147483647 h 11"/>
              <a:gd name="T2" fmla="*/ 2147483647 w 5"/>
              <a:gd name="T3" fmla="*/ 2147483647 h 11"/>
              <a:gd name="T4" fmla="*/ 2147483647 w 5"/>
              <a:gd name="T5" fmla="*/ 2147483647 h 11"/>
              <a:gd name="T6" fmla="*/ 2147483647 w 5"/>
              <a:gd name="T7" fmla="*/ 0 h 11"/>
              <a:gd name="T8" fmla="*/ 0 w 5"/>
              <a:gd name="T9" fmla="*/ 2147483647 h 11"/>
              <a:gd name="T10" fmla="*/ 0 w 5"/>
              <a:gd name="T11" fmla="*/ 2147483647 h 11"/>
              <a:gd name="T12" fmla="*/ 2147483647 w 5"/>
              <a:gd name="T13" fmla="*/ 2147483647 h 11"/>
              <a:gd name="T14" fmla="*/ 2147483647 w 5"/>
              <a:gd name="T15" fmla="*/ 2147483647 h 11"/>
              <a:gd name="T16" fmla="*/ 2147483647 w 5"/>
              <a:gd name="T17" fmla="*/ 2147483647 h 11"/>
              <a:gd name="T18" fmla="*/ 2147483647 w 5"/>
              <a:gd name="T19" fmla="*/ 2147483647 h 11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5"/>
              <a:gd name="T31" fmla="*/ 0 h 11"/>
              <a:gd name="T32" fmla="*/ 5 w 5"/>
              <a:gd name="T33" fmla="*/ 11 h 11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5" h="11">
                <a:moveTo>
                  <a:pt x="5" y="11"/>
                </a:moveTo>
                <a:lnTo>
                  <a:pt x="5" y="11"/>
                </a:lnTo>
                <a:lnTo>
                  <a:pt x="5" y="5"/>
                </a:lnTo>
                <a:lnTo>
                  <a:pt x="2" y="0"/>
                </a:lnTo>
                <a:lnTo>
                  <a:pt x="0" y="3"/>
                </a:lnTo>
                <a:lnTo>
                  <a:pt x="2" y="8"/>
                </a:lnTo>
                <a:lnTo>
                  <a:pt x="2" y="11"/>
                </a:lnTo>
                <a:lnTo>
                  <a:pt x="5" y="1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84" name="Freeform 289"/>
          <p:cNvSpPr>
            <a:spLocks/>
          </p:cNvSpPr>
          <p:nvPr/>
        </p:nvSpPr>
        <p:spPr bwMode="gray">
          <a:xfrm>
            <a:off x="6799226" y="3433594"/>
            <a:ext cx="60011" cy="51001"/>
          </a:xfrm>
          <a:custGeom>
            <a:avLst/>
            <a:gdLst>
              <a:gd name="T0" fmla="*/ 2147483647 w 29"/>
              <a:gd name="T1" fmla="*/ 2147483647 h 34"/>
              <a:gd name="T2" fmla="*/ 2147483647 w 29"/>
              <a:gd name="T3" fmla="*/ 2147483647 h 34"/>
              <a:gd name="T4" fmla="*/ 2147483647 w 29"/>
              <a:gd name="T5" fmla="*/ 2147483647 h 34"/>
              <a:gd name="T6" fmla="*/ 2147483647 w 29"/>
              <a:gd name="T7" fmla="*/ 0 h 34"/>
              <a:gd name="T8" fmla="*/ 2147483647 w 29"/>
              <a:gd name="T9" fmla="*/ 2147483647 h 34"/>
              <a:gd name="T10" fmla="*/ 2147483647 w 29"/>
              <a:gd name="T11" fmla="*/ 2147483647 h 34"/>
              <a:gd name="T12" fmla="*/ 2147483647 w 29"/>
              <a:gd name="T13" fmla="*/ 2147483647 h 34"/>
              <a:gd name="T14" fmla="*/ 2147483647 w 29"/>
              <a:gd name="T15" fmla="*/ 2147483647 h 34"/>
              <a:gd name="T16" fmla="*/ 0 w 29"/>
              <a:gd name="T17" fmla="*/ 2147483647 h 34"/>
              <a:gd name="T18" fmla="*/ 2147483647 w 29"/>
              <a:gd name="T19" fmla="*/ 2147483647 h 34"/>
              <a:gd name="T20" fmla="*/ 2147483647 w 29"/>
              <a:gd name="T21" fmla="*/ 2147483647 h 34"/>
              <a:gd name="T22" fmla="*/ 2147483647 w 29"/>
              <a:gd name="T23" fmla="*/ 2147483647 h 34"/>
              <a:gd name="T24" fmla="*/ 2147483647 w 29"/>
              <a:gd name="T25" fmla="*/ 2147483647 h 34"/>
              <a:gd name="T26" fmla="*/ 2147483647 w 29"/>
              <a:gd name="T27" fmla="*/ 2147483647 h 34"/>
              <a:gd name="T28" fmla="*/ 2147483647 w 29"/>
              <a:gd name="T29" fmla="*/ 2147483647 h 34"/>
              <a:gd name="T30" fmla="*/ 2147483647 w 29"/>
              <a:gd name="T31" fmla="*/ 2147483647 h 34"/>
              <a:gd name="T32" fmla="*/ 2147483647 w 29"/>
              <a:gd name="T33" fmla="*/ 2147483647 h 34"/>
              <a:gd name="T34" fmla="*/ 2147483647 w 29"/>
              <a:gd name="T35" fmla="*/ 2147483647 h 34"/>
              <a:gd name="T36" fmla="*/ 2147483647 w 29"/>
              <a:gd name="T37" fmla="*/ 2147483647 h 34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29"/>
              <a:gd name="T58" fmla="*/ 0 h 34"/>
              <a:gd name="T59" fmla="*/ 29 w 29"/>
              <a:gd name="T60" fmla="*/ 34 h 34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29" h="34">
                <a:moveTo>
                  <a:pt x="29" y="11"/>
                </a:moveTo>
                <a:lnTo>
                  <a:pt x="26" y="3"/>
                </a:lnTo>
                <a:lnTo>
                  <a:pt x="20" y="0"/>
                </a:lnTo>
                <a:lnTo>
                  <a:pt x="18" y="6"/>
                </a:lnTo>
                <a:lnTo>
                  <a:pt x="12" y="8"/>
                </a:lnTo>
                <a:lnTo>
                  <a:pt x="9" y="6"/>
                </a:lnTo>
                <a:lnTo>
                  <a:pt x="0" y="23"/>
                </a:lnTo>
                <a:lnTo>
                  <a:pt x="3" y="34"/>
                </a:lnTo>
                <a:lnTo>
                  <a:pt x="12" y="31"/>
                </a:lnTo>
                <a:lnTo>
                  <a:pt x="18" y="31"/>
                </a:lnTo>
                <a:lnTo>
                  <a:pt x="26" y="26"/>
                </a:lnTo>
                <a:lnTo>
                  <a:pt x="23" y="23"/>
                </a:lnTo>
                <a:lnTo>
                  <a:pt x="6" y="26"/>
                </a:lnTo>
                <a:lnTo>
                  <a:pt x="20" y="17"/>
                </a:lnTo>
                <a:lnTo>
                  <a:pt x="29" y="1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85" name="Freeform 290"/>
          <p:cNvSpPr>
            <a:spLocks/>
          </p:cNvSpPr>
          <p:nvPr/>
        </p:nvSpPr>
        <p:spPr bwMode="gray">
          <a:xfrm>
            <a:off x="8823590" y="3649600"/>
            <a:ext cx="6000" cy="9000"/>
          </a:xfrm>
          <a:custGeom>
            <a:avLst/>
            <a:gdLst>
              <a:gd name="T0" fmla="*/ 0 w 3"/>
              <a:gd name="T1" fmla="*/ 0 h 6"/>
              <a:gd name="T2" fmla="*/ 0 w 3"/>
              <a:gd name="T3" fmla="*/ 2147483647 h 6"/>
              <a:gd name="T4" fmla="*/ 2147483647 w 3"/>
              <a:gd name="T5" fmla="*/ 2147483647 h 6"/>
              <a:gd name="T6" fmla="*/ 2147483647 w 3"/>
              <a:gd name="T7" fmla="*/ 0 h 6"/>
              <a:gd name="T8" fmla="*/ 0 w 3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0" y="0"/>
                </a:moveTo>
                <a:lnTo>
                  <a:pt x="0" y="6"/>
                </a:lnTo>
                <a:lnTo>
                  <a:pt x="3" y="3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104" name="Freeform 291"/>
          <p:cNvSpPr>
            <a:spLocks/>
          </p:cNvSpPr>
          <p:nvPr/>
        </p:nvSpPr>
        <p:spPr bwMode="gray">
          <a:xfrm>
            <a:off x="8823590" y="3615097"/>
            <a:ext cx="152027" cy="157505"/>
          </a:xfrm>
          <a:custGeom>
            <a:avLst/>
            <a:gdLst>
              <a:gd name="T0" fmla="*/ 2147483647 w 75"/>
              <a:gd name="T1" fmla="*/ 2147483647 h 104"/>
              <a:gd name="T2" fmla="*/ 2147483647 w 75"/>
              <a:gd name="T3" fmla="*/ 2147483647 h 104"/>
              <a:gd name="T4" fmla="*/ 2147483647 w 75"/>
              <a:gd name="T5" fmla="*/ 2147483647 h 104"/>
              <a:gd name="T6" fmla="*/ 2147483647 w 75"/>
              <a:gd name="T7" fmla="*/ 2147483647 h 104"/>
              <a:gd name="T8" fmla="*/ 2147483647 w 75"/>
              <a:gd name="T9" fmla="*/ 2147483647 h 104"/>
              <a:gd name="T10" fmla="*/ 2147483647 w 75"/>
              <a:gd name="T11" fmla="*/ 2147483647 h 104"/>
              <a:gd name="T12" fmla="*/ 2147483647 w 75"/>
              <a:gd name="T13" fmla="*/ 2147483647 h 104"/>
              <a:gd name="T14" fmla="*/ 2147483647 w 75"/>
              <a:gd name="T15" fmla="*/ 2147483647 h 104"/>
              <a:gd name="T16" fmla="*/ 2147483647 w 75"/>
              <a:gd name="T17" fmla="*/ 2147483647 h 104"/>
              <a:gd name="T18" fmla="*/ 2147483647 w 75"/>
              <a:gd name="T19" fmla="*/ 2147483647 h 104"/>
              <a:gd name="T20" fmla="*/ 2147483647 w 75"/>
              <a:gd name="T21" fmla="*/ 2147483647 h 104"/>
              <a:gd name="T22" fmla="*/ 2147483647 w 75"/>
              <a:gd name="T23" fmla="*/ 2147483647 h 104"/>
              <a:gd name="T24" fmla="*/ 2147483647 w 75"/>
              <a:gd name="T25" fmla="*/ 2147483647 h 104"/>
              <a:gd name="T26" fmla="*/ 2147483647 w 75"/>
              <a:gd name="T27" fmla="*/ 2147483647 h 104"/>
              <a:gd name="T28" fmla="*/ 2147483647 w 75"/>
              <a:gd name="T29" fmla="*/ 2147483647 h 104"/>
              <a:gd name="T30" fmla="*/ 2147483647 w 75"/>
              <a:gd name="T31" fmla="*/ 2147483647 h 104"/>
              <a:gd name="T32" fmla="*/ 2147483647 w 75"/>
              <a:gd name="T33" fmla="*/ 2147483647 h 104"/>
              <a:gd name="T34" fmla="*/ 2147483647 w 75"/>
              <a:gd name="T35" fmla="*/ 2147483647 h 104"/>
              <a:gd name="T36" fmla="*/ 2147483647 w 75"/>
              <a:gd name="T37" fmla="*/ 2147483647 h 104"/>
              <a:gd name="T38" fmla="*/ 2147483647 w 75"/>
              <a:gd name="T39" fmla="*/ 2147483647 h 104"/>
              <a:gd name="T40" fmla="*/ 2147483647 w 75"/>
              <a:gd name="T41" fmla="*/ 2147483647 h 104"/>
              <a:gd name="T42" fmla="*/ 2147483647 w 75"/>
              <a:gd name="T43" fmla="*/ 2147483647 h 104"/>
              <a:gd name="T44" fmla="*/ 2147483647 w 75"/>
              <a:gd name="T45" fmla="*/ 2147483647 h 104"/>
              <a:gd name="T46" fmla="*/ 2147483647 w 75"/>
              <a:gd name="T47" fmla="*/ 2147483647 h 104"/>
              <a:gd name="T48" fmla="*/ 2147483647 w 75"/>
              <a:gd name="T49" fmla="*/ 2147483647 h 104"/>
              <a:gd name="T50" fmla="*/ 2147483647 w 75"/>
              <a:gd name="T51" fmla="*/ 2147483647 h 104"/>
              <a:gd name="T52" fmla="*/ 2147483647 w 75"/>
              <a:gd name="T53" fmla="*/ 2147483647 h 104"/>
              <a:gd name="T54" fmla="*/ 2147483647 w 75"/>
              <a:gd name="T55" fmla="*/ 2147483647 h 104"/>
              <a:gd name="T56" fmla="*/ 2147483647 w 75"/>
              <a:gd name="T57" fmla="*/ 2147483647 h 104"/>
              <a:gd name="T58" fmla="*/ 2147483647 w 75"/>
              <a:gd name="T59" fmla="*/ 2147483647 h 104"/>
              <a:gd name="T60" fmla="*/ 2147483647 w 75"/>
              <a:gd name="T61" fmla="*/ 2147483647 h 104"/>
              <a:gd name="T62" fmla="*/ 2147483647 w 75"/>
              <a:gd name="T63" fmla="*/ 2147483647 h 104"/>
              <a:gd name="T64" fmla="*/ 0 w 75"/>
              <a:gd name="T65" fmla="*/ 2147483647 h 104"/>
              <a:gd name="T66" fmla="*/ 2147483647 w 75"/>
              <a:gd name="T67" fmla="*/ 2147483647 h 104"/>
              <a:gd name="T68" fmla="*/ 2147483647 w 75"/>
              <a:gd name="T69" fmla="*/ 2147483647 h 104"/>
              <a:gd name="T70" fmla="*/ 2147483647 w 75"/>
              <a:gd name="T71" fmla="*/ 2147483647 h 104"/>
              <a:gd name="T72" fmla="*/ 2147483647 w 75"/>
              <a:gd name="T73" fmla="*/ 2147483647 h 104"/>
              <a:gd name="T74" fmla="*/ 2147483647 w 75"/>
              <a:gd name="T75" fmla="*/ 2147483647 h 104"/>
              <a:gd name="T76" fmla="*/ 2147483647 w 75"/>
              <a:gd name="T77" fmla="*/ 2147483647 h 104"/>
              <a:gd name="T78" fmla="*/ 2147483647 w 75"/>
              <a:gd name="T79" fmla="*/ 2147483647 h 104"/>
              <a:gd name="T80" fmla="*/ 2147483647 w 75"/>
              <a:gd name="T81" fmla="*/ 2147483647 h 104"/>
              <a:gd name="T82" fmla="*/ 2147483647 w 75"/>
              <a:gd name="T83" fmla="*/ 2147483647 h 10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75"/>
              <a:gd name="T127" fmla="*/ 0 h 104"/>
              <a:gd name="T128" fmla="*/ 75 w 75"/>
              <a:gd name="T129" fmla="*/ 104 h 104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75" h="104">
                <a:moveTo>
                  <a:pt x="15" y="52"/>
                </a:moveTo>
                <a:lnTo>
                  <a:pt x="15" y="52"/>
                </a:lnTo>
                <a:lnTo>
                  <a:pt x="20" y="61"/>
                </a:lnTo>
                <a:lnTo>
                  <a:pt x="23" y="75"/>
                </a:lnTo>
                <a:lnTo>
                  <a:pt x="26" y="75"/>
                </a:lnTo>
                <a:lnTo>
                  <a:pt x="29" y="78"/>
                </a:lnTo>
                <a:lnTo>
                  <a:pt x="35" y="84"/>
                </a:lnTo>
                <a:lnTo>
                  <a:pt x="43" y="89"/>
                </a:lnTo>
                <a:lnTo>
                  <a:pt x="52" y="95"/>
                </a:lnTo>
                <a:lnTo>
                  <a:pt x="63" y="101"/>
                </a:lnTo>
                <a:lnTo>
                  <a:pt x="66" y="104"/>
                </a:lnTo>
                <a:lnTo>
                  <a:pt x="69" y="101"/>
                </a:lnTo>
                <a:lnTo>
                  <a:pt x="72" y="101"/>
                </a:lnTo>
                <a:lnTo>
                  <a:pt x="75" y="101"/>
                </a:lnTo>
                <a:lnTo>
                  <a:pt x="75" y="98"/>
                </a:lnTo>
                <a:lnTo>
                  <a:pt x="75" y="92"/>
                </a:lnTo>
                <a:lnTo>
                  <a:pt x="66" y="78"/>
                </a:lnTo>
                <a:lnTo>
                  <a:pt x="63" y="72"/>
                </a:lnTo>
                <a:lnTo>
                  <a:pt x="60" y="66"/>
                </a:lnTo>
                <a:lnTo>
                  <a:pt x="58" y="58"/>
                </a:lnTo>
                <a:lnTo>
                  <a:pt x="60" y="52"/>
                </a:lnTo>
                <a:lnTo>
                  <a:pt x="60" y="44"/>
                </a:lnTo>
                <a:lnTo>
                  <a:pt x="60" y="38"/>
                </a:lnTo>
                <a:lnTo>
                  <a:pt x="58" y="29"/>
                </a:lnTo>
                <a:lnTo>
                  <a:pt x="52" y="21"/>
                </a:lnTo>
                <a:lnTo>
                  <a:pt x="46" y="15"/>
                </a:lnTo>
                <a:lnTo>
                  <a:pt x="43" y="9"/>
                </a:lnTo>
                <a:lnTo>
                  <a:pt x="37" y="6"/>
                </a:lnTo>
                <a:lnTo>
                  <a:pt x="32" y="18"/>
                </a:lnTo>
                <a:lnTo>
                  <a:pt x="29" y="18"/>
                </a:lnTo>
                <a:lnTo>
                  <a:pt x="26" y="15"/>
                </a:lnTo>
                <a:lnTo>
                  <a:pt x="23" y="18"/>
                </a:lnTo>
                <a:lnTo>
                  <a:pt x="20" y="21"/>
                </a:lnTo>
                <a:lnTo>
                  <a:pt x="20" y="23"/>
                </a:lnTo>
                <a:lnTo>
                  <a:pt x="15" y="18"/>
                </a:lnTo>
                <a:lnTo>
                  <a:pt x="15" y="15"/>
                </a:lnTo>
                <a:lnTo>
                  <a:pt x="15" y="9"/>
                </a:lnTo>
                <a:lnTo>
                  <a:pt x="12" y="6"/>
                </a:lnTo>
                <a:lnTo>
                  <a:pt x="12" y="3"/>
                </a:lnTo>
                <a:lnTo>
                  <a:pt x="9" y="3"/>
                </a:lnTo>
                <a:lnTo>
                  <a:pt x="6" y="3"/>
                </a:lnTo>
                <a:lnTo>
                  <a:pt x="3" y="0"/>
                </a:lnTo>
                <a:lnTo>
                  <a:pt x="0" y="6"/>
                </a:lnTo>
                <a:lnTo>
                  <a:pt x="3" y="9"/>
                </a:lnTo>
                <a:lnTo>
                  <a:pt x="3" y="12"/>
                </a:lnTo>
                <a:lnTo>
                  <a:pt x="6" y="18"/>
                </a:lnTo>
                <a:lnTo>
                  <a:pt x="6" y="26"/>
                </a:lnTo>
                <a:lnTo>
                  <a:pt x="6" y="29"/>
                </a:lnTo>
                <a:lnTo>
                  <a:pt x="6" y="32"/>
                </a:lnTo>
                <a:lnTo>
                  <a:pt x="9" y="38"/>
                </a:lnTo>
                <a:lnTo>
                  <a:pt x="12" y="44"/>
                </a:lnTo>
                <a:lnTo>
                  <a:pt x="12" y="46"/>
                </a:lnTo>
                <a:lnTo>
                  <a:pt x="15" y="49"/>
                </a:lnTo>
                <a:lnTo>
                  <a:pt x="15" y="52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187" name="Freeform 292"/>
          <p:cNvSpPr>
            <a:spLocks/>
          </p:cNvSpPr>
          <p:nvPr/>
        </p:nvSpPr>
        <p:spPr bwMode="gray">
          <a:xfrm>
            <a:off x="8807587" y="3619599"/>
            <a:ext cx="10001" cy="9000"/>
          </a:xfrm>
          <a:custGeom>
            <a:avLst/>
            <a:gdLst>
              <a:gd name="T0" fmla="*/ 2147483647 w 5"/>
              <a:gd name="T1" fmla="*/ 0 h 6"/>
              <a:gd name="T2" fmla="*/ 2147483647 w 5"/>
              <a:gd name="T3" fmla="*/ 0 h 6"/>
              <a:gd name="T4" fmla="*/ 0 w 5"/>
              <a:gd name="T5" fmla="*/ 2147483647 h 6"/>
              <a:gd name="T6" fmla="*/ 2147483647 w 5"/>
              <a:gd name="T7" fmla="*/ 2147483647 h 6"/>
              <a:gd name="T8" fmla="*/ 2147483647 w 5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6"/>
              <a:gd name="T17" fmla="*/ 5 w 5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6">
                <a:moveTo>
                  <a:pt x="5" y="0"/>
                </a:moveTo>
                <a:lnTo>
                  <a:pt x="2" y="0"/>
                </a:lnTo>
                <a:lnTo>
                  <a:pt x="0" y="3"/>
                </a:lnTo>
                <a:lnTo>
                  <a:pt x="2" y="6"/>
                </a:lnTo>
                <a:lnTo>
                  <a:pt x="5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88" name="Freeform 293"/>
          <p:cNvSpPr>
            <a:spLocks/>
          </p:cNvSpPr>
          <p:nvPr/>
        </p:nvSpPr>
        <p:spPr bwMode="gray">
          <a:xfrm>
            <a:off x="8801585" y="3612098"/>
            <a:ext cx="10002" cy="3000"/>
          </a:xfrm>
          <a:custGeom>
            <a:avLst/>
            <a:gdLst>
              <a:gd name="T0" fmla="*/ 0 w 5"/>
              <a:gd name="T1" fmla="*/ 2147483647 h 2"/>
              <a:gd name="T2" fmla="*/ 2147483647 w 5"/>
              <a:gd name="T3" fmla="*/ 2147483647 h 2"/>
              <a:gd name="T4" fmla="*/ 2147483647 w 5"/>
              <a:gd name="T5" fmla="*/ 0 h 2"/>
              <a:gd name="T6" fmla="*/ 2147483647 w 5"/>
              <a:gd name="T7" fmla="*/ 0 h 2"/>
              <a:gd name="T8" fmla="*/ 0 w 5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2"/>
              <a:gd name="T17" fmla="*/ 5 w 5"/>
              <a:gd name="T18" fmla="*/ 2 h 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2">
                <a:moveTo>
                  <a:pt x="0" y="2"/>
                </a:moveTo>
                <a:lnTo>
                  <a:pt x="3" y="2"/>
                </a:lnTo>
                <a:lnTo>
                  <a:pt x="5" y="0"/>
                </a:lnTo>
                <a:lnTo>
                  <a:pt x="3" y="0"/>
                </a:lnTo>
                <a:lnTo>
                  <a:pt x="0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89" name="Freeform 294"/>
          <p:cNvSpPr>
            <a:spLocks/>
          </p:cNvSpPr>
          <p:nvPr/>
        </p:nvSpPr>
        <p:spPr bwMode="gray">
          <a:xfrm>
            <a:off x="9003623" y="3853605"/>
            <a:ext cx="66011" cy="49501"/>
          </a:xfrm>
          <a:custGeom>
            <a:avLst/>
            <a:gdLst>
              <a:gd name="T0" fmla="*/ 2147483647 w 32"/>
              <a:gd name="T1" fmla="*/ 2147483647 h 32"/>
              <a:gd name="T2" fmla="*/ 2147483647 w 32"/>
              <a:gd name="T3" fmla="*/ 2147483647 h 32"/>
              <a:gd name="T4" fmla="*/ 2147483647 w 32"/>
              <a:gd name="T5" fmla="*/ 2147483647 h 32"/>
              <a:gd name="T6" fmla="*/ 2147483647 w 32"/>
              <a:gd name="T7" fmla="*/ 2147483647 h 32"/>
              <a:gd name="T8" fmla="*/ 2147483647 w 32"/>
              <a:gd name="T9" fmla="*/ 2147483647 h 32"/>
              <a:gd name="T10" fmla="*/ 2147483647 w 32"/>
              <a:gd name="T11" fmla="*/ 2147483647 h 32"/>
              <a:gd name="T12" fmla="*/ 2147483647 w 32"/>
              <a:gd name="T13" fmla="*/ 2147483647 h 32"/>
              <a:gd name="T14" fmla="*/ 2147483647 w 32"/>
              <a:gd name="T15" fmla="*/ 2147483647 h 32"/>
              <a:gd name="T16" fmla="*/ 2147483647 w 32"/>
              <a:gd name="T17" fmla="*/ 2147483647 h 32"/>
              <a:gd name="T18" fmla="*/ 2147483647 w 32"/>
              <a:gd name="T19" fmla="*/ 2147483647 h 32"/>
              <a:gd name="T20" fmla="*/ 2147483647 w 32"/>
              <a:gd name="T21" fmla="*/ 2147483647 h 32"/>
              <a:gd name="T22" fmla="*/ 2147483647 w 32"/>
              <a:gd name="T23" fmla="*/ 2147483647 h 32"/>
              <a:gd name="T24" fmla="*/ 2147483647 w 32"/>
              <a:gd name="T25" fmla="*/ 2147483647 h 32"/>
              <a:gd name="T26" fmla="*/ 2147483647 w 32"/>
              <a:gd name="T27" fmla="*/ 2147483647 h 32"/>
              <a:gd name="T28" fmla="*/ 2147483647 w 32"/>
              <a:gd name="T29" fmla="*/ 2147483647 h 32"/>
              <a:gd name="T30" fmla="*/ 2147483647 w 32"/>
              <a:gd name="T31" fmla="*/ 2147483647 h 32"/>
              <a:gd name="T32" fmla="*/ 2147483647 w 32"/>
              <a:gd name="T33" fmla="*/ 2147483647 h 32"/>
              <a:gd name="T34" fmla="*/ 2147483647 w 32"/>
              <a:gd name="T35" fmla="*/ 2147483647 h 32"/>
              <a:gd name="T36" fmla="*/ 2147483647 w 32"/>
              <a:gd name="T37" fmla="*/ 0 h 32"/>
              <a:gd name="T38" fmla="*/ 2147483647 w 32"/>
              <a:gd name="T39" fmla="*/ 0 h 32"/>
              <a:gd name="T40" fmla="*/ 2147483647 w 32"/>
              <a:gd name="T41" fmla="*/ 0 h 32"/>
              <a:gd name="T42" fmla="*/ 2147483647 w 32"/>
              <a:gd name="T43" fmla="*/ 2147483647 h 32"/>
              <a:gd name="T44" fmla="*/ 2147483647 w 32"/>
              <a:gd name="T45" fmla="*/ 2147483647 h 32"/>
              <a:gd name="T46" fmla="*/ 2147483647 w 32"/>
              <a:gd name="T47" fmla="*/ 0 h 32"/>
              <a:gd name="T48" fmla="*/ 2147483647 w 32"/>
              <a:gd name="T49" fmla="*/ 0 h 32"/>
              <a:gd name="T50" fmla="*/ 2147483647 w 32"/>
              <a:gd name="T51" fmla="*/ 0 h 32"/>
              <a:gd name="T52" fmla="*/ 2147483647 w 32"/>
              <a:gd name="T53" fmla="*/ 0 h 32"/>
              <a:gd name="T54" fmla="*/ 2147483647 w 32"/>
              <a:gd name="T55" fmla="*/ 2147483647 h 32"/>
              <a:gd name="T56" fmla="*/ 2147483647 w 32"/>
              <a:gd name="T57" fmla="*/ 2147483647 h 32"/>
              <a:gd name="T58" fmla="*/ 2147483647 w 32"/>
              <a:gd name="T59" fmla="*/ 2147483647 h 32"/>
              <a:gd name="T60" fmla="*/ 2147483647 w 32"/>
              <a:gd name="T61" fmla="*/ 2147483647 h 32"/>
              <a:gd name="T62" fmla="*/ 2147483647 w 32"/>
              <a:gd name="T63" fmla="*/ 2147483647 h 32"/>
              <a:gd name="T64" fmla="*/ 0 w 32"/>
              <a:gd name="T65" fmla="*/ 2147483647 h 32"/>
              <a:gd name="T66" fmla="*/ 2147483647 w 32"/>
              <a:gd name="T67" fmla="*/ 2147483647 h 32"/>
              <a:gd name="T68" fmla="*/ 2147483647 w 32"/>
              <a:gd name="T69" fmla="*/ 2147483647 h 32"/>
              <a:gd name="T70" fmla="*/ 2147483647 w 32"/>
              <a:gd name="T71" fmla="*/ 2147483647 h 32"/>
              <a:gd name="T72" fmla="*/ 2147483647 w 32"/>
              <a:gd name="T73" fmla="*/ 2147483647 h 32"/>
              <a:gd name="T74" fmla="*/ 2147483647 w 32"/>
              <a:gd name="T75" fmla="*/ 2147483647 h 32"/>
              <a:gd name="T76" fmla="*/ 2147483647 w 32"/>
              <a:gd name="T77" fmla="*/ 2147483647 h 32"/>
              <a:gd name="T78" fmla="*/ 2147483647 w 32"/>
              <a:gd name="T79" fmla="*/ 2147483647 h 32"/>
              <a:gd name="T80" fmla="*/ 2147483647 w 32"/>
              <a:gd name="T81" fmla="*/ 2147483647 h 32"/>
              <a:gd name="T82" fmla="*/ 2147483647 w 32"/>
              <a:gd name="T83" fmla="*/ 2147483647 h 32"/>
              <a:gd name="T84" fmla="*/ 2147483647 w 32"/>
              <a:gd name="T85" fmla="*/ 2147483647 h 32"/>
              <a:gd name="T86" fmla="*/ 2147483647 w 32"/>
              <a:gd name="T87" fmla="*/ 2147483647 h 3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2"/>
              <a:gd name="T133" fmla="*/ 0 h 32"/>
              <a:gd name="T134" fmla="*/ 32 w 32"/>
              <a:gd name="T135" fmla="*/ 32 h 3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2" h="32">
                <a:moveTo>
                  <a:pt x="17" y="26"/>
                </a:moveTo>
                <a:lnTo>
                  <a:pt x="17" y="26"/>
                </a:lnTo>
                <a:lnTo>
                  <a:pt x="20" y="26"/>
                </a:lnTo>
                <a:lnTo>
                  <a:pt x="23" y="29"/>
                </a:lnTo>
                <a:lnTo>
                  <a:pt x="23" y="32"/>
                </a:lnTo>
                <a:lnTo>
                  <a:pt x="29" y="32"/>
                </a:lnTo>
                <a:lnTo>
                  <a:pt x="32" y="26"/>
                </a:lnTo>
                <a:lnTo>
                  <a:pt x="26" y="26"/>
                </a:lnTo>
                <a:lnTo>
                  <a:pt x="32" y="20"/>
                </a:lnTo>
                <a:lnTo>
                  <a:pt x="23" y="18"/>
                </a:lnTo>
                <a:lnTo>
                  <a:pt x="20" y="12"/>
                </a:lnTo>
                <a:lnTo>
                  <a:pt x="17" y="3"/>
                </a:lnTo>
                <a:lnTo>
                  <a:pt x="15" y="0"/>
                </a:lnTo>
                <a:lnTo>
                  <a:pt x="12" y="3"/>
                </a:lnTo>
                <a:lnTo>
                  <a:pt x="12" y="0"/>
                </a:lnTo>
                <a:lnTo>
                  <a:pt x="9" y="0"/>
                </a:lnTo>
                <a:lnTo>
                  <a:pt x="6" y="0"/>
                </a:lnTo>
                <a:lnTo>
                  <a:pt x="6" y="3"/>
                </a:lnTo>
                <a:lnTo>
                  <a:pt x="3" y="6"/>
                </a:lnTo>
                <a:lnTo>
                  <a:pt x="0" y="12"/>
                </a:lnTo>
                <a:lnTo>
                  <a:pt x="3" y="12"/>
                </a:lnTo>
                <a:lnTo>
                  <a:pt x="9" y="12"/>
                </a:lnTo>
                <a:lnTo>
                  <a:pt x="12" y="15"/>
                </a:lnTo>
                <a:lnTo>
                  <a:pt x="15" y="18"/>
                </a:lnTo>
                <a:lnTo>
                  <a:pt x="15" y="20"/>
                </a:lnTo>
                <a:lnTo>
                  <a:pt x="15" y="26"/>
                </a:lnTo>
                <a:lnTo>
                  <a:pt x="17" y="2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90" name="Freeform 295"/>
          <p:cNvSpPr>
            <a:spLocks/>
          </p:cNvSpPr>
          <p:nvPr/>
        </p:nvSpPr>
        <p:spPr bwMode="gray">
          <a:xfrm>
            <a:off x="8697566" y="3210087"/>
            <a:ext cx="290053" cy="432012"/>
          </a:xfrm>
          <a:custGeom>
            <a:avLst/>
            <a:gdLst>
              <a:gd name="T0" fmla="*/ 2147483647 w 144"/>
              <a:gd name="T1" fmla="*/ 2147483647 h 285"/>
              <a:gd name="T2" fmla="*/ 2147483647 w 144"/>
              <a:gd name="T3" fmla="*/ 2147483647 h 285"/>
              <a:gd name="T4" fmla="*/ 2147483647 w 144"/>
              <a:gd name="T5" fmla="*/ 2147483647 h 285"/>
              <a:gd name="T6" fmla="*/ 2147483647 w 144"/>
              <a:gd name="T7" fmla="*/ 2147483647 h 285"/>
              <a:gd name="T8" fmla="*/ 2147483647 w 144"/>
              <a:gd name="T9" fmla="*/ 2147483647 h 285"/>
              <a:gd name="T10" fmla="*/ 2147483647 w 144"/>
              <a:gd name="T11" fmla="*/ 2147483647 h 285"/>
              <a:gd name="T12" fmla="*/ 2147483647 w 144"/>
              <a:gd name="T13" fmla="*/ 2147483647 h 285"/>
              <a:gd name="T14" fmla="*/ 2147483647 w 144"/>
              <a:gd name="T15" fmla="*/ 2147483647 h 285"/>
              <a:gd name="T16" fmla="*/ 2147483647 w 144"/>
              <a:gd name="T17" fmla="*/ 2147483647 h 285"/>
              <a:gd name="T18" fmla="*/ 2147483647 w 144"/>
              <a:gd name="T19" fmla="*/ 2147483647 h 285"/>
              <a:gd name="T20" fmla="*/ 2147483647 w 144"/>
              <a:gd name="T21" fmla="*/ 2147483647 h 285"/>
              <a:gd name="T22" fmla="*/ 2147483647 w 144"/>
              <a:gd name="T23" fmla="*/ 2147483647 h 285"/>
              <a:gd name="T24" fmla="*/ 2147483647 w 144"/>
              <a:gd name="T25" fmla="*/ 2147483647 h 285"/>
              <a:gd name="T26" fmla="*/ 2147483647 w 144"/>
              <a:gd name="T27" fmla="*/ 2147483647 h 285"/>
              <a:gd name="T28" fmla="*/ 2147483647 w 144"/>
              <a:gd name="T29" fmla="*/ 2147483647 h 285"/>
              <a:gd name="T30" fmla="*/ 2147483647 w 144"/>
              <a:gd name="T31" fmla="*/ 2147483647 h 285"/>
              <a:gd name="T32" fmla="*/ 2147483647 w 144"/>
              <a:gd name="T33" fmla="*/ 2147483647 h 285"/>
              <a:gd name="T34" fmla="*/ 2147483647 w 144"/>
              <a:gd name="T35" fmla="*/ 2147483647 h 285"/>
              <a:gd name="T36" fmla="*/ 2147483647 w 144"/>
              <a:gd name="T37" fmla="*/ 2147483647 h 285"/>
              <a:gd name="T38" fmla="*/ 2147483647 w 144"/>
              <a:gd name="T39" fmla="*/ 2147483647 h 285"/>
              <a:gd name="T40" fmla="*/ 2147483647 w 144"/>
              <a:gd name="T41" fmla="*/ 2147483647 h 285"/>
              <a:gd name="T42" fmla="*/ 2147483647 w 144"/>
              <a:gd name="T43" fmla="*/ 2147483647 h 285"/>
              <a:gd name="T44" fmla="*/ 2147483647 w 144"/>
              <a:gd name="T45" fmla="*/ 2147483647 h 285"/>
              <a:gd name="T46" fmla="*/ 2147483647 w 144"/>
              <a:gd name="T47" fmla="*/ 2147483647 h 285"/>
              <a:gd name="T48" fmla="*/ 2147483647 w 144"/>
              <a:gd name="T49" fmla="*/ 2147483647 h 285"/>
              <a:gd name="T50" fmla="*/ 2147483647 w 144"/>
              <a:gd name="T51" fmla="*/ 2147483647 h 285"/>
              <a:gd name="T52" fmla="*/ 2147483647 w 144"/>
              <a:gd name="T53" fmla="*/ 2147483647 h 285"/>
              <a:gd name="T54" fmla="*/ 2147483647 w 144"/>
              <a:gd name="T55" fmla="*/ 2147483647 h 285"/>
              <a:gd name="T56" fmla="*/ 2147483647 w 144"/>
              <a:gd name="T57" fmla="*/ 2147483647 h 285"/>
              <a:gd name="T58" fmla="*/ 2147483647 w 144"/>
              <a:gd name="T59" fmla="*/ 2147483647 h 285"/>
              <a:gd name="T60" fmla="*/ 2147483647 w 144"/>
              <a:gd name="T61" fmla="*/ 2147483647 h 285"/>
              <a:gd name="T62" fmla="*/ 2147483647 w 144"/>
              <a:gd name="T63" fmla="*/ 2147483647 h 285"/>
              <a:gd name="T64" fmla="*/ 2147483647 w 144"/>
              <a:gd name="T65" fmla="*/ 2147483647 h 285"/>
              <a:gd name="T66" fmla="*/ 2147483647 w 144"/>
              <a:gd name="T67" fmla="*/ 2147483647 h 285"/>
              <a:gd name="T68" fmla="*/ 2147483647 w 144"/>
              <a:gd name="T69" fmla="*/ 2147483647 h 285"/>
              <a:gd name="T70" fmla="*/ 2147483647 w 144"/>
              <a:gd name="T71" fmla="*/ 2147483647 h 285"/>
              <a:gd name="T72" fmla="*/ 2147483647 w 144"/>
              <a:gd name="T73" fmla="*/ 0 h 285"/>
              <a:gd name="T74" fmla="*/ 2147483647 w 144"/>
              <a:gd name="T75" fmla="*/ 2147483647 h 285"/>
              <a:gd name="T76" fmla="*/ 2147483647 w 144"/>
              <a:gd name="T77" fmla="*/ 2147483647 h 285"/>
              <a:gd name="T78" fmla="*/ 2147483647 w 144"/>
              <a:gd name="T79" fmla="*/ 2147483647 h 285"/>
              <a:gd name="T80" fmla="*/ 2147483647 w 144"/>
              <a:gd name="T81" fmla="*/ 2147483647 h 285"/>
              <a:gd name="T82" fmla="*/ 2147483647 w 144"/>
              <a:gd name="T83" fmla="*/ 2147483647 h 285"/>
              <a:gd name="T84" fmla="*/ 2147483647 w 144"/>
              <a:gd name="T85" fmla="*/ 2147483647 h 285"/>
              <a:gd name="T86" fmla="*/ 2147483647 w 144"/>
              <a:gd name="T87" fmla="*/ 2147483647 h 285"/>
              <a:gd name="T88" fmla="*/ 2147483647 w 144"/>
              <a:gd name="T89" fmla="*/ 2147483647 h 285"/>
              <a:gd name="T90" fmla="*/ 2147483647 w 144"/>
              <a:gd name="T91" fmla="*/ 2147483647 h 285"/>
              <a:gd name="T92" fmla="*/ 2147483647 w 144"/>
              <a:gd name="T93" fmla="*/ 2147483647 h 285"/>
              <a:gd name="T94" fmla="*/ 2147483647 w 144"/>
              <a:gd name="T95" fmla="*/ 2147483647 h 285"/>
              <a:gd name="T96" fmla="*/ 2147483647 w 144"/>
              <a:gd name="T97" fmla="*/ 2147483647 h 285"/>
              <a:gd name="T98" fmla="*/ 2147483647 w 144"/>
              <a:gd name="T99" fmla="*/ 2147483647 h 285"/>
              <a:gd name="T100" fmla="*/ 2147483647 w 144"/>
              <a:gd name="T101" fmla="*/ 2147483647 h 285"/>
              <a:gd name="T102" fmla="*/ 2147483647 w 144"/>
              <a:gd name="T103" fmla="*/ 2147483647 h 285"/>
              <a:gd name="T104" fmla="*/ 2147483647 w 144"/>
              <a:gd name="T105" fmla="*/ 2147483647 h 285"/>
              <a:gd name="T106" fmla="*/ 2147483647 w 144"/>
              <a:gd name="T107" fmla="*/ 2147483647 h 285"/>
              <a:gd name="T108" fmla="*/ 2147483647 w 144"/>
              <a:gd name="T109" fmla="*/ 2147483647 h 285"/>
              <a:gd name="T110" fmla="*/ 2147483647 w 144"/>
              <a:gd name="T111" fmla="*/ 2147483647 h 285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44"/>
              <a:gd name="T169" fmla="*/ 0 h 285"/>
              <a:gd name="T170" fmla="*/ 144 w 144"/>
              <a:gd name="T171" fmla="*/ 285 h 285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44" h="285">
                <a:moveTo>
                  <a:pt x="60" y="267"/>
                </a:moveTo>
                <a:lnTo>
                  <a:pt x="63" y="262"/>
                </a:lnTo>
                <a:lnTo>
                  <a:pt x="72" y="267"/>
                </a:lnTo>
                <a:lnTo>
                  <a:pt x="75" y="265"/>
                </a:lnTo>
                <a:lnTo>
                  <a:pt x="78" y="267"/>
                </a:lnTo>
                <a:lnTo>
                  <a:pt x="78" y="273"/>
                </a:lnTo>
                <a:lnTo>
                  <a:pt x="80" y="273"/>
                </a:lnTo>
                <a:lnTo>
                  <a:pt x="80" y="276"/>
                </a:lnTo>
                <a:lnTo>
                  <a:pt x="80" y="282"/>
                </a:lnTo>
                <a:lnTo>
                  <a:pt x="83" y="285"/>
                </a:lnTo>
                <a:lnTo>
                  <a:pt x="86" y="279"/>
                </a:lnTo>
                <a:lnTo>
                  <a:pt x="89" y="276"/>
                </a:lnTo>
                <a:lnTo>
                  <a:pt x="92" y="279"/>
                </a:lnTo>
                <a:lnTo>
                  <a:pt x="92" y="282"/>
                </a:lnTo>
                <a:lnTo>
                  <a:pt x="98" y="273"/>
                </a:lnTo>
                <a:lnTo>
                  <a:pt x="95" y="265"/>
                </a:lnTo>
                <a:lnTo>
                  <a:pt x="92" y="262"/>
                </a:lnTo>
                <a:lnTo>
                  <a:pt x="89" y="259"/>
                </a:lnTo>
                <a:lnTo>
                  <a:pt x="83" y="262"/>
                </a:lnTo>
                <a:lnTo>
                  <a:pt x="80" y="262"/>
                </a:lnTo>
                <a:lnTo>
                  <a:pt x="75" y="262"/>
                </a:lnTo>
                <a:lnTo>
                  <a:pt x="72" y="259"/>
                </a:lnTo>
                <a:lnTo>
                  <a:pt x="72" y="253"/>
                </a:lnTo>
                <a:lnTo>
                  <a:pt x="69" y="244"/>
                </a:lnTo>
                <a:lnTo>
                  <a:pt x="66" y="239"/>
                </a:lnTo>
                <a:lnTo>
                  <a:pt x="63" y="233"/>
                </a:lnTo>
                <a:lnTo>
                  <a:pt x="60" y="230"/>
                </a:lnTo>
                <a:lnTo>
                  <a:pt x="57" y="222"/>
                </a:lnTo>
                <a:lnTo>
                  <a:pt x="57" y="219"/>
                </a:lnTo>
                <a:lnTo>
                  <a:pt x="57" y="213"/>
                </a:lnTo>
                <a:lnTo>
                  <a:pt x="55" y="213"/>
                </a:lnTo>
                <a:lnTo>
                  <a:pt x="52" y="213"/>
                </a:lnTo>
                <a:lnTo>
                  <a:pt x="46" y="216"/>
                </a:lnTo>
                <a:lnTo>
                  <a:pt x="46" y="207"/>
                </a:lnTo>
                <a:lnTo>
                  <a:pt x="43" y="207"/>
                </a:lnTo>
                <a:lnTo>
                  <a:pt x="43" y="201"/>
                </a:lnTo>
                <a:lnTo>
                  <a:pt x="46" y="187"/>
                </a:lnTo>
                <a:lnTo>
                  <a:pt x="49" y="184"/>
                </a:lnTo>
                <a:lnTo>
                  <a:pt x="52" y="181"/>
                </a:lnTo>
                <a:lnTo>
                  <a:pt x="52" y="176"/>
                </a:lnTo>
                <a:lnTo>
                  <a:pt x="52" y="173"/>
                </a:lnTo>
                <a:lnTo>
                  <a:pt x="52" y="164"/>
                </a:lnTo>
                <a:lnTo>
                  <a:pt x="55" y="155"/>
                </a:lnTo>
                <a:lnTo>
                  <a:pt x="55" y="144"/>
                </a:lnTo>
                <a:lnTo>
                  <a:pt x="55" y="135"/>
                </a:lnTo>
                <a:lnTo>
                  <a:pt x="57" y="130"/>
                </a:lnTo>
                <a:lnTo>
                  <a:pt x="60" y="130"/>
                </a:lnTo>
                <a:lnTo>
                  <a:pt x="63" y="130"/>
                </a:lnTo>
                <a:lnTo>
                  <a:pt x="66" y="132"/>
                </a:lnTo>
                <a:lnTo>
                  <a:pt x="69" y="135"/>
                </a:lnTo>
                <a:lnTo>
                  <a:pt x="69" y="141"/>
                </a:lnTo>
                <a:lnTo>
                  <a:pt x="66" y="144"/>
                </a:lnTo>
                <a:lnTo>
                  <a:pt x="66" y="147"/>
                </a:lnTo>
                <a:lnTo>
                  <a:pt x="75" y="150"/>
                </a:lnTo>
                <a:lnTo>
                  <a:pt x="78" y="150"/>
                </a:lnTo>
                <a:lnTo>
                  <a:pt x="78" y="147"/>
                </a:lnTo>
                <a:lnTo>
                  <a:pt x="83" y="150"/>
                </a:lnTo>
                <a:lnTo>
                  <a:pt x="89" y="153"/>
                </a:lnTo>
                <a:lnTo>
                  <a:pt x="95" y="155"/>
                </a:lnTo>
                <a:lnTo>
                  <a:pt x="98" y="164"/>
                </a:lnTo>
                <a:lnTo>
                  <a:pt x="103" y="170"/>
                </a:lnTo>
                <a:lnTo>
                  <a:pt x="103" y="167"/>
                </a:lnTo>
                <a:lnTo>
                  <a:pt x="100" y="158"/>
                </a:lnTo>
                <a:lnTo>
                  <a:pt x="98" y="150"/>
                </a:lnTo>
                <a:lnTo>
                  <a:pt x="92" y="138"/>
                </a:lnTo>
                <a:lnTo>
                  <a:pt x="92" y="130"/>
                </a:lnTo>
                <a:lnTo>
                  <a:pt x="95" y="127"/>
                </a:lnTo>
                <a:lnTo>
                  <a:pt x="100" y="118"/>
                </a:lnTo>
                <a:lnTo>
                  <a:pt x="106" y="115"/>
                </a:lnTo>
                <a:lnTo>
                  <a:pt x="112" y="112"/>
                </a:lnTo>
                <a:lnTo>
                  <a:pt x="115" y="112"/>
                </a:lnTo>
                <a:lnTo>
                  <a:pt x="121" y="112"/>
                </a:lnTo>
                <a:lnTo>
                  <a:pt x="123" y="112"/>
                </a:lnTo>
                <a:lnTo>
                  <a:pt x="129" y="110"/>
                </a:lnTo>
                <a:lnTo>
                  <a:pt x="138" y="115"/>
                </a:lnTo>
                <a:lnTo>
                  <a:pt x="144" y="110"/>
                </a:lnTo>
                <a:lnTo>
                  <a:pt x="141" y="101"/>
                </a:lnTo>
                <a:lnTo>
                  <a:pt x="144" y="92"/>
                </a:lnTo>
                <a:lnTo>
                  <a:pt x="138" y="87"/>
                </a:lnTo>
                <a:lnTo>
                  <a:pt x="132" y="81"/>
                </a:lnTo>
                <a:lnTo>
                  <a:pt x="126" y="75"/>
                </a:lnTo>
                <a:lnTo>
                  <a:pt x="123" y="66"/>
                </a:lnTo>
                <a:lnTo>
                  <a:pt x="126" y="58"/>
                </a:lnTo>
                <a:lnTo>
                  <a:pt x="123" y="55"/>
                </a:lnTo>
                <a:lnTo>
                  <a:pt x="121" y="55"/>
                </a:lnTo>
                <a:lnTo>
                  <a:pt x="109" y="43"/>
                </a:lnTo>
                <a:lnTo>
                  <a:pt x="100" y="38"/>
                </a:lnTo>
                <a:lnTo>
                  <a:pt x="95" y="49"/>
                </a:lnTo>
                <a:lnTo>
                  <a:pt x="86" y="49"/>
                </a:lnTo>
                <a:lnTo>
                  <a:pt x="78" y="43"/>
                </a:lnTo>
                <a:lnTo>
                  <a:pt x="75" y="46"/>
                </a:lnTo>
                <a:lnTo>
                  <a:pt x="72" y="49"/>
                </a:lnTo>
                <a:lnTo>
                  <a:pt x="63" y="58"/>
                </a:lnTo>
                <a:lnTo>
                  <a:pt x="57" y="58"/>
                </a:lnTo>
                <a:lnTo>
                  <a:pt x="60" y="41"/>
                </a:lnTo>
                <a:lnTo>
                  <a:pt x="57" y="35"/>
                </a:lnTo>
                <a:lnTo>
                  <a:pt x="60" y="29"/>
                </a:lnTo>
                <a:lnTo>
                  <a:pt x="60" y="18"/>
                </a:lnTo>
                <a:lnTo>
                  <a:pt x="55" y="15"/>
                </a:lnTo>
                <a:lnTo>
                  <a:pt x="49" y="15"/>
                </a:lnTo>
                <a:lnTo>
                  <a:pt x="43" y="15"/>
                </a:lnTo>
                <a:lnTo>
                  <a:pt x="43" y="12"/>
                </a:lnTo>
                <a:lnTo>
                  <a:pt x="43" y="3"/>
                </a:lnTo>
                <a:lnTo>
                  <a:pt x="43" y="0"/>
                </a:lnTo>
                <a:lnTo>
                  <a:pt x="40" y="0"/>
                </a:lnTo>
                <a:lnTo>
                  <a:pt x="32" y="3"/>
                </a:lnTo>
                <a:lnTo>
                  <a:pt x="29" y="6"/>
                </a:lnTo>
                <a:lnTo>
                  <a:pt x="26" y="6"/>
                </a:lnTo>
                <a:lnTo>
                  <a:pt x="23" y="6"/>
                </a:lnTo>
                <a:lnTo>
                  <a:pt x="23" y="12"/>
                </a:lnTo>
                <a:lnTo>
                  <a:pt x="6" y="12"/>
                </a:lnTo>
                <a:lnTo>
                  <a:pt x="6" y="15"/>
                </a:lnTo>
                <a:lnTo>
                  <a:pt x="3" y="23"/>
                </a:lnTo>
                <a:lnTo>
                  <a:pt x="3" y="26"/>
                </a:lnTo>
                <a:lnTo>
                  <a:pt x="6" y="35"/>
                </a:lnTo>
                <a:lnTo>
                  <a:pt x="0" y="35"/>
                </a:lnTo>
                <a:lnTo>
                  <a:pt x="3" y="41"/>
                </a:lnTo>
                <a:lnTo>
                  <a:pt x="6" y="49"/>
                </a:lnTo>
                <a:lnTo>
                  <a:pt x="17" y="58"/>
                </a:lnTo>
                <a:lnTo>
                  <a:pt x="23" y="69"/>
                </a:lnTo>
                <a:lnTo>
                  <a:pt x="23" y="72"/>
                </a:lnTo>
                <a:lnTo>
                  <a:pt x="32" y="72"/>
                </a:lnTo>
                <a:lnTo>
                  <a:pt x="29" y="81"/>
                </a:lnTo>
                <a:lnTo>
                  <a:pt x="29" y="84"/>
                </a:lnTo>
                <a:lnTo>
                  <a:pt x="26" y="84"/>
                </a:lnTo>
                <a:lnTo>
                  <a:pt x="26" y="95"/>
                </a:lnTo>
                <a:lnTo>
                  <a:pt x="20" y="101"/>
                </a:lnTo>
                <a:lnTo>
                  <a:pt x="26" y="112"/>
                </a:lnTo>
                <a:lnTo>
                  <a:pt x="32" y="118"/>
                </a:lnTo>
                <a:lnTo>
                  <a:pt x="37" y="121"/>
                </a:lnTo>
                <a:lnTo>
                  <a:pt x="40" y="127"/>
                </a:lnTo>
                <a:lnTo>
                  <a:pt x="40" y="130"/>
                </a:lnTo>
                <a:lnTo>
                  <a:pt x="40" y="135"/>
                </a:lnTo>
                <a:lnTo>
                  <a:pt x="40" y="138"/>
                </a:lnTo>
                <a:lnTo>
                  <a:pt x="43" y="147"/>
                </a:lnTo>
                <a:lnTo>
                  <a:pt x="46" y="150"/>
                </a:lnTo>
                <a:lnTo>
                  <a:pt x="49" y="158"/>
                </a:lnTo>
                <a:lnTo>
                  <a:pt x="52" y="158"/>
                </a:lnTo>
                <a:lnTo>
                  <a:pt x="52" y="161"/>
                </a:lnTo>
                <a:lnTo>
                  <a:pt x="52" y="164"/>
                </a:lnTo>
                <a:lnTo>
                  <a:pt x="49" y="170"/>
                </a:lnTo>
                <a:lnTo>
                  <a:pt x="46" y="178"/>
                </a:lnTo>
                <a:lnTo>
                  <a:pt x="37" y="184"/>
                </a:lnTo>
                <a:lnTo>
                  <a:pt x="37" y="196"/>
                </a:lnTo>
                <a:lnTo>
                  <a:pt x="32" y="204"/>
                </a:lnTo>
                <a:lnTo>
                  <a:pt x="32" y="222"/>
                </a:lnTo>
                <a:lnTo>
                  <a:pt x="29" y="233"/>
                </a:lnTo>
                <a:lnTo>
                  <a:pt x="32" y="236"/>
                </a:lnTo>
                <a:lnTo>
                  <a:pt x="34" y="233"/>
                </a:lnTo>
                <a:lnTo>
                  <a:pt x="37" y="233"/>
                </a:lnTo>
                <a:lnTo>
                  <a:pt x="40" y="239"/>
                </a:lnTo>
                <a:lnTo>
                  <a:pt x="46" y="244"/>
                </a:lnTo>
                <a:lnTo>
                  <a:pt x="49" y="247"/>
                </a:lnTo>
                <a:lnTo>
                  <a:pt x="52" y="253"/>
                </a:lnTo>
                <a:lnTo>
                  <a:pt x="55" y="253"/>
                </a:lnTo>
                <a:lnTo>
                  <a:pt x="57" y="256"/>
                </a:lnTo>
                <a:lnTo>
                  <a:pt x="57" y="262"/>
                </a:lnTo>
                <a:lnTo>
                  <a:pt x="60" y="265"/>
                </a:lnTo>
                <a:lnTo>
                  <a:pt x="60" y="26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91" name="Freeform 296"/>
          <p:cNvSpPr>
            <a:spLocks/>
          </p:cNvSpPr>
          <p:nvPr/>
        </p:nvSpPr>
        <p:spPr bwMode="gray">
          <a:xfrm>
            <a:off x="8837592" y="3124585"/>
            <a:ext cx="294054" cy="429012"/>
          </a:xfrm>
          <a:custGeom>
            <a:avLst/>
            <a:gdLst>
              <a:gd name="T0" fmla="*/ 2147483647 w 146"/>
              <a:gd name="T1" fmla="*/ 2147483647 h 284"/>
              <a:gd name="T2" fmla="*/ 2147483647 w 146"/>
              <a:gd name="T3" fmla="*/ 2147483647 h 284"/>
              <a:gd name="T4" fmla="*/ 2147483647 w 146"/>
              <a:gd name="T5" fmla="*/ 2147483647 h 284"/>
              <a:gd name="T6" fmla="*/ 2147483647 w 146"/>
              <a:gd name="T7" fmla="*/ 2147483647 h 284"/>
              <a:gd name="T8" fmla="*/ 2147483647 w 146"/>
              <a:gd name="T9" fmla="*/ 2147483647 h 284"/>
              <a:gd name="T10" fmla="*/ 2147483647 w 146"/>
              <a:gd name="T11" fmla="*/ 2147483647 h 284"/>
              <a:gd name="T12" fmla="*/ 2147483647 w 146"/>
              <a:gd name="T13" fmla="*/ 2147483647 h 284"/>
              <a:gd name="T14" fmla="*/ 2147483647 w 146"/>
              <a:gd name="T15" fmla="*/ 2147483647 h 284"/>
              <a:gd name="T16" fmla="*/ 2147483647 w 146"/>
              <a:gd name="T17" fmla="*/ 2147483647 h 284"/>
              <a:gd name="T18" fmla="*/ 2147483647 w 146"/>
              <a:gd name="T19" fmla="*/ 2147483647 h 284"/>
              <a:gd name="T20" fmla="*/ 2147483647 w 146"/>
              <a:gd name="T21" fmla="*/ 2147483647 h 284"/>
              <a:gd name="T22" fmla="*/ 2147483647 w 146"/>
              <a:gd name="T23" fmla="*/ 2147483647 h 284"/>
              <a:gd name="T24" fmla="*/ 2147483647 w 146"/>
              <a:gd name="T25" fmla="*/ 2147483647 h 284"/>
              <a:gd name="T26" fmla="*/ 2147483647 w 146"/>
              <a:gd name="T27" fmla="*/ 2147483647 h 284"/>
              <a:gd name="T28" fmla="*/ 2147483647 w 146"/>
              <a:gd name="T29" fmla="*/ 2147483647 h 284"/>
              <a:gd name="T30" fmla="*/ 2147483647 w 146"/>
              <a:gd name="T31" fmla="*/ 2147483647 h 284"/>
              <a:gd name="T32" fmla="*/ 2147483647 w 146"/>
              <a:gd name="T33" fmla="*/ 2147483647 h 284"/>
              <a:gd name="T34" fmla="*/ 2147483647 w 146"/>
              <a:gd name="T35" fmla="*/ 2147483647 h 284"/>
              <a:gd name="T36" fmla="*/ 2147483647 w 146"/>
              <a:gd name="T37" fmla="*/ 2147483647 h 284"/>
              <a:gd name="T38" fmla="*/ 2147483647 w 146"/>
              <a:gd name="T39" fmla="*/ 2147483647 h 284"/>
              <a:gd name="T40" fmla="*/ 2147483647 w 146"/>
              <a:gd name="T41" fmla="*/ 2147483647 h 284"/>
              <a:gd name="T42" fmla="*/ 2147483647 w 146"/>
              <a:gd name="T43" fmla="*/ 2147483647 h 284"/>
              <a:gd name="T44" fmla="*/ 2147483647 w 146"/>
              <a:gd name="T45" fmla="*/ 2147483647 h 284"/>
              <a:gd name="T46" fmla="*/ 2147483647 w 146"/>
              <a:gd name="T47" fmla="*/ 2147483647 h 284"/>
              <a:gd name="T48" fmla="*/ 2147483647 w 146"/>
              <a:gd name="T49" fmla="*/ 2147483647 h 284"/>
              <a:gd name="T50" fmla="*/ 2147483647 w 146"/>
              <a:gd name="T51" fmla="*/ 2147483647 h 284"/>
              <a:gd name="T52" fmla="*/ 2147483647 w 146"/>
              <a:gd name="T53" fmla="*/ 2147483647 h 284"/>
              <a:gd name="T54" fmla="*/ 2147483647 w 146"/>
              <a:gd name="T55" fmla="*/ 2147483647 h 284"/>
              <a:gd name="T56" fmla="*/ 2147483647 w 146"/>
              <a:gd name="T57" fmla="*/ 2147483647 h 284"/>
              <a:gd name="T58" fmla="*/ 2147483647 w 146"/>
              <a:gd name="T59" fmla="*/ 2147483647 h 284"/>
              <a:gd name="T60" fmla="*/ 2147483647 w 146"/>
              <a:gd name="T61" fmla="*/ 2147483647 h 284"/>
              <a:gd name="T62" fmla="*/ 2147483647 w 146"/>
              <a:gd name="T63" fmla="*/ 2147483647 h 284"/>
              <a:gd name="T64" fmla="*/ 2147483647 w 146"/>
              <a:gd name="T65" fmla="*/ 2147483647 h 284"/>
              <a:gd name="T66" fmla="*/ 2147483647 w 146"/>
              <a:gd name="T67" fmla="*/ 2147483647 h 284"/>
              <a:gd name="T68" fmla="*/ 2147483647 w 146"/>
              <a:gd name="T69" fmla="*/ 2147483647 h 284"/>
              <a:gd name="T70" fmla="*/ 2147483647 w 146"/>
              <a:gd name="T71" fmla="*/ 2147483647 h 284"/>
              <a:gd name="T72" fmla="*/ 2147483647 w 146"/>
              <a:gd name="T73" fmla="*/ 2147483647 h 284"/>
              <a:gd name="T74" fmla="*/ 2147483647 w 146"/>
              <a:gd name="T75" fmla="*/ 2147483647 h 284"/>
              <a:gd name="T76" fmla="*/ 2147483647 w 146"/>
              <a:gd name="T77" fmla="*/ 2147483647 h 284"/>
              <a:gd name="T78" fmla="*/ 2147483647 w 146"/>
              <a:gd name="T79" fmla="*/ 2147483647 h 284"/>
              <a:gd name="T80" fmla="*/ 2147483647 w 146"/>
              <a:gd name="T81" fmla="*/ 2147483647 h 284"/>
              <a:gd name="T82" fmla="*/ 2147483647 w 146"/>
              <a:gd name="T83" fmla="*/ 2147483647 h 284"/>
              <a:gd name="T84" fmla="*/ 2147483647 w 146"/>
              <a:gd name="T85" fmla="*/ 2147483647 h 284"/>
              <a:gd name="T86" fmla="*/ 2147483647 w 146"/>
              <a:gd name="T87" fmla="*/ 2147483647 h 284"/>
              <a:gd name="T88" fmla="*/ 2147483647 w 146"/>
              <a:gd name="T89" fmla="*/ 2147483647 h 284"/>
              <a:gd name="T90" fmla="*/ 2147483647 w 146"/>
              <a:gd name="T91" fmla="*/ 2147483647 h 284"/>
              <a:gd name="T92" fmla="*/ 2147483647 w 146"/>
              <a:gd name="T93" fmla="*/ 2147483647 h 284"/>
              <a:gd name="T94" fmla="*/ 2147483647 w 146"/>
              <a:gd name="T95" fmla="*/ 2147483647 h 284"/>
              <a:gd name="T96" fmla="*/ 2147483647 w 146"/>
              <a:gd name="T97" fmla="*/ 2147483647 h 284"/>
              <a:gd name="T98" fmla="*/ 2147483647 w 146"/>
              <a:gd name="T99" fmla="*/ 2147483647 h 284"/>
              <a:gd name="T100" fmla="*/ 2147483647 w 146"/>
              <a:gd name="T101" fmla="*/ 2147483647 h 284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146"/>
              <a:gd name="T154" fmla="*/ 0 h 284"/>
              <a:gd name="T155" fmla="*/ 146 w 146"/>
              <a:gd name="T156" fmla="*/ 284 h 284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146" h="284">
                <a:moveTo>
                  <a:pt x="146" y="204"/>
                </a:moveTo>
                <a:lnTo>
                  <a:pt x="146" y="195"/>
                </a:lnTo>
                <a:lnTo>
                  <a:pt x="143" y="187"/>
                </a:lnTo>
                <a:lnTo>
                  <a:pt x="143" y="178"/>
                </a:lnTo>
                <a:lnTo>
                  <a:pt x="138" y="169"/>
                </a:lnTo>
                <a:lnTo>
                  <a:pt x="138" y="158"/>
                </a:lnTo>
                <a:lnTo>
                  <a:pt x="129" y="152"/>
                </a:lnTo>
                <a:lnTo>
                  <a:pt x="123" y="144"/>
                </a:lnTo>
                <a:lnTo>
                  <a:pt x="115" y="135"/>
                </a:lnTo>
                <a:lnTo>
                  <a:pt x="103" y="129"/>
                </a:lnTo>
                <a:lnTo>
                  <a:pt x="95" y="118"/>
                </a:lnTo>
                <a:lnTo>
                  <a:pt x="86" y="109"/>
                </a:lnTo>
                <a:lnTo>
                  <a:pt x="86" y="100"/>
                </a:lnTo>
                <a:lnTo>
                  <a:pt x="80" y="95"/>
                </a:lnTo>
                <a:lnTo>
                  <a:pt x="72" y="89"/>
                </a:lnTo>
                <a:lnTo>
                  <a:pt x="66" y="80"/>
                </a:lnTo>
                <a:lnTo>
                  <a:pt x="69" y="75"/>
                </a:lnTo>
                <a:lnTo>
                  <a:pt x="69" y="66"/>
                </a:lnTo>
                <a:lnTo>
                  <a:pt x="75" y="60"/>
                </a:lnTo>
                <a:lnTo>
                  <a:pt x="77" y="57"/>
                </a:lnTo>
                <a:lnTo>
                  <a:pt x="80" y="49"/>
                </a:lnTo>
                <a:lnTo>
                  <a:pt x="80" y="43"/>
                </a:lnTo>
                <a:lnTo>
                  <a:pt x="83" y="40"/>
                </a:lnTo>
                <a:lnTo>
                  <a:pt x="89" y="43"/>
                </a:lnTo>
                <a:lnTo>
                  <a:pt x="95" y="37"/>
                </a:lnTo>
                <a:lnTo>
                  <a:pt x="95" y="34"/>
                </a:lnTo>
                <a:lnTo>
                  <a:pt x="95" y="32"/>
                </a:lnTo>
                <a:lnTo>
                  <a:pt x="86" y="29"/>
                </a:lnTo>
                <a:lnTo>
                  <a:pt x="75" y="23"/>
                </a:lnTo>
                <a:lnTo>
                  <a:pt x="69" y="11"/>
                </a:lnTo>
                <a:lnTo>
                  <a:pt x="72" y="11"/>
                </a:lnTo>
                <a:lnTo>
                  <a:pt x="72" y="6"/>
                </a:lnTo>
                <a:lnTo>
                  <a:pt x="63" y="6"/>
                </a:lnTo>
                <a:lnTo>
                  <a:pt x="54" y="3"/>
                </a:lnTo>
                <a:lnTo>
                  <a:pt x="49" y="0"/>
                </a:lnTo>
                <a:lnTo>
                  <a:pt x="43" y="3"/>
                </a:lnTo>
                <a:lnTo>
                  <a:pt x="46" y="9"/>
                </a:lnTo>
                <a:lnTo>
                  <a:pt x="34" y="14"/>
                </a:lnTo>
                <a:lnTo>
                  <a:pt x="31" y="11"/>
                </a:lnTo>
                <a:lnTo>
                  <a:pt x="29" y="14"/>
                </a:lnTo>
                <a:lnTo>
                  <a:pt x="23" y="11"/>
                </a:lnTo>
                <a:lnTo>
                  <a:pt x="20" y="14"/>
                </a:lnTo>
                <a:lnTo>
                  <a:pt x="20" y="11"/>
                </a:lnTo>
                <a:lnTo>
                  <a:pt x="17" y="11"/>
                </a:lnTo>
                <a:lnTo>
                  <a:pt x="14" y="17"/>
                </a:lnTo>
                <a:lnTo>
                  <a:pt x="3" y="11"/>
                </a:lnTo>
                <a:lnTo>
                  <a:pt x="0" y="14"/>
                </a:lnTo>
                <a:lnTo>
                  <a:pt x="6" y="23"/>
                </a:lnTo>
                <a:lnTo>
                  <a:pt x="9" y="26"/>
                </a:lnTo>
                <a:lnTo>
                  <a:pt x="14" y="23"/>
                </a:lnTo>
                <a:lnTo>
                  <a:pt x="14" y="29"/>
                </a:lnTo>
                <a:lnTo>
                  <a:pt x="17" y="37"/>
                </a:lnTo>
                <a:lnTo>
                  <a:pt x="20" y="43"/>
                </a:lnTo>
                <a:lnTo>
                  <a:pt x="23" y="46"/>
                </a:lnTo>
                <a:lnTo>
                  <a:pt x="29" y="49"/>
                </a:lnTo>
                <a:lnTo>
                  <a:pt x="34" y="43"/>
                </a:lnTo>
                <a:lnTo>
                  <a:pt x="43" y="46"/>
                </a:lnTo>
                <a:lnTo>
                  <a:pt x="46" y="55"/>
                </a:lnTo>
                <a:lnTo>
                  <a:pt x="49" y="57"/>
                </a:lnTo>
                <a:lnTo>
                  <a:pt x="54" y="60"/>
                </a:lnTo>
                <a:lnTo>
                  <a:pt x="49" y="72"/>
                </a:lnTo>
                <a:lnTo>
                  <a:pt x="46" y="72"/>
                </a:lnTo>
                <a:lnTo>
                  <a:pt x="40" y="69"/>
                </a:lnTo>
                <a:lnTo>
                  <a:pt x="37" y="78"/>
                </a:lnTo>
                <a:lnTo>
                  <a:pt x="49" y="80"/>
                </a:lnTo>
                <a:lnTo>
                  <a:pt x="57" y="83"/>
                </a:lnTo>
                <a:lnTo>
                  <a:pt x="63" y="92"/>
                </a:lnTo>
                <a:lnTo>
                  <a:pt x="75" y="103"/>
                </a:lnTo>
                <a:lnTo>
                  <a:pt x="80" y="112"/>
                </a:lnTo>
                <a:lnTo>
                  <a:pt x="86" y="121"/>
                </a:lnTo>
                <a:lnTo>
                  <a:pt x="92" y="129"/>
                </a:lnTo>
                <a:lnTo>
                  <a:pt x="100" y="135"/>
                </a:lnTo>
                <a:lnTo>
                  <a:pt x="109" y="141"/>
                </a:lnTo>
                <a:lnTo>
                  <a:pt x="103" y="146"/>
                </a:lnTo>
                <a:lnTo>
                  <a:pt x="115" y="155"/>
                </a:lnTo>
                <a:lnTo>
                  <a:pt x="106" y="164"/>
                </a:lnTo>
                <a:lnTo>
                  <a:pt x="109" y="167"/>
                </a:lnTo>
                <a:lnTo>
                  <a:pt x="109" y="169"/>
                </a:lnTo>
                <a:lnTo>
                  <a:pt x="109" y="172"/>
                </a:lnTo>
                <a:lnTo>
                  <a:pt x="109" y="175"/>
                </a:lnTo>
                <a:lnTo>
                  <a:pt x="109" y="178"/>
                </a:lnTo>
                <a:lnTo>
                  <a:pt x="115" y="187"/>
                </a:lnTo>
                <a:lnTo>
                  <a:pt x="115" y="189"/>
                </a:lnTo>
                <a:lnTo>
                  <a:pt x="115" y="195"/>
                </a:lnTo>
                <a:lnTo>
                  <a:pt x="115" y="198"/>
                </a:lnTo>
                <a:lnTo>
                  <a:pt x="118" y="210"/>
                </a:lnTo>
                <a:lnTo>
                  <a:pt x="115" y="212"/>
                </a:lnTo>
                <a:lnTo>
                  <a:pt x="112" y="215"/>
                </a:lnTo>
                <a:lnTo>
                  <a:pt x="109" y="212"/>
                </a:lnTo>
                <a:lnTo>
                  <a:pt x="109" y="215"/>
                </a:lnTo>
                <a:lnTo>
                  <a:pt x="103" y="218"/>
                </a:lnTo>
                <a:lnTo>
                  <a:pt x="98" y="221"/>
                </a:lnTo>
                <a:lnTo>
                  <a:pt x="98" y="233"/>
                </a:lnTo>
                <a:lnTo>
                  <a:pt x="95" y="230"/>
                </a:lnTo>
                <a:lnTo>
                  <a:pt x="92" y="227"/>
                </a:lnTo>
                <a:lnTo>
                  <a:pt x="89" y="227"/>
                </a:lnTo>
                <a:lnTo>
                  <a:pt x="86" y="227"/>
                </a:lnTo>
                <a:lnTo>
                  <a:pt x="92" y="233"/>
                </a:lnTo>
                <a:lnTo>
                  <a:pt x="95" y="235"/>
                </a:lnTo>
                <a:lnTo>
                  <a:pt x="98" y="238"/>
                </a:lnTo>
                <a:lnTo>
                  <a:pt x="95" y="241"/>
                </a:lnTo>
                <a:lnTo>
                  <a:pt x="95" y="244"/>
                </a:lnTo>
                <a:lnTo>
                  <a:pt x="92" y="244"/>
                </a:lnTo>
                <a:lnTo>
                  <a:pt x="83" y="238"/>
                </a:lnTo>
                <a:lnTo>
                  <a:pt x="77" y="241"/>
                </a:lnTo>
                <a:lnTo>
                  <a:pt x="72" y="247"/>
                </a:lnTo>
                <a:lnTo>
                  <a:pt x="66" y="250"/>
                </a:lnTo>
                <a:lnTo>
                  <a:pt x="66" y="253"/>
                </a:lnTo>
                <a:lnTo>
                  <a:pt x="69" y="253"/>
                </a:lnTo>
                <a:lnTo>
                  <a:pt x="75" y="258"/>
                </a:lnTo>
                <a:lnTo>
                  <a:pt x="75" y="267"/>
                </a:lnTo>
                <a:lnTo>
                  <a:pt x="75" y="284"/>
                </a:lnTo>
                <a:lnTo>
                  <a:pt x="83" y="281"/>
                </a:lnTo>
                <a:lnTo>
                  <a:pt x="92" y="273"/>
                </a:lnTo>
                <a:lnTo>
                  <a:pt x="98" y="264"/>
                </a:lnTo>
                <a:lnTo>
                  <a:pt x="100" y="267"/>
                </a:lnTo>
                <a:lnTo>
                  <a:pt x="103" y="264"/>
                </a:lnTo>
                <a:lnTo>
                  <a:pt x="103" y="258"/>
                </a:lnTo>
                <a:lnTo>
                  <a:pt x="106" y="256"/>
                </a:lnTo>
                <a:lnTo>
                  <a:pt x="103" y="250"/>
                </a:lnTo>
                <a:lnTo>
                  <a:pt x="106" y="247"/>
                </a:lnTo>
                <a:lnTo>
                  <a:pt x="109" y="244"/>
                </a:lnTo>
                <a:lnTo>
                  <a:pt x="112" y="247"/>
                </a:lnTo>
                <a:lnTo>
                  <a:pt x="112" y="250"/>
                </a:lnTo>
                <a:lnTo>
                  <a:pt x="115" y="250"/>
                </a:lnTo>
                <a:lnTo>
                  <a:pt x="120" y="247"/>
                </a:lnTo>
                <a:lnTo>
                  <a:pt x="123" y="244"/>
                </a:lnTo>
                <a:lnTo>
                  <a:pt x="126" y="241"/>
                </a:lnTo>
                <a:lnTo>
                  <a:pt x="132" y="238"/>
                </a:lnTo>
                <a:lnTo>
                  <a:pt x="138" y="235"/>
                </a:lnTo>
                <a:lnTo>
                  <a:pt x="138" y="233"/>
                </a:lnTo>
                <a:lnTo>
                  <a:pt x="143" y="233"/>
                </a:lnTo>
                <a:lnTo>
                  <a:pt x="143" y="227"/>
                </a:lnTo>
                <a:lnTo>
                  <a:pt x="143" y="218"/>
                </a:lnTo>
                <a:lnTo>
                  <a:pt x="146" y="204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92" name="Freeform 297"/>
          <p:cNvSpPr>
            <a:spLocks/>
          </p:cNvSpPr>
          <p:nvPr/>
        </p:nvSpPr>
        <p:spPr bwMode="gray">
          <a:xfrm>
            <a:off x="9079637" y="3882105"/>
            <a:ext cx="36006" cy="25501"/>
          </a:xfrm>
          <a:custGeom>
            <a:avLst/>
            <a:gdLst>
              <a:gd name="T0" fmla="*/ 2147483647 w 18"/>
              <a:gd name="T1" fmla="*/ 2147483647 h 17"/>
              <a:gd name="T2" fmla="*/ 2147483647 w 18"/>
              <a:gd name="T3" fmla="*/ 2147483647 h 17"/>
              <a:gd name="T4" fmla="*/ 2147483647 w 18"/>
              <a:gd name="T5" fmla="*/ 2147483647 h 17"/>
              <a:gd name="T6" fmla="*/ 2147483647 w 18"/>
              <a:gd name="T7" fmla="*/ 2147483647 h 17"/>
              <a:gd name="T8" fmla="*/ 2147483647 w 18"/>
              <a:gd name="T9" fmla="*/ 2147483647 h 17"/>
              <a:gd name="T10" fmla="*/ 2147483647 w 18"/>
              <a:gd name="T11" fmla="*/ 2147483647 h 17"/>
              <a:gd name="T12" fmla="*/ 2147483647 w 18"/>
              <a:gd name="T13" fmla="*/ 2147483647 h 17"/>
              <a:gd name="T14" fmla="*/ 2147483647 w 18"/>
              <a:gd name="T15" fmla="*/ 2147483647 h 17"/>
              <a:gd name="T16" fmla="*/ 2147483647 w 18"/>
              <a:gd name="T17" fmla="*/ 2147483647 h 17"/>
              <a:gd name="T18" fmla="*/ 2147483647 w 18"/>
              <a:gd name="T19" fmla="*/ 0 h 17"/>
              <a:gd name="T20" fmla="*/ 2147483647 w 18"/>
              <a:gd name="T21" fmla="*/ 2147483647 h 17"/>
              <a:gd name="T22" fmla="*/ 2147483647 w 18"/>
              <a:gd name="T23" fmla="*/ 2147483647 h 17"/>
              <a:gd name="T24" fmla="*/ 2147483647 w 18"/>
              <a:gd name="T25" fmla="*/ 2147483647 h 17"/>
              <a:gd name="T26" fmla="*/ 2147483647 w 18"/>
              <a:gd name="T27" fmla="*/ 2147483647 h 17"/>
              <a:gd name="T28" fmla="*/ 0 w 18"/>
              <a:gd name="T29" fmla="*/ 2147483647 h 17"/>
              <a:gd name="T30" fmla="*/ 2147483647 w 18"/>
              <a:gd name="T31" fmla="*/ 2147483647 h 17"/>
              <a:gd name="T32" fmla="*/ 2147483647 w 18"/>
              <a:gd name="T33" fmla="*/ 2147483647 h 17"/>
              <a:gd name="T34" fmla="*/ 2147483647 w 18"/>
              <a:gd name="T35" fmla="*/ 2147483647 h 17"/>
              <a:gd name="T36" fmla="*/ 2147483647 w 18"/>
              <a:gd name="T37" fmla="*/ 2147483647 h 17"/>
              <a:gd name="T38" fmla="*/ 2147483647 w 18"/>
              <a:gd name="T39" fmla="*/ 2147483647 h 17"/>
              <a:gd name="T40" fmla="*/ 2147483647 w 18"/>
              <a:gd name="T41" fmla="*/ 2147483647 h 17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18"/>
              <a:gd name="T64" fmla="*/ 0 h 17"/>
              <a:gd name="T65" fmla="*/ 18 w 18"/>
              <a:gd name="T66" fmla="*/ 17 h 17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18" h="17">
                <a:moveTo>
                  <a:pt x="6" y="17"/>
                </a:moveTo>
                <a:lnTo>
                  <a:pt x="6" y="17"/>
                </a:lnTo>
                <a:lnTo>
                  <a:pt x="12" y="17"/>
                </a:lnTo>
                <a:lnTo>
                  <a:pt x="15" y="14"/>
                </a:lnTo>
                <a:lnTo>
                  <a:pt x="18" y="11"/>
                </a:lnTo>
                <a:lnTo>
                  <a:pt x="18" y="5"/>
                </a:lnTo>
                <a:lnTo>
                  <a:pt x="12" y="2"/>
                </a:lnTo>
                <a:lnTo>
                  <a:pt x="9" y="0"/>
                </a:lnTo>
                <a:lnTo>
                  <a:pt x="9" y="2"/>
                </a:lnTo>
                <a:lnTo>
                  <a:pt x="3" y="8"/>
                </a:lnTo>
                <a:lnTo>
                  <a:pt x="0" y="8"/>
                </a:lnTo>
                <a:lnTo>
                  <a:pt x="3" y="11"/>
                </a:lnTo>
                <a:lnTo>
                  <a:pt x="6" y="11"/>
                </a:lnTo>
                <a:lnTo>
                  <a:pt x="3" y="14"/>
                </a:lnTo>
                <a:lnTo>
                  <a:pt x="6" y="1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93" name="Freeform 298"/>
          <p:cNvSpPr>
            <a:spLocks/>
          </p:cNvSpPr>
          <p:nvPr/>
        </p:nvSpPr>
        <p:spPr bwMode="gray">
          <a:xfrm>
            <a:off x="8783583" y="3580598"/>
            <a:ext cx="6000" cy="9000"/>
          </a:xfrm>
          <a:custGeom>
            <a:avLst/>
            <a:gdLst>
              <a:gd name="T0" fmla="*/ 2147483647 w 3"/>
              <a:gd name="T1" fmla="*/ 2147483647 h 6"/>
              <a:gd name="T2" fmla="*/ 2147483647 w 3"/>
              <a:gd name="T3" fmla="*/ 2147483647 h 6"/>
              <a:gd name="T4" fmla="*/ 0 w 3"/>
              <a:gd name="T5" fmla="*/ 0 h 6"/>
              <a:gd name="T6" fmla="*/ 0 w 3"/>
              <a:gd name="T7" fmla="*/ 2147483647 h 6"/>
              <a:gd name="T8" fmla="*/ 2147483647 w 3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3" y="6"/>
                </a:move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lnTo>
                  <a:pt x="3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94" name="Freeform 299"/>
          <p:cNvSpPr>
            <a:spLocks/>
          </p:cNvSpPr>
          <p:nvPr/>
        </p:nvSpPr>
        <p:spPr bwMode="gray">
          <a:xfrm>
            <a:off x="6527176" y="2859077"/>
            <a:ext cx="726130" cy="465013"/>
          </a:xfrm>
          <a:custGeom>
            <a:avLst/>
            <a:gdLst>
              <a:gd name="T0" fmla="*/ 2147483647 w 359"/>
              <a:gd name="T1" fmla="*/ 2147483647 h 307"/>
              <a:gd name="T2" fmla="*/ 2147483647 w 359"/>
              <a:gd name="T3" fmla="*/ 2147483647 h 307"/>
              <a:gd name="T4" fmla="*/ 2147483647 w 359"/>
              <a:gd name="T5" fmla="*/ 2147483647 h 307"/>
              <a:gd name="T6" fmla="*/ 2147483647 w 359"/>
              <a:gd name="T7" fmla="*/ 2147483647 h 307"/>
              <a:gd name="T8" fmla="*/ 2147483647 w 359"/>
              <a:gd name="T9" fmla="*/ 2147483647 h 307"/>
              <a:gd name="T10" fmla="*/ 2147483647 w 359"/>
              <a:gd name="T11" fmla="*/ 2147483647 h 307"/>
              <a:gd name="T12" fmla="*/ 2147483647 w 359"/>
              <a:gd name="T13" fmla="*/ 2147483647 h 307"/>
              <a:gd name="T14" fmla="*/ 2147483647 w 359"/>
              <a:gd name="T15" fmla="*/ 2147483647 h 307"/>
              <a:gd name="T16" fmla="*/ 2147483647 w 359"/>
              <a:gd name="T17" fmla="*/ 0 h 307"/>
              <a:gd name="T18" fmla="*/ 2147483647 w 359"/>
              <a:gd name="T19" fmla="*/ 2147483647 h 307"/>
              <a:gd name="T20" fmla="*/ 2147483647 w 359"/>
              <a:gd name="T21" fmla="*/ 2147483647 h 307"/>
              <a:gd name="T22" fmla="*/ 2147483647 w 359"/>
              <a:gd name="T23" fmla="*/ 2147483647 h 307"/>
              <a:gd name="T24" fmla="*/ 2147483647 w 359"/>
              <a:gd name="T25" fmla="*/ 2147483647 h 307"/>
              <a:gd name="T26" fmla="*/ 2147483647 w 359"/>
              <a:gd name="T27" fmla="*/ 2147483647 h 307"/>
              <a:gd name="T28" fmla="*/ 2147483647 w 359"/>
              <a:gd name="T29" fmla="*/ 2147483647 h 307"/>
              <a:gd name="T30" fmla="*/ 2147483647 w 359"/>
              <a:gd name="T31" fmla="*/ 2147483647 h 307"/>
              <a:gd name="T32" fmla="*/ 0 w 359"/>
              <a:gd name="T33" fmla="*/ 2147483647 h 307"/>
              <a:gd name="T34" fmla="*/ 2147483647 w 359"/>
              <a:gd name="T35" fmla="*/ 2147483647 h 307"/>
              <a:gd name="T36" fmla="*/ 2147483647 w 359"/>
              <a:gd name="T37" fmla="*/ 2147483647 h 307"/>
              <a:gd name="T38" fmla="*/ 2147483647 w 359"/>
              <a:gd name="T39" fmla="*/ 2147483647 h 307"/>
              <a:gd name="T40" fmla="*/ 2147483647 w 359"/>
              <a:gd name="T41" fmla="*/ 2147483647 h 307"/>
              <a:gd name="T42" fmla="*/ 2147483647 w 359"/>
              <a:gd name="T43" fmla="*/ 2147483647 h 307"/>
              <a:gd name="T44" fmla="*/ 2147483647 w 359"/>
              <a:gd name="T45" fmla="*/ 2147483647 h 307"/>
              <a:gd name="T46" fmla="*/ 2147483647 w 359"/>
              <a:gd name="T47" fmla="*/ 2147483647 h 307"/>
              <a:gd name="T48" fmla="*/ 2147483647 w 359"/>
              <a:gd name="T49" fmla="*/ 2147483647 h 307"/>
              <a:gd name="T50" fmla="*/ 2147483647 w 359"/>
              <a:gd name="T51" fmla="*/ 2147483647 h 307"/>
              <a:gd name="T52" fmla="*/ 2147483647 w 359"/>
              <a:gd name="T53" fmla="*/ 2147483647 h 307"/>
              <a:gd name="T54" fmla="*/ 2147483647 w 359"/>
              <a:gd name="T55" fmla="*/ 2147483647 h 307"/>
              <a:gd name="T56" fmla="*/ 2147483647 w 359"/>
              <a:gd name="T57" fmla="*/ 2147483647 h 307"/>
              <a:gd name="T58" fmla="*/ 2147483647 w 359"/>
              <a:gd name="T59" fmla="*/ 2147483647 h 307"/>
              <a:gd name="T60" fmla="*/ 2147483647 w 359"/>
              <a:gd name="T61" fmla="*/ 2147483647 h 307"/>
              <a:gd name="T62" fmla="*/ 2147483647 w 359"/>
              <a:gd name="T63" fmla="*/ 2147483647 h 307"/>
              <a:gd name="T64" fmla="*/ 2147483647 w 359"/>
              <a:gd name="T65" fmla="*/ 2147483647 h 307"/>
              <a:gd name="T66" fmla="*/ 2147483647 w 359"/>
              <a:gd name="T67" fmla="*/ 2147483647 h 307"/>
              <a:gd name="T68" fmla="*/ 2147483647 w 359"/>
              <a:gd name="T69" fmla="*/ 2147483647 h 307"/>
              <a:gd name="T70" fmla="*/ 2147483647 w 359"/>
              <a:gd name="T71" fmla="*/ 2147483647 h 307"/>
              <a:gd name="T72" fmla="*/ 2147483647 w 359"/>
              <a:gd name="T73" fmla="*/ 2147483647 h 307"/>
              <a:gd name="T74" fmla="*/ 2147483647 w 359"/>
              <a:gd name="T75" fmla="*/ 2147483647 h 307"/>
              <a:gd name="T76" fmla="*/ 2147483647 w 359"/>
              <a:gd name="T77" fmla="*/ 2147483647 h 307"/>
              <a:gd name="T78" fmla="*/ 2147483647 w 359"/>
              <a:gd name="T79" fmla="*/ 2147483647 h 307"/>
              <a:gd name="T80" fmla="*/ 2147483647 w 359"/>
              <a:gd name="T81" fmla="*/ 2147483647 h 307"/>
              <a:gd name="T82" fmla="*/ 2147483647 w 359"/>
              <a:gd name="T83" fmla="*/ 2147483647 h 307"/>
              <a:gd name="T84" fmla="*/ 2147483647 w 359"/>
              <a:gd name="T85" fmla="*/ 2147483647 h 307"/>
              <a:gd name="T86" fmla="*/ 2147483647 w 359"/>
              <a:gd name="T87" fmla="*/ 2147483647 h 307"/>
              <a:gd name="T88" fmla="*/ 2147483647 w 359"/>
              <a:gd name="T89" fmla="*/ 2147483647 h 307"/>
              <a:gd name="T90" fmla="*/ 2147483647 w 359"/>
              <a:gd name="T91" fmla="*/ 2147483647 h 307"/>
              <a:gd name="T92" fmla="*/ 2147483647 w 359"/>
              <a:gd name="T93" fmla="*/ 2147483647 h 307"/>
              <a:gd name="T94" fmla="*/ 2147483647 w 359"/>
              <a:gd name="T95" fmla="*/ 2147483647 h 307"/>
              <a:gd name="T96" fmla="*/ 2147483647 w 359"/>
              <a:gd name="T97" fmla="*/ 2147483647 h 307"/>
              <a:gd name="T98" fmla="*/ 2147483647 w 359"/>
              <a:gd name="T99" fmla="*/ 2147483647 h 307"/>
              <a:gd name="T100" fmla="*/ 2147483647 w 359"/>
              <a:gd name="T101" fmla="*/ 2147483647 h 307"/>
              <a:gd name="T102" fmla="*/ 2147483647 w 359"/>
              <a:gd name="T103" fmla="*/ 2147483647 h 307"/>
              <a:gd name="T104" fmla="*/ 2147483647 w 359"/>
              <a:gd name="T105" fmla="*/ 2147483647 h 307"/>
              <a:gd name="T106" fmla="*/ 2147483647 w 359"/>
              <a:gd name="T107" fmla="*/ 2147483647 h 307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359"/>
              <a:gd name="T163" fmla="*/ 0 h 307"/>
              <a:gd name="T164" fmla="*/ 359 w 359"/>
              <a:gd name="T165" fmla="*/ 307 h 307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359" h="307">
                <a:moveTo>
                  <a:pt x="236" y="80"/>
                </a:moveTo>
                <a:lnTo>
                  <a:pt x="236" y="80"/>
                </a:lnTo>
                <a:lnTo>
                  <a:pt x="230" y="75"/>
                </a:lnTo>
                <a:lnTo>
                  <a:pt x="230" y="72"/>
                </a:lnTo>
                <a:lnTo>
                  <a:pt x="227" y="75"/>
                </a:lnTo>
                <a:lnTo>
                  <a:pt x="216" y="72"/>
                </a:lnTo>
                <a:lnTo>
                  <a:pt x="213" y="69"/>
                </a:lnTo>
                <a:lnTo>
                  <a:pt x="210" y="66"/>
                </a:lnTo>
                <a:lnTo>
                  <a:pt x="207" y="63"/>
                </a:lnTo>
                <a:lnTo>
                  <a:pt x="196" y="60"/>
                </a:lnTo>
                <a:lnTo>
                  <a:pt x="164" y="60"/>
                </a:lnTo>
                <a:lnTo>
                  <a:pt x="147" y="46"/>
                </a:lnTo>
                <a:lnTo>
                  <a:pt x="141" y="40"/>
                </a:lnTo>
                <a:lnTo>
                  <a:pt x="132" y="37"/>
                </a:lnTo>
                <a:lnTo>
                  <a:pt x="124" y="29"/>
                </a:lnTo>
                <a:lnTo>
                  <a:pt x="118" y="23"/>
                </a:lnTo>
                <a:lnTo>
                  <a:pt x="110" y="20"/>
                </a:lnTo>
                <a:lnTo>
                  <a:pt x="101" y="14"/>
                </a:lnTo>
                <a:lnTo>
                  <a:pt x="92" y="8"/>
                </a:lnTo>
                <a:lnTo>
                  <a:pt x="84" y="6"/>
                </a:lnTo>
                <a:lnTo>
                  <a:pt x="75" y="6"/>
                </a:lnTo>
                <a:lnTo>
                  <a:pt x="72" y="0"/>
                </a:lnTo>
                <a:lnTo>
                  <a:pt x="66" y="0"/>
                </a:lnTo>
                <a:lnTo>
                  <a:pt x="66" y="6"/>
                </a:lnTo>
                <a:lnTo>
                  <a:pt x="52" y="11"/>
                </a:lnTo>
                <a:lnTo>
                  <a:pt x="43" y="14"/>
                </a:lnTo>
                <a:lnTo>
                  <a:pt x="43" y="20"/>
                </a:lnTo>
                <a:lnTo>
                  <a:pt x="49" y="26"/>
                </a:lnTo>
                <a:lnTo>
                  <a:pt x="46" y="31"/>
                </a:lnTo>
                <a:lnTo>
                  <a:pt x="49" y="43"/>
                </a:lnTo>
                <a:lnTo>
                  <a:pt x="46" y="43"/>
                </a:lnTo>
                <a:lnTo>
                  <a:pt x="43" y="46"/>
                </a:lnTo>
                <a:lnTo>
                  <a:pt x="35" y="46"/>
                </a:lnTo>
                <a:lnTo>
                  <a:pt x="32" y="52"/>
                </a:lnTo>
                <a:lnTo>
                  <a:pt x="23" y="60"/>
                </a:lnTo>
                <a:lnTo>
                  <a:pt x="15" y="57"/>
                </a:lnTo>
                <a:lnTo>
                  <a:pt x="6" y="57"/>
                </a:lnTo>
                <a:lnTo>
                  <a:pt x="3" y="63"/>
                </a:lnTo>
                <a:lnTo>
                  <a:pt x="0" y="77"/>
                </a:lnTo>
                <a:lnTo>
                  <a:pt x="0" y="83"/>
                </a:lnTo>
                <a:lnTo>
                  <a:pt x="3" y="80"/>
                </a:lnTo>
                <a:lnTo>
                  <a:pt x="6" y="80"/>
                </a:lnTo>
                <a:lnTo>
                  <a:pt x="9" y="80"/>
                </a:lnTo>
                <a:lnTo>
                  <a:pt x="15" y="89"/>
                </a:lnTo>
                <a:lnTo>
                  <a:pt x="23" y="103"/>
                </a:lnTo>
                <a:lnTo>
                  <a:pt x="29" y="112"/>
                </a:lnTo>
                <a:lnTo>
                  <a:pt x="32" y="112"/>
                </a:lnTo>
                <a:lnTo>
                  <a:pt x="41" y="126"/>
                </a:lnTo>
                <a:lnTo>
                  <a:pt x="49" y="141"/>
                </a:lnTo>
                <a:lnTo>
                  <a:pt x="46" y="143"/>
                </a:lnTo>
                <a:lnTo>
                  <a:pt x="52" y="152"/>
                </a:lnTo>
                <a:lnTo>
                  <a:pt x="61" y="158"/>
                </a:lnTo>
                <a:lnTo>
                  <a:pt x="69" y="164"/>
                </a:lnTo>
                <a:lnTo>
                  <a:pt x="69" y="166"/>
                </a:lnTo>
                <a:lnTo>
                  <a:pt x="75" y="181"/>
                </a:lnTo>
                <a:lnTo>
                  <a:pt x="81" y="192"/>
                </a:lnTo>
                <a:lnTo>
                  <a:pt x="81" y="198"/>
                </a:lnTo>
                <a:lnTo>
                  <a:pt x="81" y="201"/>
                </a:lnTo>
                <a:lnTo>
                  <a:pt x="81" y="207"/>
                </a:lnTo>
                <a:lnTo>
                  <a:pt x="84" y="212"/>
                </a:lnTo>
                <a:lnTo>
                  <a:pt x="84" y="218"/>
                </a:lnTo>
                <a:lnTo>
                  <a:pt x="87" y="224"/>
                </a:lnTo>
                <a:lnTo>
                  <a:pt x="92" y="232"/>
                </a:lnTo>
                <a:lnTo>
                  <a:pt x="107" y="241"/>
                </a:lnTo>
                <a:lnTo>
                  <a:pt x="112" y="247"/>
                </a:lnTo>
                <a:lnTo>
                  <a:pt x="115" y="253"/>
                </a:lnTo>
                <a:lnTo>
                  <a:pt x="118" y="261"/>
                </a:lnTo>
                <a:lnTo>
                  <a:pt x="127" y="275"/>
                </a:lnTo>
                <a:lnTo>
                  <a:pt x="141" y="290"/>
                </a:lnTo>
                <a:lnTo>
                  <a:pt x="147" y="301"/>
                </a:lnTo>
                <a:lnTo>
                  <a:pt x="150" y="307"/>
                </a:lnTo>
                <a:lnTo>
                  <a:pt x="153" y="301"/>
                </a:lnTo>
                <a:lnTo>
                  <a:pt x="153" y="290"/>
                </a:lnTo>
                <a:lnTo>
                  <a:pt x="158" y="284"/>
                </a:lnTo>
                <a:lnTo>
                  <a:pt x="167" y="287"/>
                </a:lnTo>
                <a:lnTo>
                  <a:pt x="173" y="287"/>
                </a:lnTo>
                <a:lnTo>
                  <a:pt x="184" y="284"/>
                </a:lnTo>
                <a:lnTo>
                  <a:pt x="198" y="287"/>
                </a:lnTo>
                <a:lnTo>
                  <a:pt x="216" y="287"/>
                </a:lnTo>
                <a:lnTo>
                  <a:pt x="219" y="290"/>
                </a:lnTo>
                <a:lnTo>
                  <a:pt x="221" y="293"/>
                </a:lnTo>
                <a:lnTo>
                  <a:pt x="224" y="290"/>
                </a:lnTo>
                <a:lnTo>
                  <a:pt x="230" y="287"/>
                </a:lnTo>
                <a:lnTo>
                  <a:pt x="239" y="273"/>
                </a:lnTo>
                <a:lnTo>
                  <a:pt x="247" y="267"/>
                </a:lnTo>
                <a:lnTo>
                  <a:pt x="259" y="261"/>
                </a:lnTo>
                <a:lnTo>
                  <a:pt x="276" y="261"/>
                </a:lnTo>
                <a:lnTo>
                  <a:pt x="296" y="255"/>
                </a:lnTo>
                <a:lnTo>
                  <a:pt x="302" y="255"/>
                </a:lnTo>
                <a:lnTo>
                  <a:pt x="310" y="253"/>
                </a:lnTo>
                <a:lnTo>
                  <a:pt x="336" y="241"/>
                </a:lnTo>
                <a:lnTo>
                  <a:pt x="351" y="235"/>
                </a:lnTo>
                <a:lnTo>
                  <a:pt x="359" y="198"/>
                </a:lnTo>
                <a:lnTo>
                  <a:pt x="351" y="186"/>
                </a:lnTo>
                <a:lnTo>
                  <a:pt x="308" y="184"/>
                </a:lnTo>
                <a:lnTo>
                  <a:pt x="293" y="164"/>
                </a:lnTo>
                <a:lnTo>
                  <a:pt x="285" y="158"/>
                </a:lnTo>
                <a:lnTo>
                  <a:pt x="287" y="152"/>
                </a:lnTo>
                <a:lnTo>
                  <a:pt x="285" y="152"/>
                </a:lnTo>
                <a:lnTo>
                  <a:pt x="285" y="149"/>
                </a:lnTo>
                <a:lnTo>
                  <a:pt x="282" y="149"/>
                </a:lnTo>
                <a:lnTo>
                  <a:pt x="273" y="146"/>
                </a:lnTo>
                <a:lnTo>
                  <a:pt x="270" y="138"/>
                </a:lnTo>
                <a:lnTo>
                  <a:pt x="270" y="132"/>
                </a:lnTo>
                <a:lnTo>
                  <a:pt x="267" y="129"/>
                </a:lnTo>
                <a:lnTo>
                  <a:pt x="262" y="126"/>
                </a:lnTo>
                <a:lnTo>
                  <a:pt x="262" y="120"/>
                </a:lnTo>
                <a:lnTo>
                  <a:pt x="262" y="115"/>
                </a:lnTo>
                <a:lnTo>
                  <a:pt x="259" y="106"/>
                </a:lnTo>
                <a:lnTo>
                  <a:pt x="253" y="103"/>
                </a:lnTo>
                <a:lnTo>
                  <a:pt x="250" y="97"/>
                </a:lnTo>
                <a:lnTo>
                  <a:pt x="244" y="97"/>
                </a:lnTo>
                <a:lnTo>
                  <a:pt x="244" y="92"/>
                </a:lnTo>
                <a:lnTo>
                  <a:pt x="242" y="89"/>
                </a:lnTo>
                <a:lnTo>
                  <a:pt x="239" y="86"/>
                </a:lnTo>
                <a:lnTo>
                  <a:pt x="236" y="8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95" name="Freeform 300"/>
          <p:cNvSpPr>
            <a:spLocks/>
          </p:cNvSpPr>
          <p:nvPr/>
        </p:nvSpPr>
        <p:spPr bwMode="gray">
          <a:xfrm>
            <a:off x="5186935" y="2097057"/>
            <a:ext cx="58010" cy="52502"/>
          </a:xfrm>
          <a:custGeom>
            <a:avLst/>
            <a:gdLst>
              <a:gd name="T0" fmla="*/ 2147483647 w 29"/>
              <a:gd name="T1" fmla="*/ 2147483647 h 35"/>
              <a:gd name="T2" fmla="*/ 2147483647 w 29"/>
              <a:gd name="T3" fmla="*/ 2147483647 h 35"/>
              <a:gd name="T4" fmla="*/ 2147483647 w 29"/>
              <a:gd name="T5" fmla="*/ 2147483647 h 35"/>
              <a:gd name="T6" fmla="*/ 0 w 29"/>
              <a:gd name="T7" fmla="*/ 2147483647 h 35"/>
              <a:gd name="T8" fmla="*/ 2147483647 w 29"/>
              <a:gd name="T9" fmla="*/ 2147483647 h 35"/>
              <a:gd name="T10" fmla="*/ 2147483647 w 29"/>
              <a:gd name="T11" fmla="*/ 2147483647 h 35"/>
              <a:gd name="T12" fmla="*/ 2147483647 w 29"/>
              <a:gd name="T13" fmla="*/ 2147483647 h 35"/>
              <a:gd name="T14" fmla="*/ 2147483647 w 29"/>
              <a:gd name="T15" fmla="*/ 2147483647 h 35"/>
              <a:gd name="T16" fmla="*/ 2147483647 w 29"/>
              <a:gd name="T17" fmla="*/ 2147483647 h 35"/>
              <a:gd name="T18" fmla="*/ 2147483647 w 29"/>
              <a:gd name="T19" fmla="*/ 0 h 35"/>
              <a:gd name="T20" fmla="*/ 2147483647 w 29"/>
              <a:gd name="T21" fmla="*/ 2147483647 h 35"/>
              <a:gd name="T22" fmla="*/ 2147483647 w 29"/>
              <a:gd name="T23" fmla="*/ 2147483647 h 35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29"/>
              <a:gd name="T37" fmla="*/ 0 h 35"/>
              <a:gd name="T38" fmla="*/ 29 w 29"/>
              <a:gd name="T39" fmla="*/ 35 h 35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29" h="35">
                <a:moveTo>
                  <a:pt x="15" y="15"/>
                </a:moveTo>
                <a:lnTo>
                  <a:pt x="9" y="18"/>
                </a:lnTo>
                <a:lnTo>
                  <a:pt x="9" y="23"/>
                </a:lnTo>
                <a:lnTo>
                  <a:pt x="0" y="35"/>
                </a:lnTo>
                <a:lnTo>
                  <a:pt x="9" y="32"/>
                </a:lnTo>
                <a:lnTo>
                  <a:pt x="12" y="21"/>
                </a:lnTo>
                <a:lnTo>
                  <a:pt x="18" y="15"/>
                </a:lnTo>
                <a:lnTo>
                  <a:pt x="23" y="12"/>
                </a:lnTo>
                <a:lnTo>
                  <a:pt x="29" y="6"/>
                </a:lnTo>
                <a:lnTo>
                  <a:pt x="29" y="0"/>
                </a:lnTo>
                <a:lnTo>
                  <a:pt x="15" y="9"/>
                </a:lnTo>
                <a:lnTo>
                  <a:pt x="15" y="15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96" name="Freeform 301"/>
          <p:cNvSpPr>
            <a:spLocks/>
          </p:cNvSpPr>
          <p:nvPr/>
        </p:nvSpPr>
        <p:spPr bwMode="gray">
          <a:xfrm>
            <a:off x="5226942" y="2154058"/>
            <a:ext cx="6000" cy="4501"/>
          </a:xfrm>
          <a:custGeom>
            <a:avLst/>
            <a:gdLst>
              <a:gd name="T0" fmla="*/ 2147483647 w 3"/>
              <a:gd name="T1" fmla="*/ 0 h 3"/>
              <a:gd name="T2" fmla="*/ 2147483647 w 3"/>
              <a:gd name="T3" fmla="*/ 0 h 3"/>
              <a:gd name="T4" fmla="*/ 0 w 3"/>
              <a:gd name="T5" fmla="*/ 2147483647 h 3"/>
              <a:gd name="T6" fmla="*/ 2147483647 w 3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3" y="0"/>
                </a:moveTo>
                <a:lnTo>
                  <a:pt x="3" y="0"/>
                </a:lnTo>
                <a:lnTo>
                  <a:pt x="0" y="3"/>
                </a:lnTo>
                <a:lnTo>
                  <a:pt x="3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97" name="Freeform 302"/>
          <p:cNvSpPr>
            <a:spLocks/>
          </p:cNvSpPr>
          <p:nvPr/>
        </p:nvSpPr>
        <p:spPr bwMode="gray">
          <a:xfrm>
            <a:off x="5232943" y="2149558"/>
            <a:ext cx="6002" cy="4500"/>
          </a:xfrm>
          <a:custGeom>
            <a:avLst/>
            <a:gdLst>
              <a:gd name="T0" fmla="*/ 0 w 3"/>
              <a:gd name="T1" fmla="*/ 0 h 3"/>
              <a:gd name="T2" fmla="*/ 0 w 3"/>
              <a:gd name="T3" fmla="*/ 2147483647 h 3"/>
              <a:gd name="T4" fmla="*/ 2147483647 w 3"/>
              <a:gd name="T5" fmla="*/ 0 h 3"/>
              <a:gd name="T6" fmla="*/ 0 w 3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0" y="0"/>
                </a:moveTo>
                <a:lnTo>
                  <a:pt x="0" y="3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98" name="Freeform 303"/>
          <p:cNvSpPr>
            <a:spLocks/>
          </p:cNvSpPr>
          <p:nvPr/>
        </p:nvSpPr>
        <p:spPr bwMode="gray">
          <a:xfrm>
            <a:off x="5222942" y="2128558"/>
            <a:ext cx="4001" cy="7500"/>
          </a:xfrm>
          <a:custGeom>
            <a:avLst/>
            <a:gdLst>
              <a:gd name="T0" fmla="*/ 2147483647 w 2"/>
              <a:gd name="T1" fmla="*/ 0 h 5"/>
              <a:gd name="T2" fmla="*/ 0 w 2"/>
              <a:gd name="T3" fmla="*/ 2147483647 h 5"/>
              <a:gd name="T4" fmla="*/ 0 w 2"/>
              <a:gd name="T5" fmla="*/ 2147483647 h 5"/>
              <a:gd name="T6" fmla="*/ 2147483647 w 2"/>
              <a:gd name="T7" fmla="*/ 2147483647 h 5"/>
              <a:gd name="T8" fmla="*/ 2147483647 w 2"/>
              <a:gd name="T9" fmla="*/ 0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"/>
              <a:gd name="T16" fmla="*/ 0 h 5"/>
              <a:gd name="T17" fmla="*/ 2 w 2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" h="5">
                <a:moveTo>
                  <a:pt x="2" y="0"/>
                </a:moveTo>
                <a:lnTo>
                  <a:pt x="0" y="2"/>
                </a:lnTo>
                <a:lnTo>
                  <a:pt x="0" y="5"/>
                </a:lnTo>
                <a:lnTo>
                  <a:pt x="2" y="5"/>
                </a:lnTo>
                <a:lnTo>
                  <a:pt x="2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99" name="Freeform 304"/>
          <p:cNvSpPr>
            <a:spLocks/>
          </p:cNvSpPr>
          <p:nvPr/>
        </p:nvSpPr>
        <p:spPr bwMode="gray">
          <a:xfrm>
            <a:off x="5090918" y="2194560"/>
            <a:ext cx="136024" cy="103502"/>
          </a:xfrm>
          <a:custGeom>
            <a:avLst/>
            <a:gdLst>
              <a:gd name="T0" fmla="*/ 0 w 68"/>
              <a:gd name="T1" fmla="*/ 2147483647 h 69"/>
              <a:gd name="T2" fmla="*/ 2147483647 w 68"/>
              <a:gd name="T3" fmla="*/ 2147483647 h 69"/>
              <a:gd name="T4" fmla="*/ 2147483647 w 68"/>
              <a:gd name="T5" fmla="*/ 2147483647 h 69"/>
              <a:gd name="T6" fmla="*/ 2147483647 w 68"/>
              <a:gd name="T7" fmla="*/ 2147483647 h 69"/>
              <a:gd name="T8" fmla="*/ 2147483647 w 68"/>
              <a:gd name="T9" fmla="*/ 2147483647 h 69"/>
              <a:gd name="T10" fmla="*/ 2147483647 w 68"/>
              <a:gd name="T11" fmla="*/ 2147483647 h 69"/>
              <a:gd name="T12" fmla="*/ 2147483647 w 68"/>
              <a:gd name="T13" fmla="*/ 2147483647 h 69"/>
              <a:gd name="T14" fmla="*/ 2147483647 w 68"/>
              <a:gd name="T15" fmla="*/ 2147483647 h 69"/>
              <a:gd name="T16" fmla="*/ 2147483647 w 68"/>
              <a:gd name="T17" fmla="*/ 2147483647 h 69"/>
              <a:gd name="T18" fmla="*/ 2147483647 w 68"/>
              <a:gd name="T19" fmla="*/ 2147483647 h 69"/>
              <a:gd name="T20" fmla="*/ 2147483647 w 68"/>
              <a:gd name="T21" fmla="*/ 2147483647 h 69"/>
              <a:gd name="T22" fmla="*/ 2147483647 w 68"/>
              <a:gd name="T23" fmla="*/ 2147483647 h 69"/>
              <a:gd name="T24" fmla="*/ 2147483647 w 68"/>
              <a:gd name="T25" fmla="*/ 2147483647 h 69"/>
              <a:gd name="T26" fmla="*/ 2147483647 w 68"/>
              <a:gd name="T27" fmla="*/ 2147483647 h 69"/>
              <a:gd name="T28" fmla="*/ 2147483647 w 68"/>
              <a:gd name="T29" fmla="*/ 2147483647 h 69"/>
              <a:gd name="T30" fmla="*/ 2147483647 w 68"/>
              <a:gd name="T31" fmla="*/ 2147483647 h 69"/>
              <a:gd name="T32" fmla="*/ 2147483647 w 68"/>
              <a:gd name="T33" fmla="*/ 2147483647 h 69"/>
              <a:gd name="T34" fmla="*/ 2147483647 w 68"/>
              <a:gd name="T35" fmla="*/ 2147483647 h 69"/>
              <a:gd name="T36" fmla="*/ 2147483647 w 68"/>
              <a:gd name="T37" fmla="*/ 2147483647 h 69"/>
              <a:gd name="T38" fmla="*/ 2147483647 w 68"/>
              <a:gd name="T39" fmla="*/ 0 h 69"/>
              <a:gd name="T40" fmla="*/ 2147483647 w 68"/>
              <a:gd name="T41" fmla="*/ 2147483647 h 69"/>
              <a:gd name="T42" fmla="*/ 2147483647 w 68"/>
              <a:gd name="T43" fmla="*/ 2147483647 h 69"/>
              <a:gd name="T44" fmla="*/ 2147483647 w 68"/>
              <a:gd name="T45" fmla="*/ 2147483647 h 69"/>
              <a:gd name="T46" fmla="*/ 2147483647 w 68"/>
              <a:gd name="T47" fmla="*/ 2147483647 h 69"/>
              <a:gd name="T48" fmla="*/ 2147483647 w 68"/>
              <a:gd name="T49" fmla="*/ 2147483647 h 69"/>
              <a:gd name="T50" fmla="*/ 2147483647 w 68"/>
              <a:gd name="T51" fmla="*/ 2147483647 h 69"/>
              <a:gd name="T52" fmla="*/ 2147483647 w 68"/>
              <a:gd name="T53" fmla="*/ 2147483647 h 69"/>
              <a:gd name="T54" fmla="*/ 2147483647 w 68"/>
              <a:gd name="T55" fmla="*/ 2147483647 h 69"/>
              <a:gd name="T56" fmla="*/ 2147483647 w 68"/>
              <a:gd name="T57" fmla="*/ 2147483647 h 69"/>
              <a:gd name="T58" fmla="*/ 2147483647 w 68"/>
              <a:gd name="T59" fmla="*/ 2147483647 h 69"/>
              <a:gd name="T60" fmla="*/ 2147483647 w 68"/>
              <a:gd name="T61" fmla="*/ 2147483647 h 69"/>
              <a:gd name="T62" fmla="*/ 2147483647 w 68"/>
              <a:gd name="T63" fmla="*/ 2147483647 h 69"/>
              <a:gd name="T64" fmla="*/ 2147483647 w 68"/>
              <a:gd name="T65" fmla="*/ 2147483647 h 69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68"/>
              <a:gd name="T100" fmla="*/ 0 h 69"/>
              <a:gd name="T101" fmla="*/ 68 w 68"/>
              <a:gd name="T102" fmla="*/ 69 h 69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68" h="69">
                <a:moveTo>
                  <a:pt x="8" y="48"/>
                </a:moveTo>
                <a:lnTo>
                  <a:pt x="0" y="57"/>
                </a:lnTo>
                <a:lnTo>
                  <a:pt x="5" y="66"/>
                </a:lnTo>
                <a:lnTo>
                  <a:pt x="11" y="60"/>
                </a:lnTo>
                <a:lnTo>
                  <a:pt x="11" y="66"/>
                </a:lnTo>
                <a:lnTo>
                  <a:pt x="20" y="69"/>
                </a:lnTo>
                <a:lnTo>
                  <a:pt x="31" y="66"/>
                </a:lnTo>
                <a:lnTo>
                  <a:pt x="40" y="60"/>
                </a:lnTo>
                <a:lnTo>
                  <a:pt x="45" y="57"/>
                </a:lnTo>
                <a:lnTo>
                  <a:pt x="48" y="54"/>
                </a:lnTo>
                <a:lnTo>
                  <a:pt x="57" y="54"/>
                </a:lnTo>
                <a:lnTo>
                  <a:pt x="60" y="54"/>
                </a:lnTo>
                <a:lnTo>
                  <a:pt x="66" y="43"/>
                </a:lnTo>
                <a:lnTo>
                  <a:pt x="68" y="37"/>
                </a:lnTo>
                <a:lnTo>
                  <a:pt x="66" y="31"/>
                </a:lnTo>
                <a:lnTo>
                  <a:pt x="66" y="23"/>
                </a:lnTo>
                <a:lnTo>
                  <a:pt x="63" y="20"/>
                </a:lnTo>
                <a:lnTo>
                  <a:pt x="57" y="20"/>
                </a:lnTo>
                <a:lnTo>
                  <a:pt x="57" y="17"/>
                </a:lnTo>
                <a:lnTo>
                  <a:pt x="54" y="20"/>
                </a:lnTo>
                <a:lnTo>
                  <a:pt x="45" y="23"/>
                </a:lnTo>
                <a:lnTo>
                  <a:pt x="40" y="20"/>
                </a:lnTo>
                <a:lnTo>
                  <a:pt x="40" y="17"/>
                </a:lnTo>
                <a:lnTo>
                  <a:pt x="40" y="14"/>
                </a:lnTo>
                <a:lnTo>
                  <a:pt x="43" y="8"/>
                </a:lnTo>
                <a:lnTo>
                  <a:pt x="48" y="5"/>
                </a:lnTo>
                <a:lnTo>
                  <a:pt x="48" y="0"/>
                </a:lnTo>
                <a:lnTo>
                  <a:pt x="40" y="0"/>
                </a:lnTo>
                <a:lnTo>
                  <a:pt x="37" y="2"/>
                </a:lnTo>
                <a:lnTo>
                  <a:pt x="31" y="8"/>
                </a:lnTo>
                <a:lnTo>
                  <a:pt x="34" y="11"/>
                </a:lnTo>
                <a:lnTo>
                  <a:pt x="34" y="14"/>
                </a:lnTo>
                <a:lnTo>
                  <a:pt x="34" y="17"/>
                </a:lnTo>
                <a:lnTo>
                  <a:pt x="28" y="17"/>
                </a:lnTo>
                <a:lnTo>
                  <a:pt x="20" y="17"/>
                </a:lnTo>
                <a:lnTo>
                  <a:pt x="14" y="17"/>
                </a:lnTo>
                <a:lnTo>
                  <a:pt x="11" y="20"/>
                </a:lnTo>
                <a:lnTo>
                  <a:pt x="11" y="23"/>
                </a:lnTo>
                <a:lnTo>
                  <a:pt x="11" y="28"/>
                </a:lnTo>
                <a:lnTo>
                  <a:pt x="14" y="34"/>
                </a:lnTo>
                <a:lnTo>
                  <a:pt x="20" y="37"/>
                </a:lnTo>
                <a:lnTo>
                  <a:pt x="22" y="37"/>
                </a:lnTo>
                <a:lnTo>
                  <a:pt x="17" y="43"/>
                </a:lnTo>
                <a:lnTo>
                  <a:pt x="11" y="46"/>
                </a:lnTo>
                <a:lnTo>
                  <a:pt x="20" y="46"/>
                </a:lnTo>
                <a:lnTo>
                  <a:pt x="14" y="51"/>
                </a:lnTo>
                <a:lnTo>
                  <a:pt x="8" y="48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00" name="Freeform 305"/>
          <p:cNvSpPr>
            <a:spLocks/>
          </p:cNvSpPr>
          <p:nvPr/>
        </p:nvSpPr>
        <p:spPr bwMode="gray">
          <a:xfrm>
            <a:off x="5064913" y="1593044"/>
            <a:ext cx="20004" cy="9000"/>
          </a:xfrm>
          <a:custGeom>
            <a:avLst/>
            <a:gdLst>
              <a:gd name="T0" fmla="*/ 2147483647 w 9"/>
              <a:gd name="T1" fmla="*/ 0 h 6"/>
              <a:gd name="T2" fmla="*/ 0 w 9"/>
              <a:gd name="T3" fmla="*/ 2147483647 h 6"/>
              <a:gd name="T4" fmla="*/ 2147483647 w 9"/>
              <a:gd name="T5" fmla="*/ 2147483647 h 6"/>
              <a:gd name="T6" fmla="*/ 2147483647 w 9"/>
              <a:gd name="T7" fmla="*/ 0 h 6"/>
              <a:gd name="T8" fmla="*/ 2147483647 w 9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6"/>
              <a:gd name="T17" fmla="*/ 9 w 9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6">
                <a:moveTo>
                  <a:pt x="6" y="0"/>
                </a:moveTo>
                <a:lnTo>
                  <a:pt x="0" y="3"/>
                </a:lnTo>
                <a:lnTo>
                  <a:pt x="3" y="6"/>
                </a:lnTo>
                <a:lnTo>
                  <a:pt x="9" y="0"/>
                </a:lnTo>
                <a:lnTo>
                  <a:pt x="6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01" name="Freeform 306"/>
          <p:cNvSpPr>
            <a:spLocks/>
          </p:cNvSpPr>
          <p:nvPr/>
        </p:nvSpPr>
        <p:spPr bwMode="gray">
          <a:xfrm>
            <a:off x="5064913" y="1615545"/>
            <a:ext cx="20004" cy="9000"/>
          </a:xfrm>
          <a:custGeom>
            <a:avLst/>
            <a:gdLst>
              <a:gd name="T0" fmla="*/ 2147483647 w 9"/>
              <a:gd name="T1" fmla="*/ 2147483647 h 6"/>
              <a:gd name="T2" fmla="*/ 2147483647 w 9"/>
              <a:gd name="T3" fmla="*/ 0 h 6"/>
              <a:gd name="T4" fmla="*/ 2147483647 w 9"/>
              <a:gd name="T5" fmla="*/ 0 h 6"/>
              <a:gd name="T6" fmla="*/ 0 w 9"/>
              <a:gd name="T7" fmla="*/ 2147483647 h 6"/>
              <a:gd name="T8" fmla="*/ 2147483647 w 9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6"/>
              <a:gd name="T17" fmla="*/ 9 w 9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6">
                <a:moveTo>
                  <a:pt x="6" y="6"/>
                </a:moveTo>
                <a:lnTo>
                  <a:pt x="9" y="0"/>
                </a:lnTo>
                <a:lnTo>
                  <a:pt x="6" y="0"/>
                </a:lnTo>
                <a:lnTo>
                  <a:pt x="0" y="3"/>
                </a:lnTo>
                <a:lnTo>
                  <a:pt x="6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02" name="Freeform 307"/>
          <p:cNvSpPr>
            <a:spLocks/>
          </p:cNvSpPr>
          <p:nvPr/>
        </p:nvSpPr>
        <p:spPr bwMode="gray">
          <a:xfrm>
            <a:off x="5210939" y="2149559"/>
            <a:ext cx="16003" cy="9000"/>
          </a:xfrm>
          <a:custGeom>
            <a:avLst/>
            <a:gdLst>
              <a:gd name="T0" fmla="*/ 0 w 8"/>
              <a:gd name="T1" fmla="*/ 2147483647 h 6"/>
              <a:gd name="T2" fmla="*/ 2147483647 w 8"/>
              <a:gd name="T3" fmla="*/ 2147483647 h 6"/>
              <a:gd name="T4" fmla="*/ 2147483647 w 8"/>
              <a:gd name="T5" fmla="*/ 2147483647 h 6"/>
              <a:gd name="T6" fmla="*/ 2147483647 w 8"/>
              <a:gd name="T7" fmla="*/ 0 h 6"/>
              <a:gd name="T8" fmla="*/ 2147483647 w 8"/>
              <a:gd name="T9" fmla="*/ 0 h 6"/>
              <a:gd name="T10" fmla="*/ 0 w 8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8"/>
              <a:gd name="T19" fmla="*/ 0 h 6"/>
              <a:gd name="T20" fmla="*/ 8 w 8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8" h="6">
                <a:moveTo>
                  <a:pt x="0" y="6"/>
                </a:moveTo>
                <a:lnTo>
                  <a:pt x="3" y="6"/>
                </a:lnTo>
                <a:lnTo>
                  <a:pt x="6" y="3"/>
                </a:lnTo>
                <a:lnTo>
                  <a:pt x="8" y="0"/>
                </a:lnTo>
                <a:lnTo>
                  <a:pt x="6" y="0"/>
                </a:lnTo>
                <a:lnTo>
                  <a:pt x="0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03" name="Freeform 308"/>
          <p:cNvSpPr>
            <a:spLocks/>
          </p:cNvSpPr>
          <p:nvPr/>
        </p:nvSpPr>
        <p:spPr bwMode="gray">
          <a:xfrm>
            <a:off x="5238945" y="2389566"/>
            <a:ext cx="12002" cy="9000"/>
          </a:xfrm>
          <a:custGeom>
            <a:avLst/>
            <a:gdLst>
              <a:gd name="T0" fmla="*/ 2147483647 w 6"/>
              <a:gd name="T1" fmla="*/ 0 h 6"/>
              <a:gd name="T2" fmla="*/ 0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6"/>
              <a:gd name="T14" fmla="*/ 6 w 6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6">
                <a:moveTo>
                  <a:pt x="6" y="0"/>
                </a:moveTo>
                <a:lnTo>
                  <a:pt x="0" y="3"/>
                </a:lnTo>
                <a:lnTo>
                  <a:pt x="6" y="6"/>
                </a:lnTo>
                <a:lnTo>
                  <a:pt x="6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04" name="Freeform 309"/>
          <p:cNvSpPr>
            <a:spLocks/>
          </p:cNvSpPr>
          <p:nvPr/>
        </p:nvSpPr>
        <p:spPr bwMode="gray">
          <a:xfrm>
            <a:off x="5232943" y="2136058"/>
            <a:ext cx="6002" cy="4501"/>
          </a:xfrm>
          <a:custGeom>
            <a:avLst/>
            <a:gdLst>
              <a:gd name="T0" fmla="*/ 0 w 3"/>
              <a:gd name="T1" fmla="*/ 2147483647 h 3"/>
              <a:gd name="T2" fmla="*/ 2147483647 w 3"/>
              <a:gd name="T3" fmla="*/ 0 h 3"/>
              <a:gd name="T4" fmla="*/ 0 w 3"/>
              <a:gd name="T5" fmla="*/ 2147483647 h 3"/>
              <a:gd name="T6" fmla="*/ 0 w 3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0" y="3"/>
                </a:move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05" name="Freeform 310"/>
          <p:cNvSpPr>
            <a:spLocks/>
          </p:cNvSpPr>
          <p:nvPr/>
        </p:nvSpPr>
        <p:spPr bwMode="gray">
          <a:xfrm>
            <a:off x="5176933" y="2190060"/>
            <a:ext cx="68012" cy="39001"/>
          </a:xfrm>
          <a:custGeom>
            <a:avLst/>
            <a:gdLst>
              <a:gd name="T0" fmla="*/ 0 w 34"/>
              <a:gd name="T1" fmla="*/ 2147483647 h 26"/>
              <a:gd name="T2" fmla="*/ 0 w 34"/>
              <a:gd name="T3" fmla="*/ 2147483647 h 26"/>
              <a:gd name="T4" fmla="*/ 2147483647 w 34"/>
              <a:gd name="T5" fmla="*/ 2147483647 h 26"/>
              <a:gd name="T6" fmla="*/ 2147483647 w 34"/>
              <a:gd name="T7" fmla="*/ 2147483647 h 26"/>
              <a:gd name="T8" fmla="*/ 2147483647 w 34"/>
              <a:gd name="T9" fmla="*/ 2147483647 h 26"/>
              <a:gd name="T10" fmla="*/ 2147483647 w 34"/>
              <a:gd name="T11" fmla="*/ 2147483647 h 26"/>
              <a:gd name="T12" fmla="*/ 2147483647 w 34"/>
              <a:gd name="T13" fmla="*/ 2147483647 h 26"/>
              <a:gd name="T14" fmla="*/ 2147483647 w 34"/>
              <a:gd name="T15" fmla="*/ 2147483647 h 26"/>
              <a:gd name="T16" fmla="*/ 2147483647 w 34"/>
              <a:gd name="T17" fmla="*/ 2147483647 h 26"/>
              <a:gd name="T18" fmla="*/ 2147483647 w 34"/>
              <a:gd name="T19" fmla="*/ 2147483647 h 26"/>
              <a:gd name="T20" fmla="*/ 2147483647 w 34"/>
              <a:gd name="T21" fmla="*/ 2147483647 h 26"/>
              <a:gd name="T22" fmla="*/ 2147483647 w 34"/>
              <a:gd name="T23" fmla="*/ 2147483647 h 26"/>
              <a:gd name="T24" fmla="*/ 2147483647 w 34"/>
              <a:gd name="T25" fmla="*/ 2147483647 h 26"/>
              <a:gd name="T26" fmla="*/ 2147483647 w 34"/>
              <a:gd name="T27" fmla="*/ 2147483647 h 26"/>
              <a:gd name="T28" fmla="*/ 2147483647 w 34"/>
              <a:gd name="T29" fmla="*/ 2147483647 h 26"/>
              <a:gd name="T30" fmla="*/ 2147483647 w 34"/>
              <a:gd name="T31" fmla="*/ 2147483647 h 26"/>
              <a:gd name="T32" fmla="*/ 2147483647 w 34"/>
              <a:gd name="T33" fmla="*/ 2147483647 h 26"/>
              <a:gd name="T34" fmla="*/ 2147483647 w 34"/>
              <a:gd name="T35" fmla="*/ 2147483647 h 26"/>
              <a:gd name="T36" fmla="*/ 2147483647 w 34"/>
              <a:gd name="T37" fmla="*/ 2147483647 h 26"/>
              <a:gd name="T38" fmla="*/ 2147483647 w 34"/>
              <a:gd name="T39" fmla="*/ 2147483647 h 26"/>
              <a:gd name="T40" fmla="*/ 2147483647 w 34"/>
              <a:gd name="T41" fmla="*/ 2147483647 h 26"/>
              <a:gd name="T42" fmla="*/ 2147483647 w 34"/>
              <a:gd name="T43" fmla="*/ 2147483647 h 26"/>
              <a:gd name="T44" fmla="*/ 2147483647 w 34"/>
              <a:gd name="T45" fmla="*/ 2147483647 h 26"/>
              <a:gd name="T46" fmla="*/ 2147483647 w 34"/>
              <a:gd name="T47" fmla="*/ 0 h 26"/>
              <a:gd name="T48" fmla="*/ 2147483647 w 34"/>
              <a:gd name="T49" fmla="*/ 2147483647 h 26"/>
              <a:gd name="T50" fmla="*/ 2147483647 w 34"/>
              <a:gd name="T51" fmla="*/ 0 h 26"/>
              <a:gd name="T52" fmla="*/ 2147483647 w 34"/>
              <a:gd name="T53" fmla="*/ 2147483647 h 26"/>
              <a:gd name="T54" fmla="*/ 2147483647 w 34"/>
              <a:gd name="T55" fmla="*/ 2147483647 h 26"/>
              <a:gd name="T56" fmla="*/ 2147483647 w 34"/>
              <a:gd name="T57" fmla="*/ 2147483647 h 26"/>
              <a:gd name="T58" fmla="*/ 0 w 34"/>
              <a:gd name="T59" fmla="*/ 2147483647 h 2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34"/>
              <a:gd name="T91" fmla="*/ 0 h 26"/>
              <a:gd name="T92" fmla="*/ 34 w 34"/>
              <a:gd name="T93" fmla="*/ 26 h 2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34" h="26">
                <a:moveTo>
                  <a:pt x="0" y="17"/>
                </a:moveTo>
                <a:lnTo>
                  <a:pt x="0" y="17"/>
                </a:lnTo>
                <a:lnTo>
                  <a:pt x="2" y="23"/>
                </a:lnTo>
                <a:lnTo>
                  <a:pt x="8" y="20"/>
                </a:lnTo>
                <a:lnTo>
                  <a:pt x="14" y="14"/>
                </a:lnTo>
                <a:lnTo>
                  <a:pt x="17" y="20"/>
                </a:lnTo>
                <a:lnTo>
                  <a:pt x="20" y="20"/>
                </a:lnTo>
                <a:lnTo>
                  <a:pt x="23" y="20"/>
                </a:lnTo>
                <a:lnTo>
                  <a:pt x="23" y="23"/>
                </a:lnTo>
                <a:lnTo>
                  <a:pt x="25" y="26"/>
                </a:lnTo>
                <a:lnTo>
                  <a:pt x="31" y="20"/>
                </a:lnTo>
                <a:lnTo>
                  <a:pt x="34" y="20"/>
                </a:lnTo>
                <a:lnTo>
                  <a:pt x="34" y="17"/>
                </a:lnTo>
                <a:lnTo>
                  <a:pt x="34" y="8"/>
                </a:lnTo>
                <a:lnTo>
                  <a:pt x="25" y="0"/>
                </a:lnTo>
                <a:lnTo>
                  <a:pt x="17" y="3"/>
                </a:lnTo>
                <a:lnTo>
                  <a:pt x="11" y="0"/>
                </a:lnTo>
                <a:lnTo>
                  <a:pt x="8" y="3"/>
                </a:lnTo>
                <a:lnTo>
                  <a:pt x="8" y="8"/>
                </a:lnTo>
                <a:lnTo>
                  <a:pt x="2" y="14"/>
                </a:lnTo>
                <a:lnTo>
                  <a:pt x="0" y="17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06" name="Freeform 311"/>
          <p:cNvSpPr>
            <a:spLocks/>
          </p:cNvSpPr>
          <p:nvPr/>
        </p:nvSpPr>
        <p:spPr bwMode="gray">
          <a:xfrm>
            <a:off x="5018905" y="1666546"/>
            <a:ext cx="40007" cy="18000"/>
          </a:xfrm>
          <a:custGeom>
            <a:avLst/>
            <a:gdLst>
              <a:gd name="T0" fmla="*/ 2147483647 w 20"/>
              <a:gd name="T1" fmla="*/ 2147483647 h 12"/>
              <a:gd name="T2" fmla="*/ 2147483647 w 20"/>
              <a:gd name="T3" fmla="*/ 2147483647 h 12"/>
              <a:gd name="T4" fmla="*/ 2147483647 w 20"/>
              <a:gd name="T5" fmla="*/ 2147483647 h 12"/>
              <a:gd name="T6" fmla="*/ 2147483647 w 20"/>
              <a:gd name="T7" fmla="*/ 2147483647 h 12"/>
              <a:gd name="T8" fmla="*/ 2147483647 w 20"/>
              <a:gd name="T9" fmla="*/ 0 h 12"/>
              <a:gd name="T10" fmla="*/ 2147483647 w 20"/>
              <a:gd name="T11" fmla="*/ 2147483647 h 12"/>
              <a:gd name="T12" fmla="*/ 2147483647 w 20"/>
              <a:gd name="T13" fmla="*/ 2147483647 h 12"/>
              <a:gd name="T14" fmla="*/ 0 w 20"/>
              <a:gd name="T15" fmla="*/ 2147483647 h 12"/>
              <a:gd name="T16" fmla="*/ 2147483647 w 20"/>
              <a:gd name="T17" fmla="*/ 2147483647 h 12"/>
              <a:gd name="T18" fmla="*/ 2147483647 w 20"/>
              <a:gd name="T19" fmla="*/ 2147483647 h 12"/>
              <a:gd name="T20" fmla="*/ 2147483647 w 20"/>
              <a:gd name="T21" fmla="*/ 2147483647 h 1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20"/>
              <a:gd name="T34" fmla="*/ 0 h 12"/>
              <a:gd name="T35" fmla="*/ 20 w 20"/>
              <a:gd name="T36" fmla="*/ 12 h 12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20" h="12">
                <a:moveTo>
                  <a:pt x="14" y="12"/>
                </a:moveTo>
                <a:lnTo>
                  <a:pt x="20" y="9"/>
                </a:lnTo>
                <a:lnTo>
                  <a:pt x="17" y="6"/>
                </a:lnTo>
                <a:lnTo>
                  <a:pt x="14" y="6"/>
                </a:lnTo>
                <a:lnTo>
                  <a:pt x="14" y="0"/>
                </a:lnTo>
                <a:lnTo>
                  <a:pt x="14" y="3"/>
                </a:lnTo>
                <a:lnTo>
                  <a:pt x="6" y="3"/>
                </a:lnTo>
                <a:lnTo>
                  <a:pt x="0" y="6"/>
                </a:lnTo>
                <a:lnTo>
                  <a:pt x="6" y="12"/>
                </a:lnTo>
                <a:lnTo>
                  <a:pt x="12" y="9"/>
                </a:lnTo>
                <a:lnTo>
                  <a:pt x="14" y="12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07" name="Freeform 312"/>
          <p:cNvSpPr>
            <a:spLocks/>
          </p:cNvSpPr>
          <p:nvPr/>
        </p:nvSpPr>
        <p:spPr bwMode="gray">
          <a:xfrm>
            <a:off x="5286953" y="2410566"/>
            <a:ext cx="12002" cy="9000"/>
          </a:xfrm>
          <a:custGeom>
            <a:avLst/>
            <a:gdLst>
              <a:gd name="T0" fmla="*/ 2147483647 w 6"/>
              <a:gd name="T1" fmla="*/ 0 h 6"/>
              <a:gd name="T2" fmla="*/ 0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6"/>
              <a:gd name="T14" fmla="*/ 6 w 6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6">
                <a:moveTo>
                  <a:pt x="6" y="0"/>
                </a:moveTo>
                <a:lnTo>
                  <a:pt x="0" y="6"/>
                </a:lnTo>
                <a:lnTo>
                  <a:pt x="6" y="6"/>
                </a:lnTo>
                <a:lnTo>
                  <a:pt x="6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08" name="Freeform 313"/>
          <p:cNvSpPr>
            <a:spLocks/>
          </p:cNvSpPr>
          <p:nvPr/>
        </p:nvSpPr>
        <p:spPr bwMode="gray">
          <a:xfrm>
            <a:off x="5094918" y="2520069"/>
            <a:ext cx="390070" cy="225006"/>
          </a:xfrm>
          <a:custGeom>
            <a:avLst/>
            <a:gdLst>
              <a:gd name="T0" fmla="*/ 2147483647 w 193"/>
              <a:gd name="T1" fmla="*/ 2147483647 h 149"/>
              <a:gd name="T2" fmla="*/ 2147483647 w 193"/>
              <a:gd name="T3" fmla="*/ 2147483647 h 149"/>
              <a:gd name="T4" fmla="*/ 2147483647 w 193"/>
              <a:gd name="T5" fmla="*/ 0 h 149"/>
              <a:gd name="T6" fmla="*/ 2147483647 w 193"/>
              <a:gd name="T7" fmla="*/ 0 h 149"/>
              <a:gd name="T8" fmla="*/ 2147483647 w 193"/>
              <a:gd name="T9" fmla="*/ 2147483647 h 149"/>
              <a:gd name="T10" fmla="*/ 2147483647 w 193"/>
              <a:gd name="T11" fmla="*/ 2147483647 h 149"/>
              <a:gd name="T12" fmla="*/ 0 w 193"/>
              <a:gd name="T13" fmla="*/ 2147483647 h 149"/>
              <a:gd name="T14" fmla="*/ 2147483647 w 193"/>
              <a:gd name="T15" fmla="*/ 2147483647 h 149"/>
              <a:gd name="T16" fmla="*/ 2147483647 w 193"/>
              <a:gd name="T17" fmla="*/ 2147483647 h 149"/>
              <a:gd name="T18" fmla="*/ 2147483647 w 193"/>
              <a:gd name="T19" fmla="*/ 2147483647 h 149"/>
              <a:gd name="T20" fmla="*/ 2147483647 w 193"/>
              <a:gd name="T21" fmla="*/ 2147483647 h 149"/>
              <a:gd name="T22" fmla="*/ 2147483647 w 193"/>
              <a:gd name="T23" fmla="*/ 2147483647 h 149"/>
              <a:gd name="T24" fmla="*/ 2147483647 w 193"/>
              <a:gd name="T25" fmla="*/ 2147483647 h 149"/>
              <a:gd name="T26" fmla="*/ 2147483647 w 193"/>
              <a:gd name="T27" fmla="*/ 2147483647 h 149"/>
              <a:gd name="T28" fmla="*/ 2147483647 w 193"/>
              <a:gd name="T29" fmla="*/ 2147483647 h 149"/>
              <a:gd name="T30" fmla="*/ 2147483647 w 193"/>
              <a:gd name="T31" fmla="*/ 2147483647 h 149"/>
              <a:gd name="T32" fmla="*/ 2147483647 w 193"/>
              <a:gd name="T33" fmla="*/ 2147483647 h 149"/>
              <a:gd name="T34" fmla="*/ 2147483647 w 193"/>
              <a:gd name="T35" fmla="*/ 2147483647 h 149"/>
              <a:gd name="T36" fmla="*/ 2147483647 w 193"/>
              <a:gd name="T37" fmla="*/ 2147483647 h 149"/>
              <a:gd name="T38" fmla="*/ 2147483647 w 193"/>
              <a:gd name="T39" fmla="*/ 2147483647 h 149"/>
              <a:gd name="T40" fmla="*/ 2147483647 w 193"/>
              <a:gd name="T41" fmla="*/ 2147483647 h 149"/>
              <a:gd name="T42" fmla="*/ 2147483647 w 193"/>
              <a:gd name="T43" fmla="*/ 2147483647 h 149"/>
              <a:gd name="T44" fmla="*/ 2147483647 w 193"/>
              <a:gd name="T45" fmla="*/ 2147483647 h 149"/>
              <a:gd name="T46" fmla="*/ 2147483647 w 193"/>
              <a:gd name="T47" fmla="*/ 2147483647 h 149"/>
              <a:gd name="T48" fmla="*/ 2147483647 w 193"/>
              <a:gd name="T49" fmla="*/ 2147483647 h 149"/>
              <a:gd name="T50" fmla="*/ 2147483647 w 193"/>
              <a:gd name="T51" fmla="*/ 2147483647 h 149"/>
              <a:gd name="T52" fmla="*/ 2147483647 w 193"/>
              <a:gd name="T53" fmla="*/ 2147483647 h 149"/>
              <a:gd name="T54" fmla="*/ 2147483647 w 193"/>
              <a:gd name="T55" fmla="*/ 2147483647 h 149"/>
              <a:gd name="T56" fmla="*/ 2147483647 w 193"/>
              <a:gd name="T57" fmla="*/ 2147483647 h 149"/>
              <a:gd name="T58" fmla="*/ 2147483647 w 193"/>
              <a:gd name="T59" fmla="*/ 2147483647 h 149"/>
              <a:gd name="T60" fmla="*/ 2147483647 w 193"/>
              <a:gd name="T61" fmla="*/ 2147483647 h 149"/>
              <a:gd name="T62" fmla="*/ 2147483647 w 193"/>
              <a:gd name="T63" fmla="*/ 2147483647 h 149"/>
              <a:gd name="T64" fmla="*/ 2147483647 w 193"/>
              <a:gd name="T65" fmla="*/ 2147483647 h 149"/>
              <a:gd name="T66" fmla="*/ 2147483647 w 193"/>
              <a:gd name="T67" fmla="*/ 2147483647 h 149"/>
              <a:gd name="T68" fmla="*/ 2147483647 w 193"/>
              <a:gd name="T69" fmla="*/ 2147483647 h 149"/>
              <a:gd name="T70" fmla="*/ 2147483647 w 193"/>
              <a:gd name="T71" fmla="*/ 2147483647 h 149"/>
              <a:gd name="T72" fmla="*/ 2147483647 w 193"/>
              <a:gd name="T73" fmla="*/ 2147483647 h 149"/>
              <a:gd name="T74" fmla="*/ 2147483647 w 193"/>
              <a:gd name="T75" fmla="*/ 2147483647 h 149"/>
              <a:gd name="T76" fmla="*/ 2147483647 w 193"/>
              <a:gd name="T77" fmla="*/ 2147483647 h 149"/>
              <a:gd name="T78" fmla="*/ 2147483647 w 193"/>
              <a:gd name="T79" fmla="*/ 2147483647 h 149"/>
              <a:gd name="T80" fmla="*/ 2147483647 w 193"/>
              <a:gd name="T81" fmla="*/ 2147483647 h 149"/>
              <a:gd name="T82" fmla="*/ 2147483647 w 193"/>
              <a:gd name="T83" fmla="*/ 2147483647 h 149"/>
              <a:gd name="T84" fmla="*/ 2147483647 w 193"/>
              <a:gd name="T85" fmla="*/ 2147483647 h 149"/>
              <a:gd name="T86" fmla="*/ 2147483647 w 193"/>
              <a:gd name="T87" fmla="*/ 2147483647 h 149"/>
              <a:gd name="T88" fmla="*/ 2147483647 w 193"/>
              <a:gd name="T89" fmla="*/ 2147483647 h 149"/>
              <a:gd name="T90" fmla="*/ 2147483647 w 193"/>
              <a:gd name="T91" fmla="*/ 2147483647 h 149"/>
              <a:gd name="T92" fmla="*/ 2147483647 w 193"/>
              <a:gd name="T93" fmla="*/ 2147483647 h 149"/>
              <a:gd name="T94" fmla="*/ 2147483647 w 193"/>
              <a:gd name="T95" fmla="*/ 2147483647 h 149"/>
              <a:gd name="T96" fmla="*/ 2147483647 w 193"/>
              <a:gd name="T97" fmla="*/ 2147483647 h 149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193"/>
              <a:gd name="T148" fmla="*/ 0 h 149"/>
              <a:gd name="T149" fmla="*/ 193 w 193"/>
              <a:gd name="T150" fmla="*/ 149 h 149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193" h="149">
                <a:moveTo>
                  <a:pt x="58" y="3"/>
                </a:moveTo>
                <a:lnTo>
                  <a:pt x="58" y="3"/>
                </a:lnTo>
                <a:lnTo>
                  <a:pt x="52" y="3"/>
                </a:lnTo>
                <a:lnTo>
                  <a:pt x="49" y="3"/>
                </a:lnTo>
                <a:lnTo>
                  <a:pt x="38" y="3"/>
                </a:lnTo>
                <a:lnTo>
                  <a:pt x="32" y="3"/>
                </a:lnTo>
                <a:lnTo>
                  <a:pt x="29" y="0"/>
                </a:lnTo>
                <a:lnTo>
                  <a:pt x="26" y="0"/>
                </a:lnTo>
                <a:lnTo>
                  <a:pt x="23" y="0"/>
                </a:lnTo>
                <a:lnTo>
                  <a:pt x="20" y="0"/>
                </a:lnTo>
                <a:lnTo>
                  <a:pt x="15" y="6"/>
                </a:lnTo>
                <a:lnTo>
                  <a:pt x="12" y="9"/>
                </a:lnTo>
                <a:lnTo>
                  <a:pt x="3" y="9"/>
                </a:lnTo>
                <a:lnTo>
                  <a:pt x="0" y="11"/>
                </a:lnTo>
                <a:lnTo>
                  <a:pt x="0" y="14"/>
                </a:lnTo>
                <a:lnTo>
                  <a:pt x="0" y="20"/>
                </a:lnTo>
                <a:lnTo>
                  <a:pt x="6" y="26"/>
                </a:lnTo>
                <a:lnTo>
                  <a:pt x="6" y="29"/>
                </a:lnTo>
                <a:lnTo>
                  <a:pt x="3" y="29"/>
                </a:lnTo>
                <a:lnTo>
                  <a:pt x="3" y="32"/>
                </a:lnTo>
                <a:lnTo>
                  <a:pt x="3" y="34"/>
                </a:lnTo>
                <a:lnTo>
                  <a:pt x="15" y="29"/>
                </a:lnTo>
                <a:lnTo>
                  <a:pt x="15" y="32"/>
                </a:lnTo>
                <a:lnTo>
                  <a:pt x="18" y="37"/>
                </a:lnTo>
                <a:lnTo>
                  <a:pt x="20" y="34"/>
                </a:lnTo>
                <a:lnTo>
                  <a:pt x="23" y="34"/>
                </a:lnTo>
                <a:lnTo>
                  <a:pt x="26" y="37"/>
                </a:lnTo>
                <a:lnTo>
                  <a:pt x="29" y="34"/>
                </a:lnTo>
                <a:lnTo>
                  <a:pt x="41" y="34"/>
                </a:lnTo>
                <a:lnTo>
                  <a:pt x="46" y="43"/>
                </a:lnTo>
                <a:lnTo>
                  <a:pt x="38" y="52"/>
                </a:lnTo>
                <a:lnTo>
                  <a:pt x="35" y="63"/>
                </a:lnTo>
                <a:lnTo>
                  <a:pt x="32" y="69"/>
                </a:lnTo>
                <a:lnTo>
                  <a:pt x="32" y="75"/>
                </a:lnTo>
                <a:lnTo>
                  <a:pt x="23" y="80"/>
                </a:lnTo>
                <a:lnTo>
                  <a:pt x="29" y="92"/>
                </a:lnTo>
                <a:lnTo>
                  <a:pt x="26" y="100"/>
                </a:lnTo>
                <a:lnTo>
                  <a:pt x="29" y="109"/>
                </a:lnTo>
                <a:lnTo>
                  <a:pt x="20" y="118"/>
                </a:lnTo>
                <a:lnTo>
                  <a:pt x="20" y="121"/>
                </a:lnTo>
                <a:lnTo>
                  <a:pt x="23" y="126"/>
                </a:lnTo>
                <a:lnTo>
                  <a:pt x="26" y="126"/>
                </a:lnTo>
                <a:lnTo>
                  <a:pt x="32" y="129"/>
                </a:lnTo>
                <a:lnTo>
                  <a:pt x="35" y="135"/>
                </a:lnTo>
                <a:lnTo>
                  <a:pt x="38" y="141"/>
                </a:lnTo>
                <a:lnTo>
                  <a:pt x="41" y="146"/>
                </a:lnTo>
                <a:lnTo>
                  <a:pt x="46" y="149"/>
                </a:lnTo>
                <a:lnTo>
                  <a:pt x="55" y="146"/>
                </a:lnTo>
                <a:lnTo>
                  <a:pt x="66" y="138"/>
                </a:lnTo>
                <a:lnTo>
                  <a:pt x="72" y="138"/>
                </a:lnTo>
                <a:lnTo>
                  <a:pt x="84" y="135"/>
                </a:lnTo>
                <a:lnTo>
                  <a:pt x="95" y="138"/>
                </a:lnTo>
                <a:lnTo>
                  <a:pt x="101" y="135"/>
                </a:lnTo>
                <a:lnTo>
                  <a:pt x="104" y="135"/>
                </a:lnTo>
                <a:lnTo>
                  <a:pt x="109" y="132"/>
                </a:lnTo>
                <a:lnTo>
                  <a:pt x="112" y="126"/>
                </a:lnTo>
                <a:lnTo>
                  <a:pt x="118" y="121"/>
                </a:lnTo>
                <a:lnTo>
                  <a:pt x="127" y="121"/>
                </a:lnTo>
                <a:lnTo>
                  <a:pt x="130" y="112"/>
                </a:lnTo>
                <a:lnTo>
                  <a:pt x="130" y="109"/>
                </a:lnTo>
                <a:lnTo>
                  <a:pt x="135" y="103"/>
                </a:lnTo>
                <a:lnTo>
                  <a:pt x="144" y="98"/>
                </a:lnTo>
                <a:lnTo>
                  <a:pt x="141" y="92"/>
                </a:lnTo>
                <a:lnTo>
                  <a:pt x="138" y="89"/>
                </a:lnTo>
                <a:lnTo>
                  <a:pt x="135" y="86"/>
                </a:lnTo>
                <a:lnTo>
                  <a:pt x="138" y="77"/>
                </a:lnTo>
                <a:lnTo>
                  <a:pt x="144" y="69"/>
                </a:lnTo>
                <a:lnTo>
                  <a:pt x="153" y="63"/>
                </a:lnTo>
                <a:lnTo>
                  <a:pt x="155" y="60"/>
                </a:lnTo>
                <a:lnTo>
                  <a:pt x="155" y="57"/>
                </a:lnTo>
                <a:lnTo>
                  <a:pt x="155" y="54"/>
                </a:lnTo>
                <a:lnTo>
                  <a:pt x="167" y="49"/>
                </a:lnTo>
                <a:lnTo>
                  <a:pt x="181" y="43"/>
                </a:lnTo>
                <a:lnTo>
                  <a:pt x="193" y="37"/>
                </a:lnTo>
                <a:lnTo>
                  <a:pt x="190" y="29"/>
                </a:lnTo>
                <a:lnTo>
                  <a:pt x="193" y="29"/>
                </a:lnTo>
                <a:lnTo>
                  <a:pt x="190" y="26"/>
                </a:lnTo>
                <a:lnTo>
                  <a:pt x="181" y="29"/>
                </a:lnTo>
                <a:lnTo>
                  <a:pt x="178" y="26"/>
                </a:lnTo>
                <a:lnTo>
                  <a:pt x="176" y="29"/>
                </a:lnTo>
                <a:lnTo>
                  <a:pt x="173" y="26"/>
                </a:lnTo>
                <a:lnTo>
                  <a:pt x="170" y="29"/>
                </a:lnTo>
                <a:lnTo>
                  <a:pt x="167" y="29"/>
                </a:lnTo>
                <a:lnTo>
                  <a:pt x="164" y="29"/>
                </a:lnTo>
                <a:lnTo>
                  <a:pt x="161" y="20"/>
                </a:lnTo>
                <a:lnTo>
                  <a:pt x="158" y="14"/>
                </a:lnTo>
                <a:lnTo>
                  <a:pt x="155" y="20"/>
                </a:lnTo>
                <a:lnTo>
                  <a:pt x="141" y="20"/>
                </a:lnTo>
                <a:lnTo>
                  <a:pt x="138" y="17"/>
                </a:lnTo>
                <a:lnTo>
                  <a:pt x="135" y="17"/>
                </a:lnTo>
                <a:lnTo>
                  <a:pt x="124" y="17"/>
                </a:lnTo>
                <a:lnTo>
                  <a:pt x="118" y="11"/>
                </a:lnTo>
                <a:lnTo>
                  <a:pt x="112" y="9"/>
                </a:lnTo>
                <a:lnTo>
                  <a:pt x="104" y="9"/>
                </a:lnTo>
                <a:lnTo>
                  <a:pt x="98" y="9"/>
                </a:lnTo>
                <a:lnTo>
                  <a:pt x="92" y="6"/>
                </a:lnTo>
                <a:lnTo>
                  <a:pt x="87" y="6"/>
                </a:lnTo>
                <a:lnTo>
                  <a:pt x="84" y="6"/>
                </a:lnTo>
                <a:lnTo>
                  <a:pt x="75" y="6"/>
                </a:lnTo>
                <a:lnTo>
                  <a:pt x="69" y="3"/>
                </a:lnTo>
                <a:lnTo>
                  <a:pt x="61" y="3"/>
                </a:lnTo>
                <a:lnTo>
                  <a:pt x="58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09" name="Freeform 314"/>
          <p:cNvSpPr>
            <a:spLocks/>
          </p:cNvSpPr>
          <p:nvPr/>
        </p:nvSpPr>
        <p:spPr bwMode="gray">
          <a:xfrm>
            <a:off x="5232943" y="2124058"/>
            <a:ext cx="6002" cy="4501"/>
          </a:xfrm>
          <a:custGeom>
            <a:avLst/>
            <a:gdLst>
              <a:gd name="T0" fmla="*/ 0 w 3"/>
              <a:gd name="T1" fmla="*/ 0 h 3"/>
              <a:gd name="T2" fmla="*/ 0 w 3"/>
              <a:gd name="T3" fmla="*/ 0 h 3"/>
              <a:gd name="T4" fmla="*/ 0 w 3"/>
              <a:gd name="T5" fmla="*/ 2147483647 h 3"/>
              <a:gd name="T6" fmla="*/ 2147483647 w 3"/>
              <a:gd name="T7" fmla="*/ 0 h 3"/>
              <a:gd name="T8" fmla="*/ 0 w 3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0" y="0"/>
                </a:moveTo>
                <a:lnTo>
                  <a:pt x="0" y="0"/>
                </a:lnTo>
                <a:lnTo>
                  <a:pt x="0" y="3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10" name="Freeform 315"/>
          <p:cNvSpPr>
            <a:spLocks/>
          </p:cNvSpPr>
          <p:nvPr/>
        </p:nvSpPr>
        <p:spPr bwMode="gray">
          <a:xfrm>
            <a:off x="5226943" y="2131559"/>
            <a:ext cx="12002" cy="9000"/>
          </a:xfrm>
          <a:custGeom>
            <a:avLst/>
            <a:gdLst>
              <a:gd name="T0" fmla="*/ 0 w 6"/>
              <a:gd name="T1" fmla="*/ 0 h 6"/>
              <a:gd name="T2" fmla="*/ 0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w 6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0" y="0"/>
                </a:moveTo>
                <a:lnTo>
                  <a:pt x="0" y="6"/>
                </a:lnTo>
                <a:lnTo>
                  <a:pt x="6" y="3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11" name="Rectangle 316"/>
          <p:cNvSpPr>
            <a:spLocks noChangeArrowheads="1"/>
          </p:cNvSpPr>
          <p:nvPr/>
        </p:nvSpPr>
        <p:spPr bwMode="gray">
          <a:xfrm>
            <a:off x="5226942" y="2140558"/>
            <a:ext cx="6000" cy="4500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212" name="Rectangle 317"/>
          <p:cNvSpPr>
            <a:spLocks noChangeArrowheads="1"/>
          </p:cNvSpPr>
          <p:nvPr/>
        </p:nvSpPr>
        <p:spPr bwMode="gray">
          <a:xfrm>
            <a:off x="5238944" y="2128558"/>
            <a:ext cx="6000" cy="7500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213" name="Freeform 318"/>
          <p:cNvSpPr>
            <a:spLocks/>
          </p:cNvSpPr>
          <p:nvPr/>
        </p:nvSpPr>
        <p:spPr bwMode="gray">
          <a:xfrm>
            <a:off x="6039089" y="4338117"/>
            <a:ext cx="308055" cy="264007"/>
          </a:xfrm>
          <a:custGeom>
            <a:avLst/>
            <a:gdLst>
              <a:gd name="T0" fmla="*/ 2147483647 w 152"/>
              <a:gd name="T1" fmla="*/ 2147483647 h 175"/>
              <a:gd name="T2" fmla="*/ 2147483647 w 152"/>
              <a:gd name="T3" fmla="*/ 2147483647 h 175"/>
              <a:gd name="T4" fmla="*/ 2147483647 w 152"/>
              <a:gd name="T5" fmla="*/ 2147483647 h 175"/>
              <a:gd name="T6" fmla="*/ 2147483647 w 152"/>
              <a:gd name="T7" fmla="*/ 2147483647 h 175"/>
              <a:gd name="T8" fmla="*/ 2147483647 w 152"/>
              <a:gd name="T9" fmla="*/ 2147483647 h 175"/>
              <a:gd name="T10" fmla="*/ 2147483647 w 152"/>
              <a:gd name="T11" fmla="*/ 2147483647 h 175"/>
              <a:gd name="T12" fmla="*/ 2147483647 w 152"/>
              <a:gd name="T13" fmla="*/ 2147483647 h 175"/>
              <a:gd name="T14" fmla="*/ 2147483647 w 152"/>
              <a:gd name="T15" fmla="*/ 2147483647 h 175"/>
              <a:gd name="T16" fmla="*/ 2147483647 w 152"/>
              <a:gd name="T17" fmla="*/ 2147483647 h 175"/>
              <a:gd name="T18" fmla="*/ 2147483647 w 152"/>
              <a:gd name="T19" fmla="*/ 2147483647 h 175"/>
              <a:gd name="T20" fmla="*/ 2147483647 w 152"/>
              <a:gd name="T21" fmla="*/ 2147483647 h 175"/>
              <a:gd name="T22" fmla="*/ 2147483647 w 152"/>
              <a:gd name="T23" fmla="*/ 2147483647 h 175"/>
              <a:gd name="T24" fmla="*/ 2147483647 w 152"/>
              <a:gd name="T25" fmla="*/ 2147483647 h 175"/>
              <a:gd name="T26" fmla="*/ 2147483647 w 152"/>
              <a:gd name="T27" fmla="*/ 2147483647 h 175"/>
              <a:gd name="T28" fmla="*/ 2147483647 w 152"/>
              <a:gd name="T29" fmla="*/ 2147483647 h 175"/>
              <a:gd name="T30" fmla="*/ 2147483647 w 152"/>
              <a:gd name="T31" fmla="*/ 2147483647 h 175"/>
              <a:gd name="T32" fmla="*/ 2147483647 w 152"/>
              <a:gd name="T33" fmla="*/ 2147483647 h 175"/>
              <a:gd name="T34" fmla="*/ 2147483647 w 152"/>
              <a:gd name="T35" fmla="*/ 2147483647 h 175"/>
              <a:gd name="T36" fmla="*/ 2147483647 w 152"/>
              <a:gd name="T37" fmla="*/ 2147483647 h 175"/>
              <a:gd name="T38" fmla="*/ 2147483647 w 152"/>
              <a:gd name="T39" fmla="*/ 2147483647 h 175"/>
              <a:gd name="T40" fmla="*/ 2147483647 w 152"/>
              <a:gd name="T41" fmla="*/ 0 h 175"/>
              <a:gd name="T42" fmla="*/ 2147483647 w 152"/>
              <a:gd name="T43" fmla="*/ 2147483647 h 175"/>
              <a:gd name="T44" fmla="*/ 2147483647 w 152"/>
              <a:gd name="T45" fmla="*/ 2147483647 h 175"/>
              <a:gd name="T46" fmla="*/ 2147483647 w 152"/>
              <a:gd name="T47" fmla="*/ 2147483647 h 175"/>
              <a:gd name="T48" fmla="*/ 2147483647 w 152"/>
              <a:gd name="T49" fmla="*/ 2147483647 h 175"/>
              <a:gd name="T50" fmla="*/ 2147483647 w 152"/>
              <a:gd name="T51" fmla="*/ 2147483647 h 175"/>
              <a:gd name="T52" fmla="*/ 2147483647 w 152"/>
              <a:gd name="T53" fmla="*/ 2147483647 h 175"/>
              <a:gd name="T54" fmla="*/ 2147483647 w 152"/>
              <a:gd name="T55" fmla="*/ 2147483647 h 175"/>
              <a:gd name="T56" fmla="*/ 2147483647 w 152"/>
              <a:gd name="T57" fmla="*/ 2147483647 h 175"/>
              <a:gd name="T58" fmla="*/ 2147483647 w 152"/>
              <a:gd name="T59" fmla="*/ 2147483647 h 175"/>
              <a:gd name="T60" fmla="*/ 2147483647 w 152"/>
              <a:gd name="T61" fmla="*/ 2147483647 h 175"/>
              <a:gd name="T62" fmla="*/ 2147483647 w 152"/>
              <a:gd name="T63" fmla="*/ 2147483647 h 175"/>
              <a:gd name="T64" fmla="*/ 2147483647 w 152"/>
              <a:gd name="T65" fmla="*/ 2147483647 h 175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52"/>
              <a:gd name="T100" fmla="*/ 0 h 175"/>
              <a:gd name="T101" fmla="*/ 152 w 152"/>
              <a:gd name="T102" fmla="*/ 175 h 175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52" h="175">
                <a:moveTo>
                  <a:pt x="43" y="158"/>
                </a:moveTo>
                <a:lnTo>
                  <a:pt x="43" y="158"/>
                </a:lnTo>
                <a:lnTo>
                  <a:pt x="46" y="152"/>
                </a:lnTo>
                <a:lnTo>
                  <a:pt x="46" y="146"/>
                </a:lnTo>
                <a:lnTo>
                  <a:pt x="49" y="144"/>
                </a:lnTo>
                <a:lnTo>
                  <a:pt x="55" y="141"/>
                </a:lnTo>
                <a:lnTo>
                  <a:pt x="61" y="144"/>
                </a:lnTo>
                <a:lnTo>
                  <a:pt x="72" y="152"/>
                </a:lnTo>
                <a:lnTo>
                  <a:pt x="75" y="152"/>
                </a:lnTo>
                <a:lnTo>
                  <a:pt x="81" y="155"/>
                </a:lnTo>
                <a:lnTo>
                  <a:pt x="81" y="152"/>
                </a:lnTo>
                <a:lnTo>
                  <a:pt x="92" y="152"/>
                </a:lnTo>
                <a:lnTo>
                  <a:pt x="95" y="135"/>
                </a:lnTo>
                <a:lnTo>
                  <a:pt x="109" y="126"/>
                </a:lnTo>
                <a:lnTo>
                  <a:pt x="115" y="115"/>
                </a:lnTo>
                <a:lnTo>
                  <a:pt x="127" y="106"/>
                </a:lnTo>
                <a:lnTo>
                  <a:pt x="135" y="92"/>
                </a:lnTo>
                <a:lnTo>
                  <a:pt x="150" y="89"/>
                </a:lnTo>
                <a:lnTo>
                  <a:pt x="152" y="80"/>
                </a:lnTo>
                <a:lnTo>
                  <a:pt x="152" y="78"/>
                </a:lnTo>
                <a:lnTo>
                  <a:pt x="147" y="75"/>
                </a:lnTo>
                <a:lnTo>
                  <a:pt x="132" y="75"/>
                </a:lnTo>
                <a:lnTo>
                  <a:pt x="129" y="63"/>
                </a:lnTo>
                <a:lnTo>
                  <a:pt x="129" y="55"/>
                </a:lnTo>
                <a:lnTo>
                  <a:pt x="124" y="55"/>
                </a:lnTo>
                <a:lnTo>
                  <a:pt x="124" y="43"/>
                </a:lnTo>
                <a:lnTo>
                  <a:pt x="115" y="43"/>
                </a:lnTo>
                <a:lnTo>
                  <a:pt x="104" y="32"/>
                </a:lnTo>
                <a:lnTo>
                  <a:pt x="101" y="17"/>
                </a:lnTo>
                <a:lnTo>
                  <a:pt x="92" y="3"/>
                </a:lnTo>
                <a:lnTo>
                  <a:pt x="89" y="0"/>
                </a:lnTo>
                <a:lnTo>
                  <a:pt x="78" y="6"/>
                </a:lnTo>
                <a:lnTo>
                  <a:pt x="72" y="9"/>
                </a:lnTo>
                <a:lnTo>
                  <a:pt x="63" y="17"/>
                </a:lnTo>
                <a:lnTo>
                  <a:pt x="58" y="6"/>
                </a:lnTo>
                <a:lnTo>
                  <a:pt x="20" y="12"/>
                </a:lnTo>
                <a:lnTo>
                  <a:pt x="18" y="83"/>
                </a:lnTo>
                <a:lnTo>
                  <a:pt x="3" y="83"/>
                </a:lnTo>
                <a:lnTo>
                  <a:pt x="0" y="135"/>
                </a:lnTo>
                <a:lnTo>
                  <a:pt x="6" y="141"/>
                </a:lnTo>
                <a:lnTo>
                  <a:pt x="12" y="149"/>
                </a:lnTo>
                <a:lnTo>
                  <a:pt x="15" y="161"/>
                </a:lnTo>
                <a:lnTo>
                  <a:pt x="9" y="172"/>
                </a:lnTo>
                <a:lnTo>
                  <a:pt x="15" y="175"/>
                </a:lnTo>
                <a:lnTo>
                  <a:pt x="26" y="172"/>
                </a:lnTo>
                <a:lnTo>
                  <a:pt x="32" y="167"/>
                </a:lnTo>
                <a:lnTo>
                  <a:pt x="40" y="161"/>
                </a:lnTo>
                <a:lnTo>
                  <a:pt x="43" y="15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14" name="Freeform 319"/>
          <p:cNvSpPr>
            <a:spLocks/>
          </p:cNvSpPr>
          <p:nvPr/>
        </p:nvSpPr>
        <p:spPr bwMode="gray">
          <a:xfrm>
            <a:off x="6563183" y="4306617"/>
            <a:ext cx="6000" cy="10500"/>
          </a:xfrm>
          <a:custGeom>
            <a:avLst/>
            <a:gdLst>
              <a:gd name="T0" fmla="*/ 0 w 3"/>
              <a:gd name="T1" fmla="*/ 0 h 6"/>
              <a:gd name="T2" fmla="*/ 0 w 3"/>
              <a:gd name="T3" fmla="*/ 2147483647 h 6"/>
              <a:gd name="T4" fmla="*/ 2147483647 w 3"/>
              <a:gd name="T5" fmla="*/ 2147483647 h 6"/>
              <a:gd name="T6" fmla="*/ 0 w 3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6"/>
              <a:gd name="T14" fmla="*/ 3 w 3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6">
                <a:moveTo>
                  <a:pt x="0" y="0"/>
                </a:moveTo>
                <a:lnTo>
                  <a:pt x="0" y="6"/>
                </a:lnTo>
                <a:lnTo>
                  <a:pt x="3" y="6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15" name="Freeform 320"/>
          <p:cNvSpPr>
            <a:spLocks/>
          </p:cNvSpPr>
          <p:nvPr/>
        </p:nvSpPr>
        <p:spPr bwMode="gray">
          <a:xfrm>
            <a:off x="6487170" y="4089111"/>
            <a:ext cx="98017" cy="217506"/>
          </a:xfrm>
          <a:custGeom>
            <a:avLst/>
            <a:gdLst>
              <a:gd name="T0" fmla="*/ 2147483647 w 49"/>
              <a:gd name="T1" fmla="*/ 2147483647 h 144"/>
              <a:gd name="T2" fmla="*/ 2147483647 w 49"/>
              <a:gd name="T3" fmla="*/ 2147483647 h 144"/>
              <a:gd name="T4" fmla="*/ 2147483647 w 49"/>
              <a:gd name="T5" fmla="*/ 0 h 144"/>
              <a:gd name="T6" fmla="*/ 2147483647 w 49"/>
              <a:gd name="T7" fmla="*/ 2147483647 h 144"/>
              <a:gd name="T8" fmla="*/ 2147483647 w 49"/>
              <a:gd name="T9" fmla="*/ 0 h 144"/>
              <a:gd name="T10" fmla="*/ 2147483647 w 49"/>
              <a:gd name="T11" fmla="*/ 2147483647 h 144"/>
              <a:gd name="T12" fmla="*/ 2147483647 w 49"/>
              <a:gd name="T13" fmla="*/ 2147483647 h 144"/>
              <a:gd name="T14" fmla="*/ 2147483647 w 49"/>
              <a:gd name="T15" fmla="*/ 2147483647 h 144"/>
              <a:gd name="T16" fmla="*/ 2147483647 w 49"/>
              <a:gd name="T17" fmla="*/ 2147483647 h 144"/>
              <a:gd name="T18" fmla="*/ 2147483647 w 49"/>
              <a:gd name="T19" fmla="*/ 2147483647 h 144"/>
              <a:gd name="T20" fmla="*/ 2147483647 w 49"/>
              <a:gd name="T21" fmla="*/ 2147483647 h 144"/>
              <a:gd name="T22" fmla="*/ 2147483647 w 49"/>
              <a:gd name="T23" fmla="*/ 2147483647 h 144"/>
              <a:gd name="T24" fmla="*/ 2147483647 w 49"/>
              <a:gd name="T25" fmla="*/ 2147483647 h 144"/>
              <a:gd name="T26" fmla="*/ 2147483647 w 49"/>
              <a:gd name="T27" fmla="*/ 2147483647 h 144"/>
              <a:gd name="T28" fmla="*/ 2147483647 w 49"/>
              <a:gd name="T29" fmla="*/ 2147483647 h 144"/>
              <a:gd name="T30" fmla="*/ 2147483647 w 49"/>
              <a:gd name="T31" fmla="*/ 2147483647 h 144"/>
              <a:gd name="T32" fmla="*/ 2147483647 w 49"/>
              <a:gd name="T33" fmla="*/ 2147483647 h 144"/>
              <a:gd name="T34" fmla="*/ 2147483647 w 49"/>
              <a:gd name="T35" fmla="*/ 2147483647 h 144"/>
              <a:gd name="T36" fmla="*/ 2147483647 w 49"/>
              <a:gd name="T37" fmla="*/ 2147483647 h 144"/>
              <a:gd name="T38" fmla="*/ 2147483647 w 49"/>
              <a:gd name="T39" fmla="*/ 2147483647 h 144"/>
              <a:gd name="T40" fmla="*/ 2147483647 w 49"/>
              <a:gd name="T41" fmla="*/ 2147483647 h 144"/>
              <a:gd name="T42" fmla="*/ 2147483647 w 49"/>
              <a:gd name="T43" fmla="*/ 2147483647 h 144"/>
              <a:gd name="T44" fmla="*/ 2147483647 w 49"/>
              <a:gd name="T45" fmla="*/ 2147483647 h 144"/>
              <a:gd name="T46" fmla="*/ 2147483647 w 49"/>
              <a:gd name="T47" fmla="*/ 2147483647 h 144"/>
              <a:gd name="T48" fmla="*/ 2147483647 w 49"/>
              <a:gd name="T49" fmla="*/ 2147483647 h 144"/>
              <a:gd name="T50" fmla="*/ 0 w 49"/>
              <a:gd name="T51" fmla="*/ 2147483647 h 144"/>
              <a:gd name="T52" fmla="*/ 2147483647 w 49"/>
              <a:gd name="T53" fmla="*/ 2147483647 h 144"/>
              <a:gd name="T54" fmla="*/ 2147483647 w 49"/>
              <a:gd name="T55" fmla="*/ 2147483647 h 144"/>
              <a:gd name="T56" fmla="*/ 2147483647 w 49"/>
              <a:gd name="T57" fmla="*/ 2147483647 h 144"/>
              <a:gd name="T58" fmla="*/ 2147483647 w 49"/>
              <a:gd name="T59" fmla="*/ 2147483647 h 144"/>
              <a:gd name="T60" fmla="*/ 2147483647 w 49"/>
              <a:gd name="T61" fmla="*/ 2147483647 h 144"/>
              <a:gd name="T62" fmla="*/ 2147483647 w 49"/>
              <a:gd name="T63" fmla="*/ 2147483647 h 144"/>
              <a:gd name="T64" fmla="*/ 2147483647 w 49"/>
              <a:gd name="T65" fmla="*/ 2147483647 h 144"/>
              <a:gd name="T66" fmla="*/ 2147483647 w 49"/>
              <a:gd name="T67" fmla="*/ 2147483647 h 144"/>
              <a:gd name="T68" fmla="*/ 2147483647 w 49"/>
              <a:gd name="T69" fmla="*/ 2147483647 h 144"/>
              <a:gd name="T70" fmla="*/ 2147483647 w 49"/>
              <a:gd name="T71" fmla="*/ 2147483647 h 144"/>
              <a:gd name="T72" fmla="*/ 2147483647 w 49"/>
              <a:gd name="T73" fmla="*/ 2147483647 h 144"/>
              <a:gd name="T74" fmla="*/ 2147483647 w 49"/>
              <a:gd name="T75" fmla="*/ 2147483647 h 144"/>
              <a:gd name="T76" fmla="*/ 2147483647 w 49"/>
              <a:gd name="T77" fmla="*/ 2147483647 h 144"/>
              <a:gd name="T78" fmla="*/ 2147483647 w 49"/>
              <a:gd name="T79" fmla="*/ 2147483647 h 144"/>
              <a:gd name="T80" fmla="*/ 2147483647 w 49"/>
              <a:gd name="T81" fmla="*/ 2147483647 h 144"/>
              <a:gd name="T82" fmla="*/ 2147483647 w 49"/>
              <a:gd name="T83" fmla="*/ 2147483647 h 144"/>
              <a:gd name="T84" fmla="*/ 2147483647 w 49"/>
              <a:gd name="T85" fmla="*/ 2147483647 h 144"/>
              <a:gd name="T86" fmla="*/ 2147483647 w 49"/>
              <a:gd name="T87" fmla="*/ 2147483647 h 144"/>
              <a:gd name="T88" fmla="*/ 2147483647 w 49"/>
              <a:gd name="T89" fmla="*/ 2147483647 h 144"/>
              <a:gd name="T90" fmla="*/ 2147483647 w 49"/>
              <a:gd name="T91" fmla="*/ 2147483647 h 144"/>
              <a:gd name="T92" fmla="*/ 2147483647 w 49"/>
              <a:gd name="T93" fmla="*/ 2147483647 h 144"/>
              <a:gd name="T94" fmla="*/ 2147483647 w 49"/>
              <a:gd name="T95" fmla="*/ 2147483647 h 144"/>
              <a:gd name="T96" fmla="*/ 2147483647 w 49"/>
              <a:gd name="T97" fmla="*/ 2147483647 h 144"/>
              <a:gd name="T98" fmla="*/ 2147483647 w 49"/>
              <a:gd name="T99" fmla="*/ 2147483647 h 144"/>
              <a:gd name="T100" fmla="*/ 2147483647 w 49"/>
              <a:gd name="T101" fmla="*/ 2147483647 h 144"/>
              <a:gd name="T102" fmla="*/ 2147483647 w 49"/>
              <a:gd name="T103" fmla="*/ 2147483647 h 144"/>
              <a:gd name="T104" fmla="*/ 2147483647 w 49"/>
              <a:gd name="T105" fmla="*/ 2147483647 h 144"/>
              <a:gd name="T106" fmla="*/ 2147483647 w 49"/>
              <a:gd name="T107" fmla="*/ 2147483647 h 144"/>
              <a:gd name="T108" fmla="*/ 2147483647 w 49"/>
              <a:gd name="T109" fmla="*/ 2147483647 h 144"/>
              <a:gd name="T110" fmla="*/ 2147483647 w 49"/>
              <a:gd name="T111" fmla="*/ 2147483647 h 144"/>
              <a:gd name="T112" fmla="*/ 2147483647 w 49"/>
              <a:gd name="T113" fmla="*/ 2147483647 h 144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9"/>
              <a:gd name="T172" fmla="*/ 0 h 144"/>
              <a:gd name="T173" fmla="*/ 49 w 49"/>
              <a:gd name="T174" fmla="*/ 144 h 144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9" h="144">
                <a:moveTo>
                  <a:pt x="32" y="23"/>
                </a:moveTo>
                <a:lnTo>
                  <a:pt x="29" y="6"/>
                </a:lnTo>
                <a:lnTo>
                  <a:pt x="20" y="0"/>
                </a:lnTo>
                <a:lnTo>
                  <a:pt x="9" y="3"/>
                </a:lnTo>
                <a:lnTo>
                  <a:pt x="6" y="0"/>
                </a:lnTo>
                <a:lnTo>
                  <a:pt x="6" y="3"/>
                </a:lnTo>
                <a:lnTo>
                  <a:pt x="15" y="6"/>
                </a:lnTo>
                <a:lnTo>
                  <a:pt x="15" y="9"/>
                </a:lnTo>
                <a:lnTo>
                  <a:pt x="12" y="12"/>
                </a:lnTo>
                <a:lnTo>
                  <a:pt x="18" y="18"/>
                </a:lnTo>
                <a:lnTo>
                  <a:pt x="20" y="20"/>
                </a:lnTo>
                <a:lnTo>
                  <a:pt x="18" y="23"/>
                </a:lnTo>
                <a:lnTo>
                  <a:pt x="12" y="32"/>
                </a:lnTo>
                <a:lnTo>
                  <a:pt x="12" y="41"/>
                </a:lnTo>
                <a:lnTo>
                  <a:pt x="12" y="43"/>
                </a:lnTo>
                <a:lnTo>
                  <a:pt x="12" y="52"/>
                </a:lnTo>
                <a:lnTo>
                  <a:pt x="15" y="58"/>
                </a:lnTo>
                <a:lnTo>
                  <a:pt x="6" y="66"/>
                </a:lnTo>
                <a:lnTo>
                  <a:pt x="6" y="78"/>
                </a:lnTo>
                <a:lnTo>
                  <a:pt x="0" y="81"/>
                </a:lnTo>
                <a:lnTo>
                  <a:pt x="6" y="87"/>
                </a:lnTo>
                <a:lnTo>
                  <a:pt x="9" y="87"/>
                </a:lnTo>
                <a:lnTo>
                  <a:pt x="18" y="95"/>
                </a:lnTo>
                <a:lnTo>
                  <a:pt x="29" y="95"/>
                </a:lnTo>
                <a:lnTo>
                  <a:pt x="32" y="107"/>
                </a:lnTo>
                <a:lnTo>
                  <a:pt x="29" y="121"/>
                </a:lnTo>
                <a:lnTo>
                  <a:pt x="26" y="127"/>
                </a:lnTo>
                <a:lnTo>
                  <a:pt x="35" y="138"/>
                </a:lnTo>
                <a:lnTo>
                  <a:pt x="38" y="144"/>
                </a:lnTo>
                <a:lnTo>
                  <a:pt x="38" y="138"/>
                </a:lnTo>
                <a:lnTo>
                  <a:pt x="41" y="127"/>
                </a:lnTo>
                <a:lnTo>
                  <a:pt x="49" y="127"/>
                </a:lnTo>
                <a:lnTo>
                  <a:pt x="49" y="98"/>
                </a:lnTo>
                <a:lnTo>
                  <a:pt x="46" y="95"/>
                </a:lnTo>
                <a:lnTo>
                  <a:pt x="41" y="89"/>
                </a:lnTo>
                <a:lnTo>
                  <a:pt x="29" y="78"/>
                </a:lnTo>
                <a:lnTo>
                  <a:pt x="26" y="58"/>
                </a:lnTo>
                <a:lnTo>
                  <a:pt x="26" y="52"/>
                </a:lnTo>
                <a:lnTo>
                  <a:pt x="26" y="49"/>
                </a:lnTo>
                <a:lnTo>
                  <a:pt x="35" y="41"/>
                </a:lnTo>
                <a:lnTo>
                  <a:pt x="32" y="2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16" name="Freeform 321"/>
          <p:cNvSpPr>
            <a:spLocks/>
          </p:cNvSpPr>
          <p:nvPr/>
        </p:nvSpPr>
        <p:spPr bwMode="gray">
          <a:xfrm>
            <a:off x="6505171" y="3376592"/>
            <a:ext cx="504091" cy="331508"/>
          </a:xfrm>
          <a:custGeom>
            <a:avLst/>
            <a:gdLst>
              <a:gd name="T0" fmla="*/ 2147483647 w 250"/>
              <a:gd name="T1" fmla="*/ 2147483647 h 218"/>
              <a:gd name="T2" fmla="*/ 2147483647 w 250"/>
              <a:gd name="T3" fmla="*/ 2147483647 h 218"/>
              <a:gd name="T4" fmla="*/ 2147483647 w 250"/>
              <a:gd name="T5" fmla="*/ 2147483647 h 218"/>
              <a:gd name="T6" fmla="*/ 2147483647 w 250"/>
              <a:gd name="T7" fmla="*/ 2147483647 h 218"/>
              <a:gd name="T8" fmla="*/ 2147483647 w 250"/>
              <a:gd name="T9" fmla="*/ 2147483647 h 218"/>
              <a:gd name="T10" fmla="*/ 2147483647 w 250"/>
              <a:gd name="T11" fmla="*/ 2147483647 h 218"/>
              <a:gd name="T12" fmla="*/ 2147483647 w 250"/>
              <a:gd name="T13" fmla="*/ 2147483647 h 218"/>
              <a:gd name="T14" fmla="*/ 2147483647 w 250"/>
              <a:gd name="T15" fmla="*/ 2147483647 h 218"/>
              <a:gd name="T16" fmla="*/ 2147483647 w 250"/>
              <a:gd name="T17" fmla="*/ 2147483647 h 218"/>
              <a:gd name="T18" fmla="*/ 2147483647 w 250"/>
              <a:gd name="T19" fmla="*/ 2147483647 h 218"/>
              <a:gd name="T20" fmla="*/ 2147483647 w 250"/>
              <a:gd name="T21" fmla="*/ 2147483647 h 218"/>
              <a:gd name="T22" fmla="*/ 2147483647 w 250"/>
              <a:gd name="T23" fmla="*/ 2147483647 h 218"/>
              <a:gd name="T24" fmla="*/ 2147483647 w 250"/>
              <a:gd name="T25" fmla="*/ 2147483647 h 218"/>
              <a:gd name="T26" fmla="*/ 2147483647 w 250"/>
              <a:gd name="T27" fmla="*/ 2147483647 h 218"/>
              <a:gd name="T28" fmla="*/ 2147483647 w 250"/>
              <a:gd name="T29" fmla="*/ 2147483647 h 218"/>
              <a:gd name="T30" fmla="*/ 2147483647 w 250"/>
              <a:gd name="T31" fmla="*/ 2147483647 h 218"/>
              <a:gd name="T32" fmla="*/ 2147483647 w 250"/>
              <a:gd name="T33" fmla="*/ 2147483647 h 218"/>
              <a:gd name="T34" fmla="*/ 2147483647 w 250"/>
              <a:gd name="T35" fmla="*/ 2147483647 h 218"/>
              <a:gd name="T36" fmla="*/ 2147483647 w 250"/>
              <a:gd name="T37" fmla="*/ 2147483647 h 218"/>
              <a:gd name="T38" fmla="*/ 2147483647 w 250"/>
              <a:gd name="T39" fmla="*/ 2147483647 h 218"/>
              <a:gd name="T40" fmla="*/ 2147483647 w 250"/>
              <a:gd name="T41" fmla="*/ 2147483647 h 218"/>
              <a:gd name="T42" fmla="*/ 2147483647 w 250"/>
              <a:gd name="T43" fmla="*/ 2147483647 h 218"/>
              <a:gd name="T44" fmla="*/ 2147483647 w 250"/>
              <a:gd name="T45" fmla="*/ 2147483647 h 218"/>
              <a:gd name="T46" fmla="*/ 2147483647 w 250"/>
              <a:gd name="T47" fmla="*/ 2147483647 h 218"/>
              <a:gd name="T48" fmla="*/ 2147483647 w 250"/>
              <a:gd name="T49" fmla="*/ 2147483647 h 218"/>
              <a:gd name="T50" fmla="*/ 2147483647 w 250"/>
              <a:gd name="T51" fmla="*/ 2147483647 h 218"/>
              <a:gd name="T52" fmla="*/ 2147483647 w 250"/>
              <a:gd name="T53" fmla="*/ 2147483647 h 218"/>
              <a:gd name="T54" fmla="*/ 2147483647 w 250"/>
              <a:gd name="T55" fmla="*/ 2147483647 h 218"/>
              <a:gd name="T56" fmla="*/ 2147483647 w 250"/>
              <a:gd name="T57" fmla="*/ 2147483647 h 218"/>
              <a:gd name="T58" fmla="*/ 2147483647 w 250"/>
              <a:gd name="T59" fmla="*/ 2147483647 h 218"/>
              <a:gd name="T60" fmla="*/ 2147483647 w 250"/>
              <a:gd name="T61" fmla="*/ 2147483647 h 218"/>
              <a:gd name="T62" fmla="*/ 2147483647 w 250"/>
              <a:gd name="T63" fmla="*/ 2147483647 h 218"/>
              <a:gd name="T64" fmla="*/ 2147483647 w 250"/>
              <a:gd name="T65" fmla="*/ 2147483647 h 218"/>
              <a:gd name="T66" fmla="*/ 2147483647 w 250"/>
              <a:gd name="T67" fmla="*/ 2147483647 h 218"/>
              <a:gd name="T68" fmla="*/ 2147483647 w 250"/>
              <a:gd name="T69" fmla="*/ 2147483647 h 218"/>
              <a:gd name="T70" fmla="*/ 2147483647 w 250"/>
              <a:gd name="T71" fmla="*/ 2147483647 h 218"/>
              <a:gd name="T72" fmla="*/ 2147483647 w 250"/>
              <a:gd name="T73" fmla="*/ 2147483647 h 218"/>
              <a:gd name="T74" fmla="*/ 2147483647 w 250"/>
              <a:gd name="T75" fmla="*/ 2147483647 h 218"/>
              <a:gd name="T76" fmla="*/ 2147483647 w 250"/>
              <a:gd name="T77" fmla="*/ 2147483647 h 218"/>
              <a:gd name="T78" fmla="*/ 2147483647 w 250"/>
              <a:gd name="T79" fmla="*/ 2147483647 h 218"/>
              <a:gd name="T80" fmla="*/ 2147483647 w 250"/>
              <a:gd name="T81" fmla="*/ 2147483647 h 218"/>
              <a:gd name="T82" fmla="*/ 2147483647 w 250"/>
              <a:gd name="T83" fmla="*/ 2147483647 h 218"/>
              <a:gd name="T84" fmla="*/ 2147483647 w 250"/>
              <a:gd name="T85" fmla="*/ 2147483647 h 218"/>
              <a:gd name="T86" fmla="*/ 2147483647 w 250"/>
              <a:gd name="T87" fmla="*/ 2147483647 h 218"/>
              <a:gd name="T88" fmla="*/ 2147483647 w 250"/>
              <a:gd name="T89" fmla="*/ 2147483647 h 218"/>
              <a:gd name="T90" fmla="*/ 2147483647 w 250"/>
              <a:gd name="T91" fmla="*/ 2147483647 h 218"/>
              <a:gd name="T92" fmla="*/ 2147483647 w 250"/>
              <a:gd name="T93" fmla="*/ 2147483647 h 218"/>
              <a:gd name="T94" fmla="*/ 2147483647 w 250"/>
              <a:gd name="T95" fmla="*/ 2147483647 h 218"/>
              <a:gd name="T96" fmla="*/ 2147483647 w 250"/>
              <a:gd name="T97" fmla="*/ 2147483647 h 218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250"/>
              <a:gd name="T148" fmla="*/ 0 h 218"/>
              <a:gd name="T149" fmla="*/ 250 w 250"/>
              <a:gd name="T150" fmla="*/ 218 h 218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250" h="218">
                <a:moveTo>
                  <a:pt x="158" y="74"/>
                </a:moveTo>
                <a:lnTo>
                  <a:pt x="143" y="74"/>
                </a:lnTo>
                <a:lnTo>
                  <a:pt x="143" y="57"/>
                </a:lnTo>
                <a:lnTo>
                  <a:pt x="155" y="40"/>
                </a:lnTo>
                <a:lnTo>
                  <a:pt x="149" y="37"/>
                </a:lnTo>
                <a:lnTo>
                  <a:pt x="141" y="25"/>
                </a:lnTo>
                <a:lnTo>
                  <a:pt x="132" y="17"/>
                </a:lnTo>
                <a:lnTo>
                  <a:pt x="123" y="11"/>
                </a:lnTo>
                <a:lnTo>
                  <a:pt x="118" y="5"/>
                </a:lnTo>
                <a:lnTo>
                  <a:pt x="112" y="5"/>
                </a:lnTo>
                <a:lnTo>
                  <a:pt x="106" y="2"/>
                </a:lnTo>
                <a:lnTo>
                  <a:pt x="103" y="5"/>
                </a:lnTo>
                <a:lnTo>
                  <a:pt x="100" y="5"/>
                </a:lnTo>
                <a:lnTo>
                  <a:pt x="98" y="5"/>
                </a:lnTo>
                <a:lnTo>
                  <a:pt x="98" y="2"/>
                </a:lnTo>
                <a:lnTo>
                  <a:pt x="98" y="5"/>
                </a:lnTo>
                <a:lnTo>
                  <a:pt x="83" y="5"/>
                </a:lnTo>
                <a:lnTo>
                  <a:pt x="77" y="0"/>
                </a:lnTo>
                <a:lnTo>
                  <a:pt x="72" y="11"/>
                </a:lnTo>
                <a:lnTo>
                  <a:pt x="69" y="11"/>
                </a:lnTo>
                <a:lnTo>
                  <a:pt x="66" y="5"/>
                </a:lnTo>
                <a:lnTo>
                  <a:pt x="63" y="8"/>
                </a:lnTo>
                <a:lnTo>
                  <a:pt x="57" y="8"/>
                </a:lnTo>
                <a:lnTo>
                  <a:pt x="54" y="22"/>
                </a:lnTo>
                <a:lnTo>
                  <a:pt x="52" y="31"/>
                </a:lnTo>
                <a:lnTo>
                  <a:pt x="52" y="34"/>
                </a:lnTo>
                <a:lnTo>
                  <a:pt x="52" y="40"/>
                </a:lnTo>
                <a:lnTo>
                  <a:pt x="49" y="43"/>
                </a:lnTo>
                <a:lnTo>
                  <a:pt x="40" y="40"/>
                </a:lnTo>
                <a:lnTo>
                  <a:pt x="34" y="54"/>
                </a:lnTo>
                <a:lnTo>
                  <a:pt x="29" y="80"/>
                </a:lnTo>
                <a:lnTo>
                  <a:pt x="23" y="77"/>
                </a:lnTo>
                <a:lnTo>
                  <a:pt x="20" y="86"/>
                </a:lnTo>
                <a:lnTo>
                  <a:pt x="17" y="100"/>
                </a:lnTo>
                <a:lnTo>
                  <a:pt x="17" y="120"/>
                </a:lnTo>
                <a:lnTo>
                  <a:pt x="14" y="123"/>
                </a:lnTo>
                <a:lnTo>
                  <a:pt x="9" y="126"/>
                </a:lnTo>
                <a:lnTo>
                  <a:pt x="6" y="123"/>
                </a:lnTo>
                <a:lnTo>
                  <a:pt x="3" y="123"/>
                </a:lnTo>
                <a:lnTo>
                  <a:pt x="0" y="132"/>
                </a:lnTo>
                <a:lnTo>
                  <a:pt x="11" y="134"/>
                </a:lnTo>
                <a:lnTo>
                  <a:pt x="17" y="143"/>
                </a:lnTo>
                <a:lnTo>
                  <a:pt x="23" y="149"/>
                </a:lnTo>
                <a:lnTo>
                  <a:pt x="29" y="152"/>
                </a:lnTo>
                <a:lnTo>
                  <a:pt x="32" y="169"/>
                </a:lnTo>
                <a:lnTo>
                  <a:pt x="37" y="180"/>
                </a:lnTo>
                <a:lnTo>
                  <a:pt x="49" y="178"/>
                </a:lnTo>
                <a:lnTo>
                  <a:pt x="49" y="195"/>
                </a:lnTo>
                <a:lnTo>
                  <a:pt x="52" y="198"/>
                </a:lnTo>
                <a:lnTo>
                  <a:pt x="66" y="198"/>
                </a:lnTo>
                <a:lnTo>
                  <a:pt x="86" y="212"/>
                </a:lnTo>
                <a:lnTo>
                  <a:pt x="109" y="218"/>
                </a:lnTo>
                <a:lnTo>
                  <a:pt x="115" y="209"/>
                </a:lnTo>
                <a:lnTo>
                  <a:pt x="121" y="203"/>
                </a:lnTo>
                <a:lnTo>
                  <a:pt x="129" y="201"/>
                </a:lnTo>
                <a:lnTo>
                  <a:pt x="132" y="201"/>
                </a:lnTo>
                <a:lnTo>
                  <a:pt x="138" y="206"/>
                </a:lnTo>
                <a:lnTo>
                  <a:pt x="146" y="206"/>
                </a:lnTo>
                <a:lnTo>
                  <a:pt x="155" y="201"/>
                </a:lnTo>
                <a:lnTo>
                  <a:pt x="166" y="198"/>
                </a:lnTo>
                <a:lnTo>
                  <a:pt x="178" y="189"/>
                </a:lnTo>
                <a:lnTo>
                  <a:pt x="195" y="186"/>
                </a:lnTo>
                <a:lnTo>
                  <a:pt x="198" y="186"/>
                </a:lnTo>
                <a:lnTo>
                  <a:pt x="201" y="186"/>
                </a:lnTo>
                <a:lnTo>
                  <a:pt x="250" y="132"/>
                </a:lnTo>
                <a:lnTo>
                  <a:pt x="238" y="132"/>
                </a:lnTo>
                <a:lnTo>
                  <a:pt x="204" y="120"/>
                </a:lnTo>
                <a:lnTo>
                  <a:pt x="181" y="109"/>
                </a:lnTo>
                <a:lnTo>
                  <a:pt x="172" y="97"/>
                </a:lnTo>
                <a:lnTo>
                  <a:pt x="164" y="89"/>
                </a:lnTo>
                <a:lnTo>
                  <a:pt x="161" y="77"/>
                </a:lnTo>
                <a:lnTo>
                  <a:pt x="164" y="71"/>
                </a:lnTo>
                <a:lnTo>
                  <a:pt x="158" y="74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17" name="Freeform 322"/>
          <p:cNvSpPr>
            <a:spLocks/>
          </p:cNvSpPr>
          <p:nvPr/>
        </p:nvSpPr>
        <p:spPr bwMode="gray">
          <a:xfrm>
            <a:off x="6231123" y="4272116"/>
            <a:ext cx="262047" cy="196506"/>
          </a:xfrm>
          <a:custGeom>
            <a:avLst/>
            <a:gdLst>
              <a:gd name="T0" fmla="*/ 2147483647 w 129"/>
              <a:gd name="T1" fmla="*/ 2147483647 h 129"/>
              <a:gd name="T2" fmla="*/ 2147483647 w 129"/>
              <a:gd name="T3" fmla="*/ 2147483647 h 129"/>
              <a:gd name="T4" fmla="*/ 2147483647 w 129"/>
              <a:gd name="T5" fmla="*/ 2147483647 h 129"/>
              <a:gd name="T6" fmla="*/ 2147483647 w 129"/>
              <a:gd name="T7" fmla="*/ 2147483647 h 129"/>
              <a:gd name="T8" fmla="*/ 2147483647 w 129"/>
              <a:gd name="T9" fmla="*/ 0 h 129"/>
              <a:gd name="T10" fmla="*/ 2147483647 w 129"/>
              <a:gd name="T11" fmla="*/ 2147483647 h 129"/>
              <a:gd name="T12" fmla="*/ 2147483647 w 129"/>
              <a:gd name="T13" fmla="*/ 2147483647 h 129"/>
              <a:gd name="T14" fmla="*/ 2147483647 w 129"/>
              <a:gd name="T15" fmla="*/ 2147483647 h 129"/>
              <a:gd name="T16" fmla="*/ 2147483647 w 129"/>
              <a:gd name="T17" fmla="*/ 2147483647 h 129"/>
              <a:gd name="T18" fmla="*/ 2147483647 w 129"/>
              <a:gd name="T19" fmla="*/ 2147483647 h 129"/>
              <a:gd name="T20" fmla="*/ 2147483647 w 129"/>
              <a:gd name="T21" fmla="*/ 2147483647 h 129"/>
              <a:gd name="T22" fmla="*/ 2147483647 w 129"/>
              <a:gd name="T23" fmla="*/ 2147483647 h 129"/>
              <a:gd name="T24" fmla="*/ 0 w 129"/>
              <a:gd name="T25" fmla="*/ 2147483647 h 129"/>
              <a:gd name="T26" fmla="*/ 2147483647 w 129"/>
              <a:gd name="T27" fmla="*/ 2147483647 h 129"/>
              <a:gd name="T28" fmla="*/ 2147483647 w 129"/>
              <a:gd name="T29" fmla="*/ 2147483647 h 129"/>
              <a:gd name="T30" fmla="*/ 2147483647 w 129"/>
              <a:gd name="T31" fmla="*/ 2147483647 h 129"/>
              <a:gd name="T32" fmla="*/ 2147483647 w 129"/>
              <a:gd name="T33" fmla="*/ 2147483647 h 129"/>
              <a:gd name="T34" fmla="*/ 2147483647 w 129"/>
              <a:gd name="T35" fmla="*/ 2147483647 h 129"/>
              <a:gd name="T36" fmla="*/ 2147483647 w 129"/>
              <a:gd name="T37" fmla="*/ 2147483647 h 129"/>
              <a:gd name="T38" fmla="*/ 2147483647 w 129"/>
              <a:gd name="T39" fmla="*/ 2147483647 h 129"/>
              <a:gd name="T40" fmla="*/ 2147483647 w 129"/>
              <a:gd name="T41" fmla="*/ 2147483647 h 129"/>
              <a:gd name="T42" fmla="*/ 2147483647 w 129"/>
              <a:gd name="T43" fmla="*/ 2147483647 h 129"/>
              <a:gd name="T44" fmla="*/ 2147483647 w 129"/>
              <a:gd name="T45" fmla="*/ 2147483647 h 129"/>
              <a:gd name="T46" fmla="*/ 2147483647 w 129"/>
              <a:gd name="T47" fmla="*/ 2147483647 h 129"/>
              <a:gd name="T48" fmla="*/ 2147483647 w 129"/>
              <a:gd name="T49" fmla="*/ 2147483647 h 129"/>
              <a:gd name="T50" fmla="*/ 2147483647 w 129"/>
              <a:gd name="T51" fmla="*/ 2147483647 h 129"/>
              <a:gd name="T52" fmla="*/ 2147483647 w 129"/>
              <a:gd name="T53" fmla="*/ 2147483647 h 129"/>
              <a:gd name="T54" fmla="*/ 2147483647 w 129"/>
              <a:gd name="T55" fmla="*/ 2147483647 h 129"/>
              <a:gd name="T56" fmla="*/ 2147483647 w 129"/>
              <a:gd name="T57" fmla="*/ 2147483647 h 129"/>
              <a:gd name="T58" fmla="*/ 2147483647 w 129"/>
              <a:gd name="T59" fmla="*/ 2147483647 h 129"/>
              <a:gd name="T60" fmla="*/ 2147483647 w 129"/>
              <a:gd name="T61" fmla="*/ 2147483647 h 129"/>
              <a:gd name="T62" fmla="*/ 2147483647 w 129"/>
              <a:gd name="T63" fmla="*/ 2147483647 h 129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29"/>
              <a:gd name="T97" fmla="*/ 0 h 129"/>
              <a:gd name="T98" fmla="*/ 129 w 129"/>
              <a:gd name="T99" fmla="*/ 129 h 129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29" h="129">
                <a:moveTo>
                  <a:pt x="126" y="23"/>
                </a:moveTo>
                <a:lnTo>
                  <a:pt x="121" y="20"/>
                </a:lnTo>
                <a:lnTo>
                  <a:pt x="109" y="14"/>
                </a:lnTo>
                <a:lnTo>
                  <a:pt x="103" y="11"/>
                </a:lnTo>
                <a:lnTo>
                  <a:pt x="98" y="9"/>
                </a:lnTo>
                <a:lnTo>
                  <a:pt x="89" y="9"/>
                </a:lnTo>
                <a:lnTo>
                  <a:pt x="83" y="6"/>
                </a:lnTo>
                <a:lnTo>
                  <a:pt x="83" y="0"/>
                </a:lnTo>
                <a:lnTo>
                  <a:pt x="72" y="0"/>
                </a:lnTo>
                <a:lnTo>
                  <a:pt x="63" y="6"/>
                </a:lnTo>
                <a:lnTo>
                  <a:pt x="60" y="11"/>
                </a:lnTo>
                <a:lnTo>
                  <a:pt x="55" y="20"/>
                </a:lnTo>
                <a:lnTo>
                  <a:pt x="46" y="26"/>
                </a:lnTo>
                <a:lnTo>
                  <a:pt x="37" y="32"/>
                </a:lnTo>
                <a:lnTo>
                  <a:pt x="34" y="40"/>
                </a:lnTo>
                <a:lnTo>
                  <a:pt x="32" y="43"/>
                </a:lnTo>
                <a:lnTo>
                  <a:pt x="26" y="49"/>
                </a:lnTo>
                <a:lnTo>
                  <a:pt x="14" y="46"/>
                </a:lnTo>
                <a:lnTo>
                  <a:pt x="12" y="43"/>
                </a:lnTo>
                <a:lnTo>
                  <a:pt x="9" y="49"/>
                </a:lnTo>
                <a:lnTo>
                  <a:pt x="0" y="43"/>
                </a:lnTo>
                <a:lnTo>
                  <a:pt x="9" y="60"/>
                </a:lnTo>
                <a:lnTo>
                  <a:pt x="12" y="72"/>
                </a:lnTo>
                <a:lnTo>
                  <a:pt x="23" y="80"/>
                </a:lnTo>
                <a:lnTo>
                  <a:pt x="32" y="86"/>
                </a:lnTo>
                <a:lnTo>
                  <a:pt x="32" y="95"/>
                </a:lnTo>
                <a:lnTo>
                  <a:pt x="37" y="92"/>
                </a:lnTo>
                <a:lnTo>
                  <a:pt x="37" y="106"/>
                </a:lnTo>
                <a:lnTo>
                  <a:pt x="40" y="115"/>
                </a:lnTo>
                <a:lnTo>
                  <a:pt x="55" y="115"/>
                </a:lnTo>
                <a:lnTo>
                  <a:pt x="60" y="118"/>
                </a:lnTo>
                <a:lnTo>
                  <a:pt x="60" y="123"/>
                </a:lnTo>
                <a:lnTo>
                  <a:pt x="63" y="126"/>
                </a:lnTo>
                <a:lnTo>
                  <a:pt x="75" y="126"/>
                </a:lnTo>
                <a:lnTo>
                  <a:pt x="78" y="129"/>
                </a:lnTo>
                <a:lnTo>
                  <a:pt x="83" y="129"/>
                </a:lnTo>
                <a:lnTo>
                  <a:pt x="92" y="129"/>
                </a:lnTo>
                <a:lnTo>
                  <a:pt x="95" y="129"/>
                </a:lnTo>
                <a:lnTo>
                  <a:pt x="118" y="109"/>
                </a:lnTo>
                <a:lnTo>
                  <a:pt x="118" y="95"/>
                </a:lnTo>
                <a:lnTo>
                  <a:pt x="123" y="86"/>
                </a:lnTo>
                <a:lnTo>
                  <a:pt x="126" y="80"/>
                </a:lnTo>
                <a:lnTo>
                  <a:pt x="121" y="77"/>
                </a:lnTo>
                <a:lnTo>
                  <a:pt x="121" y="75"/>
                </a:lnTo>
                <a:lnTo>
                  <a:pt x="123" y="69"/>
                </a:lnTo>
                <a:lnTo>
                  <a:pt x="121" y="63"/>
                </a:lnTo>
                <a:lnTo>
                  <a:pt x="126" y="57"/>
                </a:lnTo>
                <a:lnTo>
                  <a:pt x="129" y="52"/>
                </a:lnTo>
                <a:lnTo>
                  <a:pt x="126" y="34"/>
                </a:lnTo>
                <a:lnTo>
                  <a:pt x="126" y="2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18" name="Freeform 323"/>
          <p:cNvSpPr>
            <a:spLocks/>
          </p:cNvSpPr>
          <p:nvPr/>
        </p:nvSpPr>
        <p:spPr bwMode="gray">
          <a:xfrm>
            <a:off x="4866878" y="1726548"/>
            <a:ext cx="66011" cy="19500"/>
          </a:xfrm>
          <a:custGeom>
            <a:avLst/>
            <a:gdLst>
              <a:gd name="T0" fmla="*/ 2147483647 w 32"/>
              <a:gd name="T1" fmla="*/ 0 h 12"/>
              <a:gd name="T2" fmla="*/ 2147483647 w 32"/>
              <a:gd name="T3" fmla="*/ 0 h 12"/>
              <a:gd name="T4" fmla="*/ 0 w 32"/>
              <a:gd name="T5" fmla="*/ 0 h 12"/>
              <a:gd name="T6" fmla="*/ 0 w 32"/>
              <a:gd name="T7" fmla="*/ 2147483647 h 12"/>
              <a:gd name="T8" fmla="*/ 2147483647 w 32"/>
              <a:gd name="T9" fmla="*/ 2147483647 h 12"/>
              <a:gd name="T10" fmla="*/ 2147483647 w 32"/>
              <a:gd name="T11" fmla="*/ 2147483647 h 12"/>
              <a:gd name="T12" fmla="*/ 2147483647 w 32"/>
              <a:gd name="T13" fmla="*/ 2147483647 h 12"/>
              <a:gd name="T14" fmla="*/ 2147483647 w 32"/>
              <a:gd name="T15" fmla="*/ 2147483647 h 12"/>
              <a:gd name="T16" fmla="*/ 2147483647 w 32"/>
              <a:gd name="T17" fmla="*/ 2147483647 h 12"/>
              <a:gd name="T18" fmla="*/ 2147483647 w 32"/>
              <a:gd name="T19" fmla="*/ 0 h 1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2"/>
              <a:gd name="T31" fmla="*/ 0 h 12"/>
              <a:gd name="T32" fmla="*/ 32 w 32"/>
              <a:gd name="T33" fmla="*/ 12 h 1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2" h="12">
                <a:moveTo>
                  <a:pt x="18" y="0"/>
                </a:moveTo>
                <a:lnTo>
                  <a:pt x="6" y="0"/>
                </a:lnTo>
                <a:lnTo>
                  <a:pt x="0" y="0"/>
                </a:lnTo>
                <a:lnTo>
                  <a:pt x="0" y="6"/>
                </a:lnTo>
                <a:lnTo>
                  <a:pt x="9" y="9"/>
                </a:lnTo>
                <a:lnTo>
                  <a:pt x="18" y="12"/>
                </a:lnTo>
                <a:lnTo>
                  <a:pt x="23" y="12"/>
                </a:lnTo>
                <a:lnTo>
                  <a:pt x="29" y="9"/>
                </a:lnTo>
                <a:lnTo>
                  <a:pt x="32" y="3"/>
                </a:lnTo>
                <a:lnTo>
                  <a:pt x="18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19" name="Freeform 324"/>
          <p:cNvSpPr>
            <a:spLocks/>
          </p:cNvSpPr>
          <p:nvPr/>
        </p:nvSpPr>
        <p:spPr bwMode="gray">
          <a:xfrm>
            <a:off x="6117102" y="4054611"/>
            <a:ext cx="400072" cy="283507"/>
          </a:xfrm>
          <a:custGeom>
            <a:avLst/>
            <a:gdLst>
              <a:gd name="T0" fmla="*/ 2147483647 w 198"/>
              <a:gd name="T1" fmla="*/ 2147483647 h 187"/>
              <a:gd name="T2" fmla="*/ 2147483647 w 198"/>
              <a:gd name="T3" fmla="*/ 2147483647 h 187"/>
              <a:gd name="T4" fmla="*/ 2147483647 w 198"/>
              <a:gd name="T5" fmla="*/ 2147483647 h 187"/>
              <a:gd name="T6" fmla="*/ 2147483647 w 198"/>
              <a:gd name="T7" fmla="*/ 2147483647 h 187"/>
              <a:gd name="T8" fmla="*/ 2147483647 w 198"/>
              <a:gd name="T9" fmla="*/ 2147483647 h 187"/>
              <a:gd name="T10" fmla="*/ 2147483647 w 198"/>
              <a:gd name="T11" fmla="*/ 2147483647 h 187"/>
              <a:gd name="T12" fmla="*/ 2147483647 w 198"/>
              <a:gd name="T13" fmla="*/ 2147483647 h 187"/>
              <a:gd name="T14" fmla="*/ 2147483647 w 198"/>
              <a:gd name="T15" fmla="*/ 2147483647 h 187"/>
              <a:gd name="T16" fmla="*/ 2147483647 w 198"/>
              <a:gd name="T17" fmla="*/ 2147483647 h 187"/>
              <a:gd name="T18" fmla="*/ 2147483647 w 198"/>
              <a:gd name="T19" fmla="*/ 2147483647 h 187"/>
              <a:gd name="T20" fmla="*/ 2147483647 w 198"/>
              <a:gd name="T21" fmla="*/ 2147483647 h 187"/>
              <a:gd name="T22" fmla="*/ 2147483647 w 198"/>
              <a:gd name="T23" fmla="*/ 2147483647 h 187"/>
              <a:gd name="T24" fmla="*/ 2147483647 w 198"/>
              <a:gd name="T25" fmla="*/ 2147483647 h 187"/>
              <a:gd name="T26" fmla="*/ 2147483647 w 198"/>
              <a:gd name="T27" fmla="*/ 2147483647 h 187"/>
              <a:gd name="T28" fmla="*/ 2147483647 w 198"/>
              <a:gd name="T29" fmla="*/ 2147483647 h 187"/>
              <a:gd name="T30" fmla="*/ 2147483647 w 198"/>
              <a:gd name="T31" fmla="*/ 2147483647 h 187"/>
              <a:gd name="T32" fmla="*/ 2147483647 w 198"/>
              <a:gd name="T33" fmla="*/ 2147483647 h 187"/>
              <a:gd name="T34" fmla="*/ 2147483647 w 198"/>
              <a:gd name="T35" fmla="*/ 2147483647 h 187"/>
              <a:gd name="T36" fmla="*/ 2147483647 w 198"/>
              <a:gd name="T37" fmla="*/ 2147483647 h 187"/>
              <a:gd name="T38" fmla="*/ 2147483647 w 198"/>
              <a:gd name="T39" fmla="*/ 2147483647 h 187"/>
              <a:gd name="T40" fmla="*/ 2147483647 w 198"/>
              <a:gd name="T41" fmla="*/ 2147483647 h 187"/>
              <a:gd name="T42" fmla="*/ 2147483647 w 198"/>
              <a:gd name="T43" fmla="*/ 2147483647 h 187"/>
              <a:gd name="T44" fmla="*/ 2147483647 w 198"/>
              <a:gd name="T45" fmla="*/ 2147483647 h 187"/>
              <a:gd name="T46" fmla="*/ 2147483647 w 198"/>
              <a:gd name="T47" fmla="*/ 2147483647 h 187"/>
              <a:gd name="T48" fmla="*/ 2147483647 w 198"/>
              <a:gd name="T49" fmla="*/ 2147483647 h 187"/>
              <a:gd name="T50" fmla="*/ 2147483647 w 198"/>
              <a:gd name="T51" fmla="*/ 2147483647 h 187"/>
              <a:gd name="T52" fmla="*/ 2147483647 w 198"/>
              <a:gd name="T53" fmla="*/ 2147483647 h 187"/>
              <a:gd name="T54" fmla="*/ 2147483647 w 198"/>
              <a:gd name="T55" fmla="*/ 2147483647 h 187"/>
              <a:gd name="T56" fmla="*/ 2147483647 w 198"/>
              <a:gd name="T57" fmla="*/ 2147483647 h 187"/>
              <a:gd name="T58" fmla="*/ 2147483647 w 198"/>
              <a:gd name="T59" fmla="*/ 2147483647 h 187"/>
              <a:gd name="T60" fmla="*/ 2147483647 w 198"/>
              <a:gd name="T61" fmla="*/ 2147483647 h 187"/>
              <a:gd name="T62" fmla="*/ 0 w 198"/>
              <a:gd name="T63" fmla="*/ 2147483647 h 187"/>
              <a:gd name="T64" fmla="*/ 2147483647 w 198"/>
              <a:gd name="T65" fmla="*/ 2147483647 h 187"/>
              <a:gd name="T66" fmla="*/ 2147483647 w 198"/>
              <a:gd name="T67" fmla="*/ 2147483647 h 187"/>
              <a:gd name="T68" fmla="*/ 2147483647 w 198"/>
              <a:gd name="T69" fmla="*/ 2147483647 h 187"/>
              <a:gd name="T70" fmla="*/ 2147483647 w 198"/>
              <a:gd name="T71" fmla="*/ 2147483647 h 187"/>
              <a:gd name="T72" fmla="*/ 2147483647 w 198"/>
              <a:gd name="T73" fmla="*/ 2147483647 h 187"/>
              <a:gd name="T74" fmla="*/ 2147483647 w 198"/>
              <a:gd name="T75" fmla="*/ 2147483647 h 187"/>
              <a:gd name="T76" fmla="*/ 2147483647 w 198"/>
              <a:gd name="T77" fmla="*/ 2147483647 h 187"/>
              <a:gd name="T78" fmla="*/ 2147483647 w 198"/>
              <a:gd name="T79" fmla="*/ 2147483647 h 187"/>
              <a:gd name="T80" fmla="*/ 2147483647 w 198"/>
              <a:gd name="T81" fmla="*/ 2147483647 h 187"/>
              <a:gd name="T82" fmla="*/ 2147483647 w 198"/>
              <a:gd name="T83" fmla="*/ 2147483647 h 187"/>
              <a:gd name="T84" fmla="*/ 2147483647 w 198"/>
              <a:gd name="T85" fmla="*/ 2147483647 h 187"/>
              <a:gd name="T86" fmla="*/ 2147483647 w 198"/>
              <a:gd name="T87" fmla="*/ 2147483647 h 187"/>
              <a:gd name="T88" fmla="*/ 2147483647 w 198"/>
              <a:gd name="T89" fmla="*/ 2147483647 h 187"/>
              <a:gd name="T90" fmla="*/ 2147483647 w 198"/>
              <a:gd name="T91" fmla="*/ 2147483647 h 187"/>
              <a:gd name="T92" fmla="*/ 2147483647 w 198"/>
              <a:gd name="T93" fmla="*/ 2147483647 h 187"/>
              <a:gd name="T94" fmla="*/ 2147483647 w 198"/>
              <a:gd name="T95" fmla="*/ 2147483647 h 187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198"/>
              <a:gd name="T145" fmla="*/ 0 h 187"/>
              <a:gd name="T146" fmla="*/ 198 w 198"/>
              <a:gd name="T147" fmla="*/ 187 h 187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198" h="187">
                <a:moveTo>
                  <a:pt x="178" y="104"/>
                </a:moveTo>
                <a:lnTo>
                  <a:pt x="186" y="98"/>
                </a:lnTo>
                <a:lnTo>
                  <a:pt x="186" y="87"/>
                </a:lnTo>
                <a:lnTo>
                  <a:pt x="195" y="81"/>
                </a:lnTo>
                <a:lnTo>
                  <a:pt x="189" y="78"/>
                </a:lnTo>
                <a:lnTo>
                  <a:pt x="189" y="75"/>
                </a:lnTo>
                <a:lnTo>
                  <a:pt x="189" y="66"/>
                </a:lnTo>
                <a:lnTo>
                  <a:pt x="189" y="61"/>
                </a:lnTo>
                <a:lnTo>
                  <a:pt x="192" y="55"/>
                </a:lnTo>
                <a:lnTo>
                  <a:pt x="192" y="52"/>
                </a:lnTo>
                <a:lnTo>
                  <a:pt x="198" y="43"/>
                </a:lnTo>
                <a:lnTo>
                  <a:pt x="198" y="41"/>
                </a:lnTo>
                <a:lnTo>
                  <a:pt x="192" y="38"/>
                </a:lnTo>
                <a:lnTo>
                  <a:pt x="192" y="32"/>
                </a:lnTo>
                <a:lnTo>
                  <a:pt x="186" y="29"/>
                </a:lnTo>
                <a:lnTo>
                  <a:pt x="186" y="23"/>
                </a:lnTo>
                <a:lnTo>
                  <a:pt x="163" y="12"/>
                </a:lnTo>
                <a:lnTo>
                  <a:pt x="149" y="6"/>
                </a:lnTo>
                <a:lnTo>
                  <a:pt x="149" y="0"/>
                </a:lnTo>
                <a:lnTo>
                  <a:pt x="120" y="3"/>
                </a:lnTo>
                <a:lnTo>
                  <a:pt x="120" y="9"/>
                </a:lnTo>
                <a:lnTo>
                  <a:pt x="112" y="21"/>
                </a:lnTo>
                <a:lnTo>
                  <a:pt x="114" y="35"/>
                </a:lnTo>
                <a:lnTo>
                  <a:pt x="114" y="52"/>
                </a:lnTo>
                <a:lnTo>
                  <a:pt x="109" y="64"/>
                </a:lnTo>
                <a:lnTo>
                  <a:pt x="117" y="72"/>
                </a:lnTo>
                <a:lnTo>
                  <a:pt x="126" y="78"/>
                </a:lnTo>
                <a:lnTo>
                  <a:pt x="135" y="75"/>
                </a:lnTo>
                <a:lnTo>
                  <a:pt x="132" y="107"/>
                </a:lnTo>
                <a:lnTo>
                  <a:pt x="129" y="104"/>
                </a:lnTo>
                <a:lnTo>
                  <a:pt x="126" y="98"/>
                </a:lnTo>
                <a:lnTo>
                  <a:pt x="117" y="101"/>
                </a:lnTo>
                <a:lnTo>
                  <a:pt x="112" y="92"/>
                </a:lnTo>
                <a:lnTo>
                  <a:pt x="106" y="84"/>
                </a:lnTo>
                <a:lnTo>
                  <a:pt x="94" y="81"/>
                </a:lnTo>
                <a:lnTo>
                  <a:pt x="86" y="66"/>
                </a:lnTo>
                <a:lnTo>
                  <a:pt x="83" y="75"/>
                </a:lnTo>
                <a:lnTo>
                  <a:pt x="57" y="66"/>
                </a:lnTo>
                <a:lnTo>
                  <a:pt x="54" y="64"/>
                </a:lnTo>
                <a:lnTo>
                  <a:pt x="54" y="58"/>
                </a:lnTo>
                <a:lnTo>
                  <a:pt x="43" y="64"/>
                </a:lnTo>
                <a:lnTo>
                  <a:pt x="37" y="61"/>
                </a:lnTo>
                <a:lnTo>
                  <a:pt x="37" y="55"/>
                </a:lnTo>
                <a:lnTo>
                  <a:pt x="34" y="55"/>
                </a:lnTo>
                <a:lnTo>
                  <a:pt x="34" y="66"/>
                </a:lnTo>
                <a:lnTo>
                  <a:pt x="34" y="78"/>
                </a:lnTo>
                <a:lnTo>
                  <a:pt x="37" y="81"/>
                </a:lnTo>
                <a:lnTo>
                  <a:pt x="34" y="92"/>
                </a:lnTo>
                <a:lnTo>
                  <a:pt x="0" y="92"/>
                </a:lnTo>
                <a:lnTo>
                  <a:pt x="0" y="153"/>
                </a:lnTo>
                <a:lnTo>
                  <a:pt x="20" y="181"/>
                </a:lnTo>
                <a:lnTo>
                  <a:pt x="37" y="176"/>
                </a:lnTo>
                <a:lnTo>
                  <a:pt x="48" y="178"/>
                </a:lnTo>
                <a:lnTo>
                  <a:pt x="51" y="184"/>
                </a:lnTo>
                <a:lnTo>
                  <a:pt x="57" y="184"/>
                </a:lnTo>
                <a:lnTo>
                  <a:pt x="66" y="187"/>
                </a:lnTo>
                <a:lnTo>
                  <a:pt x="66" y="184"/>
                </a:lnTo>
                <a:lnTo>
                  <a:pt x="69" y="184"/>
                </a:lnTo>
                <a:lnTo>
                  <a:pt x="74" y="187"/>
                </a:lnTo>
                <a:lnTo>
                  <a:pt x="83" y="187"/>
                </a:lnTo>
                <a:lnTo>
                  <a:pt x="86" y="184"/>
                </a:lnTo>
                <a:lnTo>
                  <a:pt x="89" y="184"/>
                </a:lnTo>
                <a:lnTo>
                  <a:pt x="91" y="173"/>
                </a:lnTo>
                <a:lnTo>
                  <a:pt x="97" y="170"/>
                </a:lnTo>
                <a:lnTo>
                  <a:pt x="100" y="167"/>
                </a:lnTo>
                <a:lnTo>
                  <a:pt x="109" y="161"/>
                </a:lnTo>
                <a:lnTo>
                  <a:pt x="114" y="153"/>
                </a:lnTo>
                <a:lnTo>
                  <a:pt x="117" y="150"/>
                </a:lnTo>
                <a:lnTo>
                  <a:pt x="126" y="141"/>
                </a:lnTo>
                <a:lnTo>
                  <a:pt x="137" y="141"/>
                </a:lnTo>
                <a:lnTo>
                  <a:pt x="137" y="132"/>
                </a:lnTo>
                <a:lnTo>
                  <a:pt x="186" y="112"/>
                </a:lnTo>
                <a:lnTo>
                  <a:pt x="178" y="104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20" name="Freeform 325"/>
          <p:cNvSpPr>
            <a:spLocks/>
          </p:cNvSpPr>
          <p:nvPr/>
        </p:nvSpPr>
        <p:spPr bwMode="gray">
          <a:xfrm>
            <a:off x="5779041" y="3654099"/>
            <a:ext cx="790142" cy="549015"/>
          </a:xfrm>
          <a:custGeom>
            <a:avLst/>
            <a:gdLst>
              <a:gd name="T0" fmla="*/ 2147483647 w 391"/>
              <a:gd name="T1" fmla="*/ 2147483647 h 362"/>
              <a:gd name="T2" fmla="*/ 2147483647 w 391"/>
              <a:gd name="T3" fmla="*/ 2147483647 h 362"/>
              <a:gd name="T4" fmla="*/ 2147483647 w 391"/>
              <a:gd name="T5" fmla="*/ 2147483647 h 362"/>
              <a:gd name="T6" fmla="*/ 2147483647 w 391"/>
              <a:gd name="T7" fmla="*/ 2147483647 h 362"/>
              <a:gd name="T8" fmla="*/ 2147483647 w 391"/>
              <a:gd name="T9" fmla="*/ 2147483647 h 362"/>
              <a:gd name="T10" fmla="*/ 2147483647 w 391"/>
              <a:gd name="T11" fmla="*/ 2147483647 h 362"/>
              <a:gd name="T12" fmla="*/ 2147483647 w 391"/>
              <a:gd name="T13" fmla="*/ 2147483647 h 362"/>
              <a:gd name="T14" fmla="*/ 2147483647 w 391"/>
              <a:gd name="T15" fmla="*/ 2147483647 h 362"/>
              <a:gd name="T16" fmla="*/ 2147483647 w 391"/>
              <a:gd name="T17" fmla="*/ 2147483647 h 362"/>
              <a:gd name="T18" fmla="*/ 2147483647 w 391"/>
              <a:gd name="T19" fmla="*/ 2147483647 h 362"/>
              <a:gd name="T20" fmla="*/ 2147483647 w 391"/>
              <a:gd name="T21" fmla="*/ 2147483647 h 362"/>
              <a:gd name="T22" fmla="*/ 2147483647 w 391"/>
              <a:gd name="T23" fmla="*/ 2147483647 h 362"/>
              <a:gd name="T24" fmla="*/ 2147483647 w 391"/>
              <a:gd name="T25" fmla="*/ 2147483647 h 362"/>
              <a:gd name="T26" fmla="*/ 2147483647 w 391"/>
              <a:gd name="T27" fmla="*/ 2147483647 h 362"/>
              <a:gd name="T28" fmla="*/ 2147483647 w 391"/>
              <a:gd name="T29" fmla="*/ 2147483647 h 362"/>
              <a:gd name="T30" fmla="*/ 2147483647 w 391"/>
              <a:gd name="T31" fmla="*/ 2147483647 h 362"/>
              <a:gd name="T32" fmla="*/ 2147483647 w 391"/>
              <a:gd name="T33" fmla="*/ 2147483647 h 362"/>
              <a:gd name="T34" fmla="*/ 2147483647 w 391"/>
              <a:gd name="T35" fmla="*/ 2147483647 h 362"/>
              <a:gd name="T36" fmla="*/ 2147483647 w 391"/>
              <a:gd name="T37" fmla="*/ 2147483647 h 362"/>
              <a:gd name="T38" fmla="*/ 2147483647 w 391"/>
              <a:gd name="T39" fmla="*/ 2147483647 h 362"/>
              <a:gd name="T40" fmla="*/ 2147483647 w 391"/>
              <a:gd name="T41" fmla="*/ 2147483647 h 362"/>
              <a:gd name="T42" fmla="*/ 2147483647 w 391"/>
              <a:gd name="T43" fmla="*/ 2147483647 h 362"/>
              <a:gd name="T44" fmla="*/ 2147483647 w 391"/>
              <a:gd name="T45" fmla="*/ 2147483647 h 362"/>
              <a:gd name="T46" fmla="*/ 2147483647 w 391"/>
              <a:gd name="T47" fmla="*/ 2147483647 h 362"/>
              <a:gd name="T48" fmla="*/ 2147483647 w 391"/>
              <a:gd name="T49" fmla="*/ 2147483647 h 362"/>
              <a:gd name="T50" fmla="*/ 2147483647 w 391"/>
              <a:gd name="T51" fmla="*/ 2147483647 h 362"/>
              <a:gd name="T52" fmla="*/ 2147483647 w 391"/>
              <a:gd name="T53" fmla="*/ 2147483647 h 362"/>
              <a:gd name="T54" fmla="*/ 0 w 391"/>
              <a:gd name="T55" fmla="*/ 2147483647 h 362"/>
              <a:gd name="T56" fmla="*/ 2147483647 w 391"/>
              <a:gd name="T57" fmla="*/ 2147483647 h 362"/>
              <a:gd name="T58" fmla="*/ 2147483647 w 391"/>
              <a:gd name="T59" fmla="*/ 2147483647 h 362"/>
              <a:gd name="T60" fmla="*/ 2147483647 w 391"/>
              <a:gd name="T61" fmla="*/ 2147483647 h 362"/>
              <a:gd name="T62" fmla="*/ 2147483647 w 391"/>
              <a:gd name="T63" fmla="*/ 2147483647 h 362"/>
              <a:gd name="T64" fmla="*/ 2147483647 w 391"/>
              <a:gd name="T65" fmla="*/ 2147483647 h 362"/>
              <a:gd name="T66" fmla="*/ 2147483647 w 391"/>
              <a:gd name="T67" fmla="*/ 2147483647 h 362"/>
              <a:gd name="T68" fmla="*/ 2147483647 w 391"/>
              <a:gd name="T69" fmla="*/ 2147483647 h 362"/>
              <a:gd name="T70" fmla="*/ 2147483647 w 391"/>
              <a:gd name="T71" fmla="*/ 2147483647 h 362"/>
              <a:gd name="T72" fmla="*/ 2147483647 w 391"/>
              <a:gd name="T73" fmla="*/ 2147483647 h 362"/>
              <a:gd name="T74" fmla="*/ 2147483647 w 391"/>
              <a:gd name="T75" fmla="*/ 2147483647 h 362"/>
              <a:gd name="T76" fmla="*/ 2147483647 w 391"/>
              <a:gd name="T77" fmla="*/ 2147483647 h 362"/>
              <a:gd name="T78" fmla="*/ 2147483647 w 391"/>
              <a:gd name="T79" fmla="*/ 2147483647 h 362"/>
              <a:gd name="T80" fmla="*/ 2147483647 w 391"/>
              <a:gd name="T81" fmla="*/ 2147483647 h 362"/>
              <a:gd name="T82" fmla="*/ 2147483647 w 391"/>
              <a:gd name="T83" fmla="*/ 2147483647 h 362"/>
              <a:gd name="T84" fmla="*/ 2147483647 w 391"/>
              <a:gd name="T85" fmla="*/ 2147483647 h 362"/>
              <a:gd name="T86" fmla="*/ 2147483647 w 391"/>
              <a:gd name="T87" fmla="*/ 2147483647 h 362"/>
              <a:gd name="T88" fmla="*/ 2147483647 w 391"/>
              <a:gd name="T89" fmla="*/ 2147483647 h 362"/>
              <a:gd name="T90" fmla="*/ 2147483647 w 391"/>
              <a:gd name="T91" fmla="*/ 2147483647 h 362"/>
              <a:gd name="T92" fmla="*/ 2147483647 w 391"/>
              <a:gd name="T93" fmla="*/ 2147483647 h 362"/>
              <a:gd name="T94" fmla="*/ 2147483647 w 391"/>
              <a:gd name="T95" fmla="*/ 2147483647 h 362"/>
              <a:gd name="T96" fmla="*/ 2147483647 w 391"/>
              <a:gd name="T97" fmla="*/ 2147483647 h 362"/>
              <a:gd name="T98" fmla="*/ 2147483647 w 391"/>
              <a:gd name="T99" fmla="*/ 2147483647 h 362"/>
              <a:gd name="T100" fmla="*/ 2147483647 w 391"/>
              <a:gd name="T101" fmla="*/ 2147483647 h 362"/>
              <a:gd name="T102" fmla="*/ 2147483647 w 391"/>
              <a:gd name="T103" fmla="*/ 2147483647 h 362"/>
              <a:gd name="T104" fmla="*/ 2147483647 w 391"/>
              <a:gd name="T105" fmla="*/ 2147483647 h 36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391"/>
              <a:gd name="T160" fmla="*/ 0 h 362"/>
              <a:gd name="T161" fmla="*/ 391 w 391"/>
              <a:gd name="T162" fmla="*/ 362 h 362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391" h="362">
                <a:moveTo>
                  <a:pt x="373" y="20"/>
                </a:moveTo>
                <a:lnTo>
                  <a:pt x="365" y="29"/>
                </a:lnTo>
                <a:lnTo>
                  <a:pt x="362" y="29"/>
                </a:lnTo>
                <a:lnTo>
                  <a:pt x="356" y="29"/>
                </a:lnTo>
                <a:lnTo>
                  <a:pt x="345" y="35"/>
                </a:lnTo>
                <a:lnTo>
                  <a:pt x="336" y="32"/>
                </a:lnTo>
                <a:lnTo>
                  <a:pt x="330" y="29"/>
                </a:lnTo>
                <a:lnTo>
                  <a:pt x="327" y="32"/>
                </a:lnTo>
                <a:lnTo>
                  <a:pt x="319" y="38"/>
                </a:lnTo>
                <a:lnTo>
                  <a:pt x="316" y="38"/>
                </a:lnTo>
                <a:lnTo>
                  <a:pt x="313" y="32"/>
                </a:lnTo>
                <a:lnTo>
                  <a:pt x="310" y="29"/>
                </a:lnTo>
                <a:lnTo>
                  <a:pt x="299" y="15"/>
                </a:lnTo>
                <a:lnTo>
                  <a:pt x="293" y="18"/>
                </a:lnTo>
                <a:lnTo>
                  <a:pt x="284" y="15"/>
                </a:lnTo>
                <a:lnTo>
                  <a:pt x="281" y="20"/>
                </a:lnTo>
                <a:lnTo>
                  <a:pt x="276" y="23"/>
                </a:lnTo>
                <a:lnTo>
                  <a:pt x="273" y="20"/>
                </a:lnTo>
                <a:lnTo>
                  <a:pt x="264" y="12"/>
                </a:lnTo>
                <a:lnTo>
                  <a:pt x="258" y="3"/>
                </a:lnTo>
                <a:lnTo>
                  <a:pt x="250" y="6"/>
                </a:lnTo>
                <a:lnTo>
                  <a:pt x="238" y="3"/>
                </a:lnTo>
                <a:lnTo>
                  <a:pt x="233" y="3"/>
                </a:lnTo>
                <a:lnTo>
                  <a:pt x="227" y="0"/>
                </a:lnTo>
                <a:lnTo>
                  <a:pt x="224" y="6"/>
                </a:lnTo>
                <a:lnTo>
                  <a:pt x="213" y="9"/>
                </a:lnTo>
                <a:lnTo>
                  <a:pt x="207" y="6"/>
                </a:lnTo>
                <a:lnTo>
                  <a:pt x="198" y="12"/>
                </a:lnTo>
                <a:lnTo>
                  <a:pt x="192" y="15"/>
                </a:lnTo>
                <a:lnTo>
                  <a:pt x="190" y="15"/>
                </a:lnTo>
                <a:lnTo>
                  <a:pt x="184" y="12"/>
                </a:lnTo>
                <a:lnTo>
                  <a:pt x="175" y="23"/>
                </a:lnTo>
                <a:lnTo>
                  <a:pt x="172" y="23"/>
                </a:lnTo>
                <a:lnTo>
                  <a:pt x="167" y="23"/>
                </a:lnTo>
                <a:lnTo>
                  <a:pt x="161" y="20"/>
                </a:lnTo>
                <a:lnTo>
                  <a:pt x="147" y="20"/>
                </a:lnTo>
                <a:lnTo>
                  <a:pt x="141" y="18"/>
                </a:lnTo>
                <a:lnTo>
                  <a:pt x="129" y="3"/>
                </a:lnTo>
                <a:lnTo>
                  <a:pt x="126" y="3"/>
                </a:lnTo>
                <a:lnTo>
                  <a:pt x="118" y="6"/>
                </a:lnTo>
                <a:lnTo>
                  <a:pt x="112" y="18"/>
                </a:lnTo>
                <a:lnTo>
                  <a:pt x="112" y="23"/>
                </a:lnTo>
                <a:lnTo>
                  <a:pt x="112" y="32"/>
                </a:lnTo>
                <a:lnTo>
                  <a:pt x="109" y="32"/>
                </a:lnTo>
                <a:lnTo>
                  <a:pt x="112" y="40"/>
                </a:lnTo>
                <a:lnTo>
                  <a:pt x="106" y="52"/>
                </a:lnTo>
                <a:lnTo>
                  <a:pt x="103" y="55"/>
                </a:lnTo>
                <a:lnTo>
                  <a:pt x="103" y="61"/>
                </a:lnTo>
                <a:lnTo>
                  <a:pt x="101" y="69"/>
                </a:lnTo>
                <a:lnTo>
                  <a:pt x="98" y="84"/>
                </a:lnTo>
                <a:lnTo>
                  <a:pt x="98" y="86"/>
                </a:lnTo>
                <a:lnTo>
                  <a:pt x="95" y="107"/>
                </a:lnTo>
                <a:lnTo>
                  <a:pt x="95" y="118"/>
                </a:lnTo>
                <a:lnTo>
                  <a:pt x="89" y="124"/>
                </a:lnTo>
                <a:lnTo>
                  <a:pt x="83" y="127"/>
                </a:lnTo>
                <a:lnTo>
                  <a:pt x="78" y="132"/>
                </a:lnTo>
                <a:lnTo>
                  <a:pt x="78" y="135"/>
                </a:lnTo>
                <a:lnTo>
                  <a:pt x="75" y="138"/>
                </a:lnTo>
                <a:lnTo>
                  <a:pt x="72" y="141"/>
                </a:lnTo>
                <a:lnTo>
                  <a:pt x="69" y="144"/>
                </a:lnTo>
                <a:lnTo>
                  <a:pt x="69" y="150"/>
                </a:lnTo>
                <a:lnTo>
                  <a:pt x="69" y="155"/>
                </a:lnTo>
                <a:lnTo>
                  <a:pt x="66" y="173"/>
                </a:lnTo>
                <a:lnTo>
                  <a:pt x="63" y="178"/>
                </a:lnTo>
                <a:lnTo>
                  <a:pt x="58" y="184"/>
                </a:lnTo>
                <a:lnTo>
                  <a:pt x="43" y="198"/>
                </a:lnTo>
                <a:lnTo>
                  <a:pt x="40" y="198"/>
                </a:lnTo>
                <a:lnTo>
                  <a:pt x="37" y="198"/>
                </a:lnTo>
                <a:lnTo>
                  <a:pt x="35" y="196"/>
                </a:lnTo>
                <a:lnTo>
                  <a:pt x="35" y="190"/>
                </a:lnTo>
                <a:lnTo>
                  <a:pt x="32" y="190"/>
                </a:lnTo>
                <a:lnTo>
                  <a:pt x="29" y="190"/>
                </a:lnTo>
                <a:lnTo>
                  <a:pt x="26" y="196"/>
                </a:lnTo>
                <a:lnTo>
                  <a:pt x="26" y="198"/>
                </a:lnTo>
                <a:lnTo>
                  <a:pt x="20" y="201"/>
                </a:lnTo>
                <a:lnTo>
                  <a:pt x="17" y="198"/>
                </a:lnTo>
                <a:lnTo>
                  <a:pt x="14" y="196"/>
                </a:lnTo>
                <a:lnTo>
                  <a:pt x="6" y="201"/>
                </a:lnTo>
                <a:lnTo>
                  <a:pt x="6" y="210"/>
                </a:lnTo>
                <a:lnTo>
                  <a:pt x="6" y="216"/>
                </a:lnTo>
                <a:lnTo>
                  <a:pt x="0" y="216"/>
                </a:lnTo>
                <a:lnTo>
                  <a:pt x="0" y="221"/>
                </a:lnTo>
                <a:lnTo>
                  <a:pt x="6" y="218"/>
                </a:lnTo>
                <a:lnTo>
                  <a:pt x="12" y="213"/>
                </a:lnTo>
                <a:lnTo>
                  <a:pt x="75" y="216"/>
                </a:lnTo>
                <a:lnTo>
                  <a:pt x="75" y="218"/>
                </a:lnTo>
                <a:lnTo>
                  <a:pt x="81" y="233"/>
                </a:lnTo>
                <a:lnTo>
                  <a:pt x="81" y="244"/>
                </a:lnTo>
                <a:lnTo>
                  <a:pt x="92" y="259"/>
                </a:lnTo>
                <a:lnTo>
                  <a:pt x="95" y="259"/>
                </a:lnTo>
                <a:lnTo>
                  <a:pt x="103" y="259"/>
                </a:lnTo>
                <a:lnTo>
                  <a:pt x="106" y="253"/>
                </a:lnTo>
                <a:lnTo>
                  <a:pt x="109" y="250"/>
                </a:lnTo>
                <a:lnTo>
                  <a:pt x="112" y="253"/>
                </a:lnTo>
                <a:lnTo>
                  <a:pt x="118" y="259"/>
                </a:lnTo>
                <a:lnTo>
                  <a:pt x="118" y="256"/>
                </a:lnTo>
                <a:lnTo>
                  <a:pt x="121" y="250"/>
                </a:lnTo>
                <a:lnTo>
                  <a:pt x="121" y="239"/>
                </a:lnTo>
                <a:lnTo>
                  <a:pt x="138" y="236"/>
                </a:lnTo>
                <a:lnTo>
                  <a:pt x="147" y="236"/>
                </a:lnTo>
                <a:lnTo>
                  <a:pt x="147" y="244"/>
                </a:lnTo>
                <a:lnTo>
                  <a:pt x="161" y="241"/>
                </a:lnTo>
                <a:lnTo>
                  <a:pt x="164" y="241"/>
                </a:lnTo>
                <a:lnTo>
                  <a:pt x="164" y="244"/>
                </a:lnTo>
                <a:lnTo>
                  <a:pt x="164" y="250"/>
                </a:lnTo>
                <a:lnTo>
                  <a:pt x="164" y="256"/>
                </a:lnTo>
                <a:lnTo>
                  <a:pt x="167" y="259"/>
                </a:lnTo>
                <a:lnTo>
                  <a:pt x="167" y="264"/>
                </a:lnTo>
                <a:lnTo>
                  <a:pt x="167" y="282"/>
                </a:lnTo>
                <a:lnTo>
                  <a:pt x="167" y="285"/>
                </a:lnTo>
                <a:lnTo>
                  <a:pt x="167" y="290"/>
                </a:lnTo>
                <a:lnTo>
                  <a:pt x="169" y="296"/>
                </a:lnTo>
                <a:lnTo>
                  <a:pt x="172" y="302"/>
                </a:lnTo>
                <a:lnTo>
                  <a:pt x="172" y="305"/>
                </a:lnTo>
                <a:lnTo>
                  <a:pt x="172" y="310"/>
                </a:lnTo>
                <a:lnTo>
                  <a:pt x="169" y="313"/>
                </a:lnTo>
                <a:lnTo>
                  <a:pt x="172" y="319"/>
                </a:lnTo>
                <a:lnTo>
                  <a:pt x="178" y="316"/>
                </a:lnTo>
                <a:lnTo>
                  <a:pt x="187" y="319"/>
                </a:lnTo>
                <a:lnTo>
                  <a:pt x="192" y="313"/>
                </a:lnTo>
                <a:lnTo>
                  <a:pt x="198" y="316"/>
                </a:lnTo>
                <a:lnTo>
                  <a:pt x="198" y="313"/>
                </a:lnTo>
                <a:lnTo>
                  <a:pt x="207" y="316"/>
                </a:lnTo>
                <a:lnTo>
                  <a:pt x="207" y="319"/>
                </a:lnTo>
                <a:lnTo>
                  <a:pt x="207" y="325"/>
                </a:lnTo>
                <a:lnTo>
                  <a:pt x="210" y="325"/>
                </a:lnTo>
                <a:lnTo>
                  <a:pt x="224" y="316"/>
                </a:lnTo>
                <a:lnTo>
                  <a:pt x="227" y="328"/>
                </a:lnTo>
                <a:lnTo>
                  <a:pt x="247" y="333"/>
                </a:lnTo>
                <a:lnTo>
                  <a:pt x="253" y="325"/>
                </a:lnTo>
                <a:lnTo>
                  <a:pt x="264" y="342"/>
                </a:lnTo>
                <a:lnTo>
                  <a:pt x="276" y="345"/>
                </a:lnTo>
                <a:lnTo>
                  <a:pt x="281" y="353"/>
                </a:lnTo>
                <a:lnTo>
                  <a:pt x="287" y="362"/>
                </a:lnTo>
                <a:lnTo>
                  <a:pt x="293" y="359"/>
                </a:lnTo>
                <a:lnTo>
                  <a:pt x="296" y="359"/>
                </a:lnTo>
                <a:lnTo>
                  <a:pt x="296" y="362"/>
                </a:lnTo>
                <a:lnTo>
                  <a:pt x="299" y="345"/>
                </a:lnTo>
                <a:lnTo>
                  <a:pt x="293" y="345"/>
                </a:lnTo>
                <a:lnTo>
                  <a:pt x="281" y="339"/>
                </a:lnTo>
                <a:lnTo>
                  <a:pt x="273" y="328"/>
                </a:lnTo>
                <a:lnTo>
                  <a:pt x="279" y="313"/>
                </a:lnTo>
                <a:lnTo>
                  <a:pt x="279" y="299"/>
                </a:lnTo>
                <a:lnTo>
                  <a:pt x="276" y="285"/>
                </a:lnTo>
                <a:lnTo>
                  <a:pt x="284" y="273"/>
                </a:lnTo>
                <a:lnTo>
                  <a:pt x="284" y="264"/>
                </a:lnTo>
                <a:lnTo>
                  <a:pt x="316" y="262"/>
                </a:lnTo>
                <a:lnTo>
                  <a:pt x="310" y="247"/>
                </a:lnTo>
                <a:lnTo>
                  <a:pt x="304" y="236"/>
                </a:lnTo>
                <a:lnTo>
                  <a:pt x="296" y="224"/>
                </a:lnTo>
                <a:lnTo>
                  <a:pt x="293" y="216"/>
                </a:lnTo>
                <a:lnTo>
                  <a:pt x="296" y="210"/>
                </a:lnTo>
                <a:lnTo>
                  <a:pt x="293" y="190"/>
                </a:lnTo>
                <a:lnTo>
                  <a:pt x="304" y="187"/>
                </a:lnTo>
                <a:lnTo>
                  <a:pt x="310" y="181"/>
                </a:lnTo>
                <a:lnTo>
                  <a:pt x="313" y="173"/>
                </a:lnTo>
                <a:lnTo>
                  <a:pt x="319" y="167"/>
                </a:lnTo>
                <a:lnTo>
                  <a:pt x="319" y="161"/>
                </a:lnTo>
                <a:lnTo>
                  <a:pt x="310" y="158"/>
                </a:lnTo>
                <a:lnTo>
                  <a:pt x="316" y="147"/>
                </a:lnTo>
                <a:lnTo>
                  <a:pt x="319" y="144"/>
                </a:lnTo>
                <a:lnTo>
                  <a:pt x="319" y="135"/>
                </a:lnTo>
                <a:lnTo>
                  <a:pt x="313" y="132"/>
                </a:lnTo>
                <a:lnTo>
                  <a:pt x="316" y="121"/>
                </a:lnTo>
                <a:lnTo>
                  <a:pt x="336" y="121"/>
                </a:lnTo>
                <a:lnTo>
                  <a:pt x="336" y="115"/>
                </a:lnTo>
                <a:lnTo>
                  <a:pt x="336" y="104"/>
                </a:lnTo>
                <a:lnTo>
                  <a:pt x="347" y="98"/>
                </a:lnTo>
                <a:lnTo>
                  <a:pt x="356" y="98"/>
                </a:lnTo>
                <a:lnTo>
                  <a:pt x="362" y="92"/>
                </a:lnTo>
                <a:lnTo>
                  <a:pt x="368" y="98"/>
                </a:lnTo>
                <a:lnTo>
                  <a:pt x="370" y="101"/>
                </a:lnTo>
                <a:lnTo>
                  <a:pt x="373" y="98"/>
                </a:lnTo>
                <a:lnTo>
                  <a:pt x="382" y="81"/>
                </a:lnTo>
                <a:lnTo>
                  <a:pt x="388" y="78"/>
                </a:lnTo>
                <a:lnTo>
                  <a:pt x="391" y="63"/>
                </a:lnTo>
                <a:lnTo>
                  <a:pt x="388" y="52"/>
                </a:lnTo>
                <a:lnTo>
                  <a:pt x="382" y="43"/>
                </a:lnTo>
                <a:lnTo>
                  <a:pt x="382" y="32"/>
                </a:lnTo>
                <a:lnTo>
                  <a:pt x="373" y="2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21" name="Freeform 326"/>
          <p:cNvSpPr>
            <a:spLocks/>
          </p:cNvSpPr>
          <p:nvPr/>
        </p:nvSpPr>
        <p:spPr bwMode="gray">
          <a:xfrm>
            <a:off x="6383150" y="3841604"/>
            <a:ext cx="376068" cy="312008"/>
          </a:xfrm>
          <a:custGeom>
            <a:avLst/>
            <a:gdLst>
              <a:gd name="T0" fmla="*/ 2147483647 w 186"/>
              <a:gd name="T1" fmla="*/ 2147483647 h 206"/>
              <a:gd name="T2" fmla="*/ 2147483647 w 186"/>
              <a:gd name="T3" fmla="*/ 2147483647 h 206"/>
              <a:gd name="T4" fmla="*/ 2147483647 w 186"/>
              <a:gd name="T5" fmla="*/ 2147483647 h 206"/>
              <a:gd name="T6" fmla="*/ 2147483647 w 186"/>
              <a:gd name="T7" fmla="*/ 2147483647 h 206"/>
              <a:gd name="T8" fmla="*/ 2147483647 w 186"/>
              <a:gd name="T9" fmla="*/ 2147483647 h 206"/>
              <a:gd name="T10" fmla="*/ 2147483647 w 186"/>
              <a:gd name="T11" fmla="*/ 2147483647 h 206"/>
              <a:gd name="T12" fmla="*/ 2147483647 w 186"/>
              <a:gd name="T13" fmla="*/ 2147483647 h 206"/>
              <a:gd name="T14" fmla="*/ 2147483647 w 186"/>
              <a:gd name="T15" fmla="*/ 2147483647 h 206"/>
              <a:gd name="T16" fmla="*/ 2147483647 w 186"/>
              <a:gd name="T17" fmla="*/ 0 h 206"/>
              <a:gd name="T18" fmla="*/ 2147483647 w 186"/>
              <a:gd name="T19" fmla="*/ 2147483647 h 206"/>
              <a:gd name="T20" fmla="*/ 2147483647 w 186"/>
              <a:gd name="T21" fmla="*/ 2147483647 h 206"/>
              <a:gd name="T22" fmla="*/ 2147483647 w 186"/>
              <a:gd name="T23" fmla="*/ 2147483647 h 206"/>
              <a:gd name="T24" fmla="*/ 2147483647 w 186"/>
              <a:gd name="T25" fmla="*/ 2147483647 h 206"/>
              <a:gd name="T26" fmla="*/ 2147483647 w 186"/>
              <a:gd name="T27" fmla="*/ 2147483647 h 206"/>
              <a:gd name="T28" fmla="*/ 2147483647 w 186"/>
              <a:gd name="T29" fmla="*/ 2147483647 h 206"/>
              <a:gd name="T30" fmla="*/ 0 w 186"/>
              <a:gd name="T31" fmla="*/ 2147483647 h 206"/>
              <a:gd name="T32" fmla="*/ 0 w 186"/>
              <a:gd name="T33" fmla="*/ 2147483647 h 206"/>
              <a:gd name="T34" fmla="*/ 0 w 186"/>
              <a:gd name="T35" fmla="*/ 2147483647 h 206"/>
              <a:gd name="T36" fmla="*/ 2147483647 w 186"/>
              <a:gd name="T37" fmla="*/ 2147483647 h 206"/>
              <a:gd name="T38" fmla="*/ 2147483647 w 186"/>
              <a:gd name="T39" fmla="*/ 2147483647 h 206"/>
              <a:gd name="T40" fmla="*/ 2147483647 w 186"/>
              <a:gd name="T41" fmla="*/ 2147483647 h 206"/>
              <a:gd name="T42" fmla="*/ 2147483647 w 186"/>
              <a:gd name="T43" fmla="*/ 2147483647 h 206"/>
              <a:gd name="T44" fmla="*/ 2147483647 w 186"/>
              <a:gd name="T45" fmla="*/ 2147483647 h 206"/>
              <a:gd name="T46" fmla="*/ 2147483647 w 186"/>
              <a:gd name="T47" fmla="*/ 2147483647 h 206"/>
              <a:gd name="T48" fmla="*/ 2147483647 w 186"/>
              <a:gd name="T49" fmla="*/ 2147483647 h 206"/>
              <a:gd name="T50" fmla="*/ 2147483647 w 186"/>
              <a:gd name="T51" fmla="*/ 2147483647 h 206"/>
              <a:gd name="T52" fmla="*/ 2147483647 w 186"/>
              <a:gd name="T53" fmla="*/ 2147483647 h 206"/>
              <a:gd name="T54" fmla="*/ 2147483647 w 186"/>
              <a:gd name="T55" fmla="*/ 2147483647 h 206"/>
              <a:gd name="T56" fmla="*/ 2147483647 w 186"/>
              <a:gd name="T57" fmla="*/ 2147483647 h 206"/>
              <a:gd name="T58" fmla="*/ 2147483647 w 186"/>
              <a:gd name="T59" fmla="*/ 2147483647 h 206"/>
              <a:gd name="T60" fmla="*/ 2147483647 w 186"/>
              <a:gd name="T61" fmla="*/ 2147483647 h 206"/>
              <a:gd name="T62" fmla="*/ 2147483647 w 186"/>
              <a:gd name="T63" fmla="*/ 2147483647 h 206"/>
              <a:gd name="T64" fmla="*/ 2147483647 w 186"/>
              <a:gd name="T65" fmla="*/ 2147483647 h 206"/>
              <a:gd name="T66" fmla="*/ 2147483647 w 186"/>
              <a:gd name="T67" fmla="*/ 2147483647 h 206"/>
              <a:gd name="T68" fmla="*/ 2147483647 w 186"/>
              <a:gd name="T69" fmla="*/ 2147483647 h 206"/>
              <a:gd name="T70" fmla="*/ 2147483647 w 186"/>
              <a:gd name="T71" fmla="*/ 2147483647 h 206"/>
              <a:gd name="T72" fmla="*/ 2147483647 w 186"/>
              <a:gd name="T73" fmla="*/ 2147483647 h 206"/>
              <a:gd name="T74" fmla="*/ 2147483647 w 186"/>
              <a:gd name="T75" fmla="*/ 2147483647 h 206"/>
              <a:gd name="T76" fmla="*/ 2147483647 w 186"/>
              <a:gd name="T77" fmla="*/ 2147483647 h 206"/>
              <a:gd name="T78" fmla="*/ 2147483647 w 186"/>
              <a:gd name="T79" fmla="*/ 2147483647 h 206"/>
              <a:gd name="T80" fmla="*/ 2147483647 w 186"/>
              <a:gd name="T81" fmla="*/ 2147483647 h 206"/>
              <a:gd name="T82" fmla="*/ 2147483647 w 186"/>
              <a:gd name="T83" fmla="*/ 2147483647 h 20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86"/>
              <a:gd name="T127" fmla="*/ 0 h 206"/>
              <a:gd name="T128" fmla="*/ 186 w 186"/>
              <a:gd name="T129" fmla="*/ 206 h 20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86" h="206">
                <a:moveTo>
                  <a:pt x="137" y="40"/>
                </a:moveTo>
                <a:lnTo>
                  <a:pt x="126" y="31"/>
                </a:lnTo>
                <a:lnTo>
                  <a:pt x="74" y="0"/>
                </a:lnTo>
                <a:lnTo>
                  <a:pt x="71" y="8"/>
                </a:lnTo>
                <a:lnTo>
                  <a:pt x="60" y="17"/>
                </a:lnTo>
                <a:lnTo>
                  <a:pt x="71" y="20"/>
                </a:lnTo>
                <a:lnTo>
                  <a:pt x="66" y="28"/>
                </a:lnTo>
                <a:lnTo>
                  <a:pt x="57" y="26"/>
                </a:lnTo>
                <a:lnTo>
                  <a:pt x="54" y="37"/>
                </a:lnTo>
                <a:lnTo>
                  <a:pt x="51" y="26"/>
                </a:lnTo>
                <a:lnTo>
                  <a:pt x="43" y="23"/>
                </a:lnTo>
                <a:lnTo>
                  <a:pt x="40" y="31"/>
                </a:lnTo>
                <a:lnTo>
                  <a:pt x="34" y="26"/>
                </a:lnTo>
                <a:lnTo>
                  <a:pt x="34" y="17"/>
                </a:lnTo>
                <a:lnTo>
                  <a:pt x="34" y="14"/>
                </a:lnTo>
                <a:lnTo>
                  <a:pt x="37" y="5"/>
                </a:lnTo>
                <a:lnTo>
                  <a:pt x="37" y="0"/>
                </a:lnTo>
                <a:lnTo>
                  <a:pt x="20" y="0"/>
                </a:lnTo>
                <a:lnTo>
                  <a:pt x="17" y="5"/>
                </a:lnTo>
                <a:lnTo>
                  <a:pt x="23" y="11"/>
                </a:lnTo>
                <a:lnTo>
                  <a:pt x="26" y="23"/>
                </a:lnTo>
                <a:lnTo>
                  <a:pt x="23" y="23"/>
                </a:lnTo>
                <a:lnTo>
                  <a:pt x="20" y="26"/>
                </a:lnTo>
                <a:lnTo>
                  <a:pt x="17" y="31"/>
                </a:lnTo>
                <a:lnTo>
                  <a:pt x="23" y="34"/>
                </a:lnTo>
                <a:lnTo>
                  <a:pt x="23" y="43"/>
                </a:lnTo>
                <a:lnTo>
                  <a:pt x="17" y="51"/>
                </a:lnTo>
                <a:lnTo>
                  <a:pt x="14" y="60"/>
                </a:lnTo>
                <a:lnTo>
                  <a:pt x="5" y="66"/>
                </a:lnTo>
                <a:lnTo>
                  <a:pt x="0" y="66"/>
                </a:lnTo>
                <a:lnTo>
                  <a:pt x="3" y="86"/>
                </a:lnTo>
                <a:lnTo>
                  <a:pt x="0" y="86"/>
                </a:lnTo>
                <a:lnTo>
                  <a:pt x="0" y="92"/>
                </a:lnTo>
                <a:lnTo>
                  <a:pt x="0" y="100"/>
                </a:lnTo>
                <a:lnTo>
                  <a:pt x="8" y="109"/>
                </a:lnTo>
                <a:lnTo>
                  <a:pt x="14" y="120"/>
                </a:lnTo>
                <a:lnTo>
                  <a:pt x="20" y="143"/>
                </a:lnTo>
                <a:lnTo>
                  <a:pt x="34" y="149"/>
                </a:lnTo>
                <a:lnTo>
                  <a:pt x="57" y="161"/>
                </a:lnTo>
                <a:lnTo>
                  <a:pt x="60" y="161"/>
                </a:lnTo>
                <a:lnTo>
                  <a:pt x="74" y="161"/>
                </a:lnTo>
                <a:lnTo>
                  <a:pt x="83" y="166"/>
                </a:lnTo>
                <a:lnTo>
                  <a:pt x="86" y="186"/>
                </a:lnTo>
                <a:lnTo>
                  <a:pt x="89" y="201"/>
                </a:lnTo>
                <a:lnTo>
                  <a:pt x="97" y="204"/>
                </a:lnTo>
                <a:lnTo>
                  <a:pt x="106" y="198"/>
                </a:lnTo>
                <a:lnTo>
                  <a:pt x="117" y="206"/>
                </a:lnTo>
                <a:lnTo>
                  <a:pt x="123" y="204"/>
                </a:lnTo>
                <a:lnTo>
                  <a:pt x="135" y="206"/>
                </a:lnTo>
                <a:lnTo>
                  <a:pt x="140" y="198"/>
                </a:lnTo>
                <a:lnTo>
                  <a:pt x="149" y="201"/>
                </a:lnTo>
                <a:lnTo>
                  <a:pt x="155" y="195"/>
                </a:lnTo>
                <a:lnTo>
                  <a:pt x="166" y="192"/>
                </a:lnTo>
                <a:lnTo>
                  <a:pt x="186" y="181"/>
                </a:lnTo>
                <a:lnTo>
                  <a:pt x="178" y="175"/>
                </a:lnTo>
                <a:lnTo>
                  <a:pt x="172" y="169"/>
                </a:lnTo>
                <a:lnTo>
                  <a:pt x="169" y="163"/>
                </a:lnTo>
                <a:lnTo>
                  <a:pt x="169" y="155"/>
                </a:lnTo>
                <a:lnTo>
                  <a:pt x="166" y="149"/>
                </a:lnTo>
                <a:lnTo>
                  <a:pt x="166" y="138"/>
                </a:lnTo>
                <a:lnTo>
                  <a:pt x="169" y="132"/>
                </a:lnTo>
                <a:lnTo>
                  <a:pt x="163" y="123"/>
                </a:lnTo>
                <a:lnTo>
                  <a:pt x="169" y="115"/>
                </a:lnTo>
                <a:lnTo>
                  <a:pt x="163" y="106"/>
                </a:lnTo>
                <a:lnTo>
                  <a:pt x="160" y="103"/>
                </a:lnTo>
                <a:lnTo>
                  <a:pt x="158" y="100"/>
                </a:lnTo>
                <a:lnTo>
                  <a:pt x="158" y="92"/>
                </a:lnTo>
                <a:lnTo>
                  <a:pt x="158" y="89"/>
                </a:lnTo>
                <a:lnTo>
                  <a:pt x="160" y="83"/>
                </a:lnTo>
                <a:lnTo>
                  <a:pt x="163" y="74"/>
                </a:lnTo>
                <a:lnTo>
                  <a:pt x="135" y="49"/>
                </a:lnTo>
                <a:lnTo>
                  <a:pt x="135" y="46"/>
                </a:lnTo>
                <a:lnTo>
                  <a:pt x="137" y="4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22" name="Freeform 327"/>
          <p:cNvSpPr>
            <a:spLocks/>
          </p:cNvSpPr>
          <p:nvPr/>
        </p:nvSpPr>
        <p:spPr bwMode="gray">
          <a:xfrm>
            <a:off x="4780861" y="3010582"/>
            <a:ext cx="400072" cy="361509"/>
          </a:xfrm>
          <a:custGeom>
            <a:avLst/>
            <a:gdLst>
              <a:gd name="T0" fmla="*/ 2147483647 w 198"/>
              <a:gd name="T1" fmla="*/ 2147483647 h 239"/>
              <a:gd name="T2" fmla="*/ 2147483647 w 198"/>
              <a:gd name="T3" fmla="*/ 2147483647 h 239"/>
              <a:gd name="T4" fmla="*/ 2147483647 w 198"/>
              <a:gd name="T5" fmla="*/ 2147483647 h 239"/>
              <a:gd name="T6" fmla="*/ 2147483647 w 198"/>
              <a:gd name="T7" fmla="*/ 2147483647 h 239"/>
              <a:gd name="T8" fmla="*/ 2147483647 w 198"/>
              <a:gd name="T9" fmla="*/ 2147483647 h 239"/>
              <a:gd name="T10" fmla="*/ 2147483647 w 198"/>
              <a:gd name="T11" fmla="*/ 2147483647 h 239"/>
              <a:gd name="T12" fmla="*/ 2147483647 w 198"/>
              <a:gd name="T13" fmla="*/ 2147483647 h 239"/>
              <a:gd name="T14" fmla="*/ 2147483647 w 198"/>
              <a:gd name="T15" fmla="*/ 2147483647 h 239"/>
              <a:gd name="T16" fmla="*/ 2147483647 w 198"/>
              <a:gd name="T17" fmla="*/ 2147483647 h 239"/>
              <a:gd name="T18" fmla="*/ 2147483647 w 198"/>
              <a:gd name="T19" fmla="*/ 2147483647 h 239"/>
              <a:gd name="T20" fmla="*/ 2147483647 w 198"/>
              <a:gd name="T21" fmla="*/ 2147483647 h 239"/>
              <a:gd name="T22" fmla="*/ 2147483647 w 198"/>
              <a:gd name="T23" fmla="*/ 2147483647 h 239"/>
              <a:gd name="T24" fmla="*/ 2147483647 w 198"/>
              <a:gd name="T25" fmla="*/ 2147483647 h 239"/>
              <a:gd name="T26" fmla="*/ 2147483647 w 198"/>
              <a:gd name="T27" fmla="*/ 2147483647 h 239"/>
              <a:gd name="T28" fmla="*/ 2147483647 w 198"/>
              <a:gd name="T29" fmla="*/ 2147483647 h 239"/>
              <a:gd name="T30" fmla="*/ 2147483647 w 198"/>
              <a:gd name="T31" fmla="*/ 2147483647 h 239"/>
              <a:gd name="T32" fmla="*/ 2147483647 w 198"/>
              <a:gd name="T33" fmla="*/ 2147483647 h 239"/>
              <a:gd name="T34" fmla="*/ 2147483647 w 198"/>
              <a:gd name="T35" fmla="*/ 2147483647 h 239"/>
              <a:gd name="T36" fmla="*/ 2147483647 w 198"/>
              <a:gd name="T37" fmla="*/ 2147483647 h 239"/>
              <a:gd name="T38" fmla="*/ 2147483647 w 198"/>
              <a:gd name="T39" fmla="*/ 2147483647 h 239"/>
              <a:gd name="T40" fmla="*/ 2147483647 w 198"/>
              <a:gd name="T41" fmla="*/ 2147483647 h 239"/>
              <a:gd name="T42" fmla="*/ 2147483647 w 198"/>
              <a:gd name="T43" fmla="*/ 2147483647 h 239"/>
              <a:gd name="T44" fmla="*/ 2147483647 w 198"/>
              <a:gd name="T45" fmla="*/ 2147483647 h 239"/>
              <a:gd name="T46" fmla="*/ 2147483647 w 198"/>
              <a:gd name="T47" fmla="*/ 2147483647 h 239"/>
              <a:gd name="T48" fmla="*/ 2147483647 w 198"/>
              <a:gd name="T49" fmla="*/ 2147483647 h 239"/>
              <a:gd name="T50" fmla="*/ 2147483647 w 198"/>
              <a:gd name="T51" fmla="*/ 2147483647 h 239"/>
              <a:gd name="T52" fmla="*/ 2147483647 w 198"/>
              <a:gd name="T53" fmla="*/ 2147483647 h 239"/>
              <a:gd name="T54" fmla="*/ 0 w 198"/>
              <a:gd name="T55" fmla="*/ 2147483647 h 239"/>
              <a:gd name="T56" fmla="*/ 2147483647 w 198"/>
              <a:gd name="T57" fmla="*/ 2147483647 h 239"/>
              <a:gd name="T58" fmla="*/ 2147483647 w 198"/>
              <a:gd name="T59" fmla="*/ 2147483647 h 239"/>
              <a:gd name="T60" fmla="*/ 2147483647 w 198"/>
              <a:gd name="T61" fmla="*/ 2147483647 h 239"/>
              <a:gd name="T62" fmla="*/ 2147483647 w 198"/>
              <a:gd name="T63" fmla="*/ 2147483647 h 239"/>
              <a:gd name="T64" fmla="*/ 2147483647 w 198"/>
              <a:gd name="T65" fmla="*/ 2147483647 h 239"/>
              <a:gd name="T66" fmla="*/ 2147483647 w 198"/>
              <a:gd name="T67" fmla="*/ 2147483647 h 239"/>
              <a:gd name="T68" fmla="*/ 2147483647 w 198"/>
              <a:gd name="T69" fmla="*/ 2147483647 h 239"/>
              <a:gd name="T70" fmla="*/ 2147483647 w 198"/>
              <a:gd name="T71" fmla="*/ 2147483647 h 239"/>
              <a:gd name="T72" fmla="*/ 2147483647 w 198"/>
              <a:gd name="T73" fmla="*/ 2147483647 h 239"/>
              <a:gd name="T74" fmla="*/ 2147483647 w 198"/>
              <a:gd name="T75" fmla="*/ 2147483647 h 239"/>
              <a:gd name="T76" fmla="*/ 2147483647 w 198"/>
              <a:gd name="T77" fmla="*/ 2147483647 h 239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198"/>
              <a:gd name="T118" fmla="*/ 0 h 239"/>
              <a:gd name="T119" fmla="*/ 198 w 198"/>
              <a:gd name="T120" fmla="*/ 239 h 239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198" h="239">
                <a:moveTo>
                  <a:pt x="6" y="207"/>
                </a:moveTo>
                <a:lnTo>
                  <a:pt x="12" y="204"/>
                </a:lnTo>
                <a:lnTo>
                  <a:pt x="23" y="204"/>
                </a:lnTo>
                <a:lnTo>
                  <a:pt x="26" y="201"/>
                </a:lnTo>
                <a:lnTo>
                  <a:pt x="29" y="201"/>
                </a:lnTo>
                <a:lnTo>
                  <a:pt x="41" y="201"/>
                </a:lnTo>
                <a:lnTo>
                  <a:pt x="43" y="204"/>
                </a:lnTo>
                <a:lnTo>
                  <a:pt x="46" y="207"/>
                </a:lnTo>
                <a:lnTo>
                  <a:pt x="49" y="210"/>
                </a:lnTo>
                <a:lnTo>
                  <a:pt x="58" y="213"/>
                </a:lnTo>
                <a:lnTo>
                  <a:pt x="61" y="221"/>
                </a:lnTo>
                <a:lnTo>
                  <a:pt x="66" y="227"/>
                </a:lnTo>
                <a:lnTo>
                  <a:pt x="69" y="233"/>
                </a:lnTo>
                <a:lnTo>
                  <a:pt x="75" y="239"/>
                </a:lnTo>
                <a:lnTo>
                  <a:pt x="81" y="236"/>
                </a:lnTo>
                <a:lnTo>
                  <a:pt x="81" y="233"/>
                </a:lnTo>
                <a:lnTo>
                  <a:pt x="84" y="224"/>
                </a:lnTo>
                <a:lnTo>
                  <a:pt x="89" y="221"/>
                </a:lnTo>
                <a:lnTo>
                  <a:pt x="98" y="230"/>
                </a:lnTo>
                <a:lnTo>
                  <a:pt x="101" y="224"/>
                </a:lnTo>
                <a:lnTo>
                  <a:pt x="118" y="227"/>
                </a:lnTo>
                <a:lnTo>
                  <a:pt x="124" y="224"/>
                </a:lnTo>
                <a:lnTo>
                  <a:pt x="190" y="224"/>
                </a:lnTo>
                <a:lnTo>
                  <a:pt x="193" y="210"/>
                </a:lnTo>
                <a:lnTo>
                  <a:pt x="187" y="207"/>
                </a:lnTo>
                <a:lnTo>
                  <a:pt x="175" y="38"/>
                </a:lnTo>
                <a:lnTo>
                  <a:pt x="198" y="38"/>
                </a:lnTo>
                <a:lnTo>
                  <a:pt x="144" y="0"/>
                </a:lnTo>
                <a:lnTo>
                  <a:pt x="144" y="23"/>
                </a:lnTo>
                <a:lnTo>
                  <a:pt x="89" y="23"/>
                </a:lnTo>
                <a:lnTo>
                  <a:pt x="87" y="69"/>
                </a:lnTo>
                <a:lnTo>
                  <a:pt x="75" y="78"/>
                </a:lnTo>
                <a:lnTo>
                  <a:pt x="66" y="81"/>
                </a:lnTo>
                <a:lnTo>
                  <a:pt x="66" y="112"/>
                </a:lnTo>
                <a:lnTo>
                  <a:pt x="0" y="112"/>
                </a:lnTo>
                <a:lnTo>
                  <a:pt x="3" y="121"/>
                </a:lnTo>
                <a:lnTo>
                  <a:pt x="6" y="124"/>
                </a:lnTo>
                <a:lnTo>
                  <a:pt x="9" y="127"/>
                </a:lnTo>
                <a:lnTo>
                  <a:pt x="12" y="132"/>
                </a:lnTo>
                <a:lnTo>
                  <a:pt x="12" y="138"/>
                </a:lnTo>
                <a:lnTo>
                  <a:pt x="6" y="144"/>
                </a:lnTo>
                <a:lnTo>
                  <a:pt x="6" y="153"/>
                </a:lnTo>
                <a:lnTo>
                  <a:pt x="9" y="155"/>
                </a:lnTo>
                <a:lnTo>
                  <a:pt x="12" y="161"/>
                </a:lnTo>
                <a:lnTo>
                  <a:pt x="12" y="164"/>
                </a:lnTo>
                <a:lnTo>
                  <a:pt x="12" y="181"/>
                </a:lnTo>
                <a:lnTo>
                  <a:pt x="12" y="187"/>
                </a:lnTo>
                <a:lnTo>
                  <a:pt x="9" y="193"/>
                </a:lnTo>
                <a:lnTo>
                  <a:pt x="9" y="198"/>
                </a:lnTo>
                <a:lnTo>
                  <a:pt x="6" y="20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23" name="Freeform 328"/>
          <p:cNvSpPr>
            <a:spLocks/>
          </p:cNvSpPr>
          <p:nvPr/>
        </p:nvSpPr>
        <p:spPr bwMode="gray">
          <a:xfrm>
            <a:off x="4938891" y="3072083"/>
            <a:ext cx="962173" cy="435012"/>
          </a:xfrm>
          <a:custGeom>
            <a:avLst/>
            <a:gdLst>
              <a:gd name="T0" fmla="*/ 2147483647 w 476"/>
              <a:gd name="T1" fmla="*/ 2147483647 h 287"/>
              <a:gd name="T2" fmla="*/ 2147483647 w 476"/>
              <a:gd name="T3" fmla="*/ 2147483647 h 287"/>
              <a:gd name="T4" fmla="*/ 2147483647 w 476"/>
              <a:gd name="T5" fmla="*/ 2147483647 h 287"/>
              <a:gd name="T6" fmla="*/ 2147483647 w 476"/>
              <a:gd name="T7" fmla="*/ 2147483647 h 287"/>
              <a:gd name="T8" fmla="*/ 2147483647 w 476"/>
              <a:gd name="T9" fmla="*/ 2147483647 h 287"/>
              <a:gd name="T10" fmla="*/ 2147483647 w 476"/>
              <a:gd name="T11" fmla="*/ 2147483647 h 287"/>
              <a:gd name="T12" fmla="*/ 2147483647 w 476"/>
              <a:gd name="T13" fmla="*/ 2147483647 h 287"/>
              <a:gd name="T14" fmla="*/ 2147483647 w 476"/>
              <a:gd name="T15" fmla="*/ 2147483647 h 287"/>
              <a:gd name="T16" fmla="*/ 2147483647 w 476"/>
              <a:gd name="T17" fmla="*/ 2147483647 h 287"/>
              <a:gd name="T18" fmla="*/ 2147483647 w 476"/>
              <a:gd name="T19" fmla="*/ 2147483647 h 287"/>
              <a:gd name="T20" fmla="*/ 2147483647 w 476"/>
              <a:gd name="T21" fmla="*/ 2147483647 h 287"/>
              <a:gd name="T22" fmla="*/ 2147483647 w 476"/>
              <a:gd name="T23" fmla="*/ 2147483647 h 287"/>
              <a:gd name="T24" fmla="*/ 2147483647 w 476"/>
              <a:gd name="T25" fmla="*/ 2147483647 h 287"/>
              <a:gd name="T26" fmla="*/ 2147483647 w 476"/>
              <a:gd name="T27" fmla="*/ 2147483647 h 287"/>
              <a:gd name="T28" fmla="*/ 2147483647 w 476"/>
              <a:gd name="T29" fmla="*/ 2147483647 h 287"/>
              <a:gd name="T30" fmla="*/ 2147483647 w 476"/>
              <a:gd name="T31" fmla="*/ 2147483647 h 287"/>
              <a:gd name="T32" fmla="*/ 0 w 476"/>
              <a:gd name="T33" fmla="*/ 2147483647 h 287"/>
              <a:gd name="T34" fmla="*/ 2147483647 w 476"/>
              <a:gd name="T35" fmla="*/ 2147483647 h 287"/>
              <a:gd name="T36" fmla="*/ 2147483647 w 476"/>
              <a:gd name="T37" fmla="*/ 2147483647 h 287"/>
              <a:gd name="T38" fmla="*/ 2147483647 w 476"/>
              <a:gd name="T39" fmla="*/ 2147483647 h 287"/>
              <a:gd name="T40" fmla="*/ 2147483647 w 476"/>
              <a:gd name="T41" fmla="*/ 2147483647 h 287"/>
              <a:gd name="T42" fmla="*/ 2147483647 w 476"/>
              <a:gd name="T43" fmla="*/ 2147483647 h 287"/>
              <a:gd name="T44" fmla="*/ 2147483647 w 476"/>
              <a:gd name="T45" fmla="*/ 2147483647 h 287"/>
              <a:gd name="T46" fmla="*/ 2147483647 w 476"/>
              <a:gd name="T47" fmla="*/ 2147483647 h 287"/>
              <a:gd name="T48" fmla="*/ 2147483647 w 476"/>
              <a:gd name="T49" fmla="*/ 2147483647 h 287"/>
              <a:gd name="T50" fmla="*/ 2147483647 w 476"/>
              <a:gd name="T51" fmla="*/ 2147483647 h 287"/>
              <a:gd name="T52" fmla="*/ 2147483647 w 476"/>
              <a:gd name="T53" fmla="*/ 2147483647 h 287"/>
              <a:gd name="T54" fmla="*/ 2147483647 w 476"/>
              <a:gd name="T55" fmla="*/ 2147483647 h 287"/>
              <a:gd name="T56" fmla="*/ 2147483647 w 476"/>
              <a:gd name="T57" fmla="*/ 2147483647 h 287"/>
              <a:gd name="T58" fmla="*/ 2147483647 w 476"/>
              <a:gd name="T59" fmla="*/ 2147483647 h 287"/>
              <a:gd name="T60" fmla="*/ 2147483647 w 476"/>
              <a:gd name="T61" fmla="*/ 2147483647 h 287"/>
              <a:gd name="T62" fmla="*/ 2147483647 w 476"/>
              <a:gd name="T63" fmla="*/ 2147483647 h 287"/>
              <a:gd name="T64" fmla="*/ 2147483647 w 476"/>
              <a:gd name="T65" fmla="*/ 2147483647 h 287"/>
              <a:gd name="T66" fmla="*/ 2147483647 w 476"/>
              <a:gd name="T67" fmla="*/ 2147483647 h 287"/>
              <a:gd name="T68" fmla="*/ 2147483647 w 476"/>
              <a:gd name="T69" fmla="*/ 2147483647 h 287"/>
              <a:gd name="T70" fmla="*/ 2147483647 w 476"/>
              <a:gd name="T71" fmla="*/ 2147483647 h 287"/>
              <a:gd name="T72" fmla="*/ 2147483647 w 476"/>
              <a:gd name="T73" fmla="*/ 2147483647 h 287"/>
              <a:gd name="T74" fmla="*/ 2147483647 w 476"/>
              <a:gd name="T75" fmla="*/ 2147483647 h 287"/>
              <a:gd name="T76" fmla="*/ 2147483647 w 476"/>
              <a:gd name="T77" fmla="*/ 2147483647 h 287"/>
              <a:gd name="T78" fmla="*/ 2147483647 w 476"/>
              <a:gd name="T79" fmla="*/ 2147483647 h 287"/>
              <a:gd name="T80" fmla="*/ 2147483647 w 476"/>
              <a:gd name="T81" fmla="*/ 2147483647 h 287"/>
              <a:gd name="T82" fmla="*/ 2147483647 w 476"/>
              <a:gd name="T83" fmla="*/ 2147483647 h 287"/>
              <a:gd name="T84" fmla="*/ 2147483647 w 476"/>
              <a:gd name="T85" fmla="*/ 2147483647 h 287"/>
              <a:gd name="T86" fmla="*/ 2147483647 w 476"/>
              <a:gd name="T87" fmla="*/ 2147483647 h 287"/>
              <a:gd name="T88" fmla="*/ 2147483647 w 476"/>
              <a:gd name="T89" fmla="*/ 2147483647 h 287"/>
              <a:gd name="T90" fmla="*/ 2147483647 w 476"/>
              <a:gd name="T91" fmla="*/ 2147483647 h 287"/>
              <a:gd name="T92" fmla="*/ 2147483647 w 476"/>
              <a:gd name="T93" fmla="*/ 2147483647 h 287"/>
              <a:gd name="T94" fmla="*/ 2147483647 w 476"/>
              <a:gd name="T95" fmla="*/ 2147483647 h 287"/>
              <a:gd name="T96" fmla="*/ 2147483647 w 476"/>
              <a:gd name="T97" fmla="*/ 2147483647 h 287"/>
              <a:gd name="T98" fmla="*/ 2147483647 w 476"/>
              <a:gd name="T99" fmla="*/ 2147483647 h 287"/>
              <a:gd name="T100" fmla="*/ 2147483647 w 476"/>
              <a:gd name="T101" fmla="*/ 2147483647 h 287"/>
              <a:gd name="T102" fmla="*/ 2147483647 w 476"/>
              <a:gd name="T103" fmla="*/ 2147483647 h 287"/>
              <a:gd name="T104" fmla="*/ 2147483647 w 476"/>
              <a:gd name="T105" fmla="*/ 2147483647 h 287"/>
              <a:gd name="T106" fmla="*/ 2147483647 w 476"/>
              <a:gd name="T107" fmla="*/ 2147483647 h 287"/>
              <a:gd name="T108" fmla="*/ 2147483647 w 476"/>
              <a:gd name="T109" fmla="*/ 2147483647 h 287"/>
              <a:gd name="T110" fmla="*/ 2147483647 w 476"/>
              <a:gd name="T111" fmla="*/ 2147483647 h 287"/>
              <a:gd name="T112" fmla="*/ 2147483647 w 476"/>
              <a:gd name="T113" fmla="*/ 2147483647 h 287"/>
              <a:gd name="T114" fmla="*/ 2147483647 w 476"/>
              <a:gd name="T115" fmla="*/ 2147483647 h 287"/>
              <a:gd name="T116" fmla="*/ 2147483647 w 476"/>
              <a:gd name="T117" fmla="*/ 2147483647 h 287"/>
              <a:gd name="T118" fmla="*/ 2147483647 w 476"/>
              <a:gd name="T119" fmla="*/ 2147483647 h 287"/>
              <a:gd name="T120" fmla="*/ 2147483647 w 476"/>
              <a:gd name="T121" fmla="*/ 2147483647 h 287"/>
              <a:gd name="T122" fmla="*/ 2147483647 w 476"/>
              <a:gd name="T123" fmla="*/ 2147483647 h 287"/>
              <a:gd name="T124" fmla="*/ 2147483647 w 476"/>
              <a:gd name="T125" fmla="*/ 2147483647 h 287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476"/>
              <a:gd name="T190" fmla="*/ 0 h 287"/>
              <a:gd name="T191" fmla="*/ 476 w 476"/>
              <a:gd name="T192" fmla="*/ 287 h 287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476" h="287">
                <a:moveTo>
                  <a:pt x="459" y="169"/>
                </a:moveTo>
                <a:lnTo>
                  <a:pt x="459" y="169"/>
                </a:lnTo>
                <a:lnTo>
                  <a:pt x="465" y="163"/>
                </a:lnTo>
                <a:lnTo>
                  <a:pt x="468" y="155"/>
                </a:lnTo>
                <a:lnTo>
                  <a:pt x="471" y="97"/>
                </a:lnTo>
                <a:lnTo>
                  <a:pt x="476" y="89"/>
                </a:lnTo>
                <a:lnTo>
                  <a:pt x="471" y="83"/>
                </a:lnTo>
                <a:lnTo>
                  <a:pt x="468" y="77"/>
                </a:lnTo>
                <a:lnTo>
                  <a:pt x="462" y="66"/>
                </a:lnTo>
                <a:lnTo>
                  <a:pt x="462" y="43"/>
                </a:lnTo>
                <a:lnTo>
                  <a:pt x="451" y="48"/>
                </a:lnTo>
                <a:lnTo>
                  <a:pt x="436" y="40"/>
                </a:lnTo>
                <a:lnTo>
                  <a:pt x="410" y="28"/>
                </a:lnTo>
                <a:lnTo>
                  <a:pt x="379" y="51"/>
                </a:lnTo>
                <a:lnTo>
                  <a:pt x="324" y="94"/>
                </a:lnTo>
                <a:lnTo>
                  <a:pt x="307" y="112"/>
                </a:lnTo>
                <a:lnTo>
                  <a:pt x="264" y="120"/>
                </a:lnTo>
                <a:lnTo>
                  <a:pt x="258" y="112"/>
                </a:lnTo>
                <a:lnTo>
                  <a:pt x="261" y="103"/>
                </a:lnTo>
                <a:lnTo>
                  <a:pt x="253" y="100"/>
                </a:lnTo>
                <a:lnTo>
                  <a:pt x="247" y="94"/>
                </a:lnTo>
                <a:lnTo>
                  <a:pt x="238" y="94"/>
                </a:lnTo>
                <a:lnTo>
                  <a:pt x="232" y="86"/>
                </a:lnTo>
                <a:lnTo>
                  <a:pt x="227" y="83"/>
                </a:lnTo>
                <a:lnTo>
                  <a:pt x="227" y="77"/>
                </a:lnTo>
                <a:lnTo>
                  <a:pt x="123" y="2"/>
                </a:lnTo>
                <a:lnTo>
                  <a:pt x="100" y="0"/>
                </a:lnTo>
                <a:lnTo>
                  <a:pt x="112" y="163"/>
                </a:lnTo>
                <a:lnTo>
                  <a:pt x="118" y="166"/>
                </a:lnTo>
                <a:lnTo>
                  <a:pt x="115" y="186"/>
                </a:lnTo>
                <a:lnTo>
                  <a:pt x="46" y="186"/>
                </a:lnTo>
                <a:lnTo>
                  <a:pt x="43" y="189"/>
                </a:lnTo>
                <a:lnTo>
                  <a:pt x="26" y="189"/>
                </a:lnTo>
                <a:lnTo>
                  <a:pt x="20" y="195"/>
                </a:lnTo>
                <a:lnTo>
                  <a:pt x="11" y="183"/>
                </a:lnTo>
                <a:lnTo>
                  <a:pt x="9" y="186"/>
                </a:lnTo>
                <a:lnTo>
                  <a:pt x="6" y="192"/>
                </a:lnTo>
                <a:lnTo>
                  <a:pt x="6" y="195"/>
                </a:lnTo>
                <a:lnTo>
                  <a:pt x="6" y="198"/>
                </a:lnTo>
                <a:lnTo>
                  <a:pt x="0" y="201"/>
                </a:lnTo>
                <a:lnTo>
                  <a:pt x="0" y="206"/>
                </a:lnTo>
                <a:lnTo>
                  <a:pt x="3" y="206"/>
                </a:lnTo>
                <a:lnTo>
                  <a:pt x="3" y="209"/>
                </a:lnTo>
                <a:lnTo>
                  <a:pt x="3" y="215"/>
                </a:lnTo>
                <a:lnTo>
                  <a:pt x="3" y="223"/>
                </a:lnTo>
                <a:lnTo>
                  <a:pt x="9" y="223"/>
                </a:lnTo>
                <a:lnTo>
                  <a:pt x="14" y="235"/>
                </a:lnTo>
                <a:lnTo>
                  <a:pt x="11" y="238"/>
                </a:lnTo>
                <a:lnTo>
                  <a:pt x="11" y="246"/>
                </a:lnTo>
                <a:lnTo>
                  <a:pt x="11" y="249"/>
                </a:lnTo>
                <a:lnTo>
                  <a:pt x="14" y="249"/>
                </a:lnTo>
                <a:lnTo>
                  <a:pt x="20" y="246"/>
                </a:lnTo>
                <a:lnTo>
                  <a:pt x="23" y="252"/>
                </a:lnTo>
                <a:lnTo>
                  <a:pt x="34" y="246"/>
                </a:lnTo>
                <a:lnTo>
                  <a:pt x="40" y="249"/>
                </a:lnTo>
                <a:lnTo>
                  <a:pt x="46" y="244"/>
                </a:lnTo>
                <a:lnTo>
                  <a:pt x="46" y="238"/>
                </a:lnTo>
                <a:lnTo>
                  <a:pt x="49" y="241"/>
                </a:lnTo>
                <a:lnTo>
                  <a:pt x="52" y="241"/>
                </a:lnTo>
                <a:lnTo>
                  <a:pt x="54" y="246"/>
                </a:lnTo>
                <a:lnTo>
                  <a:pt x="57" y="255"/>
                </a:lnTo>
                <a:lnTo>
                  <a:pt x="57" y="261"/>
                </a:lnTo>
                <a:lnTo>
                  <a:pt x="63" y="267"/>
                </a:lnTo>
                <a:lnTo>
                  <a:pt x="60" y="269"/>
                </a:lnTo>
                <a:lnTo>
                  <a:pt x="66" y="272"/>
                </a:lnTo>
                <a:lnTo>
                  <a:pt x="66" y="284"/>
                </a:lnTo>
                <a:lnTo>
                  <a:pt x="69" y="284"/>
                </a:lnTo>
                <a:lnTo>
                  <a:pt x="75" y="281"/>
                </a:lnTo>
                <a:lnTo>
                  <a:pt x="80" y="284"/>
                </a:lnTo>
                <a:lnTo>
                  <a:pt x="83" y="287"/>
                </a:lnTo>
                <a:lnTo>
                  <a:pt x="86" y="287"/>
                </a:lnTo>
                <a:lnTo>
                  <a:pt x="89" y="284"/>
                </a:lnTo>
                <a:lnTo>
                  <a:pt x="89" y="272"/>
                </a:lnTo>
                <a:lnTo>
                  <a:pt x="92" y="275"/>
                </a:lnTo>
                <a:lnTo>
                  <a:pt x="95" y="278"/>
                </a:lnTo>
                <a:lnTo>
                  <a:pt x="100" y="272"/>
                </a:lnTo>
                <a:lnTo>
                  <a:pt x="100" y="278"/>
                </a:lnTo>
                <a:lnTo>
                  <a:pt x="103" y="284"/>
                </a:lnTo>
                <a:lnTo>
                  <a:pt x="106" y="284"/>
                </a:lnTo>
                <a:lnTo>
                  <a:pt x="109" y="281"/>
                </a:lnTo>
                <a:lnTo>
                  <a:pt x="109" y="272"/>
                </a:lnTo>
                <a:lnTo>
                  <a:pt x="115" y="264"/>
                </a:lnTo>
                <a:lnTo>
                  <a:pt x="112" y="255"/>
                </a:lnTo>
                <a:lnTo>
                  <a:pt x="120" y="255"/>
                </a:lnTo>
                <a:lnTo>
                  <a:pt x="123" y="255"/>
                </a:lnTo>
                <a:lnTo>
                  <a:pt x="126" y="252"/>
                </a:lnTo>
                <a:lnTo>
                  <a:pt x="126" y="246"/>
                </a:lnTo>
                <a:lnTo>
                  <a:pt x="126" y="238"/>
                </a:lnTo>
                <a:lnTo>
                  <a:pt x="129" y="238"/>
                </a:lnTo>
                <a:lnTo>
                  <a:pt x="132" y="235"/>
                </a:lnTo>
                <a:lnTo>
                  <a:pt x="132" y="229"/>
                </a:lnTo>
                <a:lnTo>
                  <a:pt x="138" y="221"/>
                </a:lnTo>
                <a:lnTo>
                  <a:pt x="141" y="223"/>
                </a:lnTo>
                <a:lnTo>
                  <a:pt x="143" y="226"/>
                </a:lnTo>
                <a:lnTo>
                  <a:pt x="146" y="226"/>
                </a:lnTo>
                <a:lnTo>
                  <a:pt x="152" y="218"/>
                </a:lnTo>
                <a:lnTo>
                  <a:pt x="155" y="218"/>
                </a:lnTo>
                <a:lnTo>
                  <a:pt x="161" y="206"/>
                </a:lnTo>
                <a:lnTo>
                  <a:pt x="164" y="206"/>
                </a:lnTo>
                <a:lnTo>
                  <a:pt x="169" y="209"/>
                </a:lnTo>
                <a:lnTo>
                  <a:pt x="172" y="203"/>
                </a:lnTo>
                <a:lnTo>
                  <a:pt x="178" y="201"/>
                </a:lnTo>
                <a:lnTo>
                  <a:pt x="186" y="198"/>
                </a:lnTo>
                <a:lnTo>
                  <a:pt x="195" y="192"/>
                </a:lnTo>
                <a:lnTo>
                  <a:pt x="201" y="192"/>
                </a:lnTo>
                <a:lnTo>
                  <a:pt x="212" y="195"/>
                </a:lnTo>
                <a:lnTo>
                  <a:pt x="212" y="203"/>
                </a:lnTo>
                <a:lnTo>
                  <a:pt x="215" y="215"/>
                </a:lnTo>
                <a:lnTo>
                  <a:pt x="230" y="226"/>
                </a:lnTo>
                <a:lnTo>
                  <a:pt x="227" y="226"/>
                </a:lnTo>
                <a:lnTo>
                  <a:pt x="224" y="229"/>
                </a:lnTo>
                <a:lnTo>
                  <a:pt x="227" y="232"/>
                </a:lnTo>
                <a:lnTo>
                  <a:pt x="235" y="241"/>
                </a:lnTo>
                <a:lnTo>
                  <a:pt x="238" y="235"/>
                </a:lnTo>
                <a:lnTo>
                  <a:pt x="247" y="241"/>
                </a:lnTo>
                <a:lnTo>
                  <a:pt x="247" y="244"/>
                </a:lnTo>
                <a:lnTo>
                  <a:pt x="244" y="244"/>
                </a:lnTo>
                <a:lnTo>
                  <a:pt x="247" y="249"/>
                </a:lnTo>
                <a:lnTo>
                  <a:pt x="247" y="246"/>
                </a:lnTo>
                <a:lnTo>
                  <a:pt x="255" y="244"/>
                </a:lnTo>
                <a:lnTo>
                  <a:pt x="264" y="249"/>
                </a:lnTo>
                <a:lnTo>
                  <a:pt x="267" y="252"/>
                </a:lnTo>
                <a:lnTo>
                  <a:pt x="267" y="244"/>
                </a:lnTo>
                <a:lnTo>
                  <a:pt x="275" y="235"/>
                </a:lnTo>
                <a:lnTo>
                  <a:pt x="278" y="221"/>
                </a:lnTo>
                <a:lnTo>
                  <a:pt x="290" y="218"/>
                </a:lnTo>
                <a:lnTo>
                  <a:pt x="301" y="215"/>
                </a:lnTo>
                <a:lnTo>
                  <a:pt x="310" y="221"/>
                </a:lnTo>
                <a:lnTo>
                  <a:pt x="316" y="218"/>
                </a:lnTo>
                <a:lnTo>
                  <a:pt x="327" y="232"/>
                </a:lnTo>
                <a:lnTo>
                  <a:pt x="336" y="229"/>
                </a:lnTo>
                <a:lnTo>
                  <a:pt x="344" y="223"/>
                </a:lnTo>
                <a:lnTo>
                  <a:pt x="353" y="232"/>
                </a:lnTo>
                <a:lnTo>
                  <a:pt x="364" y="235"/>
                </a:lnTo>
                <a:lnTo>
                  <a:pt x="370" y="232"/>
                </a:lnTo>
                <a:lnTo>
                  <a:pt x="382" y="226"/>
                </a:lnTo>
                <a:lnTo>
                  <a:pt x="396" y="223"/>
                </a:lnTo>
                <a:lnTo>
                  <a:pt x="410" y="226"/>
                </a:lnTo>
                <a:lnTo>
                  <a:pt x="419" y="229"/>
                </a:lnTo>
                <a:lnTo>
                  <a:pt x="425" y="223"/>
                </a:lnTo>
                <a:lnTo>
                  <a:pt x="433" y="221"/>
                </a:lnTo>
                <a:lnTo>
                  <a:pt x="436" y="218"/>
                </a:lnTo>
                <a:lnTo>
                  <a:pt x="433" y="206"/>
                </a:lnTo>
                <a:lnTo>
                  <a:pt x="439" y="195"/>
                </a:lnTo>
                <a:lnTo>
                  <a:pt x="459" y="16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24" name="Freeform 329"/>
          <p:cNvSpPr>
            <a:spLocks/>
          </p:cNvSpPr>
          <p:nvPr/>
        </p:nvSpPr>
        <p:spPr bwMode="gray">
          <a:xfrm>
            <a:off x="5164930" y="3367591"/>
            <a:ext cx="272049" cy="160504"/>
          </a:xfrm>
          <a:custGeom>
            <a:avLst/>
            <a:gdLst>
              <a:gd name="T0" fmla="*/ 2147483647 w 135"/>
              <a:gd name="T1" fmla="*/ 2147483647 h 106"/>
              <a:gd name="T2" fmla="*/ 2147483647 w 135"/>
              <a:gd name="T3" fmla="*/ 2147483647 h 106"/>
              <a:gd name="T4" fmla="*/ 2147483647 w 135"/>
              <a:gd name="T5" fmla="*/ 2147483647 h 106"/>
              <a:gd name="T6" fmla="*/ 2147483647 w 135"/>
              <a:gd name="T7" fmla="*/ 2147483647 h 106"/>
              <a:gd name="T8" fmla="*/ 2147483647 w 135"/>
              <a:gd name="T9" fmla="*/ 2147483647 h 106"/>
              <a:gd name="T10" fmla="*/ 2147483647 w 135"/>
              <a:gd name="T11" fmla="*/ 2147483647 h 106"/>
              <a:gd name="T12" fmla="*/ 2147483647 w 135"/>
              <a:gd name="T13" fmla="*/ 2147483647 h 106"/>
              <a:gd name="T14" fmla="*/ 2147483647 w 135"/>
              <a:gd name="T15" fmla="*/ 2147483647 h 106"/>
              <a:gd name="T16" fmla="*/ 2147483647 w 135"/>
              <a:gd name="T17" fmla="*/ 2147483647 h 106"/>
              <a:gd name="T18" fmla="*/ 2147483647 w 135"/>
              <a:gd name="T19" fmla="*/ 2147483647 h 106"/>
              <a:gd name="T20" fmla="*/ 2147483647 w 135"/>
              <a:gd name="T21" fmla="*/ 2147483647 h 106"/>
              <a:gd name="T22" fmla="*/ 2147483647 w 135"/>
              <a:gd name="T23" fmla="*/ 2147483647 h 106"/>
              <a:gd name="T24" fmla="*/ 2147483647 w 135"/>
              <a:gd name="T25" fmla="*/ 2147483647 h 106"/>
              <a:gd name="T26" fmla="*/ 2147483647 w 135"/>
              <a:gd name="T27" fmla="*/ 2147483647 h 106"/>
              <a:gd name="T28" fmla="*/ 2147483647 w 135"/>
              <a:gd name="T29" fmla="*/ 2147483647 h 106"/>
              <a:gd name="T30" fmla="*/ 2147483647 w 135"/>
              <a:gd name="T31" fmla="*/ 2147483647 h 106"/>
              <a:gd name="T32" fmla="*/ 2147483647 w 135"/>
              <a:gd name="T33" fmla="*/ 0 h 106"/>
              <a:gd name="T34" fmla="*/ 2147483647 w 135"/>
              <a:gd name="T35" fmla="*/ 2147483647 h 106"/>
              <a:gd name="T36" fmla="*/ 2147483647 w 135"/>
              <a:gd name="T37" fmla="*/ 2147483647 h 106"/>
              <a:gd name="T38" fmla="*/ 2147483647 w 135"/>
              <a:gd name="T39" fmla="*/ 2147483647 h 106"/>
              <a:gd name="T40" fmla="*/ 2147483647 w 135"/>
              <a:gd name="T41" fmla="*/ 2147483647 h 106"/>
              <a:gd name="T42" fmla="*/ 2147483647 w 135"/>
              <a:gd name="T43" fmla="*/ 2147483647 h 106"/>
              <a:gd name="T44" fmla="*/ 2147483647 w 135"/>
              <a:gd name="T45" fmla="*/ 2147483647 h 106"/>
              <a:gd name="T46" fmla="*/ 2147483647 w 135"/>
              <a:gd name="T47" fmla="*/ 2147483647 h 106"/>
              <a:gd name="T48" fmla="*/ 2147483647 w 135"/>
              <a:gd name="T49" fmla="*/ 2147483647 h 106"/>
              <a:gd name="T50" fmla="*/ 2147483647 w 135"/>
              <a:gd name="T51" fmla="*/ 2147483647 h 106"/>
              <a:gd name="T52" fmla="*/ 2147483647 w 135"/>
              <a:gd name="T53" fmla="*/ 2147483647 h 106"/>
              <a:gd name="T54" fmla="*/ 2147483647 w 135"/>
              <a:gd name="T55" fmla="*/ 2147483647 h 106"/>
              <a:gd name="T56" fmla="*/ 2147483647 w 135"/>
              <a:gd name="T57" fmla="*/ 2147483647 h 106"/>
              <a:gd name="T58" fmla="*/ 2147483647 w 135"/>
              <a:gd name="T59" fmla="*/ 2147483647 h 106"/>
              <a:gd name="T60" fmla="*/ 2147483647 w 135"/>
              <a:gd name="T61" fmla="*/ 2147483647 h 106"/>
              <a:gd name="T62" fmla="*/ 2147483647 w 135"/>
              <a:gd name="T63" fmla="*/ 2147483647 h 106"/>
              <a:gd name="T64" fmla="*/ 2147483647 w 135"/>
              <a:gd name="T65" fmla="*/ 2147483647 h 106"/>
              <a:gd name="T66" fmla="*/ 0 w 135"/>
              <a:gd name="T67" fmla="*/ 2147483647 h 106"/>
              <a:gd name="T68" fmla="*/ 2147483647 w 135"/>
              <a:gd name="T69" fmla="*/ 2147483647 h 106"/>
              <a:gd name="T70" fmla="*/ 2147483647 w 135"/>
              <a:gd name="T71" fmla="*/ 2147483647 h 106"/>
              <a:gd name="T72" fmla="*/ 2147483647 w 135"/>
              <a:gd name="T73" fmla="*/ 2147483647 h 106"/>
              <a:gd name="T74" fmla="*/ 2147483647 w 135"/>
              <a:gd name="T75" fmla="*/ 2147483647 h 106"/>
              <a:gd name="T76" fmla="*/ 2147483647 w 135"/>
              <a:gd name="T77" fmla="*/ 2147483647 h 106"/>
              <a:gd name="T78" fmla="*/ 2147483647 w 135"/>
              <a:gd name="T79" fmla="*/ 2147483647 h 10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135"/>
              <a:gd name="T121" fmla="*/ 0 h 106"/>
              <a:gd name="T122" fmla="*/ 135 w 135"/>
              <a:gd name="T123" fmla="*/ 106 h 10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135" h="106">
                <a:moveTo>
                  <a:pt x="46" y="77"/>
                </a:moveTo>
                <a:lnTo>
                  <a:pt x="46" y="77"/>
                </a:lnTo>
                <a:lnTo>
                  <a:pt x="63" y="74"/>
                </a:lnTo>
                <a:lnTo>
                  <a:pt x="77" y="74"/>
                </a:lnTo>
                <a:lnTo>
                  <a:pt x="83" y="74"/>
                </a:lnTo>
                <a:lnTo>
                  <a:pt x="89" y="72"/>
                </a:lnTo>
                <a:lnTo>
                  <a:pt x="95" y="72"/>
                </a:lnTo>
                <a:lnTo>
                  <a:pt x="109" y="74"/>
                </a:lnTo>
                <a:lnTo>
                  <a:pt x="118" y="69"/>
                </a:lnTo>
                <a:lnTo>
                  <a:pt x="126" y="66"/>
                </a:lnTo>
                <a:lnTo>
                  <a:pt x="135" y="60"/>
                </a:lnTo>
                <a:lnTo>
                  <a:pt x="132" y="60"/>
                </a:lnTo>
                <a:lnTo>
                  <a:pt x="126" y="49"/>
                </a:lnTo>
                <a:lnTo>
                  <a:pt x="129" y="49"/>
                </a:lnTo>
                <a:lnTo>
                  <a:pt x="129" y="46"/>
                </a:lnTo>
                <a:lnTo>
                  <a:pt x="126" y="46"/>
                </a:lnTo>
                <a:lnTo>
                  <a:pt x="123" y="49"/>
                </a:lnTo>
                <a:lnTo>
                  <a:pt x="120" y="46"/>
                </a:lnTo>
                <a:lnTo>
                  <a:pt x="112" y="40"/>
                </a:lnTo>
                <a:lnTo>
                  <a:pt x="109" y="34"/>
                </a:lnTo>
                <a:lnTo>
                  <a:pt x="112" y="31"/>
                </a:lnTo>
                <a:lnTo>
                  <a:pt x="103" y="23"/>
                </a:lnTo>
                <a:lnTo>
                  <a:pt x="97" y="11"/>
                </a:lnTo>
                <a:lnTo>
                  <a:pt x="97" y="3"/>
                </a:lnTo>
                <a:lnTo>
                  <a:pt x="86" y="0"/>
                </a:lnTo>
                <a:lnTo>
                  <a:pt x="83" y="0"/>
                </a:lnTo>
                <a:lnTo>
                  <a:pt x="77" y="6"/>
                </a:lnTo>
                <a:lnTo>
                  <a:pt x="66" y="8"/>
                </a:lnTo>
                <a:lnTo>
                  <a:pt x="63" y="11"/>
                </a:lnTo>
                <a:lnTo>
                  <a:pt x="60" y="17"/>
                </a:lnTo>
                <a:lnTo>
                  <a:pt x="57" y="17"/>
                </a:lnTo>
                <a:lnTo>
                  <a:pt x="52" y="17"/>
                </a:lnTo>
                <a:lnTo>
                  <a:pt x="46" y="23"/>
                </a:lnTo>
                <a:lnTo>
                  <a:pt x="49" y="28"/>
                </a:lnTo>
                <a:lnTo>
                  <a:pt x="46" y="28"/>
                </a:lnTo>
                <a:lnTo>
                  <a:pt x="40" y="26"/>
                </a:lnTo>
                <a:lnTo>
                  <a:pt x="37" y="34"/>
                </a:lnTo>
                <a:lnTo>
                  <a:pt x="31" y="37"/>
                </a:lnTo>
                <a:lnTo>
                  <a:pt x="31" y="34"/>
                </a:lnTo>
                <a:lnTo>
                  <a:pt x="26" y="31"/>
                </a:lnTo>
                <a:lnTo>
                  <a:pt x="23" y="37"/>
                </a:lnTo>
                <a:lnTo>
                  <a:pt x="23" y="43"/>
                </a:lnTo>
                <a:lnTo>
                  <a:pt x="17" y="46"/>
                </a:lnTo>
                <a:lnTo>
                  <a:pt x="17" y="54"/>
                </a:lnTo>
                <a:lnTo>
                  <a:pt x="17" y="57"/>
                </a:lnTo>
                <a:lnTo>
                  <a:pt x="14" y="60"/>
                </a:lnTo>
                <a:lnTo>
                  <a:pt x="11" y="63"/>
                </a:lnTo>
                <a:lnTo>
                  <a:pt x="8" y="63"/>
                </a:lnTo>
                <a:lnTo>
                  <a:pt x="3" y="63"/>
                </a:lnTo>
                <a:lnTo>
                  <a:pt x="6" y="69"/>
                </a:lnTo>
                <a:lnTo>
                  <a:pt x="0" y="77"/>
                </a:lnTo>
                <a:lnTo>
                  <a:pt x="0" y="86"/>
                </a:lnTo>
                <a:lnTo>
                  <a:pt x="6" y="92"/>
                </a:lnTo>
                <a:lnTo>
                  <a:pt x="11" y="97"/>
                </a:lnTo>
                <a:lnTo>
                  <a:pt x="17" y="103"/>
                </a:lnTo>
                <a:lnTo>
                  <a:pt x="29" y="97"/>
                </a:lnTo>
                <a:lnTo>
                  <a:pt x="40" y="97"/>
                </a:lnTo>
                <a:lnTo>
                  <a:pt x="46" y="106"/>
                </a:lnTo>
                <a:lnTo>
                  <a:pt x="43" y="86"/>
                </a:lnTo>
                <a:lnTo>
                  <a:pt x="46" y="7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25" name="Freeform 330"/>
          <p:cNvSpPr>
            <a:spLocks/>
          </p:cNvSpPr>
          <p:nvPr/>
        </p:nvSpPr>
        <p:spPr bwMode="gray">
          <a:xfrm>
            <a:off x="5763039" y="3981108"/>
            <a:ext cx="422075" cy="361510"/>
          </a:xfrm>
          <a:custGeom>
            <a:avLst/>
            <a:gdLst>
              <a:gd name="T0" fmla="*/ 2147483647 w 209"/>
              <a:gd name="T1" fmla="*/ 2147483647 h 238"/>
              <a:gd name="T2" fmla="*/ 2147483647 w 209"/>
              <a:gd name="T3" fmla="*/ 2147483647 h 238"/>
              <a:gd name="T4" fmla="*/ 2147483647 w 209"/>
              <a:gd name="T5" fmla="*/ 2147483647 h 238"/>
              <a:gd name="T6" fmla="*/ 2147483647 w 209"/>
              <a:gd name="T7" fmla="*/ 2147483647 h 238"/>
              <a:gd name="T8" fmla="*/ 2147483647 w 209"/>
              <a:gd name="T9" fmla="*/ 2147483647 h 238"/>
              <a:gd name="T10" fmla="*/ 2147483647 w 209"/>
              <a:gd name="T11" fmla="*/ 2147483647 h 238"/>
              <a:gd name="T12" fmla="*/ 2147483647 w 209"/>
              <a:gd name="T13" fmla="*/ 2147483647 h 238"/>
              <a:gd name="T14" fmla="*/ 2147483647 w 209"/>
              <a:gd name="T15" fmla="*/ 2147483647 h 238"/>
              <a:gd name="T16" fmla="*/ 2147483647 w 209"/>
              <a:gd name="T17" fmla="*/ 2147483647 h 238"/>
              <a:gd name="T18" fmla="*/ 2147483647 w 209"/>
              <a:gd name="T19" fmla="*/ 2147483647 h 238"/>
              <a:gd name="T20" fmla="*/ 2147483647 w 209"/>
              <a:gd name="T21" fmla="*/ 2147483647 h 238"/>
              <a:gd name="T22" fmla="*/ 2147483647 w 209"/>
              <a:gd name="T23" fmla="*/ 2147483647 h 238"/>
              <a:gd name="T24" fmla="*/ 2147483647 w 209"/>
              <a:gd name="T25" fmla="*/ 2147483647 h 238"/>
              <a:gd name="T26" fmla="*/ 2147483647 w 209"/>
              <a:gd name="T27" fmla="*/ 2147483647 h 238"/>
              <a:gd name="T28" fmla="*/ 2147483647 w 209"/>
              <a:gd name="T29" fmla="*/ 2147483647 h 238"/>
              <a:gd name="T30" fmla="*/ 2147483647 w 209"/>
              <a:gd name="T31" fmla="*/ 2147483647 h 238"/>
              <a:gd name="T32" fmla="*/ 2147483647 w 209"/>
              <a:gd name="T33" fmla="*/ 2147483647 h 238"/>
              <a:gd name="T34" fmla="*/ 2147483647 w 209"/>
              <a:gd name="T35" fmla="*/ 2147483647 h 238"/>
              <a:gd name="T36" fmla="*/ 2147483647 w 209"/>
              <a:gd name="T37" fmla="*/ 2147483647 h 238"/>
              <a:gd name="T38" fmla="*/ 2147483647 w 209"/>
              <a:gd name="T39" fmla="*/ 2147483647 h 238"/>
              <a:gd name="T40" fmla="*/ 2147483647 w 209"/>
              <a:gd name="T41" fmla="*/ 2147483647 h 238"/>
              <a:gd name="T42" fmla="*/ 2147483647 w 209"/>
              <a:gd name="T43" fmla="*/ 2147483647 h 238"/>
              <a:gd name="T44" fmla="*/ 2147483647 w 209"/>
              <a:gd name="T45" fmla="*/ 2147483647 h 238"/>
              <a:gd name="T46" fmla="*/ 2147483647 w 209"/>
              <a:gd name="T47" fmla="*/ 2147483647 h 238"/>
              <a:gd name="T48" fmla="*/ 2147483647 w 209"/>
              <a:gd name="T49" fmla="*/ 2147483647 h 238"/>
              <a:gd name="T50" fmla="*/ 2147483647 w 209"/>
              <a:gd name="T51" fmla="*/ 2147483647 h 238"/>
              <a:gd name="T52" fmla="*/ 2147483647 w 209"/>
              <a:gd name="T53" fmla="*/ 2147483647 h 238"/>
              <a:gd name="T54" fmla="*/ 2147483647 w 209"/>
              <a:gd name="T55" fmla="*/ 2147483647 h 238"/>
              <a:gd name="T56" fmla="*/ 2147483647 w 209"/>
              <a:gd name="T57" fmla="*/ 2147483647 h 238"/>
              <a:gd name="T58" fmla="*/ 2147483647 w 209"/>
              <a:gd name="T59" fmla="*/ 2147483647 h 238"/>
              <a:gd name="T60" fmla="*/ 2147483647 w 209"/>
              <a:gd name="T61" fmla="*/ 2147483647 h 238"/>
              <a:gd name="T62" fmla="*/ 2147483647 w 209"/>
              <a:gd name="T63" fmla="*/ 2147483647 h 238"/>
              <a:gd name="T64" fmla="*/ 2147483647 w 209"/>
              <a:gd name="T65" fmla="*/ 2147483647 h 238"/>
              <a:gd name="T66" fmla="*/ 2147483647 w 209"/>
              <a:gd name="T67" fmla="*/ 2147483647 h 238"/>
              <a:gd name="T68" fmla="*/ 2147483647 w 209"/>
              <a:gd name="T69" fmla="*/ 2147483647 h 238"/>
              <a:gd name="T70" fmla="*/ 2147483647 w 209"/>
              <a:gd name="T71" fmla="*/ 2147483647 h 238"/>
              <a:gd name="T72" fmla="*/ 2147483647 w 209"/>
              <a:gd name="T73" fmla="*/ 2147483647 h 238"/>
              <a:gd name="T74" fmla="*/ 2147483647 w 209"/>
              <a:gd name="T75" fmla="*/ 2147483647 h 238"/>
              <a:gd name="T76" fmla="*/ 2147483647 w 209"/>
              <a:gd name="T77" fmla="*/ 2147483647 h 238"/>
              <a:gd name="T78" fmla="*/ 2147483647 w 209"/>
              <a:gd name="T79" fmla="*/ 2147483647 h 238"/>
              <a:gd name="T80" fmla="*/ 2147483647 w 209"/>
              <a:gd name="T81" fmla="*/ 2147483647 h 238"/>
              <a:gd name="T82" fmla="*/ 2147483647 w 209"/>
              <a:gd name="T83" fmla="*/ 2147483647 h 238"/>
              <a:gd name="T84" fmla="*/ 2147483647 w 209"/>
              <a:gd name="T85" fmla="*/ 0 h 238"/>
              <a:gd name="T86" fmla="*/ 2147483647 w 209"/>
              <a:gd name="T87" fmla="*/ 2147483647 h 238"/>
              <a:gd name="T88" fmla="*/ 2147483647 w 209"/>
              <a:gd name="T89" fmla="*/ 2147483647 h 238"/>
              <a:gd name="T90" fmla="*/ 2147483647 w 209"/>
              <a:gd name="T91" fmla="*/ 2147483647 h 238"/>
              <a:gd name="T92" fmla="*/ 2147483647 w 209"/>
              <a:gd name="T93" fmla="*/ 2147483647 h 238"/>
              <a:gd name="T94" fmla="*/ 2147483647 w 209"/>
              <a:gd name="T95" fmla="*/ 2147483647 h 238"/>
              <a:gd name="T96" fmla="*/ 2147483647 w 209"/>
              <a:gd name="T97" fmla="*/ 2147483647 h 238"/>
              <a:gd name="T98" fmla="*/ 2147483647 w 209"/>
              <a:gd name="T99" fmla="*/ 2147483647 h 238"/>
              <a:gd name="T100" fmla="*/ 2147483647 w 209"/>
              <a:gd name="T101" fmla="*/ 2147483647 h 238"/>
              <a:gd name="T102" fmla="*/ 2147483647 w 209"/>
              <a:gd name="T103" fmla="*/ 2147483647 h 238"/>
              <a:gd name="T104" fmla="*/ 2147483647 w 209"/>
              <a:gd name="T105" fmla="*/ 2147483647 h 238"/>
              <a:gd name="T106" fmla="*/ 2147483647 w 209"/>
              <a:gd name="T107" fmla="*/ 2147483647 h 238"/>
              <a:gd name="T108" fmla="*/ 2147483647 w 209"/>
              <a:gd name="T109" fmla="*/ 2147483647 h 238"/>
              <a:gd name="T110" fmla="*/ 2147483647 w 209"/>
              <a:gd name="T111" fmla="*/ 2147483647 h 238"/>
              <a:gd name="T112" fmla="*/ 2147483647 w 209"/>
              <a:gd name="T113" fmla="*/ 2147483647 h 238"/>
              <a:gd name="T114" fmla="*/ 2147483647 w 209"/>
              <a:gd name="T115" fmla="*/ 2147483647 h 238"/>
              <a:gd name="T116" fmla="*/ 0 w 209"/>
              <a:gd name="T117" fmla="*/ 2147483647 h 238"/>
              <a:gd name="T118" fmla="*/ 0 w 209"/>
              <a:gd name="T119" fmla="*/ 2147483647 h 23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209"/>
              <a:gd name="T181" fmla="*/ 0 h 238"/>
              <a:gd name="T182" fmla="*/ 209 w 209"/>
              <a:gd name="T183" fmla="*/ 238 h 238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209" h="238">
                <a:moveTo>
                  <a:pt x="0" y="221"/>
                </a:moveTo>
                <a:lnTo>
                  <a:pt x="5" y="218"/>
                </a:lnTo>
                <a:lnTo>
                  <a:pt x="14" y="221"/>
                </a:lnTo>
                <a:lnTo>
                  <a:pt x="22" y="218"/>
                </a:lnTo>
                <a:lnTo>
                  <a:pt x="31" y="221"/>
                </a:lnTo>
                <a:lnTo>
                  <a:pt x="40" y="226"/>
                </a:lnTo>
                <a:lnTo>
                  <a:pt x="114" y="224"/>
                </a:lnTo>
                <a:lnTo>
                  <a:pt x="126" y="232"/>
                </a:lnTo>
                <a:lnTo>
                  <a:pt x="137" y="235"/>
                </a:lnTo>
                <a:lnTo>
                  <a:pt x="143" y="232"/>
                </a:lnTo>
                <a:lnTo>
                  <a:pt x="152" y="238"/>
                </a:lnTo>
                <a:lnTo>
                  <a:pt x="157" y="232"/>
                </a:lnTo>
                <a:lnTo>
                  <a:pt x="160" y="235"/>
                </a:lnTo>
                <a:lnTo>
                  <a:pt x="166" y="235"/>
                </a:lnTo>
                <a:lnTo>
                  <a:pt x="189" y="229"/>
                </a:lnTo>
                <a:lnTo>
                  <a:pt x="172" y="203"/>
                </a:lnTo>
                <a:lnTo>
                  <a:pt x="172" y="137"/>
                </a:lnTo>
                <a:lnTo>
                  <a:pt x="206" y="137"/>
                </a:lnTo>
                <a:lnTo>
                  <a:pt x="209" y="129"/>
                </a:lnTo>
                <a:lnTo>
                  <a:pt x="206" y="126"/>
                </a:lnTo>
                <a:lnTo>
                  <a:pt x="206" y="114"/>
                </a:lnTo>
                <a:lnTo>
                  <a:pt x="206" y="103"/>
                </a:lnTo>
                <a:lnTo>
                  <a:pt x="200" y="100"/>
                </a:lnTo>
                <a:lnTo>
                  <a:pt x="195" y="106"/>
                </a:lnTo>
                <a:lnTo>
                  <a:pt x="186" y="103"/>
                </a:lnTo>
                <a:lnTo>
                  <a:pt x="177" y="109"/>
                </a:lnTo>
                <a:lnTo>
                  <a:pt x="177" y="106"/>
                </a:lnTo>
                <a:lnTo>
                  <a:pt x="175" y="97"/>
                </a:lnTo>
                <a:lnTo>
                  <a:pt x="175" y="94"/>
                </a:lnTo>
                <a:lnTo>
                  <a:pt x="177" y="89"/>
                </a:lnTo>
                <a:lnTo>
                  <a:pt x="177" y="86"/>
                </a:lnTo>
                <a:lnTo>
                  <a:pt x="175" y="80"/>
                </a:lnTo>
                <a:lnTo>
                  <a:pt x="172" y="77"/>
                </a:lnTo>
                <a:lnTo>
                  <a:pt x="169" y="69"/>
                </a:lnTo>
                <a:lnTo>
                  <a:pt x="172" y="66"/>
                </a:lnTo>
                <a:lnTo>
                  <a:pt x="172" y="48"/>
                </a:lnTo>
                <a:lnTo>
                  <a:pt x="172" y="46"/>
                </a:lnTo>
                <a:lnTo>
                  <a:pt x="169" y="40"/>
                </a:lnTo>
                <a:lnTo>
                  <a:pt x="169" y="34"/>
                </a:lnTo>
                <a:lnTo>
                  <a:pt x="169" y="31"/>
                </a:lnTo>
                <a:lnTo>
                  <a:pt x="152" y="31"/>
                </a:lnTo>
                <a:lnTo>
                  <a:pt x="149" y="31"/>
                </a:lnTo>
                <a:lnTo>
                  <a:pt x="149" y="28"/>
                </a:lnTo>
                <a:lnTo>
                  <a:pt x="152" y="23"/>
                </a:lnTo>
                <a:lnTo>
                  <a:pt x="146" y="23"/>
                </a:lnTo>
                <a:lnTo>
                  <a:pt x="132" y="25"/>
                </a:lnTo>
                <a:lnTo>
                  <a:pt x="132" y="37"/>
                </a:lnTo>
                <a:lnTo>
                  <a:pt x="129" y="43"/>
                </a:lnTo>
                <a:lnTo>
                  <a:pt x="126" y="46"/>
                </a:lnTo>
                <a:lnTo>
                  <a:pt x="123" y="46"/>
                </a:lnTo>
                <a:lnTo>
                  <a:pt x="123" y="43"/>
                </a:lnTo>
                <a:lnTo>
                  <a:pt x="117" y="40"/>
                </a:lnTo>
                <a:lnTo>
                  <a:pt x="111" y="46"/>
                </a:lnTo>
                <a:lnTo>
                  <a:pt x="109" y="46"/>
                </a:lnTo>
                <a:lnTo>
                  <a:pt x="103" y="46"/>
                </a:lnTo>
                <a:lnTo>
                  <a:pt x="100" y="46"/>
                </a:lnTo>
                <a:lnTo>
                  <a:pt x="86" y="28"/>
                </a:lnTo>
                <a:lnTo>
                  <a:pt x="86" y="20"/>
                </a:lnTo>
                <a:lnTo>
                  <a:pt x="80" y="2"/>
                </a:lnTo>
                <a:lnTo>
                  <a:pt x="20" y="0"/>
                </a:lnTo>
                <a:lnTo>
                  <a:pt x="14" y="5"/>
                </a:lnTo>
                <a:lnTo>
                  <a:pt x="11" y="8"/>
                </a:lnTo>
                <a:lnTo>
                  <a:pt x="20" y="31"/>
                </a:lnTo>
                <a:lnTo>
                  <a:pt x="25" y="51"/>
                </a:lnTo>
                <a:lnTo>
                  <a:pt x="28" y="54"/>
                </a:lnTo>
                <a:lnTo>
                  <a:pt x="25" y="60"/>
                </a:lnTo>
                <a:lnTo>
                  <a:pt x="20" y="66"/>
                </a:lnTo>
                <a:lnTo>
                  <a:pt x="22" y="71"/>
                </a:lnTo>
                <a:lnTo>
                  <a:pt x="31" y="89"/>
                </a:lnTo>
                <a:lnTo>
                  <a:pt x="34" y="94"/>
                </a:lnTo>
                <a:lnTo>
                  <a:pt x="34" y="100"/>
                </a:lnTo>
                <a:lnTo>
                  <a:pt x="34" y="117"/>
                </a:lnTo>
                <a:lnTo>
                  <a:pt x="34" y="126"/>
                </a:lnTo>
                <a:lnTo>
                  <a:pt x="31" y="129"/>
                </a:lnTo>
                <a:lnTo>
                  <a:pt x="22" y="132"/>
                </a:lnTo>
                <a:lnTo>
                  <a:pt x="20" y="137"/>
                </a:lnTo>
                <a:lnTo>
                  <a:pt x="14" y="143"/>
                </a:lnTo>
                <a:lnTo>
                  <a:pt x="11" y="149"/>
                </a:lnTo>
                <a:lnTo>
                  <a:pt x="8" y="160"/>
                </a:lnTo>
                <a:lnTo>
                  <a:pt x="5" y="178"/>
                </a:lnTo>
                <a:lnTo>
                  <a:pt x="2" y="186"/>
                </a:lnTo>
                <a:lnTo>
                  <a:pt x="0" y="198"/>
                </a:lnTo>
                <a:lnTo>
                  <a:pt x="0" y="22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26" name="Freeform 331"/>
          <p:cNvSpPr>
            <a:spLocks/>
          </p:cNvSpPr>
          <p:nvPr/>
        </p:nvSpPr>
        <p:spPr bwMode="gray">
          <a:xfrm>
            <a:off x="4792864" y="1884051"/>
            <a:ext cx="292053" cy="82503"/>
          </a:xfrm>
          <a:custGeom>
            <a:avLst/>
            <a:gdLst>
              <a:gd name="T0" fmla="*/ 2147483647 w 144"/>
              <a:gd name="T1" fmla="*/ 2147483647 h 54"/>
              <a:gd name="T2" fmla="*/ 2147483647 w 144"/>
              <a:gd name="T3" fmla="*/ 2147483647 h 54"/>
              <a:gd name="T4" fmla="*/ 2147483647 w 144"/>
              <a:gd name="T5" fmla="*/ 2147483647 h 54"/>
              <a:gd name="T6" fmla="*/ 2147483647 w 144"/>
              <a:gd name="T7" fmla="*/ 2147483647 h 54"/>
              <a:gd name="T8" fmla="*/ 2147483647 w 144"/>
              <a:gd name="T9" fmla="*/ 2147483647 h 54"/>
              <a:gd name="T10" fmla="*/ 2147483647 w 144"/>
              <a:gd name="T11" fmla="*/ 2147483647 h 54"/>
              <a:gd name="T12" fmla="*/ 2147483647 w 144"/>
              <a:gd name="T13" fmla="*/ 2147483647 h 54"/>
              <a:gd name="T14" fmla="*/ 2147483647 w 144"/>
              <a:gd name="T15" fmla="*/ 2147483647 h 54"/>
              <a:gd name="T16" fmla="*/ 2147483647 w 144"/>
              <a:gd name="T17" fmla="*/ 2147483647 h 54"/>
              <a:gd name="T18" fmla="*/ 2147483647 w 144"/>
              <a:gd name="T19" fmla="*/ 2147483647 h 54"/>
              <a:gd name="T20" fmla="*/ 2147483647 w 144"/>
              <a:gd name="T21" fmla="*/ 2147483647 h 54"/>
              <a:gd name="T22" fmla="*/ 2147483647 w 144"/>
              <a:gd name="T23" fmla="*/ 2147483647 h 54"/>
              <a:gd name="T24" fmla="*/ 2147483647 w 144"/>
              <a:gd name="T25" fmla="*/ 2147483647 h 54"/>
              <a:gd name="T26" fmla="*/ 2147483647 w 144"/>
              <a:gd name="T27" fmla="*/ 2147483647 h 54"/>
              <a:gd name="T28" fmla="*/ 2147483647 w 144"/>
              <a:gd name="T29" fmla="*/ 2147483647 h 54"/>
              <a:gd name="T30" fmla="*/ 2147483647 w 144"/>
              <a:gd name="T31" fmla="*/ 2147483647 h 54"/>
              <a:gd name="T32" fmla="*/ 2147483647 w 144"/>
              <a:gd name="T33" fmla="*/ 2147483647 h 54"/>
              <a:gd name="T34" fmla="*/ 2147483647 w 144"/>
              <a:gd name="T35" fmla="*/ 2147483647 h 54"/>
              <a:gd name="T36" fmla="*/ 2147483647 w 144"/>
              <a:gd name="T37" fmla="*/ 2147483647 h 54"/>
              <a:gd name="T38" fmla="*/ 2147483647 w 144"/>
              <a:gd name="T39" fmla="*/ 2147483647 h 54"/>
              <a:gd name="T40" fmla="*/ 2147483647 w 144"/>
              <a:gd name="T41" fmla="*/ 2147483647 h 54"/>
              <a:gd name="T42" fmla="*/ 2147483647 w 144"/>
              <a:gd name="T43" fmla="*/ 0 h 54"/>
              <a:gd name="T44" fmla="*/ 2147483647 w 144"/>
              <a:gd name="T45" fmla="*/ 2147483647 h 54"/>
              <a:gd name="T46" fmla="*/ 2147483647 w 144"/>
              <a:gd name="T47" fmla="*/ 2147483647 h 54"/>
              <a:gd name="T48" fmla="*/ 2147483647 w 144"/>
              <a:gd name="T49" fmla="*/ 2147483647 h 54"/>
              <a:gd name="T50" fmla="*/ 2147483647 w 144"/>
              <a:gd name="T51" fmla="*/ 2147483647 h 54"/>
              <a:gd name="T52" fmla="*/ 2147483647 w 144"/>
              <a:gd name="T53" fmla="*/ 2147483647 h 54"/>
              <a:gd name="T54" fmla="*/ 2147483647 w 144"/>
              <a:gd name="T55" fmla="*/ 2147483647 h 54"/>
              <a:gd name="T56" fmla="*/ 2147483647 w 144"/>
              <a:gd name="T57" fmla="*/ 2147483647 h 54"/>
              <a:gd name="T58" fmla="*/ 2147483647 w 144"/>
              <a:gd name="T59" fmla="*/ 2147483647 h 54"/>
              <a:gd name="T60" fmla="*/ 2147483647 w 144"/>
              <a:gd name="T61" fmla="*/ 2147483647 h 54"/>
              <a:gd name="T62" fmla="*/ 2147483647 w 144"/>
              <a:gd name="T63" fmla="*/ 2147483647 h 54"/>
              <a:gd name="T64" fmla="*/ 2147483647 w 144"/>
              <a:gd name="T65" fmla="*/ 2147483647 h 54"/>
              <a:gd name="T66" fmla="*/ 2147483647 w 144"/>
              <a:gd name="T67" fmla="*/ 2147483647 h 54"/>
              <a:gd name="T68" fmla="*/ 2147483647 w 144"/>
              <a:gd name="T69" fmla="*/ 2147483647 h 54"/>
              <a:gd name="T70" fmla="*/ 2147483647 w 144"/>
              <a:gd name="T71" fmla="*/ 2147483647 h 54"/>
              <a:gd name="T72" fmla="*/ 2147483647 w 144"/>
              <a:gd name="T73" fmla="*/ 2147483647 h 54"/>
              <a:gd name="T74" fmla="*/ 2147483647 w 144"/>
              <a:gd name="T75" fmla="*/ 2147483647 h 54"/>
              <a:gd name="T76" fmla="*/ 2147483647 w 144"/>
              <a:gd name="T77" fmla="*/ 2147483647 h 54"/>
              <a:gd name="T78" fmla="*/ 2147483647 w 144"/>
              <a:gd name="T79" fmla="*/ 2147483647 h 54"/>
              <a:gd name="T80" fmla="*/ 2147483647 w 144"/>
              <a:gd name="T81" fmla="*/ 2147483647 h 54"/>
              <a:gd name="T82" fmla="*/ 2147483647 w 144"/>
              <a:gd name="T83" fmla="*/ 0 h 54"/>
              <a:gd name="T84" fmla="*/ 2147483647 w 144"/>
              <a:gd name="T85" fmla="*/ 2147483647 h 54"/>
              <a:gd name="T86" fmla="*/ 2147483647 w 144"/>
              <a:gd name="T87" fmla="*/ 2147483647 h 54"/>
              <a:gd name="T88" fmla="*/ 0 w 144"/>
              <a:gd name="T89" fmla="*/ 2147483647 h 54"/>
              <a:gd name="T90" fmla="*/ 2147483647 w 144"/>
              <a:gd name="T91" fmla="*/ 2147483647 h 54"/>
              <a:gd name="T92" fmla="*/ 2147483647 w 144"/>
              <a:gd name="T93" fmla="*/ 2147483647 h 54"/>
              <a:gd name="T94" fmla="*/ 2147483647 w 144"/>
              <a:gd name="T95" fmla="*/ 2147483647 h 54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144"/>
              <a:gd name="T145" fmla="*/ 0 h 54"/>
              <a:gd name="T146" fmla="*/ 144 w 144"/>
              <a:gd name="T147" fmla="*/ 54 h 54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144" h="54">
                <a:moveTo>
                  <a:pt x="26" y="26"/>
                </a:moveTo>
                <a:lnTo>
                  <a:pt x="14" y="26"/>
                </a:lnTo>
                <a:lnTo>
                  <a:pt x="0" y="31"/>
                </a:lnTo>
                <a:lnTo>
                  <a:pt x="9" y="34"/>
                </a:lnTo>
                <a:lnTo>
                  <a:pt x="17" y="31"/>
                </a:lnTo>
                <a:lnTo>
                  <a:pt x="23" y="34"/>
                </a:lnTo>
                <a:lnTo>
                  <a:pt x="26" y="40"/>
                </a:lnTo>
                <a:lnTo>
                  <a:pt x="23" y="46"/>
                </a:lnTo>
                <a:lnTo>
                  <a:pt x="14" y="46"/>
                </a:lnTo>
                <a:lnTo>
                  <a:pt x="14" y="49"/>
                </a:lnTo>
                <a:lnTo>
                  <a:pt x="26" y="49"/>
                </a:lnTo>
                <a:lnTo>
                  <a:pt x="35" y="49"/>
                </a:lnTo>
                <a:lnTo>
                  <a:pt x="43" y="51"/>
                </a:lnTo>
                <a:lnTo>
                  <a:pt x="52" y="54"/>
                </a:lnTo>
                <a:lnTo>
                  <a:pt x="66" y="54"/>
                </a:lnTo>
                <a:lnTo>
                  <a:pt x="72" y="54"/>
                </a:lnTo>
                <a:lnTo>
                  <a:pt x="78" y="54"/>
                </a:lnTo>
                <a:lnTo>
                  <a:pt x="86" y="49"/>
                </a:lnTo>
                <a:lnTo>
                  <a:pt x="95" y="49"/>
                </a:lnTo>
                <a:lnTo>
                  <a:pt x="101" y="46"/>
                </a:lnTo>
                <a:lnTo>
                  <a:pt x="112" y="40"/>
                </a:lnTo>
                <a:lnTo>
                  <a:pt x="121" y="40"/>
                </a:lnTo>
                <a:lnTo>
                  <a:pt x="126" y="34"/>
                </a:lnTo>
                <a:lnTo>
                  <a:pt x="132" y="31"/>
                </a:lnTo>
                <a:lnTo>
                  <a:pt x="141" y="28"/>
                </a:lnTo>
                <a:lnTo>
                  <a:pt x="144" y="26"/>
                </a:lnTo>
                <a:lnTo>
                  <a:pt x="144" y="20"/>
                </a:lnTo>
                <a:lnTo>
                  <a:pt x="138" y="14"/>
                </a:lnTo>
                <a:lnTo>
                  <a:pt x="132" y="14"/>
                </a:lnTo>
                <a:lnTo>
                  <a:pt x="126" y="8"/>
                </a:lnTo>
                <a:lnTo>
                  <a:pt x="132" y="6"/>
                </a:lnTo>
                <a:lnTo>
                  <a:pt x="132" y="3"/>
                </a:lnTo>
                <a:lnTo>
                  <a:pt x="121" y="6"/>
                </a:lnTo>
                <a:lnTo>
                  <a:pt x="115" y="0"/>
                </a:lnTo>
                <a:lnTo>
                  <a:pt x="106" y="3"/>
                </a:lnTo>
                <a:lnTo>
                  <a:pt x="103" y="8"/>
                </a:lnTo>
                <a:lnTo>
                  <a:pt x="101" y="6"/>
                </a:lnTo>
                <a:lnTo>
                  <a:pt x="98" y="6"/>
                </a:lnTo>
                <a:lnTo>
                  <a:pt x="92" y="8"/>
                </a:lnTo>
                <a:lnTo>
                  <a:pt x="89" y="6"/>
                </a:lnTo>
                <a:lnTo>
                  <a:pt x="83" y="6"/>
                </a:lnTo>
                <a:lnTo>
                  <a:pt x="83" y="8"/>
                </a:lnTo>
                <a:lnTo>
                  <a:pt x="81" y="11"/>
                </a:lnTo>
                <a:lnTo>
                  <a:pt x="78" y="8"/>
                </a:lnTo>
                <a:lnTo>
                  <a:pt x="69" y="8"/>
                </a:lnTo>
                <a:lnTo>
                  <a:pt x="69" y="11"/>
                </a:lnTo>
                <a:lnTo>
                  <a:pt x="66" y="14"/>
                </a:lnTo>
                <a:lnTo>
                  <a:pt x="63" y="11"/>
                </a:lnTo>
                <a:lnTo>
                  <a:pt x="58" y="6"/>
                </a:lnTo>
                <a:lnTo>
                  <a:pt x="55" y="14"/>
                </a:lnTo>
                <a:lnTo>
                  <a:pt x="52" y="17"/>
                </a:lnTo>
                <a:lnTo>
                  <a:pt x="49" y="14"/>
                </a:lnTo>
                <a:lnTo>
                  <a:pt x="49" y="17"/>
                </a:lnTo>
                <a:lnTo>
                  <a:pt x="46" y="20"/>
                </a:lnTo>
                <a:lnTo>
                  <a:pt x="40" y="20"/>
                </a:lnTo>
                <a:lnTo>
                  <a:pt x="40" y="17"/>
                </a:lnTo>
                <a:lnTo>
                  <a:pt x="43" y="11"/>
                </a:lnTo>
                <a:lnTo>
                  <a:pt x="43" y="8"/>
                </a:lnTo>
                <a:lnTo>
                  <a:pt x="37" y="6"/>
                </a:lnTo>
                <a:lnTo>
                  <a:pt x="32" y="3"/>
                </a:lnTo>
                <a:lnTo>
                  <a:pt x="23" y="0"/>
                </a:lnTo>
                <a:lnTo>
                  <a:pt x="23" y="6"/>
                </a:lnTo>
                <a:lnTo>
                  <a:pt x="23" y="8"/>
                </a:lnTo>
                <a:lnTo>
                  <a:pt x="17" y="6"/>
                </a:lnTo>
                <a:lnTo>
                  <a:pt x="9" y="11"/>
                </a:lnTo>
                <a:lnTo>
                  <a:pt x="3" y="14"/>
                </a:lnTo>
                <a:lnTo>
                  <a:pt x="0" y="17"/>
                </a:lnTo>
                <a:lnTo>
                  <a:pt x="6" y="20"/>
                </a:lnTo>
                <a:lnTo>
                  <a:pt x="14" y="20"/>
                </a:lnTo>
                <a:lnTo>
                  <a:pt x="20" y="17"/>
                </a:lnTo>
                <a:lnTo>
                  <a:pt x="26" y="20"/>
                </a:lnTo>
                <a:lnTo>
                  <a:pt x="26" y="23"/>
                </a:lnTo>
                <a:lnTo>
                  <a:pt x="26" y="2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27" name="Freeform 332"/>
          <p:cNvSpPr>
            <a:spLocks/>
          </p:cNvSpPr>
          <p:nvPr/>
        </p:nvSpPr>
        <p:spPr bwMode="gray">
          <a:xfrm>
            <a:off x="5767040" y="3942107"/>
            <a:ext cx="36006" cy="34501"/>
          </a:xfrm>
          <a:custGeom>
            <a:avLst/>
            <a:gdLst>
              <a:gd name="T0" fmla="*/ 2147483647 w 18"/>
              <a:gd name="T1" fmla="*/ 2147483647 h 23"/>
              <a:gd name="T2" fmla="*/ 2147483647 w 18"/>
              <a:gd name="T3" fmla="*/ 2147483647 h 23"/>
              <a:gd name="T4" fmla="*/ 2147483647 w 18"/>
              <a:gd name="T5" fmla="*/ 2147483647 h 23"/>
              <a:gd name="T6" fmla="*/ 2147483647 w 18"/>
              <a:gd name="T7" fmla="*/ 2147483647 h 23"/>
              <a:gd name="T8" fmla="*/ 2147483647 w 18"/>
              <a:gd name="T9" fmla="*/ 0 h 23"/>
              <a:gd name="T10" fmla="*/ 2147483647 w 18"/>
              <a:gd name="T11" fmla="*/ 2147483647 h 23"/>
              <a:gd name="T12" fmla="*/ 0 w 18"/>
              <a:gd name="T13" fmla="*/ 2147483647 h 23"/>
              <a:gd name="T14" fmla="*/ 0 w 18"/>
              <a:gd name="T15" fmla="*/ 2147483647 h 23"/>
              <a:gd name="T16" fmla="*/ 2147483647 w 18"/>
              <a:gd name="T17" fmla="*/ 2147483647 h 23"/>
              <a:gd name="T18" fmla="*/ 2147483647 w 18"/>
              <a:gd name="T19" fmla="*/ 2147483647 h 23"/>
              <a:gd name="T20" fmla="*/ 2147483647 w 18"/>
              <a:gd name="T21" fmla="*/ 2147483647 h 23"/>
              <a:gd name="T22" fmla="*/ 2147483647 w 18"/>
              <a:gd name="T23" fmla="*/ 2147483647 h 2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8"/>
              <a:gd name="T37" fmla="*/ 0 h 23"/>
              <a:gd name="T38" fmla="*/ 18 w 18"/>
              <a:gd name="T39" fmla="*/ 23 h 23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8" h="23">
                <a:moveTo>
                  <a:pt x="9" y="23"/>
                </a:moveTo>
                <a:lnTo>
                  <a:pt x="9" y="20"/>
                </a:lnTo>
                <a:lnTo>
                  <a:pt x="9" y="8"/>
                </a:lnTo>
                <a:lnTo>
                  <a:pt x="18" y="3"/>
                </a:lnTo>
                <a:lnTo>
                  <a:pt x="15" y="0"/>
                </a:lnTo>
                <a:lnTo>
                  <a:pt x="9" y="6"/>
                </a:lnTo>
                <a:lnTo>
                  <a:pt x="0" y="8"/>
                </a:lnTo>
                <a:lnTo>
                  <a:pt x="6" y="17"/>
                </a:lnTo>
                <a:lnTo>
                  <a:pt x="6" y="23"/>
                </a:lnTo>
                <a:lnTo>
                  <a:pt x="9" y="2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28" name="Freeform 333"/>
          <p:cNvSpPr>
            <a:spLocks/>
          </p:cNvSpPr>
          <p:nvPr/>
        </p:nvSpPr>
        <p:spPr bwMode="gray">
          <a:xfrm>
            <a:off x="5681023" y="3747102"/>
            <a:ext cx="64012" cy="34501"/>
          </a:xfrm>
          <a:custGeom>
            <a:avLst/>
            <a:gdLst>
              <a:gd name="T0" fmla="*/ 2147483647 w 32"/>
              <a:gd name="T1" fmla="*/ 2147483647 h 23"/>
              <a:gd name="T2" fmla="*/ 2147483647 w 32"/>
              <a:gd name="T3" fmla="*/ 2147483647 h 23"/>
              <a:gd name="T4" fmla="*/ 0 w 32"/>
              <a:gd name="T5" fmla="*/ 2147483647 h 23"/>
              <a:gd name="T6" fmla="*/ 0 w 32"/>
              <a:gd name="T7" fmla="*/ 2147483647 h 23"/>
              <a:gd name="T8" fmla="*/ 0 w 32"/>
              <a:gd name="T9" fmla="*/ 2147483647 h 23"/>
              <a:gd name="T10" fmla="*/ 0 w 32"/>
              <a:gd name="T11" fmla="*/ 2147483647 h 23"/>
              <a:gd name="T12" fmla="*/ 2147483647 w 32"/>
              <a:gd name="T13" fmla="*/ 2147483647 h 23"/>
              <a:gd name="T14" fmla="*/ 2147483647 w 32"/>
              <a:gd name="T15" fmla="*/ 0 h 23"/>
              <a:gd name="T16" fmla="*/ 2147483647 w 32"/>
              <a:gd name="T17" fmla="*/ 2147483647 h 23"/>
              <a:gd name="T18" fmla="*/ 2147483647 w 32"/>
              <a:gd name="T19" fmla="*/ 2147483647 h 23"/>
              <a:gd name="T20" fmla="*/ 2147483647 w 32"/>
              <a:gd name="T21" fmla="*/ 2147483647 h 23"/>
              <a:gd name="T22" fmla="*/ 2147483647 w 32"/>
              <a:gd name="T23" fmla="*/ 2147483647 h 2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32"/>
              <a:gd name="T37" fmla="*/ 0 h 23"/>
              <a:gd name="T38" fmla="*/ 32 w 32"/>
              <a:gd name="T39" fmla="*/ 23 h 23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32" h="23">
                <a:moveTo>
                  <a:pt x="3" y="8"/>
                </a:moveTo>
                <a:lnTo>
                  <a:pt x="3" y="8"/>
                </a:lnTo>
                <a:lnTo>
                  <a:pt x="0" y="17"/>
                </a:lnTo>
                <a:lnTo>
                  <a:pt x="0" y="20"/>
                </a:lnTo>
                <a:lnTo>
                  <a:pt x="0" y="23"/>
                </a:lnTo>
                <a:lnTo>
                  <a:pt x="32" y="23"/>
                </a:lnTo>
                <a:lnTo>
                  <a:pt x="32" y="0"/>
                </a:lnTo>
                <a:lnTo>
                  <a:pt x="6" y="2"/>
                </a:lnTo>
                <a:lnTo>
                  <a:pt x="3" y="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29" name="Freeform 334"/>
          <p:cNvSpPr>
            <a:spLocks/>
          </p:cNvSpPr>
          <p:nvPr/>
        </p:nvSpPr>
        <p:spPr bwMode="gray">
          <a:xfrm>
            <a:off x="5853055" y="3489095"/>
            <a:ext cx="444080" cy="244507"/>
          </a:xfrm>
          <a:custGeom>
            <a:avLst/>
            <a:gdLst>
              <a:gd name="T0" fmla="*/ 2147483647 w 219"/>
              <a:gd name="T1" fmla="*/ 2147483647 h 161"/>
              <a:gd name="T2" fmla="*/ 2147483647 w 219"/>
              <a:gd name="T3" fmla="*/ 2147483647 h 161"/>
              <a:gd name="T4" fmla="*/ 2147483647 w 219"/>
              <a:gd name="T5" fmla="*/ 2147483647 h 161"/>
              <a:gd name="T6" fmla="*/ 2147483647 w 219"/>
              <a:gd name="T7" fmla="*/ 2147483647 h 161"/>
              <a:gd name="T8" fmla="*/ 2147483647 w 219"/>
              <a:gd name="T9" fmla="*/ 2147483647 h 161"/>
              <a:gd name="T10" fmla="*/ 2147483647 w 219"/>
              <a:gd name="T11" fmla="*/ 2147483647 h 161"/>
              <a:gd name="T12" fmla="*/ 2147483647 w 219"/>
              <a:gd name="T13" fmla="*/ 2147483647 h 161"/>
              <a:gd name="T14" fmla="*/ 2147483647 w 219"/>
              <a:gd name="T15" fmla="*/ 2147483647 h 161"/>
              <a:gd name="T16" fmla="*/ 2147483647 w 219"/>
              <a:gd name="T17" fmla="*/ 2147483647 h 161"/>
              <a:gd name="T18" fmla="*/ 2147483647 w 219"/>
              <a:gd name="T19" fmla="*/ 2147483647 h 161"/>
              <a:gd name="T20" fmla="*/ 2147483647 w 219"/>
              <a:gd name="T21" fmla="*/ 2147483647 h 161"/>
              <a:gd name="T22" fmla="*/ 2147483647 w 219"/>
              <a:gd name="T23" fmla="*/ 2147483647 h 161"/>
              <a:gd name="T24" fmla="*/ 2147483647 w 219"/>
              <a:gd name="T25" fmla="*/ 2147483647 h 161"/>
              <a:gd name="T26" fmla="*/ 2147483647 w 219"/>
              <a:gd name="T27" fmla="*/ 2147483647 h 161"/>
              <a:gd name="T28" fmla="*/ 2147483647 w 219"/>
              <a:gd name="T29" fmla="*/ 2147483647 h 161"/>
              <a:gd name="T30" fmla="*/ 2147483647 w 219"/>
              <a:gd name="T31" fmla="*/ 2147483647 h 161"/>
              <a:gd name="T32" fmla="*/ 2147483647 w 219"/>
              <a:gd name="T33" fmla="*/ 2147483647 h 161"/>
              <a:gd name="T34" fmla="*/ 2147483647 w 219"/>
              <a:gd name="T35" fmla="*/ 2147483647 h 161"/>
              <a:gd name="T36" fmla="*/ 2147483647 w 219"/>
              <a:gd name="T37" fmla="*/ 2147483647 h 161"/>
              <a:gd name="T38" fmla="*/ 2147483647 w 219"/>
              <a:gd name="T39" fmla="*/ 2147483647 h 161"/>
              <a:gd name="T40" fmla="*/ 2147483647 w 219"/>
              <a:gd name="T41" fmla="*/ 2147483647 h 161"/>
              <a:gd name="T42" fmla="*/ 2147483647 w 219"/>
              <a:gd name="T43" fmla="*/ 2147483647 h 161"/>
              <a:gd name="T44" fmla="*/ 2147483647 w 219"/>
              <a:gd name="T45" fmla="*/ 2147483647 h 161"/>
              <a:gd name="T46" fmla="*/ 2147483647 w 219"/>
              <a:gd name="T47" fmla="*/ 2147483647 h 161"/>
              <a:gd name="T48" fmla="*/ 2147483647 w 219"/>
              <a:gd name="T49" fmla="*/ 2147483647 h 161"/>
              <a:gd name="T50" fmla="*/ 2147483647 w 219"/>
              <a:gd name="T51" fmla="*/ 2147483647 h 161"/>
              <a:gd name="T52" fmla="*/ 2147483647 w 219"/>
              <a:gd name="T53" fmla="*/ 2147483647 h 161"/>
              <a:gd name="T54" fmla="*/ 2147483647 w 219"/>
              <a:gd name="T55" fmla="*/ 2147483647 h 161"/>
              <a:gd name="T56" fmla="*/ 2147483647 w 219"/>
              <a:gd name="T57" fmla="*/ 2147483647 h 161"/>
              <a:gd name="T58" fmla="*/ 2147483647 w 219"/>
              <a:gd name="T59" fmla="*/ 2147483647 h 161"/>
              <a:gd name="T60" fmla="*/ 2147483647 w 219"/>
              <a:gd name="T61" fmla="*/ 2147483647 h 161"/>
              <a:gd name="T62" fmla="*/ 2147483647 w 219"/>
              <a:gd name="T63" fmla="*/ 2147483647 h 161"/>
              <a:gd name="T64" fmla="*/ 2147483647 w 219"/>
              <a:gd name="T65" fmla="*/ 2147483647 h 161"/>
              <a:gd name="T66" fmla="*/ 2147483647 w 219"/>
              <a:gd name="T67" fmla="*/ 2147483647 h 161"/>
              <a:gd name="T68" fmla="*/ 0 w 219"/>
              <a:gd name="T69" fmla="*/ 2147483647 h 161"/>
              <a:gd name="T70" fmla="*/ 0 w 219"/>
              <a:gd name="T71" fmla="*/ 2147483647 h 161"/>
              <a:gd name="T72" fmla="*/ 2147483647 w 219"/>
              <a:gd name="T73" fmla="*/ 2147483647 h 161"/>
              <a:gd name="T74" fmla="*/ 2147483647 w 219"/>
              <a:gd name="T75" fmla="*/ 2147483647 h 161"/>
              <a:gd name="T76" fmla="*/ 2147483647 w 219"/>
              <a:gd name="T77" fmla="*/ 2147483647 h 161"/>
              <a:gd name="T78" fmla="*/ 2147483647 w 219"/>
              <a:gd name="T79" fmla="*/ 2147483647 h 161"/>
              <a:gd name="T80" fmla="*/ 2147483647 w 219"/>
              <a:gd name="T81" fmla="*/ 2147483647 h 161"/>
              <a:gd name="T82" fmla="*/ 2147483647 w 219"/>
              <a:gd name="T83" fmla="*/ 2147483647 h 161"/>
              <a:gd name="T84" fmla="*/ 2147483647 w 219"/>
              <a:gd name="T85" fmla="*/ 2147483647 h 161"/>
              <a:gd name="T86" fmla="*/ 2147483647 w 219"/>
              <a:gd name="T87" fmla="*/ 2147483647 h 161"/>
              <a:gd name="T88" fmla="*/ 2147483647 w 219"/>
              <a:gd name="T89" fmla="*/ 2147483647 h 161"/>
              <a:gd name="T90" fmla="*/ 2147483647 w 219"/>
              <a:gd name="T91" fmla="*/ 2147483647 h 161"/>
              <a:gd name="T92" fmla="*/ 2147483647 w 219"/>
              <a:gd name="T93" fmla="*/ 2147483647 h 161"/>
              <a:gd name="T94" fmla="*/ 2147483647 w 219"/>
              <a:gd name="T95" fmla="*/ 2147483647 h 161"/>
              <a:gd name="T96" fmla="*/ 2147483647 w 219"/>
              <a:gd name="T97" fmla="*/ 2147483647 h 161"/>
              <a:gd name="T98" fmla="*/ 2147483647 w 219"/>
              <a:gd name="T99" fmla="*/ 2147483647 h 161"/>
              <a:gd name="T100" fmla="*/ 2147483647 w 219"/>
              <a:gd name="T101" fmla="*/ 2147483647 h 161"/>
              <a:gd name="T102" fmla="*/ 2147483647 w 219"/>
              <a:gd name="T103" fmla="*/ 2147483647 h 161"/>
              <a:gd name="T104" fmla="*/ 2147483647 w 219"/>
              <a:gd name="T105" fmla="*/ 2147483647 h 161"/>
              <a:gd name="T106" fmla="*/ 2147483647 w 219"/>
              <a:gd name="T107" fmla="*/ 2147483647 h 161"/>
              <a:gd name="T108" fmla="*/ 2147483647 w 219"/>
              <a:gd name="T109" fmla="*/ 2147483647 h 161"/>
              <a:gd name="T110" fmla="*/ 2147483647 w 219"/>
              <a:gd name="T111" fmla="*/ 2147483647 h 161"/>
              <a:gd name="T112" fmla="*/ 2147483647 w 219"/>
              <a:gd name="T113" fmla="*/ 2147483647 h 161"/>
              <a:gd name="T114" fmla="*/ 2147483647 w 219"/>
              <a:gd name="T115" fmla="*/ 2147483647 h 161"/>
              <a:gd name="T116" fmla="*/ 2147483647 w 219"/>
              <a:gd name="T117" fmla="*/ 2147483647 h 16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219"/>
              <a:gd name="T178" fmla="*/ 0 h 161"/>
              <a:gd name="T179" fmla="*/ 219 w 219"/>
              <a:gd name="T180" fmla="*/ 161 h 161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219" h="161">
                <a:moveTo>
                  <a:pt x="78" y="112"/>
                </a:moveTo>
                <a:lnTo>
                  <a:pt x="78" y="112"/>
                </a:lnTo>
                <a:lnTo>
                  <a:pt x="84" y="109"/>
                </a:lnTo>
                <a:lnTo>
                  <a:pt x="89" y="109"/>
                </a:lnTo>
                <a:lnTo>
                  <a:pt x="92" y="109"/>
                </a:lnTo>
                <a:lnTo>
                  <a:pt x="101" y="118"/>
                </a:lnTo>
                <a:lnTo>
                  <a:pt x="107" y="124"/>
                </a:lnTo>
                <a:lnTo>
                  <a:pt x="110" y="127"/>
                </a:lnTo>
                <a:lnTo>
                  <a:pt x="124" y="127"/>
                </a:lnTo>
                <a:lnTo>
                  <a:pt x="135" y="129"/>
                </a:lnTo>
                <a:lnTo>
                  <a:pt x="144" y="115"/>
                </a:lnTo>
                <a:lnTo>
                  <a:pt x="153" y="121"/>
                </a:lnTo>
                <a:lnTo>
                  <a:pt x="161" y="118"/>
                </a:lnTo>
                <a:lnTo>
                  <a:pt x="170" y="109"/>
                </a:lnTo>
                <a:lnTo>
                  <a:pt x="178" y="115"/>
                </a:lnTo>
                <a:lnTo>
                  <a:pt x="187" y="112"/>
                </a:lnTo>
                <a:lnTo>
                  <a:pt x="190" y="104"/>
                </a:lnTo>
                <a:lnTo>
                  <a:pt x="196" y="109"/>
                </a:lnTo>
                <a:lnTo>
                  <a:pt x="204" y="109"/>
                </a:lnTo>
                <a:lnTo>
                  <a:pt x="213" y="112"/>
                </a:lnTo>
                <a:lnTo>
                  <a:pt x="219" y="109"/>
                </a:lnTo>
                <a:lnTo>
                  <a:pt x="219" y="101"/>
                </a:lnTo>
                <a:lnTo>
                  <a:pt x="207" y="95"/>
                </a:lnTo>
                <a:lnTo>
                  <a:pt x="201" y="86"/>
                </a:lnTo>
                <a:lnTo>
                  <a:pt x="204" y="83"/>
                </a:lnTo>
                <a:lnTo>
                  <a:pt x="181" y="66"/>
                </a:lnTo>
                <a:lnTo>
                  <a:pt x="184" y="63"/>
                </a:lnTo>
                <a:lnTo>
                  <a:pt x="184" y="60"/>
                </a:lnTo>
                <a:lnTo>
                  <a:pt x="178" y="58"/>
                </a:lnTo>
                <a:lnTo>
                  <a:pt x="176" y="52"/>
                </a:lnTo>
                <a:lnTo>
                  <a:pt x="164" y="52"/>
                </a:lnTo>
                <a:lnTo>
                  <a:pt x="164" y="49"/>
                </a:lnTo>
                <a:lnTo>
                  <a:pt x="167" y="43"/>
                </a:lnTo>
                <a:lnTo>
                  <a:pt x="153" y="43"/>
                </a:lnTo>
                <a:lnTo>
                  <a:pt x="155" y="32"/>
                </a:lnTo>
                <a:lnTo>
                  <a:pt x="158" y="23"/>
                </a:lnTo>
                <a:lnTo>
                  <a:pt x="155" y="20"/>
                </a:lnTo>
                <a:lnTo>
                  <a:pt x="144" y="0"/>
                </a:lnTo>
                <a:lnTo>
                  <a:pt x="127" y="6"/>
                </a:lnTo>
                <a:lnTo>
                  <a:pt x="124" y="15"/>
                </a:lnTo>
                <a:lnTo>
                  <a:pt x="101" y="35"/>
                </a:lnTo>
                <a:lnTo>
                  <a:pt x="78" y="40"/>
                </a:lnTo>
                <a:lnTo>
                  <a:pt x="84" y="43"/>
                </a:lnTo>
                <a:lnTo>
                  <a:pt x="69" y="58"/>
                </a:lnTo>
                <a:lnTo>
                  <a:pt x="41" y="66"/>
                </a:lnTo>
                <a:lnTo>
                  <a:pt x="38" y="63"/>
                </a:lnTo>
                <a:lnTo>
                  <a:pt x="35" y="60"/>
                </a:lnTo>
                <a:lnTo>
                  <a:pt x="23" y="66"/>
                </a:lnTo>
                <a:lnTo>
                  <a:pt x="21" y="66"/>
                </a:lnTo>
                <a:lnTo>
                  <a:pt x="12" y="78"/>
                </a:lnTo>
                <a:lnTo>
                  <a:pt x="6" y="89"/>
                </a:lnTo>
                <a:lnTo>
                  <a:pt x="0" y="92"/>
                </a:lnTo>
                <a:lnTo>
                  <a:pt x="3" y="92"/>
                </a:lnTo>
                <a:lnTo>
                  <a:pt x="6" y="95"/>
                </a:lnTo>
                <a:lnTo>
                  <a:pt x="3" y="109"/>
                </a:lnTo>
                <a:lnTo>
                  <a:pt x="6" y="115"/>
                </a:lnTo>
                <a:lnTo>
                  <a:pt x="9" y="121"/>
                </a:lnTo>
                <a:lnTo>
                  <a:pt x="15" y="129"/>
                </a:lnTo>
                <a:lnTo>
                  <a:pt x="15" y="138"/>
                </a:lnTo>
                <a:lnTo>
                  <a:pt x="21" y="144"/>
                </a:lnTo>
                <a:lnTo>
                  <a:pt x="23" y="147"/>
                </a:lnTo>
                <a:lnTo>
                  <a:pt x="26" y="147"/>
                </a:lnTo>
                <a:lnTo>
                  <a:pt x="29" y="149"/>
                </a:lnTo>
                <a:lnTo>
                  <a:pt x="29" y="152"/>
                </a:lnTo>
                <a:lnTo>
                  <a:pt x="32" y="161"/>
                </a:lnTo>
                <a:lnTo>
                  <a:pt x="32" y="158"/>
                </a:lnTo>
                <a:lnTo>
                  <a:pt x="35" y="144"/>
                </a:lnTo>
                <a:lnTo>
                  <a:pt x="49" y="138"/>
                </a:lnTo>
                <a:lnTo>
                  <a:pt x="55" y="138"/>
                </a:lnTo>
                <a:lnTo>
                  <a:pt x="64" y="141"/>
                </a:lnTo>
                <a:lnTo>
                  <a:pt x="66" y="138"/>
                </a:lnTo>
                <a:lnTo>
                  <a:pt x="69" y="138"/>
                </a:lnTo>
                <a:lnTo>
                  <a:pt x="69" y="132"/>
                </a:lnTo>
                <a:lnTo>
                  <a:pt x="72" y="124"/>
                </a:lnTo>
                <a:lnTo>
                  <a:pt x="78" y="11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30" name="Freeform 335"/>
          <p:cNvSpPr>
            <a:spLocks/>
          </p:cNvSpPr>
          <p:nvPr/>
        </p:nvSpPr>
        <p:spPr bwMode="gray">
          <a:xfrm>
            <a:off x="5651018" y="3424593"/>
            <a:ext cx="256046" cy="330009"/>
          </a:xfrm>
          <a:custGeom>
            <a:avLst/>
            <a:gdLst>
              <a:gd name="T0" fmla="*/ 2147483647 w 126"/>
              <a:gd name="T1" fmla="*/ 2147483647 h 218"/>
              <a:gd name="T2" fmla="*/ 2147483647 w 126"/>
              <a:gd name="T3" fmla="*/ 2147483647 h 218"/>
              <a:gd name="T4" fmla="*/ 2147483647 w 126"/>
              <a:gd name="T5" fmla="*/ 2147483647 h 218"/>
              <a:gd name="T6" fmla="*/ 2147483647 w 126"/>
              <a:gd name="T7" fmla="*/ 2147483647 h 218"/>
              <a:gd name="T8" fmla="*/ 2147483647 w 126"/>
              <a:gd name="T9" fmla="*/ 2147483647 h 218"/>
              <a:gd name="T10" fmla="*/ 2147483647 w 126"/>
              <a:gd name="T11" fmla="*/ 2147483647 h 218"/>
              <a:gd name="T12" fmla="*/ 2147483647 w 126"/>
              <a:gd name="T13" fmla="*/ 2147483647 h 218"/>
              <a:gd name="T14" fmla="*/ 2147483647 w 126"/>
              <a:gd name="T15" fmla="*/ 2147483647 h 218"/>
              <a:gd name="T16" fmla="*/ 2147483647 w 126"/>
              <a:gd name="T17" fmla="*/ 2147483647 h 218"/>
              <a:gd name="T18" fmla="*/ 2147483647 w 126"/>
              <a:gd name="T19" fmla="*/ 2147483647 h 218"/>
              <a:gd name="T20" fmla="*/ 2147483647 w 126"/>
              <a:gd name="T21" fmla="*/ 2147483647 h 218"/>
              <a:gd name="T22" fmla="*/ 2147483647 w 126"/>
              <a:gd name="T23" fmla="*/ 2147483647 h 218"/>
              <a:gd name="T24" fmla="*/ 2147483647 w 126"/>
              <a:gd name="T25" fmla="*/ 2147483647 h 218"/>
              <a:gd name="T26" fmla="*/ 2147483647 w 126"/>
              <a:gd name="T27" fmla="*/ 2147483647 h 218"/>
              <a:gd name="T28" fmla="*/ 2147483647 w 126"/>
              <a:gd name="T29" fmla="*/ 2147483647 h 218"/>
              <a:gd name="T30" fmla="*/ 2147483647 w 126"/>
              <a:gd name="T31" fmla="*/ 2147483647 h 218"/>
              <a:gd name="T32" fmla="*/ 2147483647 w 126"/>
              <a:gd name="T33" fmla="*/ 2147483647 h 218"/>
              <a:gd name="T34" fmla="*/ 2147483647 w 126"/>
              <a:gd name="T35" fmla="*/ 2147483647 h 218"/>
              <a:gd name="T36" fmla="*/ 2147483647 w 126"/>
              <a:gd name="T37" fmla="*/ 2147483647 h 218"/>
              <a:gd name="T38" fmla="*/ 2147483647 w 126"/>
              <a:gd name="T39" fmla="*/ 2147483647 h 218"/>
              <a:gd name="T40" fmla="*/ 2147483647 w 126"/>
              <a:gd name="T41" fmla="*/ 2147483647 h 218"/>
              <a:gd name="T42" fmla="*/ 2147483647 w 126"/>
              <a:gd name="T43" fmla="*/ 2147483647 h 218"/>
              <a:gd name="T44" fmla="*/ 2147483647 w 126"/>
              <a:gd name="T45" fmla="*/ 2147483647 h 218"/>
              <a:gd name="T46" fmla="*/ 2147483647 w 126"/>
              <a:gd name="T47" fmla="*/ 0 h 218"/>
              <a:gd name="T48" fmla="*/ 2147483647 w 126"/>
              <a:gd name="T49" fmla="*/ 2147483647 h 218"/>
              <a:gd name="T50" fmla="*/ 2147483647 w 126"/>
              <a:gd name="T51" fmla="*/ 2147483647 h 218"/>
              <a:gd name="T52" fmla="*/ 2147483647 w 126"/>
              <a:gd name="T53" fmla="*/ 2147483647 h 218"/>
              <a:gd name="T54" fmla="*/ 2147483647 w 126"/>
              <a:gd name="T55" fmla="*/ 2147483647 h 218"/>
              <a:gd name="T56" fmla="*/ 2147483647 w 126"/>
              <a:gd name="T57" fmla="*/ 2147483647 h 218"/>
              <a:gd name="T58" fmla="*/ 2147483647 w 126"/>
              <a:gd name="T59" fmla="*/ 2147483647 h 218"/>
              <a:gd name="T60" fmla="*/ 2147483647 w 126"/>
              <a:gd name="T61" fmla="*/ 2147483647 h 218"/>
              <a:gd name="T62" fmla="*/ 2147483647 w 126"/>
              <a:gd name="T63" fmla="*/ 2147483647 h 218"/>
              <a:gd name="T64" fmla="*/ 2147483647 w 126"/>
              <a:gd name="T65" fmla="*/ 2147483647 h 218"/>
              <a:gd name="T66" fmla="*/ 2147483647 w 126"/>
              <a:gd name="T67" fmla="*/ 2147483647 h 218"/>
              <a:gd name="T68" fmla="*/ 2147483647 w 126"/>
              <a:gd name="T69" fmla="*/ 2147483647 h 218"/>
              <a:gd name="T70" fmla="*/ 2147483647 w 126"/>
              <a:gd name="T71" fmla="*/ 2147483647 h 218"/>
              <a:gd name="T72" fmla="*/ 0 w 126"/>
              <a:gd name="T73" fmla="*/ 2147483647 h 218"/>
              <a:gd name="T74" fmla="*/ 2147483647 w 126"/>
              <a:gd name="T75" fmla="*/ 2147483647 h 218"/>
              <a:gd name="T76" fmla="*/ 2147483647 w 126"/>
              <a:gd name="T77" fmla="*/ 2147483647 h 218"/>
              <a:gd name="T78" fmla="*/ 2147483647 w 126"/>
              <a:gd name="T79" fmla="*/ 2147483647 h 218"/>
              <a:gd name="T80" fmla="*/ 2147483647 w 126"/>
              <a:gd name="T81" fmla="*/ 2147483647 h 218"/>
              <a:gd name="T82" fmla="*/ 2147483647 w 126"/>
              <a:gd name="T83" fmla="*/ 2147483647 h 218"/>
              <a:gd name="T84" fmla="*/ 2147483647 w 126"/>
              <a:gd name="T85" fmla="*/ 2147483647 h 218"/>
              <a:gd name="T86" fmla="*/ 2147483647 w 126"/>
              <a:gd name="T87" fmla="*/ 2147483647 h 218"/>
              <a:gd name="T88" fmla="*/ 2147483647 w 126"/>
              <a:gd name="T89" fmla="*/ 2147483647 h 218"/>
              <a:gd name="T90" fmla="*/ 2147483647 w 126"/>
              <a:gd name="T91" fmla="*/ 2147483647 h 218"/>
              <a:gd name="T92" fmla="*/ 2147483647 w 126"/>
              <a:gd name="T93" fmla="*/ 2147483647 h 218"/>
              <a:gd name="T94" fmla="*/ 2147483647 w 126"/>
              <a:gd name="T95" fmla="*/ 2147483647 h 218"/>
              <a:gd name="T96" fmla="*/ 2147483647 w 126"/>
              <a:gd name="T97" fmla="*/ 2147483647 h 218"/>
              <a:gd name="T98" fmla="*/ 2147483647 w 126"/>
              <a:gd name="T99" fmla="*/ 2147483647 h 218"/>
              <a:gd name="T100" fmla="*/ 2147483647 w 126"/>
              <a:gd name="T101" fmla="*/ 2147483647 h 218"/>
              <a:gd name="T102" fmla="*/ 2147483647 w 126"/>
              <a:gd name="T103" fmla="*/ 2147483647 h 218"/>
              <a:gd name="T104" fmla="*/ 2147483647 w 126"/>
              <a:gd name="T105" fmla="*/ 2147483647 h 218"/>
              <a:gd name="T106" fmla="*/ 2147483647 w 126"/>
              <a:gd name="T107" fmla="*/ 2147483647 h 218"/>
              <a:gd name="T108" fmla="*/ 2147483647 w 126"/>
              <a:gd name="T109" fmla="*/ 2147483647 h 218"/>
              <a:gd name="T110" fmla="*/ 2147483647 w 126"/>
              <a:gd name="T111" fmla="*/ 2147483647 h 218"/>
              <a:gd name="T112" fmla="*/ 2147483647 w 126"/>
              <a:gd name="T113" fmla="*/ 2147483647 h 218"/>
              <a:gd name="T114" fmla="*/ 2147483647 w 126"/>
              <a:gd name="T115" fmla="*/ 2147483647 h 218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126"/>
              <a:gd name="T175" fmla="*/ 0 h 218"/>
              <a:gd name="T176" fmla="*/ 126 w 126"/>
              <a:gd name="T177" fmla="*/ 218 h 218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126" h="218">
                <a:moveTo>
                  <a:pt x="126" y="195"/>
                </a:moveTo>
                <a:lnTo>
                  <a:pt x="126" y="195"/>
                </a:lnTo>
                <a:lnTo>
                  <a:pt x="126" y="192"/>
                </a:lnTo>
                <a:lnTo>
                  <a:pt x="123" y="195"/>
                </a:lnTo>
                <a:lnTo>
                  <a:pt x="121" y="192"/>
                </a:lnTo>
                <a:lnTo>
                  <a:pt x="118" y="190"/>
                </a:lnTo>
                <a:lnTo>
                  <a:pt x="109" y="181"/>
                </a:lnTo>
                <a:lnTo>
                  <a:pt x="109" y="172"/>
                </a:lnTo>
                <a:lnTo>
                  <a:pt x="106" y="167"/>
                </a:lnTo>
                <a:lnTo>
                  <a:pt x="100" y="158"/>
                </a:lnTo>
                <a:lnTo>
                  <a:pt x="100" y="152"/>
                </a:lnTo>
                <a:lnTo>
                  <a:pt x="100" y="138"/>
                </a:lnTo>
                <a:lnTo>
                  <a:pt x="98" y="135"/>
                </a:lnTo>
                <a:lnTo>
                  <a:pt x="95" y="135"/>
                </a:lnTo>
                <a:lnTo>
                  <a:pt x="98" y="132"/>
                </a:lnTo>
                <a:lnTo>
                  <a:pt x="103" y="129"/>
                </a:lnTo>
                <a:lnTo>
                  <a:pt x="109" y="121"/>
                </a:lnTo>
                <a:lnTo>
                  <a:pt x="118" y="106"/>
                </a:lnTo>
                <a:lnTo>
                  <a:pt x="115" y="106"/>
                </a:lnTo>
                <a:lnTo>
                  <a:pt x="112" y="98"/>
                </a:lnTo>
                <a:lnTo>
                  <a:pt x="109" y="86"/>
                </a:lnTo>
                <a:lnTo>
                  <a:pt x="95" y="72"/>
                </a:lnTo>
                <a:lnTo>
                  <a:pt x="89" y="66"/>
                </a:lnTo>
                <a:lnTo>
                  <a:pt x="95" y="58"/>
                </a:lnTo>
                <a:lnTo>
                  <a:pt x="118" y="58"/>
                </a:lnTo>
                <a:lnTo>
                  <a:pt x="112" y="49"/>
                </a:lnTo>
                <a:lnTo>
                  <a:pt x="109" y="32"/>
                </a:lnTo>
                <a:lnTo>
                  <a:pt x="106" y="14"/>
                </a:lnTo>
                <a:lnTo>
                  <a:pt x="103" y="6"/>
                </a:lnTo>
                <a:lnTo>
                  <a:pt x="100" y="0"/>
                </a:lnTo>
                <a:lnTo>
                  <a:pt x="95" y="0"/>
                </a:lnTo>
                <a:lnTo>
                  <a:pt x="95" y="12"/>
                </a:lnTo>
                <a:lnTo>
                  <a:pt x="103" y="14"/>
                </a:lnTo>
                <a:lnTo>
                  <a:pt x="103" y="32"/>
                </a:lnTo>
                <a:lnTo>
                  <a:pt x="92" y="37"/>
                </a:lnTo>
                <a:lnTo>
                  <a:pt x="89" y="43"/>
                </a:lnTo>
                <a:lnTo>
                  <a:pt x="86" y="55"/>
                </a:lnTo>
                <a:lnTo>
                  <a:pt x="80" y="60"/>
                </a:lnTo>
                <a:lnTo>
                  <a:pt x="80" y="66"/>
                </a:lnTo>
                <a:lnTo>
                  <a:pt x="75" y="72"/>
                </a:lnTo>
                <a:lnTo>
                  <a:pt x="75" y="86"/>
                </a:lnTo>
                <a:lnTo>
                  <a:pt x="66" y="89"/>
                </a:lnTo>
                <a:lnTo>
                  <a:pt x="63" y="101"/>
                </a:lnTo>
                <a:lnTo>
                  <a:pt x="57" y="109"/>
                </a:lnTo>
                <a:lnTo>
                  <a:pt x="57" y="115"/>
                </a:lnTo>
                <a:lnTo>
                  <a:pt x="52" y="124"/>
                </a:lnTo>
                <a:lnTo>
                  <a:pt x="43" y="132"/>
                </a:lnTo>
                <a:lnTo>
                  <a:pt x="34" y="118"/>
                </a:lnTo>
                <a:lnTo>
                  <a:pt x="32" y="121"/>
                </a:lnTo>
                <a:lnTo>
                  <a:pt x="26" y="121"/>
                </a:lnTo>
                <a:lnTo>
                  <a:pt x="17" y="132"/>
                </a:lnTo>
                <a:lnTo>
                  <a:pt x="6" y="141"/>
                </a:lnTo>
                <a:lnTo>
                  <a:pt x="6" y="155"/>
                </a:lnTo>
                <a:lnTo>
                  <a:pt x="0" y="167"/>
                </a:lnTo>
                <a:lnTo>
                  <a:pt x="3" y="167"/>
                </a:lnTo>
                <a:lnTo>
                  <a:pt x="3" y="170"/>
                </a:lnTo>
                <a:lnTo>
                  <a:pt x="6" y="175"/>
                </a:lnTo>
                <a:lnTo>
                  <a:pt x="11" y="178"/>
                </a:lnTo>
                <a:lnTo>
                  <a:pt x="14" y="178"/>
                </a:lnTo>
                <a:lnTo>
                  <a:pt x="17" y="178"/>
                </a:lnTo>
                <a:lnTo>
                  <a:pt x="17" y="181"/>
                </a:lnTo>
                <a:lnTo>
                  <a:pt x="17" y="187"/>
                </a:lnTo>
                <a:lnTo>
                  <a:pt x="20" y="190"/>
                </a:lnTo>
                <a:lnTo>
                  <a:pt x="23" y="192"/>
                </a:lnTo>
                <a:lnTo>
                  <a:pt x="20" y="195"/>
                </a:lnTo>
                <a:lnTo>
                  <a:pt x="20" y="201"/>
                </a:lnTo>
                <a:lnTo>
                  <a:pt x="20" y="204"/>
                </a:lnTo>
                <a:lnTo>
                  <a:pt x="20" y="210"/>
                </a:lnTo>
                <a:lnTo>
                  <a:pt x="46" y="210"/>
                </a:lnTo>
                <a:lnTo>
                  <a:pt x="57" y="210"/>
                </a:lnTo>
                <a:lnTo>
                  <a:pt x="72" y="210"/>
                </a:lnTo>
                <a:lnTo>
                  <a:pt x="83" y="210"/>
                </a:lnTo>
                <a:lnTo>
                  <a:pt x="95" y="210"/>
                </a:lnTo>
                <a:lnTo>
                  <a:pt x="98" y="210"/>
                </a:lnTo>
                <a:lnTo>
                  <a:pt x="106" y="213"/>
                </a:lnTo>
                <a:lnTo>
                  <a:pt x="121" y="215"/>
                </a:lnTo>
                <a:lnTo>
                  <a:pt x="126" y="218"/>
                </a:lnTo>
                <a:lnTo>
                  <a:pt x="126" y="215"/>
                </a:lnTo>
                <a:lnTo>
                  <a:pt x="126" y="210"/>
                </a:lnTo>
                <a:lnTo>
                  <a:pt x="126" y="19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31" name="Freeform 336"/>
          <p:cNvSpPr>
            <a:spLocks/>
          </p:cNvSpPr>
          <p:nvPr/>
        </p:nvSpPr>
        <p:spPr bwMode="gray">
          <a:xfrm>
            <a:off x="9403694" y="3358591"/>
            <a:ext cx="6000" cy="4500"/>
          </a:xfrm>
          <a:custGeom>
            <a:avLst/>
            <a:gdLst>
              <a:gd name="T0" fmla="*/ 0 w 3"/>
              <a:gd name="T1" fmla="*/ 0 h 3"/>
              <a:gd name="T2" fmla="*/ 0 w 3"/>
              <a:gd name="T3" fmla="*/ 2147483647 h 3"/>
              <a:gd name="T4" fmla="*/ 2147483647 w 3"/>
              <a:gd name="T5" fmla="*/ 0 h 3"/>
              <a:gd name="T6" fmla="*/ 0 w 3"/>
              <a:gd name="T7" fmla="*/ 0 h 3"/>
              <a:gd name="T8" fmla="*/ 0 w 3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0" y="0"/>
                </a:moveTo>
                <a:lnTo>
                  <a:pt x="0" y="3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150" name="Freeform 337"/>
          <p:cNvSpPr>
            <a:spLocks/>
          </p:cNvSpPr>
          <p:nvPr/>
        </p:nvSpPr>
        <p:spPr bwMode="gray">
          <a:xfrm>
            <a:off x="3412615" y="5425647"/>
            <a:ext cx="12002" cy="4500"/>
          </a:xfrm>
          <a:custGeom>
            <a:avLst/>
            <a:gdLst>
              <a:gd name="T0" fmla="*/ 2147483647 w 6"/>
              <a:gd name="T1" fmla="*/ 0 h 3"/>
              <a:gd name="T2" fmla="*/ 2147483647 w 6"/>
              <a:gd name="T3" fmla="*/ 0 h 3"/>
              <a:gd name="T4" fmla="*/ 0 w 6"/>
              <a:gd name="T5" fmla="*/ 0 h 3"/>
              <a:gd name="T6" fmla="*/ 0 w 6"/>
              <a:gd name="T7" fmla="*/ 2147483647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6" y="0"/>
                </a:move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51" name="Freeform 338"/>
          <p:cNvSpPr>
            <a:spLocks/>
          </p:cNvSpPr>
          <p:nvPr/>
        </p:nvSpPr>
        <p:spPr bwMode="gray">
          <a:xfrm>
            <a:off x="3412615" y="5434648"/>
            <a:ext cx="12002" cy="3000"/>
          </a:xfrm>
          <a:custGeom>
            <a:avLst/>
            <a:gdLst>
              <a:gd name="T0" fmla="*/ 0 w 6"/>
              <a:gd name="T1" fmla="*/ 0 h 2"/>
              <a:gd name="T2" fmla="*/ 2147483647 w 6"/>
              <a:gd name="T3" fmla="*/ 2147483647 h 2"/>
              <a:gd name="T4" fmla="*/ 2147483647 w 6"/>
              <a:gd name="T5" fmla="*/ 2147483647 h 2"/>
              <a:gd name="T6" fmla="*/ 2147483647 w 6"/>
              <a:gd name="T7" fmla="*/ 0 h 2"/>
              <a:gd name="T8" fmla="*/ 0 w 6"/>
              <a:gd name="T9" fmla="*/ 0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2"/>
              <a:gd name="T17" fmla="*/ 6 w 6"/>
              <a:gd name="T18" fmla="*/ 2 h 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2">
                <a:moveTo>
                  <a:pt x="0" y="0"/>
                </a:moveTo>
                <a:lnTo>
                  <a:pt x="3" y="2"/>
                </a:lnTo>
                <a:lnTo>
                  <a:pt x="6" y="2"/>
                </a:lnTo>
                <a:lnTo>
                  <a:pt x="6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52" name="Freeform 339"/>
          <p:cNvSpPr>
            <a:spLocks/>
          </p:cNvSpPr>
          <p:nvPr/>
        </p:nvSpPr>
        <p:spPr bwMode="gray">
          <a:xfrm>
            <a:off x="3458624" y="5442148"/>
            <a:ext cx="6000" cy="9000"/>
          </a:xfrm>
          <a:custGeom>
            <a:avLst/>
            <a:gdLst>
              <a:gd name="T0" fmla="*/ 2147483647 w 3"/>
              <a:gd name="T1" fmla="*/ 0 h 6"/>
              <a:gd name="T2" fmla="*/ 0 w 3"/>
              <a:gd name="T3" fmla="*/ 0 h 6"/>
              <a:gd name="T4" fmla="*/ 0 w 3"/>
              <a:gd name="T5" fmla="*/ 2147483647 h 6"/>
              <a:gd name="T6" fmla="*/ 0 w 3"/>
              <a:gd name="T7" fmla="*/ 2147483647 h 6"/>
              <a:gd name="T8" fmla="*/ 2147483647 w 3"/>
              <a:gd name="T9" fmla="*/ 2147483647 h 6"/>
              <a:gd name="T10" fmla="*/ 2147483647 w 3"/>
              <a:gd name="T11" fmla="*/ 2147483647 h 6"/>
              <a:gd name="T12" fmla="*/ 2147483647 w 3"/>
              <a:gd name="T13" fmla="*/ 2147483647 h 6"/>
              <a:gd name="T14" fmla="*/ 2147483647 w 3"/>
              <a:gd name="T15" fmla="*/ 0 h 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"/>
              <a:gd name="T25" fmla="*/ 0 h 6"/>
              <a:gd name="T26" fmla="*/ 3 w 3"/>
              <a:gd name="T27" fmla="*/ 6 h 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" h="6">
                <a:moveTo>
                  <a:pt x="3" y="0"/>
                </a:moveTo>
                <a:lnTo>
                  <a:pt x="0" y="0"/>
                </a:lnTo>
                <a:lnTo>
                  <a:pt x="0" y="3"/>
                </a:lnTo>
                <a:lnTo>
                  <a:pt x="0" y="6"/>
                </a:lnTo>
                <a:lnTo>
                  <a:pt x="3" y="6"/>
                </a:lnTo>
                <a:lnTo>
                  <a:pt x="3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53" name="Freeform 340"/>
          <p:cNvSpPr>
            <a:spLocks/>
          </p:cNvSpPr>
          <p:nvPr/>
        </p:nvSpPr>
        <p:spPr bwMode="gray">
          <a:xfrm>
            <a:off x="3452622" y="5437647"/>
            <a:ext cx="6002" cy="4500"/>
          </a:xfrm>
          <a:custGeom>
            <a:avLst/>
            <a:gdLst>
              <a:gd name="T0" fmla="*/ 0 w 3"/>
              <a:gd name="T1" fmla="*/ 2147483647 h 3"/>
              <a:gd name="T2" fmla="*/ 0 w 3"/>
              <a:gd name="T3" fmla="*/ 2147483647 h 3"/>
              <a:gd name="T4" fmla="*/ 2147483647 w 3"/>
              <a:gd name="T5" fmla="*/ 0 h 3"/>
              <a:gd name="T6" fmla="*/ 0 w 3"/>
              <a:gd name="T7" fmla="*/ 0 h 3"/>
              <a:gd name="T8" fmla="*/ 0 w 3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0" y="3"/>
                </a:moveTo>
                <a:lnTo>
                  <a:pt x="0" y="3"/>
                </a:ln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54" name="Rectangle 341"/>
          <p:cNvSpPr>
            <a:spLocks noChangeArrowheads="1"/>
          </p:cNvSpPr>
          <p:nvPr/>
        </p:nvSpPr>
        <p:spPr bwMode="gray">
          <a:xfrm>
            <a:off x="3440620" y="5437647"/>
            <a:ext cx="6002" cy="45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55" name="Freeform 342"/>
          <p:cNvSpPr>
            <a:spLocks/>
          </p:cNvSpPr>
          <p:nvPr/>
        </p:nvSpPr>
        <p:spPr bwMode="gray">
          <a:xfrm>
            <a:off x="3424617" y="5437647"/>
            <a:ext cx="10002" cy="4500"/>
          </a:xfrm>
          <a:custGeom>
            <a:avLst/>
            <a:gdLst>
              <a:gd name="T0" fmla="*/ 2147483647 w 5"/>
              <a:gd name="T1" fmla="*/ 2147483647 h 3"/>
              <a:gd name="T2" fmla="*/ 2147483647 w 5"/>
              <a:gd name="T3" fmla="*/ 0 h 3"/>
              <a:gd name="T4" fmla="*/ 0 w 5"/>
              <a:gd name="T5" fmla="*/ 0 h 3"/>
              <a:gd name="T6" fmla="*/ 2147483647 w 5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5"/>
              <a:gd name="T13" fmla="*/ 0 h 3"/>
              <a:gd name="T14" fmla="*/ 5 w 5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" h="3">
                <a:moveTo>
                  <a:pt x="3" y="3"/>
                </a:moveTo>
                <a:lnTo>
                  <a:pt x="5" y="0"/>
                </a:lnTo>
                <a:lnTo>
                  <a:pt x="0" y="0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56" name="Freeform 343"/>
          <p:cNvSpPr>
            <a:spLocks/>
          </p:cNvSpPr>
          <p:nvPr/>
        </p:nvSpPr>
        <p:spPr bwMode="gray">
          <a:xfrm>
            <a:off x="3384609" y="5425648"/>
            <a:ext cx="16003" cy="9000"/>
          </a:xfrm>
          <a:custGeom>
            <a:avLst/>
            <a:gdLst>
              <a:gd name="T0" fmla="*/ 2147483647 w 8"/>
              <a:gd name="T1" fmla="*/ 2147483647 h 6"/>
              <a:gd name="T2" fmla="*/ 2147483647 w 8"/>
              <a:gd name="T3" fmla="*/ 0 h 6"/>
              <a:gd name="T4" fmla="*/ 0 w 8"/>
              <a:gd name="T5" fmla="*/ 2147483647 h 6"/>
              <a:gd name="T6" fmla="*/ 2147483647 w 8"/>
              <a:gd name="T7" fmla="*/ 2147483647 h 6"/>
              <a:gd name="T8" fmla="*/ 2147483647 w 8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"/>
              <a:gd name="T16" fmla="*/ 0 h 6"/>
              <a:gd name="T17" fmla="*/ 8 w 8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" h="6">
                <a:moveTo>
                  <a:pt x="8" y="3"/>
                </a:moveTo>
                <a:lnTo>
                  <a:pt x="2" y="0"/>
                </a:lnTo>
                <a:lnTo>
                  <a:pt x="0" y="6"/>
                </a:lnTo>
                <a:lnTo>
                  <a:pt x="5" y="6"/>
                </a:lnTo>
                <a:lnTo>
                  <a:pt x="8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57" name="Freeform 344"/>
          <p:cNvSpPr>
            <a:spLocks/>
          </p:cNvSpPr>
          <p:nvPr/>
        </p:nvSpPr>
        <p:spPr bwMode="gray">
          <a:xfrm>
            <a:off x="3394612" y="5434648"/>
            <a:ext cx="18003" cy="3000"/>
          </a:xfrm>
          <a:custGeom>
            <a:avLst/>
            <a:gdLst>
              <a:gd name="T0" fmla="*/ 0 w 9"/>
              <a:gd name="T1" fmla="*/ 2147483647 h 2"/>
              <a:gd name="T2" fmla="*/ 2147483647 w 9"/>
              <a:gd name="T3" fmla="*/ 2147483647 h 2"/>
              <a:gd name="T4" fmla="*/ 2147483647 w 9"/>
              <a:gd name="T5" fmla="*/ 0 h 2"/>
              <a:gd name="T6" fmla="*/ 2147483647 w 9"/>
              <a:gd name="T7" fmla="*/ 0 h 2"/>
              <a:gd name="T8" fmla="*/ 0 w 9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2"/>
              <a:gd name="T17" fmla="*/ 9 w 9"/>
              <a:gd name="T18" fmla="*/ 2 h 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2">
                <a:moveTo>
                  <a:pt x="0" y="2"/>
                </a:moveTo>
                <a:lnTo>
                  <a:pt x="6" y="2"/>
                </a:lnTo>
                <a:lnTo>
                  <a:pt x="9" y="0"/>
                </a:lnTo>
                <a:lnTo>
                  <a:pt x="3" y="0"/>
                </a:lnTo>
                <a:lnTo>
                  <a:pt x="0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58" name="Freeform 345"/>
          <p:cNvSpPr>
            <a:spLocks/>
          </p:cNvSpPr>
          <p:nvPr/>
        </p:nvSpPr>
        <p:spPr bwMode="gray">
          <a:xfrm>
            <a:off x="3232582" y="5350645"/>
            <a:ext cx="18004" cy="13500"/>
          </a:xfrm>
          <a:custGeom>
            <a:avLst/>
            <a:gdLst>
              <a:gd name="T0" fmla="*/ 2147483647 w 9"/>
              <a:gd name="T1" fmla="*/ 2147483647 h 9"/>
              <a:gd name="T2" fmla="*/ 2147483647 w 9"/>
              <a:gd name="T3" fmla="*/ 2147483647 h 9"/>
              <a:gd name="T4" fmla="*/ 2147483647 w 9"/>
              <a:gd name="T5" fmla="*/ 2147483647 h 9"/>
              <a:gd name="T6" fmla="*/ 2147483647 w 9"/>
              <a:gd name="T7" fmla="*/ 2147483647 h 9"/>
              <a:gd name="T8" fmla="*/ 0 w 9"/>
              <a:gd name="T9" fmla="*/ 2147483647 h 9"/>
              <a:gd name="T10" fmla="*/ 2147483647 w 9"/>
              <a:gd name="T11" fmla="*/ 2147483647 h 9"/>
              <a:gd name="T12" fmla="*/ 2147483647 w 9"/>
              <a:gd name="T13" fmla="*/ 2147483647 h 9"/>
              <a:gd name="T14" fmla="*/ 2147483647 w 9"/>
              <a:gd name="T15" fmla="*/ 2147483647 h 9"/>
              <a:gd name="T16" fmla="*/ 2147483647 w 9"/>
              <a:gd name="T17" fmla="*/ 2147483647 h 9"/>
              <a:gd name="T18" fmla="*/ 2147483647 w 9"/>
              <a:gd name="T19" fmla="*/ 2147483647 h 9"/>
              <a:gd name="T20" fmla="*/ 2147483647 w 9"/>
              <a:gd name="T21" fmla="*/ 2147483647 h 9"/>
              <a:gd name="T22" fmla="*/ 2147483647 w 9"/>
              <a:gd name="T23" fmla="*/ 0 h 9"/>
              <a:gd name="T24" fmla="*/ 2147483647 w 9"/>
              <a:gd name="T25" fmla="*/ 2147483647 h 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9"/>
              <a:gd name="T40" fmla="*/ 0 h 9"/>
              <a:gd name="T41" fmla="*/ 9 w 9"/>
              <a:gd name="T42" fmla="*/ 9 h 9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9" h="9">
                <a:moveTo>
                  <a:pt x="6" y="3"/>
                </a:moveTo>
                <a:lnTo>
                  <a:pt x="6" y="6"/>
                </a:lnTo>
                <a:lnTo>
                  <a:pt x="3" y="3"/>
                </a:lnTo>
                <a:lnTo>
                  <a:pt x="0" y="6"/>
                </a:lnTo>
                <a:lnTo>
                  <a:pt x="3" y="9"/>
                </a:lnTo>
                <a:lnTo>
                  <a:pt x="6" y="9"/>
                </a:lnTo>
                <a:lnTo>
                  <a:pt x="9" y="9"/>
                </a:lnTo>
                <a:lnTo>
                  <a:pt x="9" y="6"/>
                </a:lnTo>
                <a:lnTo>
                  <a:pt x="6" y="6"/>
                </a:lnTo>
                <a:lnTo>
                  <a:pt x="9" y="6"/>
                </a:lnTo>
                <a:lnTo>
                  <a:pt x="9" y="0"/>
                </a:lnTo>
                <a:lnTo>
                  <a:pt x="6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59" name="Freeform 346"/>
          <p:cNvSpPr>
            <a:spLocks/>
          </p:cNvSpPr>
          <p:nvPr/>
        </p:nvSpPr>
        <p:spPr bwMode="gray">
          <a:xfrm>
            <a:off x="3394612" y="5421147"/>
            <a:ext cx="18003" cy="9000"/>
          </a:xfrm>
          <a:custGeom>
            <a:avLst/>
            <a:gdLst>
              <a:gd name="T0" fmla="*/ 0 w 9"/>
              <a:gd name="T1" fmla="*/ 0 h 6"/>
              <a:gd name="T2" fmla="*/ 2147483647 w 9"/>
              <a:gd name="T3" fmla="*/ 2147483647 h 6"/>
              <a:gd name="T4" fmla="*/ 2147483647 w 9"/>
              <a:gd name="T5" fmla="*/ 2147483647 h 6"/>
              <a:gd name="T6" fmla="*/ 2147483647 w 9"/>
              <a:gd name="T7" fmla="*/ 0 h 6"/>
              <a:gd name="T8" fmla="*/ 0 w 9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6"/>
              <a:gd name="T17" fmla="*/ 9 w 9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6">
                <a:moveTo>
                  <a:pt x="0" y="0"/>
                </a:moveTo>
                <a:lnTo>
                  <a:pt x="3" y="6"/>
                </a:lnTo>
                <a:lnTo>
                  <a:pt x="9" y="3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60" name="Freeform 347"/>
          <p:cNvSpPr>
            <a:spLocks/>
          </p:cNvSpPr>
          <p:nvPr/>
        </p:nvSpPr>
        <p:spPr bwMode="gray">
          <a:xfrm>
            <a:off x="3540638" y="5416647"/>
            <a:ext cx="12002" cy="4500"/>
          </a:xfrm>
          <a:custGeom>
            <a:avLst/>
            <a:gdLst>
              <a:gd name="T0" fmla="*/ 0 w 6"/>
              <a:gd name="T1" fmla="*/ 2147483647 h 3"/>
              <a:gd name="T2" fmla="*/ 2147483647 w 6"/>
              <a:gd name="T3" fmla="*/ 2147483647 h 3"/>
              <a:gd name="T4" fmla="*/ 2147483647 w 6"/>
              <a:gd name="T5" fmla="*/ 0 h 3"/>
              <a:gd name="T6" fmla="*/ 2147483647 w 6"/>
              <a:gd name="T7" fmla="*/ 0 h 3"/>
              <a:gd name="T8" fmla="*/ 0 w 6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0" y="3"/>
                </a:moveTo>
                <a:lnTo>
                  <a:pt x="6" y="3"/>
                </a:ln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61" name="Freeform 348"/>
          <p:cNvSpPr>
            <a:spLocks/>
          </p:cNvSpPr>
          <p:nvPr/>
        </p:nvSpPr>
        <p:spPr bwMode="gray">
          <a:xfrm>
            <a:off x="3528636" y="5412147"/>
            <a:ext cx="12002" cy="9000"/>
          </a:xfrm>
          <a:custGeom>
            <a:avLst/>
            <a:gdLst>
              <a:gd name="T0" fmla="*/ 0 w 6"/>
              <a:gd name="T1" fmla="*/ 2147483647 h 6"/>
              <a:gd name="T2" fmla="*/ 0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0" y="3"/>
                </a:moveTo>
                <a:lnTo>
                  <a:pt x="0" y="6"/>
                </a:lnTo>
                <a:lnTo>
                  <a:pt x="6" y="6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62" name="Freeform 349"/>
          <p:cNvSpPr>
            <a:spLocks/>
          </p:cNvSpPr>
          <p:nvPr/>
        </p:nvSpPr>
        <p:spPr bwMode="gray">
          <a:xfrm>
            <a:off x="3464624" y="5430146"/>
            <a:ext cx="6002" cy="7501"/>
          </a:xfrm>
          <a:custGeom>
            <a:avLst/>
            <a:gdLst>
              <a:gd name="T0" fmla="*/ 2147483647 w 3"/>
              <a:gd name="T1" fmla="*/ 0 h 5"/>
              <a:gd name="T2" fmla="*/ 0 w 3"/>
              <a:gd name="T3" fmla="*/ 0 h 5"/>
              <a:gd name="T4" fmla="*/ 2147483647 w 3"/>
              <a:gd name="T5" fmla="*/ 2147483647 h 5"/>
              <a:gd name="T6" fmla="*/ 2147483647 w 3"/>
              <a:gd name="T7" fmla="*/ 2147483647 h 5"/>
              <a:gd name="T8" fmla="*/ 2147483647 w 3"/>
              <a:gd name="T9" fmla="*/ 0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5"/>
              <a:gd name="T17" fmla="*/ 3 w 3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5">
                <a:moveTo>
                  <a:pt x="3" y="0"/>
                </a:moveTo>
                <a:lnTo>
                  <a:pt x="0" y="0"/>
                </a:lnTo>
                <a:lnTo>
                  <a:pt x="3" y="5"/>
                </a:lnTo>
                <a:lnTo>
                  <a:pt x="3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245" name="Freeform 350"/>
          <p:cNvSpPr>
            <a:spLocks/>
          </p:cNvSpPr>
          <p:nvPr/>
        </p:nvSpPr>
        <p:spPr bwMode="gray">
          <a:xfrm>
            <a:off x="3440620" y="4707127"/>
            <a:ext cx="170031" cy="135004"/>
          </a:xfrm>
          <a:custGeom>
            <a:avLst/>
            <a:gdLst>
              <a:gd name="T0" fmla="*/ 2147483647 w 84"/>
              <a:gd name="T1" fmla="*/ 2147483647 h 89"/>
              <a:gd name="T2" fmla="*/ 2147483647 w 84"/>
              <a:gd name="T3" fmla="*/ 2147483647 h 89"/>
              <a:gd name="T4" fmla="*/ 2147483647 w 84"/>
              <a:gd name="T5" fmla="*/ 2147483647 h 89"/>
              <a:gd name="T6" fmla="*/ 2147483647 w 84"/>
              <a:gd name="T7" fmla="*/ 2147483647 h 89"/>
              <a:gd name="T8" fmla="*/ 2147483647 w 84"/>
              <a:gd name="T9" fmla="*/ 2147483647 h 89"/>
              <a:gd name="T10" fmla="*/ 2147483647 w 84"/>
              <a:gd name="T11" fmla="*/ 2147483647 h 89"/>
              <a:gd name="T12" fmla="*/ 2147483647 w 84"/>
              <a:gd name="T13" fmla="*/ 2147483647 h 89"/>
              <a:gd name="T14" fmla="*/ 2147483647 w 84"/>
              <a:gd name="T15" fmla="*/ 2147483647 h 89"/>
              <a:gd name="T16" fmla="*/ 2147483647 w 84"/>
              <a:gd name="T17" fmla="*/ 2147483647 h 89"/>
              <a:gd name="T18" fmla="*/ 2147483647 w 84"/>
              <a:gd name="T19" fmla="*/ 2147483647 h 89"/>
              <a:gd name="T20" fmla="*/ 2147483647 w 84"/>
              <a:gd name="T21" fmla="*/ 2147483647 h 89"/>
              <a:gd name="T22" fmla="*/ 2147483647 w 84"/>
              <a:gd name="T23" fmla="*/ 2147483647 h 89"/>
              <a:gd name="T24" fmla="*/ 2147483647 w 84"/>
              <a:gd name="T25" fmla="*/ 2147483647 h 89"/>
              <a:gd name="T26" fmla="*/ 2147483647 w 84"/>
              <a:gd name="T27" fmla="*/ 2147483647 h 89"/>
              <a:gd name="T28" fmla="*/ 2147483647 w 84"/>
              <a:gd name="T29" fmla="*/ 2147483647 h 89"/>
              <a:gd name="T30" fmla="*/ 2147483647 w 84"/>
              <a:gd name="T31" fmla="*/ 2147483647 h 89"/>
              <a:gd name="T32" fmla="*/ 2147483647 w 84"/>
              <a:gd name="T33" fmla="*/ 2147483647 h 89"/>
              <a:gd name="T34" fmla="*/ 2147483647 w 84"/>
              <a:gd name="T35" fmla="*/ 0 h 89"/>
              <a:gd name="T36" fmla="*/ 2147483647 w 84"/>
              <a:gd name="T37" fmla="*/ 2147483647 h 89"/>
              <a:gd name="T38" fmla="*/ 0 w 84"/>
              <a:gd name="T39" fmla="*/ 2147483647 h 89"/>
              <a:gd name="T40" fmla="*/ 2147483647 w 84"/>
              <a:gd name="T41" fmla="*/ 2147483647 h 89"/>
              <a:gd name="T42" fmla="*/ 2147483647 w 84"/>
              <a:gd name="T43" fmla="*/ 2147483647 h 89"/>
              <a:gd name="T44" fmla="*/ 2147483647 w 84"/>
              <a:gd name="T45" fmla="*/ 2147483647 h 89"/>
              <a:gd name="T46" fmla="*/ 2147483647 w 84"/>
              <a:gd name="T47" fmla="*/ 2147483647 h 89"/>
              <a:gd name="T48" fmla="*/ 2147483647 w 84"/>
              <a:gd name="T49" fmla="*/ 2147483647 h 89"/>
              <a:gd name="T50" fmla="*/ 2147483647 w 84"/>
              <a:gd name="T51" fmla="*/ 2147483647 h 89"/>
              <a:gd name="T52" fmla="*/ 2147483647 w 84"/>
              <a:gd name="T53" fmla="*/ 2147483647 h 89"/>
              <a:gd name="T54" fmla="*/ 2147483647 w 84"/>
              <a:gd name="T55" fmla="*/ 2147483647 h 89"/>
              <a:gd name="T56" fmla="*/ 2147483647 w 84"/>
              <a:gd name="T57" fmla="*/ 2147483647 h 89"/>
              <a:gd name="T58" fmla="*/ 2147483647 w 84"/>
              <a:gd name="T59" fmla="*/ 2147483647 h 89"/>
              <a:gd name="T60" fmla="*/ 2147483647 w 84"/>
              <a:gd name="T61" fmla="*/ 2147483647 h 89"/>
              <a:gd name="T62" fmla="*/ 2147483647 w 84"/>
              <a:gd name="T63" fmla="*/ 2147483647 h 89"/>
              <a:gd name="T64" fmla="*/ 2147483647 w 84"/>
              <a:gd name="T65" fmla="*/ 2147483647 h 89"/>
              <a:gd name="T66" fmla="*/ 2147483647 w 84"/>
              <a:gd name="T67" fmla="*/ 2147483647 h 89"/>
              <a:gd name="T68" fmla="*/ 2147483647 w 84"/>
              <a:gd name="T69" fmla="*/ 2147483647 h 89"/>
              <a:gd name="T70" fmla="*/ 2147483647 w 84"/>
              <a:gd name="T71" fmla="*/ 2147483647 h 89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84"/>
              <a:gd name="T109" fmla="*/ 0 h 89"/>
              <a:gd name="T110" fmla="*/ 84 w 84"/>
              <a:gd name="T111" fmla="*/ 89 h 89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84" h="89">
                <a:moveTo>
                  <a:pt x="78" y="78"/>
                </a:moveTo>
                <a:lnTo>
                  <a:pt x="78" y="78"/>
                </a:lnTo>
                <a:lnTo>
                  <a:pt x="84" y="69"/>
                </a:lnTo>
                <a:lnTo>
                  <a:pt x="81" y="66"/>
                </a:lnTo>
                <a:lnTo>
                  <a:pt x="78" y="60"/>
                </a:lnTo>
                <a:lnTo>
                  <a:pt x="81" y="55"/>
                </a:lnTo>
                <a:lnTo>
                  <a:pt x="81" y="46"/>
                </a:lnTo>
                <a:lnTo>
                  <a:pt x="75" y="43"/>
                </a:lnTo>
                <a:lnTo>
                  <a:pt x="72" y="37"/>
                </a:lnTo>
                <a:lnTo>
                  <a:pt x="69" y="35"/>
                </a:lnTo>
                <a:lnTo>
                  <a:pt x="66" y="35"/>
                </a:lnTo>
                <a:lnTo>
                  <a:pt x="63" y="32"/>
                </a:lnTo>
                <a:lnTo>
                  <a:pt x="61" y="29"/>
                </a:lnTo>
                <a:lnTo>
                  <a:pt x="55" y="26"/>
                </a:lnTo>
                <a:lnTo>
                  <a:pt x="46" y="23"/>
                </a:lnTo>
                <a:lnTo>
                  <a:pt x="40" y="20"/>
                </a:lnTo>
                <a:lnTo>
                  <a:pt x="35" y="12"/>
                </a:lnTo>
                <a:lnTo>
                  <a:pt x="29" y="17"/>
                </a:lnTo>
                <a:lnTo>
                  <a:pt x="29" y="14"/>
                </a:lnTo>
                <a:lnTo>
                  <a:pt x="26" y="12"/>
                </a:lnTo>
                <a:lnTo>
                  <a:pt x="23" y="6"/>
                </a:lnTo>
                <a:lnTo>
                  <a:pt x="12" y="0"/>
                </a:lnTo>
                <a:lnTo>
                  <a:pt x="6" y="0"/>
                </a:lnTo>
                <a:lnTo>
                  <a:pt x="3" y="3"/>
                </a:lnTo>
                <a:lnTo>
                  <a:pt x="0" y="17"/>
                </a:lnTo>
                <a:lnTo>
                  <a:pt x="3" y="40"/>
                </a:lnTo>
                <a:lnTo>
                  <a:pt x="3" y="46"/>
                </a:lnTo>
                <a:lnTo>
                  <a:pt x="6" y="46"/>
                </a:lnTo>
                <a:lnTo>
                  <a:pt x="6" y="49"/>
                </a:lnTo>
                <a:lnTo>
                  <a:pt x="6" y="57"/>
                </a:lnTo>
                <a:lnTo>
                  <a:pt x="3" y="69"/>
                </a:lnTo>
                <a:lnTo>
                  <a:pt x="3" y="75"/>
                </a:lnTo>
                <a:lnTo>
                  <a:pt x="6" y="75"/>
                </a:lnTo>
                <a:lnTo>
                  <a:pt x="15" y="80"/>
                </a:lnTo>
                <a:lnTo>
                  <a:pt x="20" y="80"/>
                </a:lnTo>
                <a:lnTo>
                  <a:pt x="26" y="80"/>
                </a:lnTo>
                <a:lnTo>
                  <a:pt x="35" y="86"/>
                </a:lnTo>
                <a:lnTo>
                  <a:pt x="46" y="89"/>
                </a:lnTo>
                <a:lnTo>
                  <a:pt x="55" y="86"/>
                </a:lnTo>
                <a:lnTo>
                  <a:pt x="63" y="89"/>
                </a:lnTo>
                <a:lnTo>
                  <a:pt x="69" y="86"/>
                </a:lnTo>
                <a:lnTo>
                  <a:pt x="75" y="83"/>
                </a:lnTo>
                <a:lnTo>
                  <a:pt x="78" y="7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164" name="Rectangle 351"/>
          <p:cNvSpPr>
            <a:spLocks noChangeArrowheads="1"/>
          </p:cNvSpPr>
          <p:nvPr/>
        </p:nvSpPr>
        <p:spPr bwMode="gray">
          <a:xfrm>
            <a:off x="3470626" y="5446647"/>
            <a:ext cx="6000" cy="45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65" name="Freeform 352"/>
          <p:cNvSpPr>
            <a:spLocks/>
          </p:cNvSpPr>
          <p:nvPr/>
        </p:nvSpPr>
        <p:spPr bwMode="gray">
          <a:xfrm>
            <a:off x="3320599" y="5395647"/>
            <a:ext cx="12002" cy="7500"/>
          </a:xfrm>
          <a:custGeom>
            <a:avLst/>
            <a:gdLst>
              <a:gd name="T0" fmla="*/ 2147483647 w 6"/>
              <a:gd name="T1" fmla="*/ 0 h 5"/>
              <a:gd name="T2" fmla="*/ 0 w 6"/>
              <a:gd name="T3" fmla="*/ 2147483647 h 5"/>
              <a:gd name="T4" fmla="*/ 2147483647 w 6"/>
              <a:gd name="T5" fmla="*/ 2147483647 h 5"/>
              <a:gd name="T6" fmla="*/ 2147483647 w 6"/>
              <a:gd name="T7" fmla="*/ 2147483647 h 5"/>
              <a:gd name="T8" fmla="*/ 2147483647 w 6"/>
              <a:gd name="T9" fmla="*/ 0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5"/>
              <a:gd name="T17" fmla="*/ 6 w 6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5">
                <a:moveTo>
                  <a:pt x="3" y="0"/>
                </a:moveTo>
                <a:lnTo>
                  <a:pt x="0" y="3"/>
                </a:lnTo>
                <a:lnTo>
                  <a:pt x="3" y="5"/>
                </a:lnTo>
                <a:lnTo>
                  <a:pt x="6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66" name="Freeform 353"/>
          <p:cNvSpPr>
            <a:spLocks/>
          </p:cNvSpPr>
          <p:nvPr/>
        </p:nvSpPr>
        <p:spPr bwMode="gray">
          <a:xfrm>
            <a:off x="3412615" y="5421146"/>
            <a:ext cx="70013" cy="13501"/>
          </a:xfrm>
          <a:custGeom>
            <a:avLst/>
            <a:gdLst>
              <a:gd name="T0" fmla="*/ 2147483647 w 34"/>
              <a:gd name="T1" fmla="*/ 2147483647 h 9"/>
              <a:gd name="T2" fmla="*/ 2147483647 w 34"/>
              <a:gd name="T3" fmla="*/ 2147483647 h 9"/>
              <a:gd name="T4" fmla="*/ 2147483647 w 34"/>
              <a:gd name="T5" fmla="*/ 0 h 9"/>
              <a:gd name="T6" fmla="*/ 2147483647 w 34"/>
              <a:gd name="T7" fmla="*/ 0 h 9"/>
              <a:gd name="T8" fmla="*/ 2147483647 w 34"/>
              <a:gd name="T9" fmla="*/ 0 h 9"/>
              <a:gd name="T10" fmla="*/ 0 w 34"/>
              <a:gd name="T11" fmla="*/ 0 h 9"/>
              <a:gd name="T12" fmla="*/ 0 w 34"/>
              <a:gd name="T13" fmla="*/ 0 h 9"/>
              <a:gd name="T14" fmla="*/ 0 w 34"/>
              <a:gd name="T15" fmla="*/ 0 h 9"/>
              <a:gd name="T16" fmla="*/ 0 w 34"/>
              <a:gd name="T17" fmla="*/ 0 h 9"/>
              <a:gd name="T18" fmla="*/ 0 w 34"/>
              <a:gd name="T19" fmla="*/ 2147483647 h 9"/>
              <a:gd name="T20" fmla="*/ 2147483647 w 34"/>
              <a:gd name="T21" fmla="*/ 0 h 9"/>
              <a:gd name="T22" fmla="*/ 2147483647 w 34"/>
              <a:gd name="T23" fmla="*/ 0 h 9"/>
              <a:gd name="T24" fmla="*/ 2147483647 w 34"/>
              <a:gd name="T25" fmla="*/ 2147483647 h 9"/>
              <a:gd name="T26" fmla="*/ 2147483647 w 34"/>
              <a:gd name="T27" fmla="*/ 2147483647 h 9"/>
              <a:gd name="T28" fmla="*/ 2147483647 w 34"/>
              <a:gd name="T29" fmla="*/ 2147483647 h 9"/>
              <a:gd name="T30" fmla="*/ 2147483647 w 34"/>
              <a:gd name="T31" fmla="*/ 2147483647 h 9"/>
              <a:gd name="T32" fmla="*/ 2147483647 w 34"/>
              <a:gd name="T33" fmla="*/ 2147483647 h 9"/>
              <a:gd name="T34" fmla="*/ 2147483647 w 34"/>
              <a:gd name="T35" fmla="*/ 2147483647 h 9"/>
              <a:gd name="T36" fmla="*/ 2147483647 w 34"/>
              <a:gd name="T37" fmla="*/ 2147483647 h 9"/>
              <a:gd name="T38" fmla="*/ 2147483647 w 34"/>
              <a:gd name="T39" fmla="*/ 2147483647 h 9"/>
              <a:gd name="T40" fmla="*/ 2147483647 w 34"/>
              <a:gd name="T41" fmla="*/ 2147483647 h 9"/>
              <a:gd name="T42" fmla="*/ 2147483647 w 34"/>
              <a:gd name="T43" fmla="*/ 2147483647 h 9"/>
              <a:gd name="T44" fmla="*/ 2147483647 w 34"/>
              <a:gd name="T45" fmla="*/ 2147483647 h 9"/>
              <a:gd name="T46" fmla="*/ 2147483647 w 34"/>
              <a:gd name="T47" fmla="*/ 2147483647 h 9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34"/>
              <a:gd name="T73" fmla="*/ 0 h 9"/>
              <a:gd name="T74" fmla="*/ 34 w 34"/>
              <a:gd name="T75" fmla="*/ 9 h 9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34" h="9">
                <a:moveTo>
                  <a:pt x="32" y="3"/>
                </a:moveTo>
                <a:lnTo>
                  <a:pt x="32" y="3"/>
                </a:lnTo>
                <a:lnTo>
                  <a:pt x="23" y="0"/>
                </a:lnTo>
                <a:lnTo>
                  <a:pt x="14" y="0"/>
                </a:lnTo>
                <a:lnTo>
                  <a:pt x="0" y="0"/>
                </a:lnTo>
                <a:lnTo>
                  <a:pt x="0" y="3"/>
                </a:lnTo>
                <a:lnTo>
                  <a:pt x="9" y="0"/>
                </a:lnTo>
                <a:lnTo>
                  <a:pt x="9" y="3"/>
                </a:lnTo>
                <a:lnTo>
                  <a:pt x="14" y="6"/>
                </a:lnTo>
                <a:lnTo>
                  <a:pt x="29" y="6"/>
                </a:lnTo>
                <a:lnTo>
                  <a:pt x="32" y="6"/>
                </a:lnTo>
                <a:lnTo>
                  <a:pt x="32" y="9"/>
                </a:lnTo>
                <a:lnTo>
                  <a:pt x="34" y="6"/>
                </a:lnTo>
                <a:lnTo>
                  <a:pt x="32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67" name="Freeform 354"/>
          <p:cNvSpPr>
            <a:spLocks/>
          </p:cNvSpPr>
          <p:nvPr/>
        </p:nvSpPr>
        <p:spPr bwMode="gray">
          <a:xfrm>
            <a:off x="3378609" y="5350645"/>
            <a:ext cx="134024" cy="79502"/>
          </a:xfrm>
          <a:custGeom>
            <a:avLst/>
            <a:gdLst>
              <a:gd name="T0" fmla="*/ 2147483647 w 66"/>
              <a:gd name="T1" fmla="*/ 2147483647 h 52"/>
              <a:gd name="T2" fmla="*/ 2147483647 w 66"/>
              <a:gd name="T3" fmla="*/ 2147483647 h 52"/>
              <a:gd name="T4" fmla="*/ 2147483647 w 66"/>
              <a:gd name="T5" fmla="*/ 2147483647 h 52"/>
              <a:gd name="T6" fmla="*/ 2147483647 w 66"/>
              <a:gd name="T7" fmla="*/ 2147483647 h 52"/>
              <a:gd name="T8" fmla="*/ 2147483647 w 66"/>
              <a:gd name="T9" fmla="*/ 2147483647 h 52"/>
              <a:gd name="T10" fmla="*/ 2147483647 w 66"/>
              <a:gd name="T11" fmla="*/ 2147483647 h 52"/>
              <a:gd name="T12" fmla="*/ 2147483647 w 66"/>
              <a:gd name="T13" fmla="*/ 2147483647 h 52"/>
              <a:gd name="T14" fmla="*/ 2147483647 w 66"/>
              <a:gd name="T15" fmla="*/ 2147483647 h 52"/>
              <a:gd name="T16" fmla="*/ 0 w 66"/>
              <a:gd name="T17" fmla="*/ 0 h 52"/>
              <a:gd name="T18" fmla="*/ 0 w 66"/>
              <a:gd name="T19" fmla="*/ 0 h 52"/>
              <a:gd name="T20" fmla="*/ 0 w 66"/>
              <a:gd name="T21" fmla="*/ 2147483647 h 52"/>
              <a:gd name="T22" fmla="*/ 0 w 66"/>
              <a:gd name="T23" fmla="*/ 2147483647 h 52"/>
              <a:gd name="T24" fmla="*/ 0 w 66"/>
              <a:gd name="T25" fmla="*/ 2147483647 h 52"/>
              <a:gd name="T26" fmla="*/ 0 w 66"/>
              <a:gd name="T27" fmla="*/ 2147483647 h 52"/>
              <a:gd name="T28" fmla="*/ 2147483647 w 66"/>
              <a:gd name="T29" fmla="*/ 2147483647 h 52"/>
              <a:gd name="T30" fmla="*/ 2147483647 w 66"/>
              <a:gd name="T31" fmla="*/ 2147483647 h 52"/>
              <a:gd name="T32" fmla="*/ 2147483647 w 66"/>
              <a:gd name="T33" fmla="*/ 2147483647 h 52"/>
              <a:gd name="T34" fmla="*/ 2147483647 w 66"/>
              <a:gd name="T35" fmla="*/ 2147483647 h 52"/>
              <a:gd name="T36" fmla="*/ 2147483647 w 66"/>
              <a:gd name="T37" fmla="*/ 2147483647 h 52"/>
              <a:gd name="T38" fmla="*/ 2147483647 w 66"/>
              <a:gd name="T39" fmla="*/ 2147483647 h 52"/>
              <a:gd name="T40" fmla="*/ 2147483647 w 66"/>
              <a:gd name="T41" fmla="*/ 2147483647 h 52"/>
              <a:gd name="T42" fmla="*/ 2147483647 w 66"/>
              <a:gd name="T43" fmla="*/ 2147483647 h 52"/>
              <a:gd name="T44" fmla="*/ 2147483647 w 66"/>
              <a:gd name="T45" fmla="*/ 2147483647 h 52"/>
              <a:gd name="T46" fmla="*/ 2147483647 w 66"/>
              <a:gd name="T47" fmla="*/ 2147483647 h 52"/>
              <a:gd name="T48" fmla="*/ 2147483647 w 66"/>
              <a:gd name="T49" fmla="*/ 2147483647 h 52"/>
              <a:gd name="T50" fmla="*/ 2147483647 w 66"/>
              <a:gd name="T51" fmla="*/ 2147483647 h 52"/>
              <a:gd name="T52" fmla="*/ 2147483647 w 66"/>
              <a:gd name="T53" fmla="*/ 2147483647 h 52"/>
              <a:gd name="T54" fmla="*/ 2147483647 w 66"/>
              <a:gd name="T55" fmla="*/ 2147483647 h 52"/>
              <a:gd name="T56" fmla="*/ 2147483647 w 66"/>
              <a:gd name="T57" fmla="*/ 2147483647 h 52"/>
              <a:gd name="T58" fmla="*/ 2147483647 w 66"/>
              <a:gd name="T59" fmla="*/ 2147483647 h 52"/>
              <a:gd name="T60" fmla="*/ 2147483647 w 66"/>
              <a:gd name="T61" fmla="*/ 2147483647 h 52"/>
              <a:gd name="T62" fmla="*/ 2147483647 w 66"/>
              <a:gd name="T63" fmla="*/ 2147483647 h 52"/>
              <a:gd name="T64" fmla="*/ 2147483647 w 66"/>
              <a:gd name="T65" fmla="*/ 2147483647 h 52"/>
              <a:gd name="T66" fmla="*/ 2147483647 w 66"/>
              <a:gd name="T67" fmla="*/ 2147483647 h 52"/>
              <a:gd name="T68" fmla="*/ 2147483647 w 66"/>
              <a:gd name="T69" fmla="*/ 2147483647 h 52"/>
              <a:gd name="T70" fmla="*/ 2147483647 w 66"/>
              <a:gd name="T71" fmla="*/ 2147483647 h 52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66"/>
              <a:gd name="T109" fmla="*/ 0 h 52"/>
              <a:gd name="T110" fmla="*/ 66 w 66"/>
              <a:gd name="T111" fmla="*/ 52 h 52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66" h="52">
                <a:moveTo>
                  <a:pt x="60" y="40"/>
                </a:moveTo>
                <a:lnTo>
                  <a:pt x="60" y="40"/>
                </a:lnTo>
                <a:lnTo>
                  <a:pt x="46" y="37"/>
                </a:lnTo>
                <a:lnTo>
                  <a:pt x="34" y="32"/>
                </a:lnTo>
                <a:lnTo>
                  <a:pt x="20" y="20"/>
                </a:lnTo>
                <a:lnTo>
                  <a:pt x="5" y="11"/>
                </a:lnTo>
                <a:lnTo>
                  <a:pt x="0" y="0"/>
                </a:lnTo>
                <a:lnTo>
                  <a:pt x="0" y="6"/>
                </a:lnTo>
                <a:lnTo>
                  <a:pt x="8" y="23"/>
                </a:lnTo>
                <a:lnTo>
                  <a:pt x="17" y="43"/>
                </a:lnTo>
                <a:lnTo>
                  <a:pt x="31" y="43"/>
                </a:lnTo>
                <a:lnTo>
                  <a:pt x="40" y="43"/>
                </a:lnTo>
                <a:lnTo>
                  <a:pt x="49" y="46"/>
                </a:lnTo>
                <a:lnTo>
                  <a:pt x="54" y="52"/>
                </a:lnTo>
                <a:lnTo>
                  <a:pt x="66" y="46"/>
                </a:lnTo>
                <a:lnTo>
                  <a:pt x="66" y="43"/>
                </a:lnTo>
                <a:lnTo>
                  <a:pt x="63" y="40"/>
                </a:lnTo>
                <a:lnTo>
                  <a:pt x="60" y="4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68" name="Freeform 355"/>
          <p:cNvSpPr>
            <a:spLocks/>
          </p:cNvSpPr>
          <p:nvPr/>
        </p:nvSpPr>
        <p:spPr bwMode="gray">
          <a:xfrm>
            <a:off x="3180573" y="5281644"/>
            <a:ext cx="226041" cy="139503"/>
          </a:xfrm>
          <a:custGeom>
            <a:avLst/>
            <a:gdLst>
              <a:gd name="T0" fmla="*/ 2147483647 w 112"/>
              <a:gd name="T1" fmla="*/ 2147483647 h 92"/>
              <a:gd name="T2" fmla="*/ 2147483647 w 112"/>
              <a:gd name="T3" fmla="*/ 2147483647 h 92"/>
              <a:gd name="T4" fmla="*/ 2147483647 w 112"/>
              <a:gd name="T5" fmla="*/ 2147483647 h 92"/>
              <a:gd name="T6" fmla="*/ 2147483647 w 112"/>
              <a:gd name="T7" fmla="*/ 2147483647 h 92"/>
              <a:gd name="T8" fmla="*/ 2147483647 w 112"/>
              <a:gd name="T9" fmla="*/ 2147483647 h 92"/>
              <a:gd name="T10" fmla="*/ 2147483647 w 112"/>
              <a:gd name="T11" fmla="*/ 2147483647 h 92"/>
              <a:gd name="T12" fmla="*/ 2147483647 w 112"/>
              <a:gd name="T13" fmla="*/ 2147483647 h 92"/>
              <a:gd name="T14" fmla="*/ 2147483647 w 112"/>
              <a:gd name="T15" fmla="*/ 2147483647 h 92"/>
              <a:gd name="T16" fmla="*/ 2147483647 w 112"/>
              <a:gd name="T17" fmla="*/ 2147483647 h 92"/>
              <a:gd name="T18" fmla="*/ 2147483647 w 112"/>
              <a:gd name="T19" fmla="*/ 2147483647 h 92"/>
              <a:gd name="T20" fmla="*/ 2147483647 w 112"/>
              <a:gd name="T21" fmla="*/ 2147483647 h 92"/>
              <a:gd name="T22" fmla="*/ 2147483647 w 112"/>
              <a:gd name="T23" fmla="*/ 2147483647 h 92"/>
              <a:gd name="T24" fmla="*/ 2147483647 w 112"/>
              <a:gd name="T25" fmla="*/ 2147483647 h 92"/>
              <a:gd name="T26" fmla="*/ 2147483647 w 112"/>
              <a:gd name="T27" fmla="*/ 2147483647 h 92"/>
              <a:gd name="T28" fmla="*/ 2147483647 w 112"/>
              <a:gd name="T29" fmla="*/ 2147483647 h 92"/>
              <a:gd name="T30" fmla="*/ 2147483647 w 112"/>
              <a:gd name="T31" fmla="*/ 2147483647 h 92"/>
              <a:gd name="T32" fmla="*/ 2147483647 w 112"/>
              <a:gd name="T33" fmla="*/ 2147483647 h 92"/>
              <a:gd name="T34" fmla="*/ 2147483647 w 112"/>
              <a:gd name="T35" fmla="*/ 2147483647 h 92"/>
              <a:gd name="T36" fmla="*/ 2147483647 w 112"/>
              <a:gd name="T37" fmla="*/ 2147483647 h 92"/>
              <a:gd name="T38" fmla="*/ 2147483647 w 112"/>
              <a:gd name="T39" fmla="*/ 2147483647 h 92"/>
              <a:gd name="T40" fmla="*/ 2147483647 w 112"/>
              <a:gd name="T41" fmla="*/ 2147483647 h 92"/>
              <a:gd name="T42" fmla="*/ 2147483647 w 112"/>
              <a:gd name="T43" fmla="*/ 2147483647 h 92"/>
              <a:gd name="T44" fmla="*/ 2147483647 w 112"/>
              <a:gd name="T45" fmla="*/ 2147483647 h 92"/>
              <a:gd name="T46" fmla="*/ 2147483647 w 112"/>
              <a:gd name="T47" fmla="*/ 2147483647 h 92"/>
              <a:gd name="T48" fmla="*/ 2147483647 w 112"/>
              <a:gd name="T49" fmla="*/ 2147483647 h 92"/>
              <a:gd name="T50" fmla="*/ 2147483647 w 112"/>
              <a:gd name="T51" fmla="*/ 2147483647 h 92"/>
              <a:gd name="T52" fmla="*/ 2147483647 w 112"/>
              <a:gd name="T53" fmla="*/ 2147483647 h 92"/>
              <a:gd name="T54" fmla="*/ 2147483647 w 112"/>
              <a:gd name="T55" fmla="*/ 2147483647 h 92"/>
              <a:gd name="T56" fmla="*/ 2147483647 w 112"/>
              <a:gd name="T57" fmla="*/ 2147483647 h 92"/>
              <a:gd name="T58" fmla="*/ 2147483647 w 112"/>
              <a:gd name="T59" fmla="*/ 2147483647 h 92"/>
              <a:gd name="T60" fmla="*/ 2147483647 w 112"/>
              <a:gd name="T61" fmla="*/ 2147483647 h 92"/>
              <a:gd name="T62" fmla="*/ 2147483647 w 112"/>
              <a:gd name="T63" fmla="*/ 2147483647 h 92"/>
              <a:gd name="T64" fmla="*/ 2147483647 w 112"/>
              <a:gd name="T65" fmla="*/ 2147483647 h 92"/>
              <a:gd name="T66" fmla="*/ 2147483647 w 112"/>
              <a:gd name="T67" fmla="*/ 2147483647 h 92"/>
              <a:gd name="T68" fmla="*/ 2147483647 w 112"/>
              <a:gd name="T69" fmla="*/ 2147483647 h 92"/>
              <a:gd name="T70" fmla="*/ 2147483647 w 112"/>
              <a:gd name="T71" fmla="*/ 2147483647 h 92"/>
              <a:gd name="T72" fmla="*/ 2147483647 w 112"/>
              <a:gd name="T73" fmla="*/ 2147483647 h 92"/>
              <a:gd name="T74" fmla="*/ 2147483647 w 112"/>
              <a:gd name="T75" fmla="*/ 2147483647 h 92"/>
              <a:gd name="T76" fmla="*/ 2147483647 w 112"/>
              <a:gd name="T77" fmla="*/ 2147483647 h 92"/>
              <a:gd name="T78" fmla="*/ 2147483647 w 112"/>
              <a:gd name="T79" fmla="*/ 2147483647 h 92"/>
              <a:gd name="T80" fmla="*/ 2147483647 w 112"/>
              <a:gd name="T81" fmla="*/ 2147483647 h 92"/>
              <a:gd name="T82" fmla="*/ 2147483647 w 112"/>
              <a:gd name="T83" fmla="*/ 2147483647 h 92"/>
              <a:gd name="T84" fmla="*/ 2147483647 w 112"/>
              <a:gd name="T85" fmla="*/ 2147483647 h 92"/>
              <a:gd name="T86" fmla="*/ 2147483647 w 112"/>
              <a:gd name="T87" fmla="*/ 2147483647 h 92"/>
              <a:gd name="T88" fmla="*/ 2147483647 w 112"/>
              <a:gd name="T89" fmla="*/ 2147483647 h 92"/>
              <a:gd name="T90" fmla="*/ 2147483647 w 112"/>
              <a:gd name="T91" fmla="*/ 2147483647 h 92"/>
              <a:gd name="T92" fmla="*/ 2147483647 w 112"/>
              <a:gd name="T93" fmla="*/ 2147483647 h 92"/>
              <a:gd name="T94" fmla="*/ 2147483647 w 112"/>
              <a:gd name="T95" fmla="*/ 2147483647 h 92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112"/>
              <a:gd name="T145" fmla="*/ 0 h 92"/>
              <a:gd name="T146" fmla="*/ 112 w 112"/>
              <a:gd name="T147" fmla="*/ 92 h 92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112" h="92">
                <a:moveTo>
                  <a:pt x="109" y="89"/>
                </a:moveTo>
                <a:lnTo>
                  <a:pt x="109" y="89"/>
                </a:lnTo>
                <a:lnTo>
                  <a:pt x="112" y="92"/>
                </a:lnTo>
                <a:lnTo>
                  <a:pt x="103" y="72"/>
                </a:lnTo>
                <a:lnTo>
                  <a:pt x="95" y="52"/>
                </a:lnTo>
                <a:lnTo>
                  <a:pt x="95" y="46"/>
                </a:lnTo>
                <a:lnTo>
                  <a:pt x="89" y="46"/>
                </a:lnTo>
                <a:lnTo>
                  <a:pt x="75" y="43"/>
                </a:lnTo>
                <a:lnTo>
                  <a:pt x="55" y="37"/>
                </a:lnTo>
                <a:lnTo>
                  <a:pt x="52" y="37"/>
                </a:lnTo>
                <a:lnTo>
                  <a:pt x="46" y="37"/>
                </a:lnTo>
                <a:lnTo>
                  <a:pt x="37" y="37"/>
                </a:lnTo>
                <a:lnTo>
                  <a:pt x="32" y="34"/>
                </a:lnTo>
                <a:lnTo>
                  <a:pt x="26" y="26"/>
                </a:lnTo>
                <a:lnTo>
                  <a:pt x="23" y="17"/>
                </a:lnTo>
                <a:lnTo>
                  <a:pt x="20" y="14"/>
                </a:lnTo>
                <a:lnTo>
                  <a:pt x="12" y="17"/>
                </a:lnTo>
                <a:lnTo>
                  <a:pt x="6" y="12"/>
                </a:lnTo>
                <a:lnTo>
                  <a:pt x="3" y="6"/>
                </a:lnTo>
                <a:lnTo>
                  <a:pt x="0" y="0"/>
                </a:lnTo>
                <a:lnTo>
                  <a:pt x="3" y="9"/>
                </a:lnTo>
                <a:lnTo>
                  <a:pt x="6" y="20"/>
                </a:lnTo>
                <a:lnTo>
                  <a:pt x="17" y="37"/>
                </a:lnTo>
                <a:lnTo>
                  <a:pt x="17" y="26"/>
                </a:lnTo>
                <a:lnTo>
                  <a:pt x="20" y="20"/>
                </a:lnTo>
                <a:lnTo>
                  <a:pt x="20" y="23"/>
                </a:lnTo>
                <a:lnTo>
                  <a:pt x="20" y="26"/>
                </a:lnTo>
                <a:lnTo>
                  <a:pt x="20" y="29"/>
                </a:lnTo>
                <a:lnTo>
                  <a:pt x="23" y="26"/>
                </a:lnTo>
                <a:lnTo>
                  <a:pt x="26" y="32"/>
                </a:lnTo>
                <a:lnTo>
                  <a:pt x="29" y="34"/>
                </a:lnTo>
                <a:lnTo>
                  <a:pt x="40" y="43"/>
                </a:lnTo>
                <a:lnTo>
                  <a:pt x="35" y="43"/>
                </a:lnTo>
                <a:lnTo>
                  <a:pt x="23" y="40"/>
                </a:lnTo>
                <a:lnTo>
                  <a:pt x="26" y="46"/>
                </a:lnTo>
                <a:lnTo>
                  <a:pt x="37" y="46"/>
                </a:lnTo>
                <a:lnTo>
                  <a:pt x="43" y="46"/>
                </a:lnTo>
                <a:lnTo>
                  <a:pt x="35" y="52"/>
                </a:lnTo>
                <a:lnTo>
                  <a:pt x="37" y="55"/>
                </a:lnTo>
                <a:lnTo>
                  <a:pt x="29" y="57"/>
                </a:lnTo>
                <a:lnTo>
                  <a:pt x="23" y="57"/>
                </a:lnTo>
                <a:lnTo>
                  <a:pt x="20" y="57"/>
                </a:lnTo>
                <a:lnTo>
                  <a:pt x="26" y="60"/>
                </a:lnTo>
                <a:lnTo>
                  <a:pt x="26" y="66"/>
                </a:lnTo>
                <a:lnTo>
                  <a:pt x="26" y="69"/>
                </a:lnTo>
                <a:lnTo>
                  <a:pt x="32" y="66"/>
                </a:lnTo>
                <a:lnTo>
                  <a:pt x="37" y="63"/>
                </a:lnTo>
                <a:lnTo>
                  <a:pt x="43" y="63"/>
                </a:lnTo>
                <a:lnTo>
                  <a:pt x="52" y="57"/>
                </a:lnTo>
                <a:lnTo>
                  <a:pt x="58" y="55"/>
                </a:lnTo>
                <a:lnTo>
                  <a:pt x="58" y="60"/>
                </a:lnTo>
                <a:lnTo>
                  <a:pt x="52" y="63"/>
                </a:lnTo>
                <a:lnTo>
                  <a:pt x="43" y="66"/>
                </a:lnTo>
                <a:lnTo>
                  <a:pt x="40" y="69"/>
                </a:lnTo>
                <a:lnTo>
                  <a:pt x="40" y="75"/>
                </a:lnTo>
                <a:lnTo>
                  <a:pt x="37" y="78"/>
                </a:lnTo>
                <a:lnTo>
                  <a:pt x="40" y="78"/>
                </a:lnTo>
                <a:lnTo>
                  <a:pt x="43" y="75"/>
                </a:lnTo>
                <a:lnTo>
                  <a:pt x="40" y="75"/>
                </a:lnTo>
                <a:lnTo>
                  <a:pt x="43" y="72"/>
                </a:lnTo>
                <a:lnTo>
                  <a:pt x="46" y="72"/>
                </a:lnTo>
                <a:lnTo>
                  <a:pt x="49" y="78"/>
                </a:lnTo>
                <a:lnTo>
                  <a:pt x="52" y="75"/>
                </a:lnTo>
                <a:lnTo>
                  <a:pt x="55" y="72"/>
                </a:lnTo>
                <a:lnTo>
                  <a:pt x="63" y="72"/>
                </a:lnTo>
                <a:lnTo>
                  <a:pt x="58" y="78"/>
                </a:lnTo>
                <a:lnTo>
                  <a:pt x="58" y="83"/>
                </a:lnTo>
                <a:lnTo>
                  <a:pt x="66" y="78"/>
                </a:lnTo>
                <a:lnTo>
                  <a:pt x="72" y="69"/>
                </a:lnTo>
                <a:lnTo>
                  <a:pt x="66" y="63"/>
                </a:lnTo>
                <a:lnTo>
                  <a:pt x="69" y="55"/>
                </a:lnTo>
                <a:lnTo>
                  <a:pt x="72" y="57"/>
                </a:lnTo>
                <a:lnTo>
                  <a:pt x="78" y="63"/>
                </a:lnTo>
                <a:lnTo>
                  <a:pt x="83" y="63"/>
                </a:lnTo>
                <a:lnTo>
                  <a:pt x="92" y="66"/>
                </a:lnTo>
                <a:lnTo>
                  <a:pt x="86" y="69"/>
                </a:lnTo>
                <a:lnTo>
                  <a:pt x="83" y="69"/>
                </a:lnTo>
                <a:lnTo>
                  <a:pt x="83" y="72"/>
                </a:lnTo>
                <a:lnTo>
                  <a:pt x="86" y="75"/>
                </a:lnTo>
                <a:lnTo>
                  <a:pt x="86" y="78"/>
                </a:lnTo>
                <a:lnTo>
                  <a:pt x="92" y="78"/>
                </a:lnTo>
                <a:lnTo>
                  <a:pt x="98" y="75"/>
                </a:lnTo>
                <a:lnTo>
                  <a:pt x="98" y="78"/>
                </a:lnTo>
                <a:lnTo>
                  <a:pt x="98" y="80"/>
                </a:lnTo>
                <a:lnTo>
                  <a:pt x="95" y="83"/>
                </a:lnTo>
                <a:lnTo>
                  <a:pt x="95" y="86"/>
                </a:lnTo>
                <a:lnTo>
                  <a:pt x="98" y="89"/>
                </a:lnTo>
                <a:lnTo>
                  <a:pt x="103" y="89"/>
                </a:lnTo>
                <a:lnTo>
                  <a:pt x="106" y="89"/>
                </a:lnTo>
                <a:lnTo>
                  <a:pt x="109" y="8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69" name="Freeform 356"/>
          <p:cNvSpPr>
            <a:spLocks/>
          </p:cNvSpPr>
          <p:nvPr/>
        </p:nvSpPr>
        <p:spPr bwMode="gray">
          <a:xfrm>
            <a:off x="3348604" y="5421147"/>
            <a:ext cx="12002" cy="4501"/>
          </a:xfrm>
          <a:custGeom>
            <a:avLst/>
            <a:gdLst>
              <a:gd name="T0" fmla="*/ 2147483647 w 6"/>
              <a:gd name="T1" fmla="*/ 0 h 3"/>
              <a:gd name="T2" fmla="*/ 0 w 6"/>
              <a:gd name="T3" fmla="*/ 2147483647 h 3"/>
              <a:gd name="T4" fmla="*/ 2147483647 w 6"/>
              <a:gd name="T5" fmla="*/ 2147483647 h 3"/>
              <a:gd name="T6" fmla="*/ 2147483647 w 6"/>
              <a:gd name="T7" fmla="*/ 2147483647 h 3"/>
              <a:gd name="T8" fmla="*/ 2147483647 w 6"/>
              <a:gd name="T9" fmla="*/ 0 h 3"/>
              <a:gd name="T10" fmla="*/ 2147483647 w 6"/>
              <a:gd name="T11" fmla="*/ 0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3"/>
              <a:gd name="T20" fmla="*/ 6 w 6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3">
                <a:moveTo>
                  <a:pt x="3" y="0"/>
                </a:moveTo>
                <a:lnTo>
                  <a:pt x="0" y="3"/>
                </a:lnTo>
                <a:lnTo>
                  <a:pt x="3" y="3"/>
                </a:lnTo>
                <a:lnTo>
                  <a:pt x="6" y="3"/>
                </a:lnTo>
                <a:lnTo>
                  <a:pt x="6" y="0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70" name="Rectangle 357"/>
          <p:cNvSpPr>
            <a:spLocks noChangeArrowheads="1"/>
          </p:cNvSpPr>
          <p:nvPr/>
        </p:nvSpPr>
        <p:spPr bwMode="gray">
          <a:xfrm>
            <a:off x="3326600" y="5403146"/>
            <a:ext cx="6000" cy="4501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71" name="Freeform 358"/>
          <p:cNvSpPr>
            <a:spLocks/>
          </p:cNvSpPr>
          <p:nvPr/>
        </p:nvSpPr>
        <p:spPr bwMode="gray">
          <a:xfrm>
            <a:off x="3320599" y="5407647"/>
            <a:ext cx="12002" cy="9000"/>
          </a:xfrm>
          <a:custGeom>
            <a:avLst/>
            <a:gdLst>
              <a:gd name="T0" fmla="*/ 2147483647 w 6"/>
              <a:gd name="T1" fmla="*/ 0 h 6"/>
              <a:gd name="T2" fmla="*/ 2147483647 w 6"/>
              <a:gd name="T3" fmla="*/ 0 h 6"/>
              <a:gd name="T4" fmla="*/ 2147483647 w 6"/>
              <a:gd name="T5" fmla="*/ 2147483647 h 6"/>
              <a:gd name="T6" fmla="*/ 0 w 6"/>
              <a:gd name="T7" fmla="*/ 2147483647 h 6"/>
              <a:gd name="T8" fmla="*/ 0 w 6"/>
              <a:gd name="T9" fmla="*/ 2147483647 h 6"/>
              <a:gd name="T10" fmla="*/ 0 w 6"/>
              <a:gd name="T11" fmla="*/ 2147483647 h 6"/>
              <a:gd name="T12" fmla="*/ 2147483647 w 6"/>
              <a:gd name="T13" fmla="*/ 2147483647 h 6"/>
              <a:gd name="T14" fmla="*/ 2147483647 w 6"/>
              <a:gd name="T15" fmla="*/ 2147483647 h 6"/>
              <a:gd name="T16" fmla="*/ 2147483647 w 6"/>
              <a:gd name="T17" fmla="*/ 2147483647 h 6"/>
              <a:gd name="T18" fmla="*/ 2147483647 w 6"/>
              <a:gd name="T19" fmla="*/ 0 h 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6"/>
              <a:gd name="T31" fmla="*/ 0 h 6"/>
              <a:gd name="T32" fmla="*/ 6 w 6"/>
              <a:gd name="T33" fmla="*/ 6 h 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6" h="6">
                <a:moveTo>
                  <a:pt x="6" y="0"/>
                </a:moveTo>
                <a:lnTo>
                  <a:pt x="3" y="0"/>
                </a:lnTo>
                <a:lnTo>
                  <a:pt x="3" y="3"/>
                </a:lnTo>
                <a:lnTo>
                  <a:pt x="0" y="3"/>
                </a:lnTo>
                <a:lnTo>
                  <a:pt x="0" y="6"/>
                </a:lnTo>
                <a:lnTo>
                  <a:pt x="3" y="6"/>
                </a:lnTo>
                <a:lnTo>
                  <a:pt x="6" y="3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72" name="Freeform 359"/>
          <p:cNvSpPr>
            <a:spLocks/>
          </p:cNvSpPr>
          <p:nvPr/>
        </p:nvSpPr>
        <p:spPr bwMode="gray">
          <a:xfrm>
            <a:off x="3342603" y="5421147"/>
            <a:ext cx="6000" cy="4501"/>
          </a:xfrm>
          <a:custGeom>
            <a:avLst/>
            <a:gdLst>
              <a:gd name="T0" fmla="*/ 0 w 3"/>
              <a:gd name="T1" fmla="*/ 0 h 3"/>
              <a:gd name="T2" fmla="*/ 2147483647 w 3"/>
              <a:gd name="T3" fmla="*/ 2147483647 h 3"/>
              <a:gd name="T4" fmla="*/ 2147483647 w 3"/>
              <a:gd name="T5" fmla="*/ 0 h 3"/>
              <a:gd name="T6" fmla="*/ 2147483647 w 3"/>
              <a:gd name="T7" fmla="*/ 0 h 3"/>
              <a:gd name="T8" fmla="*/ 0 w 3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0" y="0"/>
                </a:moveTo>
                <a:lnTo>
                  <a:pt x="3" y="3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73" name="Freeform 360"/>
          <p:cNvSpPr>
            <a:spLocks/>
          </p:cNvSpPr>
          <p:nvPr/>
        </p:nvSpPr>
        <p:spPr bwMode="gray">
          <a:xfrm>
            <a:off x="3332600" y="5407647"/>
            <a:ext cx="16003" cy="13500"/>
          </a:xfrm>
          <a:custGeom>
            <a:avLst/>
            <a:gdLst>
              <a:gd name="T0" fmla="*/ 2147483647 w 8"/>
              <a:gd name="T1" fmla="*/ 2147483647 h 9"/>
              <a:gd name="T2" fmla="*/ 2147483647 w 8"/>
              <a:gd name="T3" fmla="*/ 0 h 9"/>
              <a:gd name="T4" fmla="*/ 2147483647 w 8"/>
              <a:gd name="T5" fmla="*/ 0 h 9"/>
              <a:gd name="T6" fmla="*/ 2147483647 w 8"/>
              <a:gd name="T7" fmla="*/ 0 h 9"/>
              <a:gd name="T8" fmla="*/ 2147483647 w 8"/>
              <a:gd name="T9" fmla="*/ 2147483647 h 9"/>
              <a:gd name="T10" fmla="*/ 2147483647 w 8"/>
              <a:gd name="T11" fmla="*/ 2147483647 h 9"/>
              <a:gd name="T12" fmla="*/ 0 w 8"/>
              <a:gd name="T13" fmla="*/ 2147483647 h 9"/>
              <a:gd name="T14" fmla="*/ 0 w 8"/>
              <a:gd name="T15" fmla="*/ 2147483647 h 9"/>
              <a:gd name="T16" fmla="*/ 2147483647 w 8"/>
              <a:gd name="T17" fmla="*/ 2147483647 h 9"/>
              <a:gd name="T18" fmla="*/ 2147483647 w 8"/>
              <a:gd name="T19" fmla="*/ 2147483647 h 9"/>
              <a:gd name="T20" fmla="*/ 2147483647 w 8"/>
              <a:gd name="T21" fmla="*/ 2147483647 h 9"/>
              <a:gd name="T22" fmla="*/ 2147483647 w 8"/>
              <a:gd name="T23" fmla="*/ 2147483647 h 9"/>
              <a:gd name="T24" fmla="*/ 2147483647 w 8"/>
              <a:gd name="T25" fmla="*/ 2147483647 h 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8"/>
              <a:gd name="T40" fmla="*/ 0 h 9"/>
              <a:gd name="T41" fmla="*/ 8 w 8"/>
              <a:gd name="T42" fmla="*/ 9 h 9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8" h="9">
                <a:moveTo>
                  <a:pt x="5" y="3"/>
                </a:moveTo>
                <a:lnTo>
                  <a:pt x="8" y="0"/>
                </a:lnTo>
                <a:lnTo>
                  <a:pt x="5" y="0"/>
                </a:lnTo>
                <a:lnTo>
                  <a:pt x="5" y="3"/>
                </a:lnTo>
                <a:lnTo>
                  <a:pt x="3" y="3"/>
                </a:lnTo>
                <a:lnTo>
                  <a:pt x="0" y="6"/>
                </a:lnTo>
                <a:lnTo>
                  <a:pt x="0" y="9"/>
                </a:lnTo>
                <a:lnTo>
                  <a:pt x="3" y="9"/>
                </a:lnTo>
                <a:lnTo>
                  <a:pt x="3" y="6"/>
                </a:lnTo>
                <a:lnTo>
                  <a:pt x="5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74" name="Rectangle 361"/>
          <p:cNvSpPr>
            <a:spLocks noChangeArrowheads="1"/>
          </p:cNvSpPr>
          <p:nvPr/>
        </p:nvSpPr>
        <p:spPr bwMode="gray">
          <a:xfrm>
            <a:off x="3348604" y="5412146"/>
            <a:ext cx="6002" cy="4501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75" name="Freeform 362"/>
          <p:cNvSpPr>
            <a:spLocks/>
          </p:cNvSpPr>
          <p:nvPr/>
        </p:nvSpPr>
        <p:spPr bwMode="gray">
          <a:xfrm>
            <a:off x="3314598" y="5400146"/>
            <a:ext cx="12002" cy="3000"/>
          </a:xfrm>
          <a:custGeom>
            <a:avLst/>
            <a:gdLst>
              <a:gd name="T0" fmla="*/ 0 w 6"/>
              <a:gd name="T1" fmla="*/ 2147483647 h 2"/>
              <a:gd name="T2" fmla="*/ 0 w 6"/>
              <a:gd name="T3" fmla="*/ 2147483647 h 2"/>
              <a:gd name="T4" fmla="*/ 0 w 6"/>
              <a:gd name="T5" fmla="*/ 2147483647 h 2"/>
              <a:gd name="T6" fmla="*/ 2147483647 w 6"/>
              <a:gd name="T7" fmla="*/ 2147483647 h 2"/>
              <a:gd name="T8" fmla="*/ 2147483647 w 6"/>
              <a:gd name="T9" fmla="*/ 2147483647 h 2"/>
              <a:gd name="T10" fmla="*/ 0 w 6"/>
              <a:gd name="T11" fmla="*/ 0 h 2"/>
              <a:gd name="T12" fmla="*/ 0 w 6"/>
              <a:gd name="T13" fmla="*/ 2147483647 h 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6"/>
              <a:gd name="T22" fmla="*/ 0 h 2"/>
              <a:gd name="T23" fmla="*/ 6 w 6"/>
              <a:gd name="T24" fmla="*/ 2 h 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6" h="2">
                <a:moveTo>
                  <a:pt x="0" y="2"/>
                </a:moveTo>
                <a:lnTo>
                  <a:pt x="0" y="2"/>
                </a:lnTo>
                <a:lnTo>
                  <a:pt x="3" y="2"/>
                </a:lnTo>
                <a:lnTo>
                  <a:pt x="6" y="2"/>
                </a:lnTo>
                <a:lnTo>
                  <a:pt x="0" y="0"/>
                </a:lnTo>
                <a:lnTo>
                  <a:pt x="0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76" name="Freeform 363"/>
          <p:cNvSpPr>
            <a:spLocks/>
          </p:cNvSpPr>
          <p:nvPr/>
        </p:nvSpPr>
        <p:spPr bwMode="gray">
          <a:xfrm>
            <a:off x="3220580" y="5350646"/>
            <a:ext cx="18004" cy="9000"/>
          </a:xfrm>
          <a:custGeom>
            <a:avLst/>
            <a:gdLst>
              <a:gd name="T0" fmla="*/ 2147483647 w 9"/>
              <a:gd name="T1" fmla="*/ 0 h 6"/>
              <a:gd name="T2" fmla="*/ 2147483647 w 9"/>
              <a:gd name="T3" fmla="*/ 2147483647 h 6"/>
              <a:gd name="T4" fmla="*/ 2147483647 w 9"/>
              <a:gd name="T5" fmla="*/ 2147483647 h 6"/>
              <a:gd name="T6" fmla="*/ 0 w 9"/>
              <a:gd name="T7" fmla="*/ 2147483647 h 6"/>
              <a:gd name="T8" fmla="*/ 2147483647 w 9"/>
              <a:gd name="T9" fmla="*/ 2147483647 h 6"/>
              <a:gd name="T10" fmla="*/ 2147483647 w 9"/>
              <a:gd name="T11" fmla="*/ 2147483647 h 6"/>
              <a:gd name="T12" fmla="*/ 2147483647 w 9"/>
              <a:gd name="T13" fmla="*/ 2147483647 h 6"/>
              <a:gd name="T14" fmla="*/ 2147483647 w 9"/>
              <a:gd name="T15" fmla="*/ 2147483647 h 6"/>
              <a:gd name="T16" fmla="*/ 2147483647 w 9"/>
              <a:gd name="T17" fmla="*/ 0 h 6"/>
              <a:gd name="T18" fmla="*/ 2147483647 w 9"/>
              <a:gd name="T19" fmla="*/ 0 h 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9"/>
              <a:gd name="T31" fmla="*/ 0 h 6"/>
              <a:gd name="T32" fmla="*/ 9 w 9"/>
              <a:gd name="T33" fmla="*/ 6 h 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9" h="6">
                <a:moveTo>
                  <a:pt x="6" y="0"/>
                </a:moveTo>
                <a:lnTo>
                  <a:pt x="6" y="3"/>
                </a:lnTo>
                <a:lnTo>
                  <a:pt x="3" y="3"/>
                </a:lnTo>
                <a:lnTo>
                  <a:pt x="0" y="6"/>
                </a:lnTo>
                <a:lnTo>
                  <a:pt x="3" y="6"/>
                </a:lnTo>
                <a:lnTo>
                  <a:pt x="3" y="3"/>
                </a:lnTo>
                <a:lnTo>
                  <a:pt x="6" y="3"/>
                </a:lnTo>
                <a:lnTo>
                  <a:pt x="9" y="3"/>
                </a:lnTo>
                <a:lnTo>
                  <a:pt x="9" y="0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77" name="Freeform 364"/>
          <p:cNvSpPr>
            <a:spLocks/>
          </p:cNvSpPr>
          <p:nvPr/>
        </p:nvSpPr>
        <p:spPr bwMode="gray">
          <a:xfrm>
            <a:off x="3342603" y="5400146"/>
            <a:ext cx="12002" cy="3000"/>
          </a:xfrm>
          <a:custGeom>
            <a:avLst/>
            <a:gdLst>
              <a:gd name="T0" fmla="*/ 0 w 6"/>
              <a:gd name="T1" fmla="*/ 0 h 2"/>
              <a:gd name="T2" fmla="*/ 0 w 6"/>
              <a:gd name="T3" fmla="*/ 2147483647 h 2"/>
              <a:gd name="T4" fmla="*/ 0 w 6"/>
              <a:gd name="T5" fmla="*/ 2147483647 h 2"/>
              <a:gd name="T6" fmla="*/ 2147483647 w 6"/>
              <a:gd name="T7" fmla="*/ 2147483647 h 2"/>
              <a:gd name="T8" fmla="*/ 2147483647 w 6"/>
              <a:gd name="T9" fmla="*/ 2147483647 h 2"/>
              <a:gd name="T10" fmla="*/ 2147483647 w 6"/>
              <a:gd name="T11" fmla="*/ 0 h 2"/>
              <a:gd name="T12" fmla="*/ 2147483647 w 6"/>
              <a:gd name="T13" fmla="*/ 0 h 2"/>
              <a:gd name="T14" fmla="*/ 0 w 6"/>
              <a:gd name="T15" fmla="*/ 0 h 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"/>
              <a:gd name="T25" fmla="*/ 0 h 2"/>
              <a:gd name="T26" fmla="*/ 6 w 6"/>
              <a:gd name="T27" fmla="*/ 2 h 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" h="2">
                <a:moveTo>
                  <a:pt x="0" y="0"/>
                </a:moveTo>
                <a:lnTo>
                  <a:pt x="0" y="2"/>
                </a:lnTo>
                <a:lnTo>
                  <a:pt x="3" y="2"/>
                </a:lnTo>
                <a:lnTo>
                  <a:pt x="6" y="0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78" name="Freeform 365"/>
          <p:cNvSpPr>
            <a:spLocks/>
          </p:cNvSpPr>
          <p:nvPr/>
        </p:nvSpPr>
        <p:spPr bwMode="gray">
          <a:xfrm>
            <a:off x="3332600" y="5395646"/>
            <a:ext cx="10002" cy="12000"/>
          </a:xfrm>
          <a:custGeom>
            <a:avLst/>
            <a:gdLst>
              <a:gd name="T0" fmla="*/ 2147483647 w 5"/>
              <a:gd name="T1" fmla="*/ 2147483647 h 8"/>
              <a:gd name="T2" fmla="*/ 0 w 5"/>
              <a:gd name="T3" fmla="*/ 0 h 8"/>
              <a:gd name="T4" fmla="*/ 0 w 5"/>
              <a:gd name="T5" fmla="*/ 0 h 8"/>
              <a:gd name="T6" fmla="*/ 0 w 5"/>
              <a:gd name="T7" fmla="*/ 2147483647 h 8"/>
              <a:gd name="T8" fmla="*/ 2147483647 w 5"/>
              <a:gd name="T9" fmla="*/ 2147483647 h 8"/>
              <a:gd name="T10" fmla="*/ 2147483647 w 5"/>
              <a:gd name="T11" fmla="*/ 2147483647 h 8"/>
              <a:gd name="T12" fmla="*/ 2147483647 w 5"/>
              <a:gd name="T13" fmla="*/ 2147483647 h 8"/>
              <a:gd name="T14" fmla="*/ 2147483647 w 5"/>
              <a:gd name="T15" fmla="*/ 2147483647 h 8"/>
              <a:gd name="T16" fmla="*/ 2147483647 w 5"/>
              <a:gd name="T17" fmla="*/ 2147483647 h 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"/>
              <a:gd name="T28" fmla="*/ 0 h 8"/>
              <a:gd name="T29" fmla="*/ 5 w 5"/>
              <a:gd name="T30" fmla="*/ 8 h 8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" h="8">
                <a:moveTo>
                  <a:pt x="3" y="3"/>
                </a:moveTo>
                <a:lnTo>
                  <a:pt x="0" y="0"/>
                </a:lnTo>
                <a:lnTo>
                  <a:pt x="0" y="3"/>
                </a:lnTo>
                <a:lnTo>
                  <a:pt x="3" y="5"/>
                </a:lnTo>
                <a:lnTo>
                  <a:pt x="3" y="8"/>
                </a:lnTo>
                <a:lnTo>
                  <a:pt x="5" y="5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79" name="Freeform 366"/>
          <p:cNvSpPr>
            <a:spLocks/>
          </p:cNvSpPr>
          <p:nvPr/>
        </p:nvSpPr>
        <p:spPr bwMode="gray">
          <a:xfrm>
            <a:off x="3326600" y="5382145"/>
            <a:ext cx="16003" cy="13501"/>
          </a:xfrm>
          <a:custGeom>
            <a:avLst/>
            <a:gdLst>
              <a:gd name="T0" fmla="*/ 2147483647 w 8"/>
              <a:gd name="T1" fmla="*/ 2147483647 h 9"/>
              <a:gd name="T2" fmla="*/ 2147483647 w 8"/>
              <a:gd name="T3" fmla="*/ 2147483647 h 9"/>
              <a:gd name="T4" fmla="*/ 2147483647 w 8"/>
              <a:gd name="T5" fmla="*/ 2147483647 h 9"/>
              <a:gd name="T6" fmla="*/ 2147483647 w 8"/>
              <a:gd name="T7" fmla="*/ 2147483647 h 9"/>
              <a:gd name="T8" fmla="*/ 2147483647 w 8"/>
              <a:gd name="T9" fmla="*/ 0 h 9"/>
              <a:gd name="T10" fmla="*/ 2147483647 w 8"/>
              <a:gd name="T11" fmla="*/ 0 h 9"/>
              <a:gd name="T12" fmla="*/ 2147483647 w 8"/>
              <a:gd name="T13" fmla="*/ 2147483647 h 9"/>
              <a:gd name="T14" fmla="*/ 2147483647 w 8"/>
              <a:gd name="T15" fmla="*/ 2147483647 h 9"/>
              <a:gd name="T16" fmla="*/ 0 w 8"/>
              <a:gd name="T17" fmla="*/ 2147483647 h 9"/>
              <a:gd name="T18" fmla="*/ 2147483647 w 8"/>
              <a:gd name="T19" fmla="*/ 2147483647 h 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8"/>
              <a:gd name="T31" fmla="*/ 0 h 9"/>
              <a:gd name="T32" fmla="*/ 8 w 8"/>
              <a:gd name="T33" fmla="*/ 9 h 9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8" h="9">
                <a:moveTo>
                  <a:pt x="6" y="9"/>
                </a:moveTo>
                <a:lnTo>
                  <a:pt x="8" y="9"/>
                </a:lnTo>
                <a:lnTo>
                  <a:pt x="6" y="6"/>
                </a:lnTo>
                <a:lnTo>
                  <a:pt x="6" y="0"/>
                </a:lnTo>
                <a:lnTo>
                  <a:pt x="3" y="3"/>
                </a:lnTo>
                <a:lnTo>
                  <a:pt x="0" y="9"/>
                </a:lnTo>
                <a:lnTo>
                  <a:pt x="6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80" name="Freeform 367"/>
          <p:cNvSpPr>
            <a:spLocks/>
          </p:cNvSpPr>
          <p:nvPr/>
        </p:nvSpPr>
        <p:spPr bwMode="gray">
          <a:xfrm>
            <a:off x="3164570" y="5295143"/>
            <a:ext cx="10002" cy="7501"/>
          </a:xfrm>
          <a:custGeom>
            <a:avLst/>
            <a:gdLst>
              <a:gd name="T0" fmla="*/ 2147483647 w 5"/>
              <a:gd name="T1" fmla="*/ 0 h 5"/>
              <a:gd name="T2" fmla="*/ 2147483647 w 5"/>
              <a:gd name="T3" fmla="*/ 0 h 5"/>
              <a:gd name="T4" fmla="*/ 2147483647 w 5"/>
              <a:gd name="T5" fmla="*/ 0 h 5"/>
              <a:gd name="T6" fmla="*/ 2147483647 w 5"/>
              <a:gd name="T7" fmla="*/ 0 h 5"/>
              <a:gd name="T8" fmla="*/ 0 w 5"/>
              <a:gd name="T9" fmla="*/ 2147483647 h 5"/>
              <a:gd name="T10" fmla="*/ 2147483647 w 5"/>
              <a:gd name="T11" fmla="*/ 2147483647 h 5"/>
              <a:gd name="T12" fmla="*/ 2147483647 w 5"/>
              <a:gd name="T13" fmla="*/ 2147483647 h 5"/>
              <a:gd name="T14" fmla="*/ 2147483647 w 5"/>
              <a:gd name="T15" fmla="*/ 0 h 5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"/>
              <a:gd name="T25" fmla="*/ 0 h 5"/>
              <a:gd name="T26" fmla="*/ 5 w 5"/>
              <a:gd name="T27" fmla="*/ 5 h 5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" h="5">
                <a:moveTo>
                  <a:pt x="2" y="0"/>
                </a:moveTo>
                <a:lnTo>
                  <a:pt x="5" y="0"/>
                </a:lnTo>
                <a:lnTo>
                  <a:pt x="2" y="0"/>
                </a:lnTo>
                <a:lnTo>
                  <a:pt x="0" y="3"/>
                </a:lnTo>
                <a:lnTo>
                  <a:pt x="2" y="5"/>
                </a:lnTo>
                <a:lnTo>
                  <a:pt x="2" y="3"/>
                </a:lnTo>
                <a:lnTo>
                  <a:pt x="2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81" name="Freeform 368"/>
          <p:cNvSpPr>
            <a:spLocks/>
          </p:cNvSpPr>
          <p:nvPr/>
        </p:nvSpPr>
        <p:spPr bwMode="gray">
          <a:xfrm>
            <a:off x="3378609" y="5425648"/>
            <a:ext cx="6000" cy="9000"/>
          </a:xfrm>
          <a:custGeom>
            <a:avLst/>
            <a:gdLst>
              <a:gd name="T0" fmla="*/ 0 w 3"/>
              <a:gd name="T1" fmla="*/ 2147483647 h 6"/>
              <a:gd name="T2" fmla="*/ 0 w 3"/>
              <a:gd name="T3" fmla="*/ 2147483647 h 6"/>
              <a:gd name="T4" fmla="*/ 2147483647 w 3"/>
              <a:gd name="T5" fmla="*/ 2147483647 h 6"/>
              <a:gd name="T6" fmla="*/ 0 w 3"/>
              <a:gd name="T7" fmla="*/ 0 h 6"/>
              <a:gd name="T8" fmla="*/ 0 w 3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0" y="3"/>
                </a:moveTo>
                <a:lnTo>
                  <a:pt x="0" y="6"/>
                </a:ln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82" name="Freeform 369"/>
          <p:cNvSpPr>
            <a:spLocks/>
          </p:cNvSpPr>
          <p:nvPr/>
        </p:nvSpPr>
        <p:spPr bwMode="gray">
          <a:xfrm>
            <a:off x="3366607" y="5400146"/>
            <a:ext cx="6000" cy="7501"/>
          </a:xfrm>
          <a:custGeom>
            <a:avLst/>
            <a:gdLst>
              <a:gd name="T0" fmla="*/ 0 w 3"/>
              <a:gd name="T1" fmla="*/ 2147483647 h 5"/>
              <a:gd name="T2" fmla="*/ 0 w 3"/>
              <a:gd name="T3" fmla="*/ 2147483647 h 5"/>
              <a:gd name="T4" fmla="*/ 2147483647 w 3"/>
              <a:gd name="T5" fmla="*/ 2147483647 h 5"/>
              <a:gd name="T6" fmla="*/ 2147483647 w 3"/>
              <a:gd name="T7" fmla="*/ 0 h 5"/>
              <a:gd name="T8" fmla="*/ 0 w 3"/>
              <a:gd name="T9" fmla="*/ 2147483647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5"/>
              <a:gd name="T17" fmla="*/ 3 w 3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5">
                <a:moveTo>
                  <a:pt x="0" y="2"/>
                </a:moveTo>
                <a:lnTo>
                  <a:pt x="0" y="5"/>
                </a:lnTo>
                <a:lnTo>
                  <a:pt x="3" y="2"/>
                </a:lnTo>
                <a:lnTo>
                  <a:pt x="3" y="0"/>
                </a:lnTo>
                <a:lnTo>
                  <a:pt x="0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83" name="Freeform 370"/>
          <p:cNvSpPr>
            <a:spLocks/>
          </p:cNvSpPr>
          <p:nvPr/>
        </p:nvSpPr>
        <p:spPr bwMode="gray">
          <a:xfrm>
            <a:off x="3354605" y="5416647"/>
            <a:ext cx="12002" cy="4500"/>
          </a:xfrm>
          <a:custGeom>
            <a:avLst/>
            <a:gdLst>
              <a:gd name="T0" fmla="*/ 2147483647 w 6"/>
              <a:gd name="T1" fmla="*/ 0 h 3"/>
              <a:gd name="T2" fmla="*/ 0 w 6"/>
              <a:gd name="T3" fmla="*/ 2147483647 h 3"/>
              <a:gd name="T4" fmla="*/ 2147483647 w 6"/>
              <a:gd name="T5" fmla="*/ 2147483647 h 3"/>
              <a:gd name="T6" fmla="*/ 2147483647 w 6"/>
              <a:gd name="T7" fmla="*/ 0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3" y="0"/>
                </a:moveTo>
                <a:lnTo>
                  <a:pt x="0" y="3"/>
                </a:lnTo>
                <a:lnTo>
                  <a:pt x="3" y="3"/>
                </a:lnTo>
                <a:lnTo>
                  <a:pt x="6" y="0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84" name="Freeform 371"/>
          <p:cNvSpPr>
            <a:spLocks/>
          </p:cNvSpPr>
          <p:nvPr/>
        </p:nvSpPr>
        <p:spPr bwMode="gray">
          <a:xfrm>
            <a:off x="3168571" y="5286143"/>
            <a:ext cx="18004" cy="21001"/>
          </a:xfrm>
          <a:custGeom>
            <a:avLst/>
            <a:gdLst>
              <a:gd name="T0" fmla="*/ 0 w 9"/>
              <a:gd name="T1" fmla="*/ 0 h 14"/>
              <a:gd name="T2" fmla="*/ 2147483647 w 9"/>
              <a:gd name="T3" fmla="*/ 2147483647 h 14"/>
              <a:gd name="T4" fmla="*/ 2147483647 w 9"/>
              <a:gd name="T5" fmla="*/ 2147483647 h 14"/>
              <a:gd name="T6" fmla="*/ 2147483647 w 9"/>
              <a:gd name="T7" fmla="*/ 2147483647 h 14"/>
              <a:gd name="T8" fmla="*/ 0 w 9"/>
              <a:gd name="T9" fmla="*/ 2147483647 h 14"/>
              <a:gd name="T10" fmla="*/ 2147483647 w 9"/>
              <a:gd name="T11" fmla="*/ 2147483647 h 14"/>
              <a:gd name="T12" fmla="*/ 2147483647 w 9"/>
              <a:gd name="T13" fmla="*/ 2147483647 h 14"/>
              <a:gd name="T14" fmla="*/ 2147483647 w 9"/>
              <a:gd name="T15" fmla="*/ 2147483647 h 14"/>
              <a:gd name="T16" fmla="*/ 2147483647 w 9"/>
              <a:gd name="T17" fmla="*/ 2147483647 h 14"/>
              <a:gd name="T18" fmla="*/ 2147483647 w 9"/>
              <a:gd name="T19" fmla="*/ 2147483647 h 14"/>
              <a:gd name="T20" fmla="*/ 0 w 9"/>
              <a:gd name="T21" fmla="*/ 0 h 1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9"/>
              <a:gd name="T34" fmla="*/ 0 h 14"/>
              <a:gd name="T35" fmla="*/ 9 w 9"/>
              <a:gd name="T36" fmla="*/ 14 h 14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9" h="14">
                <a:moveTo>
                  <a:pt x="0" y="0"/>
                </a:moveTo>
                <a:lnTo>
                  <a:pt x="3" y="6"/>
                </a:lnTo>
                <a:lnTo>
                  <a:pt x="3" y="9"/>
                </a:lnTo>
                <a:lnTo>
                  <a:pt x="0" y="11"/>
                </a:lnTo>
                <a:lnTo>
                  <a:pt x="3" y="14"/>
                </a:lnTo>
                <a:lnTo>
                  <a:pt x="3" y="11"/>
                </a:lnTo>
                <a:lnTo>
                  <a:pt x="6" y="9"/>
                </a:lnTo>
                <a:lnTo>
                  <a:pt x="9" y="6"/>
                </a:lnTo>
                <a:lnTo>
                  <a:pt x="6" y="3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267" name="Freeform 372"/>
          <p:cNvSpPr>
            <a:spLocks/>
          </p:cNvSpPr>
          <p:nvPr/>
        </p:nvSpPr>
        <p:spPr bwMode="gray">
          <a:xfrm>
            <a:off x="4776860" y="3403593"/>
            <a:ext cx="98018" cy="21001"/>
          </a:xfrm>
          <a:custGeom>
            <a:avLst/>
            <a:gdLst>
              <a:gd name="T0" fmla="*/ 2147483647 w 48"/>
              <a:gd name="T1" fmla="*/ 2147483647 h 14"/>
              <a:gd name="T2" fmla="*/ 2147483647 w 48"/>
              <a:gd name="T3" fmla="*/ 2147483647 h 14"/>
              <a:gd name="T4" fmla="*/ 2147483647 w 48"/>
              <a:gd name="T5" fmla="*/ 2147483647 h 14"/>
              <a:gd name="T6" fmla="*/ 2147483647 w 48"/>
              <a:gd name="T7" fmla="*/ 2147483647 h 14"/>
              <a:gd name="T8" fmla="*/ 2147483647 w 48"/>
              <a:gd name="T9" fmla="*/ 2147483647 h 14"/>
              <a:gd name="T10" fmla="*/ 2147483647 w 48"/>
              <a:gd name="T11" fmla="*/ 2147483647 h 14"/>
              <a:gd name="T12" fmla="*/ 2147483647 w 48"/>
              <a:gd name="T13" fmla="*/ 2147483647 h 14"/>
              <a:gd name="T14" fmla="*/ 2147483647 w 48"/>
              <a:gd name="T15" fmla="*/ 2147483647 h 14"/>
              <a:gd name="T16" fmla="*/ 2147483647 w 48"/>
              <a:gd name="T17" fmla="*/ 2147483647 h 14"/>
              <a:gd name="T18" fmla="*/ 2147483647 w 48"/>
              <a:gd name="T19" fmla="*/ 2147483647 h 14"/>
              <a:gd name="T20" fmla="*/ 2147483647 w 48"/>
              <a:gd name="T21" fmla="*/ 2147483647 h 14"/>
              <a:gd name="T22" fmla="*/ 2147483647 w 48"/>
              <a:gd name="T23" fmla="*/ 2147483647 h 14"/>
              <a:gd name="T24" fmla="*/ 2147483647 w 48"/>
              <a:gd name="T25" fmla="*/ 2147483647 h 14"/>
              <a:gd name="T26" fmla="*/ 2147483647 w 48"/>
              <a:gd name="T27" fmla="*/ 0 h 14"/>
              <a:gd name="T28" fmla="*/ 2147483647 w 48"/>
              <a:gd name="T29" fmla="*/ 0 h 14"/>
              <a:gd name="T30" fmla="*/ 2147483647 w 48"/>
              <a:gd name="T31" fmla="*/ 2147483647 h 14"/>
              <a:gd name="T32" fmla="*/ 2147483647 w 48"/>
              <a:gd name="T33" fmla="*/ 2147483647 h 14"/>
              <a:gd name="T34" fmla="*/ 2147483647 w 48"/>
              <a:gd name="T35" fmla="*/ 2147483647 h 14"/>
              <a:gd name="T36" fmla="*/ 2147483647 w 48"/>
              <a:gd name="T37" fmla="*/ 2147483647 h 14"/>
              <a:gd name="T38" fmla="*/ 0 w 48"/>
              <a:gd name="T39" fmla="*/ 2147483647 h 14"/>
              <a:gd name="T40" fmla="*/ 0 w 48"/>
              <a:gd name="T41" fmla="*/ 2147483647 h 14"/>
              <a:gd name="T42" fmla="*/ 0 w 48"/>
              <a:gd name="T43" fmla="*/ 2147483647 h 14"/>
              <a:gd name="T44" fmla="*/ 2147483647 w 48"/>
              <a:gd name="T45" fmla="*/ 2147483647 h 14"/>
              <a:gd name="T46" fmla="*/ 2147483647 w 48"/>
              <a:gd name="T47" fmla="*/ 2147483647 h 14"/>
              <a:gd name="T48" fmla="*/ 2147483647 w 48"/>
              <a:gd name="T49" fmla="*/ 2147483647 h 14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48"/>
              <a:gd name="T76" fmla="*/ 0 h 14"/>
              <a:gd name="T77" fmla="*/ 48 w 48"/>
              <a:gd name="T78" fmla="*/ 14 h 14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48" h="14">
                <a:moveTo>
                  <a:pt x="17" y="8"/>
                </a:moveTo>
                <a:lnTo>
                  <a:pt x="17" y="8"/>
                </a:lnTo>
                <a:lnTo>
                  <a:pt x="22" y="8"/>
                </a:lnTo>
                <a:lnTo>
                  <a:pt x="28" y="5"/>
                </a:lnTo>
                <a:lnTo>
                  <a:pt x="34" y="5"/>
                </a:lnTo>
                <a:lnTo>
                  <a:pt x="43" y="11"/>
                </a:lnTo>
                <a:lnTo>
                  <a:pt x="48" y="8"/>
                </a:lnTo>
                <a:lnTo>
                  <a:pt x="48" y="5"/>
                </a:lnTo>
                <a:lnTo>
                  <a:pt x="43" y="5"/>
                </a:lnTo>
                <a:lnTo>
                  <a:pt x="37" y="3"/>
                </a:lnTo>
                <a:lnTo>
                  <a:pt x="31" y="0"/>
                </a:lnTo>
                <a:lnTo>
                  <a:pt x="25" y="0"/>
                </a:lnTo>
                <a:lnTo>
                  <a:pt x="20" y="5"/>
                </a:lnTo>
                <a:lnTo>
                  <a:pt x="11" y="5"/>
                </a:lnTo>
                <a:lnTo>
                  <a:pt x="2" y="5"/>
                </a:lnTo>
                <a:lnTo>
                  <a:pt x="0" y="5"/>
                </a:lnTo>
                <a:lnTo>
                  <a:pt x="0" y="14"/>
                </a:lnTo>
                <a:lnTo>
                  <a:pt x="14" y="11"/>
                </a:lnTo>
                <a:lnTo>
                  <a:pt x="17" y="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186" name="Freeform 373"/>
          <p:cNvSpPr>
            <a:spLocks/>
          </p:cNvSpPr>
          <p:nvPr/>
        </p:nvSpPr>
        <p:spPr bwMode="gray">
          <a:xfrm>
            <a:off x="3360606" y="5425647"/>
            <a:ext cx="12002" cy="4500"/>
          </a:xfrm>
          <a:custGeom>
            <a:avLst/>
            <a:gdLst>
              <a:gd name="T0" fmla="*/ 0 w 6"/>
              <a:gd name="T1" fmla="*/ 2147483647 h 3"/>
              <a:gd name="T2" fmla="*/ 2147483647 w 6"/>
              <a:gd name="T3" fmla="*/ 2147483647 h 3"/>
              <a:gd name="T4" fmla="*/ 2147483647 w 6"/>
              <a:gd name="T5" fmla="*/ 2147483647 h 3"/>
              <a:gd name="T6" fmla="*/ 2147483647 w 6"/>
              <a:gd name="T7" fmla="*/ 0 h 3"/>
              <a:gd name="T8" fmla="*/ 2147483647 w 6"/>
              <a:gd name="T9" fmla="*/ 0 h 3"/>
              <a:gd name="T10" fmla="*/ 0 w 6"/>
              <a:gd name="T11" fmla="*/ 2147483647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3"/>
              <a:gd name="T20" fmla="*/ 6 w 6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3">
                <a:moveTo>
                  <a:pt x="0" y="3"/>
                </a:moveTo>
                <a:lnTo>
                  <a:pt x="3" y="3"/>
                </a:lnTo>
                <a:lnTo>
                  <a:pt x="6" y="3"/>
                </a:ln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87" name="Freeform 374"/>
          <p:cNvSpPr>
            <a:spLocks/>
          </p:cNvSpPr>
          <p:nvPr/>
        </p:nvSpPr>
        <p:spPr bwMode="gray">
          <a:xfrm>
            <a:off x="3366608" y="5416647"/>
            <a:ext cx="12002" cy="4500"/>
          </a:xfrm>
          <a:custGeom>
            <a:avLst/>
            <a:gdLst>
              <a:gd name="T0" fmla="*/ 2147483647 w 6"/>
              <a:gd name="T1" fmla="*/ 0 h 3"/>
              <a:gd name="T2" fmla="*/ 2147483647 w 6"/>
              <a:gd name="T3" fmla="*/ 0 h 3"/>
              <a:gd name="T4" fmla="*/ 0 w 6"/>
              <a:gd name="T5" fmla="*/ 2147483647 h 3"/>
              <a:gd name="T6" fmla="*/ 2147483647 w 6"/>
              <a:gd name="T7" fmla="*/ 2147483647 h 3"/>
              <a:gd name="T8" fmla="*/ 2147483647 w 6"/>
              <a:gd name="T9" fmla="*/ 2147483647 h 3"/>
              <a:gd name="T10" fmla="*/ 2147483647 w 6"/>
              <a:gd name="T11" fmla="*/ 0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3"/>
              <a:gd name="T20" fmla="*/ 6 w 6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3">
                <a:moveTo>
                  <a:pt x="6" y="0"/>
                </a:moveTo>
                <a:lnTo>
                  <a:pt x="3" y="0"/>
                </a:lnTo>
                <a:lnTo>
                  <a:pt x="0" y="3"/>
                </a:lnTo>
                <a:lnTo>
                  <a:pt x="3" y="3"/>
                </a:lnTo>
                <a:lnTo>
                  <a:pt x="6" y="3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88" name="Freeform 375"/>
          <p:cNvSpPr>
            <a:spLocks/>
          </p:cNvSpPr>
          <p:nvPr/>
        </p:nvSpPr>
        <p:spPr bwMode="gray">
          <a:xfrm>
            <a:off x="3360606" y="5407647"/>
            <a:ext cx="12002" cy="9000"/>
          </a:xfrm>
          <a:custGeom>
            <a:avLst/>
            <a:gdLst>
              <a:gd name="T0" fmla="*/ 0 w 6"/>
              <a:gd name="T1" fmla="*/ 0 h 6"/>
              <a:gd name="T2" fmla="*/ 2147483647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w 6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0" y="0"/>
                </a:moveTo>
                <a:lnTo>
                  <a:pt x="3" y="6"/>
                </a:lnTo>
                <a:lnTo>
                  <a:pt x="6" y="6"/>
                </a:lnTo>
                <a:lnTo>
                  <a:pt x="6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89" name="Freeform 376"/>
          <p:cNvSpPr>
            <a:spLocks/>
          </p:cNvSpPr>
          <p:nvPr/>
        </p:nvSpPr>
        <p:spPr bwMode="gray">
          <a:xfrm>
            <a:off x="3024545" y="4455121"/>
            <a:ext cx="528095" cy="891024"/>
          </a:xfrm>
          <a:custGeom>
            <a:avLst/>
            <a:gdLst>
              <a:gd name="T0" fmla="*/ 2147483647 w 261"/>
              <a:gd name="T1" fmla="*/ 2147483647 h 588"/>
              <a:gd name="T2" fmla="*/ 2147483647 w 261"/>
              <a:gd name="T3" fmla="*/ 2147483647 h 588"/>
              <a:gd name="T4" fmla="*/ 2147483647 w 261"/>
              <a:gd name="T5" fmla="*/ 2147483647 h 588"/>
              <a:gd name="T6" fmla="*/ 2147483647 w 261"/>
              <a:gd name="T7" fmla="*/ 2147483647 h 588"/>
              <a:gd name="T8" fmla="*/ 2147483647 w 261"/>
              <a:gd name="T9" fmla="*/ 2147483647 h 588"/>
              <a:gd name="T10" fmla="*/ 2147483647 w 261"/>
              <a:gd name="T11" fmla="*/ 2147483647 h 588"/>
              <a:gd name="T12" fmla="*/ 2147483647 w 261"/>
              <a:gd name="T13" fmla="*/ 2147483647 h 588"/>
              <a:gd name="T14" fmla="*/ 2147483647 w 261"/>
              <a:gd name="T15" fmla="*/ 2147483647 h 588"/>
              <a:gd name="T16" fmla="*/ 2147483647 w 261"/>
              <a:gd name="T17" fmla="*/ 2147483647 h 588"/>
              <a:gd name="T18" fmla="*/ 2147483647 w 261"/>
              <a:gd name="T19" fmla="*/ 2147483647 h 588"/>
              <a:gd name="T20" fmla="*/ 2147483647 w 261"/>
              <a:gd name="T21" fmla="*/ 2147483647 h 588"/>
              <a:gd name="T22" fmla="*/ 2147483647 w 261"/>
              <a:gd name="T23" fmla="*/ 2147483647 h 588"/>
              <a:gd name="T24" fmla="*/ 2147483647 w 261"/>
              <a:gd name="T25" fmla="*/ 2147483647 h 588"/>
              <a:gd name="T26" fmla="*/ 2147483647 w 261"/>
              <a:gd name="T27" fmla="*/ 2147483647 h 588"/>
              <a:gd name="T28" fmla="*/ 2147483647 w 261"/>
              <a:gd name="T29" fmla="*/ 2147483647 h 588"/>
              <a:gd name="T30" fmla="*/ 2147483647 w 261"/>
              <a:gd name="T31" fmla="*/ 2147483647 h 588"/>
              <a:gd name="T32" fmla="*/ 2147483647 w 261"/>
              <a:gd name="T33" fmla="*/ 2147483647 h 588"/>
              <a:gd name="T34" fmla="*/ 0 w 261"/>
              <a:gd name="T35" fmla="*/ 2147483647 h 588"/>
              <a:gd name="T36" fmla="*/ 2147483647 w 261"/>
              <a:gd name="T37" fmla="*/ 2147483647 h 588"/>
              <a:gd name="T38" fmla="*/ 2147483647 w 261"/>
              <a:gd name="T39" fmla="*/ 2147483647 h 588"/>
              <a:gd name="T40" fmla="*/ 2147483647 w 261"/>
              <a:gd name="T41" fmla="*/ 2147483647 h 588"/>
              <a:gd name="T42" fmla="*/ 2147483647 w 261"/>
              <a:gd name="T43" fmla="*/ 2147483647 h 588"/>
              <a:gd name="T44" fmla="*/ 2147483647 w 261"/>
              <a:gd name="T45" fmla="*/ 2147483647 h 588"/>
              <a:gd name="T46" fmla="*/ 2147483647 w 261"/>
              <a:gd name="T47" fmla="*/ 2147483647 h 588"/>
              <a:gd name="T48" fmla="*/ 2147483647 w 261"/>
              <a:gd name="T49" fmla="*/ 2147483647 h 588"/>
              <a:gd name="T50" fmla="*/ 2147483647 w 261"/>
              <a:gd name="T51" fmla="*/ 2147483647 h 588"/>
              <a:gd name="T52" fmla="*/ 2147483647 w 261"/>
              <a:gd name="T53" fmla="*/ 2147483647 h 588"/>
              <a:gd name="T54" fmla="*/ 2147483647 w 261"/>
              <a:gd name="T55" fmla="*/ 2147483647 h 588"/>
              <a:gd name="T56" fmla="*/ 2147483647 w 261"/>
              <a:gd name="T57" fmla="*/ 2147483647 h 588"/>
              <a:gd name="T58" fmla="*/ 2147483647 w 261"/>
              <a:gd name="T59" fmla="*/ 2147483647 h 588"/>
              <a:gd name="T60" fmla="*/ 2147483647 w 261"/>
              <a:gd name="T61" fmla="*/ 2147483647 h 588"/>
              <a:gd name="T62" fmla="*/ 2147483647 w 261"/>
              <a:gd name="T63" fmla="*/ 2147483647 h 588"/>
              <a:gd name="T64" fmla="*/ 2147483647 w 261"/>
              <a:gd name="T65" fmla="*/ 2147483647 h 588"/>
              <a:gd name="T66" fmla="*/ 2147483647 w 261"/>
              <a:gd name="T67" fmla="*/ 2147483647 h 588"/>
              <a:gd name="T68" fmla="*/ 2147483647 w 261"/>
              <a:gd name="T69" fmla="*/ 2147483647 h 588"/>
              <a:gd name="T70" fmla="*/ 2147483647 w 261"/>
              <a:gd name="T71" fmla="*/ 2147483647 h 588"/>
              <a:gd name="T72" fmla="*/ 2147483647 w 261"/>
              <a:gd name="T73" fmla="*/ 2147483647 h 588"/>
              <a:gd name="T74" fmla="*/ 2147483647 w 261"/>
              <a:gd name="T75" fmla="*/ 2147483647 h 588"/>
              <a:gd name="T76" fmla="*/ 2147483647 w 261"/>
              <a:gd name="T77" fmla="*/ 2147483647 h 588"/>
              <a:gd name="T78" fmla="*/ 2147483647 w 261"/>
              <a:gd name="T79" fmla="*/ 2147483647 h 588"/>
              <a:gd name="T80" fmla="*/ 2147483647 w 261"/>
              <a:gd name="T81" fmla="*/ 2147483647 h 588"/>
              <a:gd name="T82" fmla="*/ 2147483647 w 261"/>
              <a:gd name="T83" fmla="*/ 2147483647 h 588"/>
              <a:gd name="T84" fmla="*/ 2147483647 w 261"/>
              <a:gd name="T85" fmla="*/ 2147483647 h 588"/>
              <a:gd name="T86" fmla="*/ 2147483647 w 261"/>
              <a:gd name="T87" fmla="*/ 2147483647 h 588"/>
              <a:gd name="T88" fmla="*/ 2147483647 w 261"/>
              <a:gd name="T89" fmla="*/ 2147483647 h 588"/>
              <a:gd name="T90" fmla="*/ 2147483647 w 261"/>
              <a:gd name="T91" fmla="*/ 2147483647 h 588"/>
              <a:gd name="T92" fmla="*/ 2147483647 w 261"/>
              <a:gd name="T93" fmla="*/ 2147483647 h 588"/>
              <a:gd name="T94" fmla="*/ 2147483647 w 261"/>
              <a:gd name="T95" fmla="*/ 2147483647 h 588"/>
              <a:gd name="T96" fmla="*/ 2147483647 w 261"/>
              <a:gd name="T97" fmla="*/ 2147483647 h 588"/>
              <a:gd name="T98" fmla="*/ 2147483647 w 261"/>
              <a:gd name="T99" fmla="*/ 2147483647 h 588"/>
              <a:gd name="T100" fmla="*/ 2147483647 w 261"/>
              <a:gd name="T101" fmla="*/ 2147483647 h 588"/>
              <a:gd name="T102" fmla="*/ 2147483647 w 261"/>
              <a:gd name="T103" fmla="*/ 2147483647 h 588"/>
              <a:gd name="T104" fmla="*/ 2147483647 w 261"/>
              <a:gd name="T105" fmla="*/ 2147483647 h 588"/>
              <a:gd name="T106" fmla="*/ 2147483647 w 261"/>
              <a:gd name="T107" fmla="*/ 2147483647 h 588"/>
              <a:gd name="T108" fmla="*/ 2147483647 w 261"/>
              <a:gd name="T109" fmla="*/ 2147483647 h 588"/>
              <a:gd name="T110" fmla="*/ 2147483647 w 261"/>
              <a:gd name="T111" fmla="*/ 2147483647 h 588"/>
              <a:gd name="T112" fmla="*/ 2147483647 w 261"/>
              <a:gd name="T113" fmla="*/ 2147483647 h 588"/>
              <a:gd name="T114" fmla="*/ 2147483647 w 261"/>
              <a:gd name="T115" fmla="*/ 2147483647 h 588"/>
              <a:gd name="T116" fmla="*/ 2147483647 w 261"/>
              <a:gd name="T117" fmla="*/ 2147483647 h 588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261"/>
              <a:gd name="T178" fmla="*/ 0 h 588"/>
              <a:gd name="T179" fmla="*/ 261 w 261"/>
              <a:gd name="T180" fmla="*/ 588 h 588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261" h="588">
                <a:moveTo>
                  <a:pt x="235" y="275"/>
                </a:moveTo>
                <a:lnTo>
                  <a:pt x="235" y="275"/>
                </a:lnTo>
                <a:lnTo>
                  <a:pt x="235" y="264"/>
                </a:lnTo>
                <a:lnTo>
                  <a:pt x="229" y="255"/>
                </a:lnTo>
                <a:lnTo>
                  <a:pt x="218" y="249"/>
                </a:lnTo>
                <a:lnTo>
                  <a:pt x="215" y="246"/>
                </a:lnTo>
                <a:lnTo>
                  <a:pt x="206" y="244"/>
                </a:lnTo>
                <a:lnTo>
                  <a:pt x="206" y="235"/>
                </a:lnTo>
                <a:lnTo>
                  <a:pt x="206" y="221"/>
                </a:lnTo>
                <a:lnTo>
                  <a:pt x="209" y="215"/>
                </a:lnTo>
                <a:lnTo>
                  <a:pt x="206" y="206"/>
                </a:lnTo>
                <a:lnTo>
                  <a:pt x="203" y="183"/>
                </a:lnTo>
                <a:lnTo>
                  <a:pt x="206" y="166"/>
                </a:lnTo>
                <a:lnTo>
                  <a:pt x="209" y="155"/>
                </a:lnTo>
                <a:lnTo>
                  <a:pt x="218" y="143"/>
                </a:lnTo>
                <a:lnTo>
                  <a:pt x="232" y="123"/>
                </a:lnTo>
                <a:lnTo>
                  <a:pt x="235" y="117"/>
                </a:lnTo>
                <a:lnTo>
                  <a:pt x="244" y="114"/>
                </a:lnTo>
                <a:lnTo>
                  <a:pt x="258" y="106"/>
                </a:lnTo>
                <a:lnTo>
                  <a:pt x="261" y="103"/>
                </a:lnTo>
                <a:lnTo>
                  <a:pt x="261" y="100"/>
                </a:lnTo>
                <a:lnTo>
                  <a:pt x="261" y="91"/>
                </a:lnTo>
                <a:lnTo>
                  <a:pt x="258" y="83"/>
                </a:lnTo>
                <a:lnTo>
                  <a:pt x="252" y="74"/>
                </a:lnTo>
                <a:lnTo>
                  <a:pt x="249" y="74"/>
                </a:lnTo>
                <a:lnTo>
                  <a:pt x="244" y="74"/>
                </a:lnTo>
                <a:lnTo>
                  <a:pt x="246" y="86"/>
                </a:lnTo>
                <a:lnTo>
                  <a:pt x="246" y="91"/>
                </a:lnTo>
                <a:lnTo>
                  <a:pt x="235" y="103"/>
                </a:lnTo>
                <a:lnTo>
                  <a:pt x="232" y="112"/>
                </a:lnTo>
                <a:lnTo>
                  <a:pt x="229" y="112"/>
                </a:lnTo>
                <a:lnTo>
                  <a:pt x="224" y="109"/>
                </a:lnTo>
                <a:lnTo>
                  <a:pt x="221" y="114"/>
                </a:lnTo>
                <a:lnTo>
                  <a:pt x="178" y="106"/>
                </a:lnTo>
                <a:lnTo>
                  <a:pt x="186" y="97"/>
                </a:lnTo>
                <a:lnTo>
                  <a:pt x="183" y="89"/>
                </a:lnTo>
                <a:lnTo>
                  <a:pt x="186" y="83"/>
                </a:lnTo>
                <a:lnTo>
                  <a:pt x="189" y="80"/>
                </a:lnTo>
                <a:lnTo>
                  <a:pt x="192" y="77"/>
                </a:lnTo>
                <a:lnTo>
                  <a:pt x="192" y="74"/>
                </a:lnTo>
                <a:lnTo>
                  <a:pt x="192" y="68"/>
                </a:lnTo>
                <a:lnTo>
                  <a:pt x="180" y="63"/>
                </a:lnTo>
                <a:lnTo>
                  <a:pt x="163" y="54"/>
                </a:lnTo>
                <a:lnTo>
                  <a:pt x="155" y="48"/>
                </a:lnTo>
                <a:lnTo>
                  <a:pt x="146" y="48"/>
                </a:lnTo>
                <a:lnTo>
                  <a:pt x="135" y="43"/>
                </a:lnTo>
                <a:lnTo>
                  <a:pt x="114" y="28"/>
                </a:lnTo>
                <a:lnTo>
                  <a:pt x="106" y="17"/>
                </a:lnTo>
                <a:lnTo>
                  <a:pt x="97" y="5"/>
                </a:lnTo>
                <a:lnTo>
                  <a:pt x="80" y="5"/>
                </a:lnTo>
                <a:lnTo>
                  <a:pt x="71" y="23"/>
                </a:lnTo>
                <a:lnTo>
                  <a:pt x="66" y="11"/>
                </a:lnTo>
                <a:lnTo>
                  <a:pt x="51" y="8"/>
                </a:lnTo>
                <a:lnTo>
                  <a:pt x="40" y="0"/>
                </a:lnTo>
                <a:lnTo>
                  <a:pt x="34" y="8"/>
                </a:lnTo>
                <a:lnTo>
                  <a:pt x="28" y="20"/>
                </a:lnTo>
                <a:lnTo>
                  <a:pt x="31" y="23"/>
                </a:lnTo>
                <a:lnTo>
                  <a:pt x="28" y="31"/>
                </a:lnTo>
                <a:lnTo>
                  <a:pt x="28" y="37"/>
                </a:lnTo>
                <a:lnTo>
                  <a:pt x="28" y="43"/>
                </a:lnTo>
                <a:lnTo>
                  <a:pt x="25" y="45"/>
                </a:lnTo>
                <a:lnTo>
                  <a:pt x="11" y="54"/>
                </a:lnTo>
                <a:lnTo>
                  <a:pt x="8" y="57"/>
                </a:lnTo>
                <a:lnTo>
                  <a:pt x="11" y="63"/>
                </a:lnTo>
                <a:lnTo>
                  <a:pt x="8" y="68"/>
                </a:lnTo>
                <a:lnTo>
                  <a:pt x="14" y="74"/>
                </a:lnTo>
                <a:lnTo>
                  <a:pt x="17" y="83"/>
                </a:lnTo>
                <a:lnTo>
                  <a:pt x="11" y="89"/>
                </a:lnTo>
                <a:lnTo>
                  <a:pt x="14" y="91"/>
                </a:lnTo>
                <a:lnTo>
                  <a:pt x="17" y="94"/>
                </a:lnTo>
                <a:lnTo>
                  <a:pt x="20" y="100"/>
                </a:lnTo>
                <a:lnTo>
                  <a:pt x="20" y="103"/>
                </a:lnTo>
                <a:lnTo>
                  <a:pt x="17" y="103"/>
                </a:lnTo>
                <a:lnTo>
                  <a:pt x="14" y="103"/>
                </a:lnTo>
                <a:lnTo>
                  <a:pt x="14" y="106"/>
                </a:lnTo>
                <a:lnTo>
                  <a:pt x="11" y="106"/>
                </a:lnTo>
                <a:lnTo>
                  <a:pt x="8" y="114"/>
                </a:lnTo>
                <a:lnTo>
                  <a:pt x="5" y="126"/>
                </a:lnTo>
                <a:lnTo>
                  <a:pt x="2" y="132"/>
                </a:lnTo>
                <a:lnTo>
                  <a:pt x="2" y="134"/>
                </a:lnTo>
                <a:lnTo>
                  <a:pt x="2" y="140"/>
                </a:lnTo>
                <a:lnTo>
                  <a:pt x="0" y="146"/>
                </a:lnTo>
                <a:lnTo>
                  <a:pt x="2" y="152"/>
                </a:lnTo>
                <a:lnTo>
                  <a:pt x="5" y="155"/>
                </a:lnTo>
                <a:lnTo>
                  <a:pt x="5" y="160"/>
                </a:lnTo>
                <a:lnTo>
                  <a:pt x="5" y="163"/>
                </a:lnTo>
                <a:lnTo>
                  <a:pt x="2" y="166"/>
                </a:lnTo>
                <a:lnTo>
                  <a:pt x="2" y="169"/>
                </a:lnTo>
                <a:lnTo>
                  <a:pt x="2" y="172"/>
                </a:lnTo>
                <a:lnTo>
                  <a:pt x="2" y="178"/>
                </a:lnTo>
                <a:lnTo>
                  <a:pt x="2" y="180"/>
                </a:lnTo>
                <a:lnTo>
                  <a:pt x="0" y="189"/>
                </a:lnTo>
                <a:lnTo>
                  <a:pt x="2" y="195"/>
                </a:lnTo>
                <a:lnTo>
                  <a:pt x="5" y="195"/>
                </a:lnTo>
                <a:lnTo>
                  <a:pt x="8" y="198"/>
                </a:lnTo>
                <a:lnTo>
                  <a:pt x="8" y="201"/>
                </a:lnTo>
                <a:lnTo>
                  <a:pt x="8" y="203"/>
                </a:lnTo>
                <a:lnTo>
                  <a:pt x="14" y="212"/>
                </a:lnTo>
                <a:lnTo>
                  <a:pt x="17" y="215"/>
                </a:lnTo>
                <a:lnTo>
                  <a:pt x="17" y="218"/>
                </a:lnTo>
                <a:lnTo>
                  <a:pt x="14" y="221"/>
                </a:lnTo>
                <a:lnTo>
                  <a:pt x="17" y="221"/>
                </a:lnTo>
                <a:lnTo>
                  <a:pt x="20" y="221"/>
                </a:lnTo>
                <a:lnTo>
                  <a:pt x="23" y="223"/>
                </a:lnTo>
                <a:lnTo>
                  <a:pt x="23" y="226"/>
                </a:lnTo>
                <a:lnTo>
                  <a:pt x="23" y="235"/>
                </a:lnTo>
                <a:lnTo>
                  <a:pt x="25" y="241"/>
                </a:lnTo>
                <a:lnTo>
                  <a:pt x="25" y="244"/>
                </a:lnTo>
                <a:lnTo>
                  <a:pt x="23" y="249"/>
                </a:lnTo>
                <a:lnTo>
                  <a:pt x="20" y="258"/>
                </a:lnTo>
                <a:lnTo>
                  <a:pt x="20" y="261"/>
                </a:lnTo>
                <a:lnTo>
                  <a:pt x="23" y="264"/>
                </a:lnTo>
                <a:lnTo>
                  <a:pt x="25" y="269"/>
                </a:lnTo>
                <a:lnTo>
                  <a:pt x="28" y="275"/>
                </a:lnTo>
                <a:lnTo>
                  <a:pt x="28" y="278"/>
                </a:lnTo>
                <a:lnTo>
                  <a:pt x="23" y="284"/>
                </a:lnTo>
                <a:lnTo>
                  <a:pt x="20" y="287"/>
                </a:lnTo>
                <a:lnTo>
                  <a:pt x="20" y="290"/>
                </a:lnTo>
                <a:lnTo>
                  <a:pt x="20" y="292"/>
                </a:lnTo>
                <a:lnTo>
                  <a:pt x="23" y="304"/>
                </a:lnTo>
                <a:lnTo>
                  <a:pt x="25" y="312"/>
                </a:lnTo>
                <a:lnTo>
                  <a:pt x="31" y="321"/>
                </a:lnTo>
                <a:lnTo>
                  <a:pt x="34" y="327"/>
                </a:lnTo>
                <a:lnTo>
                  <a:pt x="28" y="330"/>
                </a:lnTo>
                <a:lnTo>
                  <a:pt x="28" y="333"/>
                </a:lnTo>
                <a:lnTo>
                  <a:pt x="28" y="335"/>
                </a:lnTo>
                <a:lnTo>
                  <a:pt x="31" y="344"/>
                </a:lnTo>
                <a:lnTo>
                  <a:pt x="28" y="347"/>
                </a:lnTo>
                <a:lnTo>
                  <a:pt x="28" y="350"/>
                </a:lnTo>
                <a:lnTo>
                  <a:pt x="31" y="353"/>
                </a:lnTo>
                <a:lnTo>
                  <a:pt x="28" y="356"/>
                </a:lnTo>
                <a:lnTo>
                  <a:pt x="31" y="358"/>
                </a:lnTo>
                <a:lnTo>
                  <a:pt x="31" y="361"/>
                </a:lnTo>
                <a:lnTo>
                  <a:pt x="31" y="367"/>
                </a:lnTo>
                <a:lnTo>
                  <a:pt x="34" y="381"/>
                </a:lnTo>
                <a:lnTo>
                  <a:pt x="40" y="387"/>
                </a:lnTo>
                <a:lnTo>
                  <a:pt x="43" y="393"/>
                </a:lnTo>
                <a:lnTo>
                  <a:pt x="40" y="396"/>
                </a:lnTo>
                <a:lnTo>
                  <a:pt x="37" y="396"/>
                </a:lnTo>
                <a:lnTo>
                  <a:pt x="37" y="399"/>
                </a:lnTo>
                <a:lnTo>
                  <a:pt x="43" y="410"/>
                </a:lnTo>
                <a:lnTo>
                  <a:pt x="46" y="413"/>
                </a:lnTo>
                <a:lnTo>
                  <a:pt x="48" y="413"/>
                </a:lnTo>
                <a:lnTo>
                  <a:pt x="51" y="416"/>
                </a:lnTo>
                <a:lnTo>
                  <a:pt x="48" y="422"/>
                </a:lnTo>
                <a:lnTo>
                  <a:pt x="51" y="422"/>
                </a:lnTo>
                <a:lnTo>
                  <a:pt x="54" y="424"/>
                </a:lnTo>
                <a:lnTo>
                  <a:pt x="57" y="430"/>
                </a:lnTo>
                <a:lnTo>
                  <a:pt x="57" y="436"/>
                </a:lnTo>
                <a:lnTo>
                  <a:pt x="63" y="439"/>
                </a:lnTo>
                <a:lnTo>
                  <a:pt x="66" y="439"/>
                </a:lnTo>
                <a:lnTo>
                  <a:pt x="69" y="442"/>
                </a:lnTo>
                <a:lnTo>
                  <a:pt x="71" y="445"/>
                </a:lnTo>
                <a:lnTo>
                  <a:pt x="69" y="447"/>
                </a:lnTo>
                <a:lnTo>
                  <a:pt x="63" y="447"/>
                </a:lnTo>
                <a:lnTo>
                  <a:pt x="60" y="447"/>
                </a:lnTo>
                <a:lnTo>
                  <a:pt x="66" y="450"/>
                </a:lnTo>
                <a:lnTo>
                  <a:pt x="69" y="450"/>
                </a:lnTo>
                <a:lnTo>
                  <a:pt x="71" y="453"/>
                </a:lnTo>
                <a:lnTo>
                  <a:pt x="71" y="456"/>
                </a:lnTo>
                <a:lnTo>
                  <a:pt x="69" y="462"/>
                </a:lnTo>
                <a:lnTo>
                  <a:pt x="71" y="465"/>
                </a:lnTo>
                <a:lnTo>
                  <a:pt x="74" y="470"/>
                </a:lnTo>
                <a:lnTo>
                  <a:pt x="71" y="470"/>
                </a:lnTo>
                <a:lnTo>
                  <a:pt x="71" y="473"/>
                </a:lnTo>
                <a:lnTo>
                  <a:pt x="77" y="479"/>
                </a:lnTo>
                <a:lnTo>
                  <a:pt x="77" y="482"/>
                </a:lnTo>
                <a:lnTo>
                  <a:pt x="74" y="488"/>
                </a:lnTo>
                <a:lnTo>
                  <a:pt x="77" y="488"/>
                </a:lnTo>
                <a:lnTo>
                  <a:pt x="77" y="490"/>
                </a:lnTo>
                <a:lnTo>
                  <a:pt x="80" y="493"/>
                </a:lnTo>
                <a:lnTo>
                  <a:pt x="74" y="496"/>
                </a:lnTo>
                <a:lnTo>
                  <a:pt x="74" y="499"/>
                </a:lnTo>
                <a:lnTo>
                  <a:pt x="77" y="508"/>
                </a:lnTo>
                <a:lnTo>
                  <a:pt x="80" y="513"/>
                </a:lnTo>
                <a:lnTo>
                  <a:pt x="80" y="516"/>
                </a:lnTo>
                <a:lnTo>
                  <a:pt x="77" y="516"/>
                </a:lnTo>
                <a:lnTo>
                  <a:pt x="80" y="519"/>
                </a:lnTo>
                <a:lnTo>
                  <a:pt x="83" y="525"/>
                </a:lnTo>
                <a:lnTo>
                  <a:pt x="80" y="528"/>
                </a:lnTo>
                <a:lnTo>
                  <a:pt x="74" y="528"/>
                </a:lnTo>
                <a:lnTo>
                  <a:pt x="74" y="531"/>
                </a:lnTo>
                <a:lnTo>
                  <a:pt x="74" y="534"/>
                </a:lnTo>
                <a:lnTo>
                  <a:pt x="83" y="548"/>
                </a:lnTo>
                <a:lnTo>
                  <a:pt x="89" y="557"/>
                </a:lnTo>
                <a:lnTo>
                  <a:pt x="94" y="557"/>
                </a:lnTo>
                <a:lnTo>
                  <a:pt x="97" y="557"/>
                </a:lnTo>
                <a:lnTo>
                  <a:pt x="100" y="557"/>
                </a:lnTo>
                <a:lnTo>
                  <a:pt x="103" y="559"/>
                </a:lnTo>
                <a:lnTo>
                  <a:pt x="106" y="571"/>
                </a:lnTo>
                <a:lnTo>
                  <a:pt x="112" y="577"/>
                </a:lnTo>
                <a:lnTo>
                  <a:pt x="114" y="579"/>
                </a:lnTo>
                <a:lnTo>
                  <a:pt x="123" y="579"/>
                </a:lnTo>
                <a:lnTo>
                  <a:pt x="129" y="579"/>
                </a:lnTo>
                <a:lnTo>
                  <a:pt x="132" y="579"/>
                </a:lnTo>
                <a:lnTo>
                  <a:pt x="152" y="582"/>
                </a:lnTo>
                <a:lnTo>
                  <a:pt x="169" y="588"/>
                </a:lnTo>
                <a:lnTo>
                  <a:pt x="172" y="588"/>
                </a:lnTo>
                <a:lnTo>
                  <a:pt x="163" y="577"/>
                </a:lnTo>
                <a:lnTo>
                  <a:pt x="152" y="565"/>
                </a:lnTo>
                <a:lnTo>
                  <a:pt x="149" y="559"/>
                </a:lnTo>
                <a:lnTo>
                  <a:pt x="146" y="554"/>
                </a:lnTo>
                <a:lnTo>
                  <a:pt x="149" y="551"/>
                </a:lnTo>
                <a:lnTo>
                  <a:pt x="155" y="548"/>
                </a:lnTo>
                <a:lnTo>
                  <a:pt x="157" y="545"/>
                </a:lnTo>
                <a:lnTo>
                  <a:pt x="160" y="542"/>
                </a:lnTo>
                <a:lnTo>
                  <a:pt x="160" y="536"/>
                </a:lnTo>
                <a:lnTo>
                  <a:pt x="157" y="534"/>
                </a:lnTo>
                <a:lnTo>
                  <a:pt x="157" y="531"/>
                </a:lnTo>
                <a:lnTo>
                  <a:pt x="160" y="525"/>
                </a:lnTo>
                <a:lnTo>
                  <a:pt x="169" y="513"/>
                </a:lnTo>
                <a:lnTo>
                  <a:pt x="178" y="505"/>
                </a:lnTo>
                <a:lnTo>
                  <a:pt x="175" y="502"/>
                </a:lnTo>
                <a:lnTo>
                  <a:pt x="172" y="493"/>
                </a:lnTo>
                <a:lnTo>
                  <a:pt x="169" y="493"/>
                </a:lnTo>
                <a:lnTo>
                  <a:pt x="160" y="490"/>
                </a:lnTo>
                <a:lnTo>
                  <a:pt x="149" y="488"/>
                </a:lnTo>
                <a:lnTo>
                  <a:pt x="143" y="482"/>
                </a:lnTo>
                <a:lnTo>
                  <a:pt x="137" y="476"/>
                </a:lnTo>
                <a:lnTo>
                  <a:pt x="135" y="468"/>
                </a:lnTo>
                <a:lnTo>
                  <a:pt x="135" y="459"/>
                </a:lnTo>
                <a:lnTo>
                  <a:pt x="137" y="456"/>
                </a:lnTo>
                <a:lnTo>
                  <a:pt x="146" y="453"/>
                </a:lnTo>
                <a:lnTo>
                  <a:pt x="146" y="450"/>
                </a:lnTo>
                <a:lnTo>
                  <a:pt x="149" y="450"/>
                </a:lnTo>
                <a:lnTo>
                  <a:pt x="157" y="450"/>
                </a:lnTo>
                <a:lnTo>
                  <a:pt x="160" y="447"/>
                </a:lnTo>
                <a:lnTo>
                  <a:pt x="155" y="445"/>
                </a:lnTo>
                <a:lnTo>
                  <a:pt x="157" y="442"/>
                </a:lnTo>
                <a:lnTo>
                  <a:pt x="157" y="433"/>
                </a:lnTo>
                <a:lnTo>
                  <a:pt x="155" y="427"/>
                </a:lnTo>
                <a:lnTo>
                  <a:pt x="155" y="422"/>
                </a:lnTo>
                <a:lnTo>
                  <a:pt x="157" y="419"/>
                </a:lnTo>
                <a:lnTo>
                  <a:pt x="163" y="413"/>
                </a:lnTo>
                <a:lnTo>
                  <a:pt x="157" y="407"/>
                </a:lnTo>
                <a:lnTo>
                  <a:pt x="155" y="404"/>
                </a:lnTo>
                <a:lnTo>
                  <a:pt x="155" y="401"/>
                </a:lnTo>
                <a:lnTo>
                  <a:pt x="160" y="404"/>
                </a:lnTo>
                <a:lnTo>
                  <a:pt x="166" y="407"/>
                </a:lnTo>
                <a:lnTo>
                  <a:pt x="172" y="407"/>
                </a:lnTo>
                <a:lnTo>
                  <a:pt x="172" y="404"/>
                </a:lnTo>
                <a:lnTo>
                  <a:pt x="169" y="396"/>
                </a:lnTo>
                <a:lnTo>
                  <a:pt x="163" y="393"/>
                </a:lnTo>
                <a:lnTo>
                  <a:pt x="157" y="396"/>
                </a:lnTo>
                <a:lnTo>
                  <a:pt x="163" y="399"/>
                </a:lnTo>
                <a:lnTo>
                  <a:pt x="157" y="399"/>
                </a:lnTo>
                <a:lnTo>
                  <a:pt x="155" y="396"/>
                </a:lnTo>
                <a:lnTo>
                  <a:pt x="152" y="393"/>
                </a:lnTo>
                <a:lnTo>
                  <a:pt x="146" y="393"/>
                </a:lnTo>
                <a:lnTo>
                  <a:pt x="146" y="390"/>
                </a:lnTo>
                <a:lnTo>
                  <a:pt x="143" y="381"/>
                </a:lnTo>
                <a:lnTo>
                  <a:pt x="137" y="370"/>
                </a:lnTo>
                <a:lnTo>
                  <a:pt x="149" y="370"/>
                </a:lnTo>
                <a:lnTo>
                  <a:pt x="163" y="376"/>
                </a:lnTo>
                <a:lnTo>
                  <a:pt x="175" y="376"/>
                </a:lnTo>
                <a:lnTo>
                  <a:pt x="178" y="373"/>
                </a:lnTo>
                <a:lnTo>
                  <a:pt x="183" y="370"/>
                </a:lnTo>
                <a:lnTo>
                  <a:pt x="178" y="361"/>
                </a:lnTo>
                <a:lnTo>
                  <a:pt x="178" y="353"/>
                </a:lnTo>
                <a:lnTo>
                  <a:pt x="178" y="347"/>
                </a:lnTo>
                <a:lnTo>
                  <a:pt x="172" y="335"/>
                </a:lnTo>
                <a:lnTo>
                  <a:pt x="175" y="330"/>
                </a:lnTo>
                <a:lnTo>
                  <a:pt x="178" y="338"/>
                </a:lnTo>
                <a:lnTo>
                  <a:pt x="178" y="335"/>
                </a:lnTo>
                <a:lnTo>
                  <a:pt x="180" y="333"/>
                </a:lnTo>
                <a:lnTo>
                  <a:pt x="189" y="333"/>
                </a:lnTo>
                <a:lnTo>
                  <a:pt x="198" y="333"/>
                </a:lnTo>
                <a:lnTo>
                  <a:pt x="206" y="330"/>
                </a:lnTo>
                <a:lnTo>
                  <a:pt x="215" y="330"/>
                </a:lnTo>
                <a:lnTo>
                  <a:pt x="226" y="327"/>
                </a:lnTo>
                <a:lnTo>
                  <a:pt x="235" y="324"/>
                </a:lnTo>
                <a:lnTo>
                  <a:pt x="244" y="315"/>
                </a:lnTo>
                <a:lnTo>
                  <a:pt x="246" y="304"/>
                </a:lnTo>
                <a:lnTo>
                  <a:pt x="249" y="290"/>
                </a:lnTo>
                <a:lnTo>
                  <a:pt x="241" y="284"/>
                </a:lnTo>
                <a:lnTo>
                  <a:pt x="235" y="27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en-US"/>
          </a:p>
        </p:txBody>
      </p:sp>
      <p:sp>
        <p:nvSpPr>
          <p:cNvPr id="81272" name="Freeform 377"/>
          <p:cNvSpPr>
            <a:spLocks/>
          </p:cNvSpPr>
          <p:nvPr/>
        </p:nvSpPr>
        <p:spPr bwMode="gray">
          <a:xfrm>
            <a:off x="4914886" y="1710046"/>
            <a:ext cx="2000" cy="4501"/>
          </a:xfrm>
          <a:custGeom>
            <a:avLst/>
            <a:gdLst>
              <a:gd name="T0" fmla="*/ 0 w 1"/>
              <a:gd name="T1" fmla="*/ 2147483647 h 3"/>
              <a:gd name="T2" fmla="*/ 0 w 1"/>
              <a:gd name="T3" fmla="*/ 2147483647 h 3"/>
              <a:gd name="T4" fmla="*/ 0 w 1"/>
              <a:gd name="T5" fmla="*/ 0 h 3"/>
              <a:gd name="T6" fmla="*/ 0 w 1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1"/>
              <a:gd name="T13" fmla="*/ 0 h 3"/>
              <a:gd name="T14" fmla="*/ 1 w 1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" h="3">
                <a:moveTo>
                  <a:pt x="0" y="3"/>
                </a:move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73" name="Freeform 378"/>
          <p:cNvSpPr>
            <a:spLocks/>
          </p:cNvSpPr>
          <p:nvPr/>
        </p:nvSpPr>
        <p:spPr bwMode="gray">
          <a:xfrm>
            <a:off x="4120742" y="1767048"/>
            <a:ext cx="18004" cy="9000"/>
          </a:xfrm>
          <a:custGeom>
            <a:avLst/>
            <a:gdLst>
              <a:gd name="T0" fmla="*/ 0 w 9"/>
              <a:gd name="T1" fmla="*/ 2147483647 h 6"/>
              <a:gd name="T2" fmla="*/ 2147483647 w 9"/>
              <a:gd name="T3" fmla="*/ 2147483647 h 6"/>
              <a:gd name="T4" fmla="*/ 2147483647 w 9"/>
              <a:gd name="T5" fmla="*/ 2147483647 h 6"/>
              <a:gd name="T6" fmla="*/ 2147483647 w 9"/>
              <a:gd name="T7" fmla="*/ 0 h 6"/>
              <a:gd name="T8" fmla="*/ 2147483647 w 9"/>
              <a:gd name="T9" fmla="*/ 0 h 6"/>
              <a:gd name="T10" fmla="*/ 0 w 9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9"/>
              <a:gd name="T19" fmla="*/ 0 h 6"/>
              <a:gd name="T20" fmla="*/ 9 w 9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9" h="6">
                <a:moveTo>
                  <a:pt x="0" y="3"/>
                </a:moveTo>
                <a:lnTo>
                  <a:pt x="3" y="6"/>
                </a:lnTo>
                <a:lnTo>
                  <a:pt x="6" y="3"/>
                </a:lnTo>
                <a:lnTo>
                  <a:pt x="9" y="0"/>
                </a:lnTo>
                <a:lnTo>
                  <a:pt x="6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1274" name="Freeform 379"/>
          <p:cNvSpPr>
            <a:spLocks/>
          </p:cNvSpPr>
          <p:nvPr/>
        </p:nvSpPr>
        <p:spPr bwMode="gray">
          <a:xfrm>
            <a:off x="4886881" y="1705547"/>
            <a:ext cx="28005" cy="13500"/>
          </a:xfrm>
          <a:custGeom>
            <a:avLst/>
            <a:gdLst>
              <a:gd name="T0" fmla="*/ 2147483647 w 14"/>
              <a:gd name="T1" fmla="*/ 2147483647 h 9"/>
              <a:gd name="T2" fmla="*/ 2147483647 w 14"/>
              <a:gd name="T3" fmla="*/ 0 h 9"/>
              <a:gd name="T4" fmla="*/ 2147483647 w 14"/>
              <a:gd name="T5" fmla="*/ 2147483647 h 9"/>
              <a:gd name="T6" fmla="*/ 2147483647 w 14"/>
              <a:gd name="T7" fmla="*/ 0 h 9"/>
              <a:gd name="T8" fmla="*/ 0 w 14"/>
              <a:gd name="T9" fmla="*/ 2147483647 h 9"/>
              <a:gd name="T10" fmla="*/ 2147483647 w 14"/>
              <a:gd name="T11" fmla="*/ 2147483647 h 9"/>
              <a:gd name="T12" fmla="*/ 2147483647 w 14"/>
              <a:gd name="T13" fmla="*/ 2147483647 h 9"/>
              <a:gd name="T14" fmla="*/ 2147483647 w 14"/>
              <a:gd name="T15" fmla="*/ 2147483647 h 9"/>
              <a:gd name="T16" fmla="*/ 2147483647 w 14"/>
              <a:gd name="T17" fmla="*/ 2147483647 h 9"/>
              <a:gd name="T18" fmla="*/ 2147483647 w 14"/>
              <a:gd name="T19" fmla="*/ 2147483647 h 9"/>
              <a:gd name="T20" fmla="*/ 2147483647 w 14"/>
              <a:gd name="T21" fmla="*/ 2147483647 h 9"/>
              <a:gd name="T22" fmla="*/ 2147483647 w 14"/>
              <a:gd name="T23" fmla="*/ 2147483647 h 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4"/>
              <a:gd name="T37" fmla="*/ 0 h 9"/>
              <a:gd name="T38" fmla="*/ 14 w 14"/>
              <a:gd name="T39" fmla="*/ 9 h 9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4" h="9">
                <a:moveTo>
                  <a:pt x="6" y="3"/>
                </a:moveTo>
                <a:lnTo>
                  <a:pt x="3" y="0"/>
                </a:lnTo>
                <a:lnTo>
                  <a:pt x="6" y="3"/>
                </a:lnTo>
                <a:lnTo>
                  <a:pt x="3" y="0"/>
                </a:lnTo>
                <a:lnTo>
                  <a:pt x="0" y="6"/>
                </a:lnTo>
                <a:lnTo>
                  <a:pt x="6" y="3"/>
                </a:lnTo>
                <a:lnTo>
                  <a:pt x="9" y="6"/>
                </a:lnTo>
                <a:lnTo>
                  <a:pt x="12" y="9"/>
                </a:lnTo>
                <a:lnTo>
                  <a:pt x="14" y="6"/>
                </a:lnTo>
                <a:lnTo>
                  <a:pt x="6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75" name="Freeform 380"/>
          <p:cNvSpPr>
            <a:spLocks noEditPoints="1"/>
          </p:cNvSpPr>
          <p:nvPr/>
        </p:nvSpPr>
        <p:spPr bwMode="gray">
          <a:xfrm>
            <a:off x="3846693" y="1506041"/>
            <a:ext cx="1392251" cy="549015"/>
          </a:xfrm>
          <a:custGeom>
            <a:avLst/>
            <a:gdLst>
              <a:gd name="T0" fmla="*/ 2147483647 w 689"/>
              <a:gd name="T1" fmla="*/ 2147483647 h 362"/>
              <a:gd name="T2" fmla="*/ 2147483647 w 689"/>
              <a:gd name="T3" fmla="*/ 2147483647 h 362"/>
              <a:gd name="T4" fmla="*/ 2147483647 w 689"/>
              <a:gd name="T5" fmla="*/ 2147483647 h 362"/>
              <a:gd name="T6" fmla="*/ 2147483647 w 689"/>
              <a:gd name="T7" fmla="*/ 2147483647 h 362"/>
              <a:gd name="T8" fmla="*/ 2147483647 w 689"/>
              <a:gd name="T9" fmla="*/ 2147483647 h 362"/>
              <a:gd name="T10" fmla="*/ 2147483647 w 689"/>
              <a:gd name="T11" fmla="*/ 2147483647 h 362"/>
              <a:gd name="T12" fmla="*/ 2147483647 w 689"/>
              <a:gd name="T13" fmla="*/ 2147483647 h 362"/>
              <a:gd name="T14" fmla="*/ 2147483647 w 689"/>
              <a:gd name="T15" fmla="*/ 2147483647 h 362"/>
              <a:gd name="T16" fmla="*/ 2147483647 w 689"/>
              <a:gd name="T17" fmla="*/ 2147483647 h 362"/>
              <a:gd name="T18" fmla="*/ 2147483647 w 689"/>
              <a:gd name="T19" fmla="*/ 2147483647 h 362"/>
              <a:gd name="T20" fmla="*/ 2147483647 w 689"/>
              <a:gd name="T21" fmla="*/ 2147483647 h 362"/>
              <a:gd name="T22" fmla="*/ 2147483647 w 689"/>
              <a:gd name="T23" fmla="*/ 2147483647 h 362"/>
              <a:gd name="T24" fmla="*/ 2147483647 w 689"/>
              <a:gd name="T25" fmla="*/ 2147483647 h 362"/>
              <a:gd name="T26" fmla="*/ 2147483647 w 689"/>
              <a:gd name="T27" fmla="*/ 2147483647 h 362"/>
              <a:gd name="T28" fmla="*/ 2147483647 w 689"/>
              <a:gd name="T29" fmla="*/ 2147483647 h 362"/>
              <a:gd name="T30" fmla="*/ 2147483647 w 689"/>
              <a:gd name="T31" fmla="*/ 2147483647 h 362"/>
              <a:gd name="T32" fmla="*/ 2147483647 w 689"/>
              <a:gd name="T33" fmla="*/ 2147483647 h 362"/>
              <a:gd name="T34" fmla="*/ 2147483647 w 689"/>
              <a:gd name="T35" fmla="*/ 2147483647 h 362"/>
              <a:gd name="T36" fmla="*/ 2147483647 w 689"/>
              <a:gd name="T37" fmla="*/ 2147483647 h 362"/>
              <a:gd name="T38" fmla="*/ 2147483647 w 689"/>
              <a:gd name="T39" fmla="*/ 2147483647 h 362"/>
              <a:gd name="T40" fmla="*/ 2147483647 w 689"/>
              <a:gd name="T41" fmla="*/ 2147483647 h 362"/>
              <a:gd name="T42" fmla="*/ 2147483647 w 689"/>
              <a:gd name="T43" fmla="*/ 2147483647 h 362"/>
              <a:gd name="T44" fmla="*/ 2147483647 w 689"/>
              <a:gd name="T45" fmla="*/ 2147483647 h 362"/>
              <a:gd name="T46" fmla="*/ 2147483647 w 689"/>
              <a:gd name="T47" fmla="*/ 2147483647 h 362"/>
              <a:gd name="T48" fmla="*/ 2147483647 w 689"/>
              <a:gd name="T49" fmla="*/ 2147483647 h 362"/>
              <a:gd name="T50" fmla="*/ 2147483647 w 689"/>
              <a:gd name="T51" fmla="*/ 2147483647 h 362"/>
              <a:gd name="T52" fmla="*/ 2147483647 w 689"/>
              <a:gd name="T53" fmla="*/ 2147483647 h 362"/>
              <a:gd name="T54" fmla="*/ 2147483647 w 689"/>
              <a:gd name="T55" fmla="*/ 2147483647 h 362"/>
              <a:gd name="T56" fmla="*/ 2147483647 w 689"/>
              <a:gd name="T57" fmla="*/ 2147483647 h 362"/>
              <a:gd name="T58" fmla="*/ 2147483647 w 689"/>
              <a:gd name="T59" fmla="*/ 2147483647 h 362"/>
              <a:gd name="T60" fmla="*/ 2147483647 w 689"/>
              <a:gd name="T61" fmla="*/ 2147483647 h 362"/>
              <a:gd name="T62" fmla="*/ 2147483647 w 689"/>
              <a:gd name="T63" fmla="*/ 2147483647 h 362"/>
              <a:gd name="T64" fmla="*/ 2147483647 w 689"/>
              <a:gd name="T65" fmla="*/ 2147483647 h 362"/>
              <a:gd name="T66" fmla="*/ 2147483647 w 689"/>
              <a:gd name="T67" fmla="*/ 2147483647 h 362"/>
              <a:gd name="T68" fmla="*/ 2147483647 w 689"/>
              <a:gd name="T69" fmla="*/ 2147483647 h 362"/>
              <a:gd name="T70" fmla="*/ 2147483647 w 689"/>
              <a:gd name="T71" fmla="*/ 2147483647 h 362"/>
              <a:gd name="T72" fmla="*/ 2147483647 w 689"/>
              <a:gd name="T73" fmla="*/ 2147483647 h 362"/>
              <a:gd name="T74" fmla="*/ 2147483647 w 689"/>
              <a:gd name="T75" fmla="*/ 2147483647 h 362"/>
              <a:gd name="T76" fmla="*/ 2147483647 w 689"/>
              <a:gd name="T77" fmla="*/ 2147483647 h 362"/>
              <a:gd name="T78" fmla="*/ 2147483647 w 689"/>
              <a:gd name="T79" fmla="*/ 2147483647 h 362"/>
              <a:gd name="T80" fmla="*/ 2147483647 w 689"/>
              <a:gd name="T81" fmla="*/ 2147483647 h 362"/>
              <a:gd name="T82" fmla="*/ 2147483647 w 689"/>
              <a:gd name="T83" fmla="*/ 2147483647 h 362"/>
              <a:gd name="T84" fmla="*/ 2147483647 w 689"/>
              <a:gd name="T85" fmla="*/ 2147483647 h 362"/>
              <a:gd name="T86" fmla="*/ 2147483647 w 689"/>
              <a:gd name="T87" fmla="*/ 2147483647 h 362"/>
              <a:gd name="T88" fmla="*/ 2147483647 w 689"/>
              <a:gd name="T89" fmla="*/ 2147483647 h 362"/>
              <a:gd name="T90" fmla="*/ 2147483647 w 689"/>
              <a:gd name="T91" fmla="*/ 2147483647 h 362"/>
              <a:gd name="T92" fmla="*/ 2147483647 w 689"/>
              <a:gd name="T93" fmla="*/ 2147483647 h 362"/>
              <a:gd name="T94" fmla="*/ 2147483647 w 689"/>
              <a:gd name="T95" fmla="*/ 2147483647 h 362"/>
              <a:gd name="T96" fmla="*/ 2147483647 w 689"/>
              <a:gd name="T97" fmla="*/ 2147483647 h 362"/>
              <a:gd name="T98" fmla="*/ 2147483647 w 689"/>
              <a:gd name="T99" fmla="*/ 2147483647 h 362"/>
              <a:gd name="T100" fmla="*/ 2147483647 w 689"/>
              <a:gd name="T101" fmla="*/ 2147483647 h 362"/>
              <a:gd name="T102" fmla="*/ 2147483647 w 689"/>
              <a:gd name="T103" fmla="*/ 2147483647 h 362"/>
              <a:gd name="T104" fmla="*/ 2147483647 w 689"/>
              <a:gd name="T105" fmla="*/ 2147483647 h 362"/>
              <a:gd name="T106" fmla="*/ 2147483647 w 689"/>
              <a:gd name="T107" fmla="*/ 2147483647 h 362"/>
              <a:gd name="T108" fmla="*/ 2147483647 w 689"/>
              <a:gd name="T109" fmla="*/ 2147483647 h 362"/>
              <a:gd name="T110" fmla="*/ 2147483647 w 689"/>
              <a:gd name="T111" fmla="*/ 2147483647 h 362"/>
              <a:gd name="T112" fmla="*/ 2147483647 w 689"/>
              <a:gd name="T113" fmla="*/ 2147483647 h 362"/>
              <a:gd name="T114" fmla="*/ 2147483647 w 689"/>
              <a:gd name="T115" fmla="*/ 2147483647 h 362"/>
              <a:gd name="T116" fmla="*/ 2147483647 w 689"/>
              <a:gd name="T117" fmla="*/ 2147483647 h 362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689"/>
              <a:gd name="T178" fmla="*/ 0 h 362"/>
              <a:gd name="T179" fmla="*/ 689 w 689"/>
              <a:gd name="T180" fmla="*/ 362 h 362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689" h="362">
                <a:moveTo>
                  <a:pt x="488" y="207"/>
                </a:moveTo>
                <a:lnTo>
                  <a:pt x="488" y="207"/>
                </a:lnTo>
                <a:lnTo>
                  <a:pt x="520" y="189"/>
                </a:lnTo>
                <a:lnTo>
                  <a:pt x="503" y="189"/>
                </a:lnTo>
                <a:lnTo>
                  <a:pt x="480" y="189"/>
                </a:lnTo>
                <a:lnTo>
                  <a:pt x="468" y="189"/>
                </a:lnTo>
                <a:lnTo>
                  <a:pt x="462" y="192"/>
                </a:lnTo>
                <a:lnTo>
                  <a:pt x="460" y="192"/>
                </a:lnTo>
                <a:lnTo>
                  <a:pt x="457" y="189"/>
                </a:lnTo>
                <a:lnTo>
                  <a:pt x="465" y="187"/>
                </a:lnTo>
                <a:lnTo>
                  <a:pt x="474" y="187"/>
                </a:lnTo>
                <a:lnTo>
                  <a:pt x="480" y="184"/>
                </a:lnTo>
                <a:lnTo>
                  <a:pt x="485" y="181"/>
                </a:lnTo>
                <a:lnTo>
                  <a:pt x="482" y="178"/>
                </a:lnTo>
                <a:lnTo>
                  <a:pt x="471" y="175"/>
                </a:lnTo>
                <a:lnTo>
                  <a:pt x="474" y="175"/>
                </a:lnTo>
                <a:lnTo>
                  <a:pt x="480" y="172"/>
                </a:lnTo>
                <a:lnTo>
                  <a:pt x="485" y="169"/>
                </a:lnTo>
                <a:lnTo>
                  <a:pt x="494" y="169"/>
                </a:lnTo>
                <a:lnTo>
                  <a:pt x="497" y="172"/>
                </a:lnTo>
                <a:lnTo>
                  <a:pt x="500" y="175"/>
                </a:lnTo>
                <a:lnTo>
                  <a:pt x="500" y="181"/>
                </a:lnTo>
                <a:lnTo>
                  <a:pt x="500" y="184"/>
                </a:lnTo>
                <a:lnTo>
                  <a:pt x="503" y="184"/>
                </a:lnTo>
                <a:lnTo>
                  <a:pt x="511" y="187"/>
                </a:lnTo>
                <a:lnTo>
                  <a:pt x="514" y="187"/>
                </a:lnTo>
                <a:lnTo>
                  <a:pt x="514" y="184"/>
                </a:lnTo>
                <a:lnTo>
                  <a:pt x="514" y="178"/>
                </a:lnTo>
                <a:lnTo>
                  <a:pt x="514" y="175"/>
                </a:lnTo>
                <a:lnTo>
                  <a:pt x="517" y="175"/>
                </a:lnTo>
                <a:lnTo>
                  <a:pt x="517" y="181"/>
                </a:lnTo>
                <a:lnTo>
                  <a:pt x="517" y="184"/>
                </a:lnTo>
                <a:lnTo>
                  <a:pt x="520" y="187"/>
                </a:lnTo>
                <a:lnTo>
                  <a:pt x="523" y="187"/>
                </a:lnTo>
                <a:lnTo>
                  <a:pt x="528" y="184"/>
                </a:lnTo>
                <a:lnTo>
                  <a:pt x="531" y="181"/>
                </a:lnTo>
                <a:lnTo>
                  <a:pt x="528" y="178"/>
                </a:lnTo>
                <a:lnTo>
                  <a:pt x="528" y="172"/>
                </a:lnTo>
                <a:lnTo>
                  <a:pt x="528" y="167"/>
                </a:lnTo>
                <a:lnTo>
                  <a:pt x="517" y="161"/>
                </a:lnTo>
                <a:lnTo>
                  <a:pt x="508" y="158"/>
                </a:lnTo>
                <a:lnTo>
                  <a:pt x="503" y="155"/>
                </a:lnTo>
                <a:lnTo>
                  <a:pt x="503" y="152"/>
                </a:lnTo>
                <a:lnTo>
                  <a:pt x="503" y="149"/>
                </a:lnTo>
                <a:lnTo>
                  <a:pt x="500" y="146"/>
                </a:lnTo>
                <a:lnTo>
                  <a:pt x="497" y="144"/>
                </a:lnTo>
                <a:lnTo>
                  <a:pt x="494" y="141"/>
                </a:lnTo>
                <a:lnTo>
                  <a:pt x="494" y="138"/>
                </a:lnTo>
                <a:lnTo>
                  <a:pt x="500" y="135"/>
                </a:lnTo>
                <a:lnTo>
                  <a:pt x="503" y="135"/>
                </a:lnTo>
                <a:lnTo>
                  <a:pt x="508" y="135"/>
                </a:lnTo>
                <a:lnTo>
                  <a:pt x="511" y="132"/>
                </a:lnTo>
                <a:lnTo>
                  <a:pt x="514" y="129"/>
                </a:lnTo>
                <a:lnTo>
                  <a:pt x="517" y="132"/>
                </a:lnTo>
                <a:lnTo>
                  <a:pt x="523" y="135"/>
                </a:lnTo>
                <a:lnTo>
                  <a:pt x="528" y="135"/>
                </a:lnTo>
                <a:lnTo>
                  <a:pt x="540" y="138"/>
                </a:lnTo>
                <a:lnTo>
                  <a:pt x="537" y="141"/>
                </a:lnTo>
                <a:lnTo>
                  <a:pt x="540" y="141"/>
                </a:lnTo>
                <a:lnTo>
                  <a:pt x="540" y="138"/>
                </a:lnTo>
                <a:lnTo>
                  <a:pt x="543" y="138"/>
                </a:lnTo>
                <a:lnTo>
                  <a:pt x="551" y="141"/>
                </a:lnTo>
                <a:lnTo>
                  <a:pt x="554" y="141"/>
                </a:lnTo>
                <a:lnTo>
                  <a:pt x="557" y="138"/>
                </a:lnTo>
                <a:lnTo>
                  <a:pt x="554" y="135"/>
                </a:lnTo>
                <a:lnTo>
                  <a:pt x="551" y="132"/>
                </a:lnTo>
                <a:lnTo>
                  <a:pt x="546" y="129"/>
                </a:lnTo>
                <a:lnTo>
                  <a:pt x="546" y="126"/>
                </a:lnTo>
                <a:lnTo>
                  <a:pt x="551" y="126"/>
                </a:lnTo>
                <a:lnTo>
                  <a:pt x="557" y="126"/>
                </a:lnTo>
                <a:lnTo>
                  <a:pt x="566" y="126"/>
                </a:lnTo>
                <a:lnTo>
                  <a:pt x="577" y="123"/>
                </a:lnTo>
                <a:lnTo>
                  <a:pt x="583" y="121"/>
                </a:lnTo>
                <a:lnTo>
                  <a:pt x="566" y="121"/>
                </a:lnTo>
                <a:lnTo>
                  <a:pt x="563" y="118"/>
                </a:lnTo>
                <a:lnTo>
                  <a:pt x="566" y="121"/>
                </a:lnTo>
                <a:lnTo>
                  <a:pt x="569" y="118"/>
                </a:lnTo>
                <a:lnTo>
                  <a:pt x="569" y="115"/>
                </a:lnTo>
                <a:lnTo>
                  <a:pt x="566" y="115"/>
                </a:lnTo>
                <a:lnTo>
                  <a:pt x="563" y="112"/>
                </a:lnTo>
                <a:lnTo>
                  <a:pt x="563" y="109"/>
                </a:lnTo>
                <a:lnTo>
                  <a:pt x="566" y="106"/>
                </a:lnTo>
                <a:lnTo>
                  <a:pt x="569" y="109"/>
                </a:lnTo>
                <a:lnTo>
                  <a:pt x="574" y="115"/>
                </a:lnTo>
                <a:lnTo>
                  <a:pt x="577" y="112"/>
                </a:lnTo>
                <a:lnTo>
                  <a:pt x="580" y="106"/>
                </a:lnTo>
                <a:lnTo>
                  <a:pt x="577" y="103"/>
                </a:lnTo>
                <a:lnTo>
                  <a:pt x="571" y="100"/>
                </a:lnTo>
                <a:lnTo>
                  <a:pt x="566" y="100"/>
                </a:lnTo>
                <a:lnTo>
                  <a:pt x="557" y="100"/>
                </a:lnTo>
                <a:lnTo>
                  <a:pt x="554" y="103"/>
                </a:lnTo>
                <a:lnTo>
                  <a:pt x="554" y="100"/>
                </a:lnTo>
                <a:lnTo>
                  <a:pt x="557" y="98"/>
                </a:lnTo>
                <a:lnTo>
                  <a:pt x="557" y="95"/>
                </a:lnTo>
                <a:lnTo>
                  <a:pt x="554" y="92"/>
                </a:lnTo>
                <a:lnTo>
                  <a:pt x="551" y="89"/>
                </a:lnTo>
                <a:lnTo>
                  <a:pt x="554" y="89"/>
                </a:lnTo>
                <a:lnTo>
                  <a:pt x="557" y="89"/>
                </a:lnTo>
                <a:lnTo>
                  <a:pt x="560" y="89"/>
                </a:lnTo>
                <a:lnTo>
                  <a:pt x="566" y="86"/>
                </a:lnTo>
                <a:lnTo>
                  <a:pt x="574" y="86"/>
                </a:lnTo>
                <a:lnTo>
                  <a:pt x="583" y="83"/>
                </a:lnTo>
                <a:lnTo>
                  <a:pt x="592" y="86"/>
                </a:lnTo>
                <a:lnTo>
                  <a:pt x="597" y="86"/>
                </a:lnTo>
                <a:lnTo>
                  <a:pt x="600" y="83"/>
                </a:lnTo>
                <a:lnTo>
                  <a:pt x="600" y="80"/>
                </a:lnTo>
                <a:lnTo>
                  <a:pt x="594" y="80"/>
                </a:lnTo>
                <a:lnTo>
                  <a:pt x="594" y="78"/>
                </a:lnTo>
                <a:lnTo>
                  <a:pt x="592" y="75"/>
                </a:lnTo>
                <a:lnTo>
                  <a:pt x="583" y="72"/>
                </a:lnTo>
                <a:lnTo>
                  <a:pt x="577" y="69"/>
                </a:lnTo>
                <a:lnTo>
                  <a:pt x="574" y="69"/>
                </a:lnTo>
                <a:lnTo>
                  <a:pt x="571" y="69"/>
                </a:lnTo>
                <a:lnTo>
                  <a:pt x="569" y="75"/>
                </a:lnTo>
                <a:lnTo>
                  <a:pt x="566" y="75"/>
                </a:lnTo>
                <a:lnTo>
                  <a:pt x="563" y="72"/>
                </a:lnTo>
                <a:lnTo>
                  <a:pt x="566" y="69"/>
                </a:lnTo>
                <a:lnTo>
                  <a:pt x="571" y="63"/>
                </a:lnTo>
                <a:lnTo>
                  <a:pt x="574" y="60"/>
                </a:lnTo>
                <a:lnTo>
                  <a:pt x="577" y="57"/>
                </a:lnTo>
                <a:lnTo>
                  <a:pt x="583" y="60"/>
                </a:lnTo>
                <a:lnTo>
                  <a:pt x="586" y="60"/>
                </a:lnTo>
                <a:lnTo>
                  <a:pt x="589" y="57"/>
                </a:lnTo>
                <a:lnTo>
                  <a:pt x="594" y="55"/>
                </a:lnTo>
                <a:lnTo>
                  <a:pt x="600" y="52"/>
                </a:lnTo>
                <a:lnTo>
                  <a:pt x="597" y="52"/>
                </a:lnTo>
                <a:lnTo>
                  <a:pt x="594" y="49"/>
                </a:lnTo>
                <a:lnTo>
                  <a:pt x="603" y="46"/>
                </a:lnTo>
                <a:lnTo>
                  <a:pt x="612" y="46"/>
                </a:lnTo>
                <a:lnTo>
                  <a:pt x="620" y="43"/>
                </a:lnTo>
                <a:lnTo>
                  <a:pt x="623" y="40"/>
                </a:lnTo>
                <a:lnTo>
                  <a:pt x="626" y="40"/>
                </a:lnTo>
                <a:lnTo>
                  <a:pt x="629" y="43"/>
                </a:lnTo>
                <a:lnTo>
                  <a:pt x="632" y="40"/>
                </a:lnTo>
                <a:lnTo>
                  <a:pt x="637" y="37"/>
                </a:lnTo>
                <a:lnTo>
                  <a:pt x="640" y="37"/>
                </a:lnTo>
                <a:lnTo>
                  <a:pt x="652" y="32"/>
                </a:lnTo>
                <a:lnTo>
                  <a:pt x="655" y="32"/>
                </a:lnTo>
                <a:lnTo>
                  <a:pt x="669" y="29"/>
                </a:lnTo>
                <a:lnTo>
                  <a:pt x="689" y="23"/>
                </a:lnTo>
                <a:lnTo>
                  <a:pt x="683" y="20"/>
                </a:lnTo>
                <a:lnTo>
                  <a:pt x="669" y="20"/>
                </a:lnTo>
                <a:lnTo>
                  <a:pt x="646" y="17"/>
                </a:lnTo>
                <a:lnTo>
                  <a:pt x="635" y="20"/>
                </a:lnTo>
                <a:lnTo>
                  <a:pt x="626" y="23"/>
                </a:lnTo>
                <a:lnTo>
                  <a:pt x="615" y="23"/>
                </a:lnTo>
                <a:lnTo>
                  <a:pt x="609" y="23"/>
                </a:lnTo>
                <a:lnTo>
                  <a:pt x="603" y="20"/>
                </a:lnTo>
                <a:lnTo>
                  <a:pt x="589" y="26"/>
                </a:lnTo>
                <a:lnTo>
                  <a:pt x="577" y="29"/>
                </a:lnTo>
                <a:lnTo>
                  <a:pt x="560" y="34"/>
                </a:lnTo>
                <a:lnTo>
                  <a:pt x="566" y="29"/>
                </a:lnTo>
                <a:lnTo>
                  <a:pt x="574" y="23"/>
                </a:lnTo>
                <a:lnTo>
                  <a:pt x="583" y="23"/>
                </a:lnTo>
                <a:lnTo>
                  <a:pt x="586" y="17"/>
                </a:lnTo>
                <a:lnTo>
                  <a:pt x="580" y="17"/>
                </a:lnTo>
                <a:lnTo>
                  <a:pt x="577" y="17"/>
                </a:lnTo>
                <a:lnTo>
                  <a:pt x="569" y="17"/>
                </a:lnTo>
                <a:lnTo>
                  <a:pt x="563" y="20"/>
                </a:lnTo>
                <a:lnTo>
                  <a:pt x="557" y="23"/>
                </a:lnTo>
                <a:lnTo>
                  <a:pt x="551" y="23"/>
                </a:lnTo>
                <a:lnTo>
                  <a:pt x="549" y="17"/>
                </a:lnTo>
                <a:lnTo>
                  <a:pt x="551" y="17"/>
                </a:lnTo>
                <a:lnTo>
                  <a:pt x="560" y="17"/>
                </a:lnTo>
                <a:lnTo>
                  <a:pt x="574" y="14"/>
                </a:lnTo>
                <a:lnTo>
                  <a:pt x="597" y="11"/>
                </a:lnTo>
                <a:lnTo>
                  <a:pt x="592" y="9"/>
                </a:lnTo>
                <a:lnTo>
                  <a:pt x="583" y="9"/>
                </a:lnTo>
                <a:lnTo>
                  <a:pt x="566" y="6"/>
                </a:lnTo>
                <a:lnTo>
                  <a:pt x="554" y="3"/>
                </a:lnTo>
                <a:lnTo>
                  <a:pt x="546" y="0"/>
                </a:lnTo>
                <a:lnTo>
                  <a:pt x="526" y="0"/>
                </a:lnTo>
                <a:lnTo>
                  <a:pt x="494" y="0"/>
                </a:lnTo>
                <a:lnTo>
                  <a:pt x="442" y="0"/>
                </a:lnTo>
                <a:lnTo>
                  <a:pt x="431" y="3"/>
                </a:lnTo>
                <a:lnTo>
                  <a:pt x="419" y="3"/>
                </a:lnTo>
                <a:lnTo>
                  <a:pt x="394" y="3"/>
                </a:lnTo>
                <a:lnTo>
                  <a:pt x="373" y="3"/>
                </a:lnTo>
                <a:lnTo>
                  <a:pt x="350" y="6"/>
                </a:lnTo>
                <a:lnTo>
                  <a:pt x="336" y="6"/>
                </a:lnTo>
                <a:lnTo>
                  <a:pt x="348" y="9"/>
                </a:lnTo>
                <a:lnTo>
                  <a:pt x="345" y="11"/>
                </a:lnTo>
                <a:lnTo>
                  <a:pt x="333" y="9"/>
                </a:lnTo>
                <a:lnTo>
                  <a:pt x="327" y="9"/>
                </a:lnTo>
                <a:lnTo>
                  <a:pt x="322" y="6"/>
                </a:lnTo>
                <a:lnTo>
                  <a:pt x="322" y="9"/>
                </a:lnTo>
                <a:lnTo>
                  <a:pt x="327" y="11"/>
                </a:lnTo>
                <a:lnTo>
                  <a:pt x="333" y="14"/>
                </a:lnTo>
                <a:lnTo>
                  <a:pt x="342" y="14"/>
                </a:lnTo>
                <a:lnTo>
                  <a:pt x="348" y="17"/>
                </a:lnTo>
                <a:lnTo>
                  <a:pt x="350" y="20"/>
                </a:lnTo>
                <a:lnTo>
                  <a:pt x="345" y="20"/>
                </a:lnTo>
                <a:lnTo>
                  <a:pt x="325" y="17"/>
                </a:lnTo>
                <a:lnTo>
                  <a:pt x="316" y="14"/>
                </a:lnTo>
                <a:lnTo>
                  <a:pt x="307" y="11"/>
                </a:lnTo>
                <a:lnTo>
                  <a:pt x="296" y="9"/>
                </a:lnTo>
                <a:lnTo>
                  <a:pt x="290" y="9"/>
                </a:lnTo>
                <a:lnTo>
                  <a:pt x="290" y="11"/>
                </a:lnTo>
                <a:lnTo>
                  <a:pt x="293" y="14"/>
                </a:lnTo>
                <a:lnTo>
                  <a:pt x="296" y="14"/>
                </a:lnTo>
                <a:lnTo>
                  <a:pt x="299" y="17"/>
                </a:lnTo>
                <a:lnTo>
                  <a:pt x="296" y="23"/>
                </a:lnTo>
                <a:lnTo>
                  <a:pt x="290" y="20"/>
                </a:lnTo>
                <a:lnTo>
                  <a:pt x="282" y="17"/>
                </a:lnTo>
                <a:lnTo>
                  <a:pt x="276" y="14"/>
                </a:lnTo>
                <a:lnTo>
                  <a:pt x="267" y="14"/>
                </a:lnTo>
                <a:lnTo>
                  <a:pt x="264" y="11"/>
                </a:lnTo>
                <a:lnTo>
                  <a:pt x="264" y="14"/>
                </a:lnTo>
                <a:lnTo>
                  <a:pt x="264" y="17"/>
                </a:lnTo>
                <a:lnTo>
                  <a:pt x="264" y="20"/>
                </a:lnTo>
                <a:lnTo>
                  <a:pt x="259" y="20"/>
                </a:lnTo>
                <a:lnTo>
                  <a:pt x="259" y="17"/>
                </a:lnTo>
                <a:lnTo>
                  <a:pt x="256" y="17"/>
                </a:lnTo>
                <a:lnTo>
                  <a:pt x="256" y="14"/>
                </a:lnTo>
                <a:lnTo>
                  <a:pt x="244" y="14"/>
                </a:lnTo>
                <a:lnTo>
                  <a:pt x="227" y="14"/>
                </a:lnTo>
                <a:lnTo>
                  <a:pt x="207" y="17"/>
                </a:lnTo>
                <a:lnTo>
                  <a:pt x="198" y="17"/>
                </a:lnTo>
                <a:lnTo>
                  <a:pt x="187" y="20"/>
                </a:lnTo>
                <a:lnTo>
                  <a:pt x="175" y="20"/>
                </a:lnTo>
                <a:lnTo>
                  <a:pt x="178" y="26"/>
                </a:lnTo>
                <a:lnTo>
                  <a:pt x="175" y="26"/>
                </a:lnTo>
                <a:lnTo>
                  <a:pt x="170" y="29"/>
                </a:lnTo>
                <a:lnTo>
                  <a:pt x="152" y="29"/>
                </a:lnTo>
                <a:lnTo>
                  <a:pt x="138" y="29"/>
                </a:lnTo>
                <a:lnTo>
                  <a:pt x="112" y="34"/>
                </a:lnTo>
                <a:lnTo>
                  <a:pt x="101" y="37"/>
                </a:lnTo>
                <a:lnTo>
                  <a:pt x="92" y="40"/>
                </a:lnTo>
                <a:lnTo>
                  <a:pt x="98" y="43"/>
                </a:lnTo>
                <a:lnTo>
                  <a:pt x="106" y="43"/>
                </a:lnTo>
                <a:lnTo>
                  <a:pt x="115" y="43"/>
                </a:lnTo>
                <a:lnTo>
                  <a:pt x="106" y="55"/>
                </a:lnTo>
                <a:lnTo>
                  <a:pt x="72" y="55"/>
                </a:lnTo>
                <a:lnTo>
                  <a:pt x="63" y="57"/>
                </a:lnTo>
                <a:lnTo>
                  <a:pt x="52" y="60"/>
                </a:lnTo>
                <a:lnTo>
                  <a:pt x="38" y="60"/>
                </a:lnTo>
                <a:lnTo>
                  <a:pt x="26" y="63"/>
                </a:lnTo>
                <a:lnTo>
                  <a:pt x="12" y="66"/>
                </a:lnTo>
                <a:lnTo>
                  <a:pt x="3" y="66"/>
                </a:lnTo>
                <a:lnTo>
                  <a:pt x="3" y="69"/>
                </a:lnTo>
                <a:lnTo>
                  <a:pt x="9" y="72"/>
                </a:lnTo>
                <a:lnTo>
                  <a:pt x="15" y="72"/>
                </a:lnTo>
                <a:lnTo>
                  <a:pt x="26" y="72"/>
                </a:lnTo>
                <a:lnTo>
                  <a:pt x="35" y="69"/>
                </a:lnTo>
                <a:lnTo>
                  <a:pt x="29" y="72"/>
                </a:lnTo>
                <a:lnTo>
                  <a:pt x="29" y="75"/>
                </a:lnTo>
                <a:lnTo>
                  <a:pt x="32" y="78"/>
                </a:lnTo>
                <a:lnTo>
                  <a:pt x="35" y="78"/>
                </a:lnTo>
                <a:lnTo>
                  <a:pt x="38" y="75"/>
                </a:lnTo>
                <a:lnTo>
                  <a:pt x="43" y="72"/>
                </a:lnTo>
                <a:lnTo>
                  <a:pt x="46" y="69"/>
                </a:lnTo>
                <a:lnTo>
                  <a:pt x="43" y="75"/>
                </a:lnTo>
                <a:lnTo>
                  <a:pt x="49" y="78"/>
                </a:lnTo>
                <a:lnTo>
                  <a:pt x="52" y="75"/>
                </a:lnTo>
                <a:lnTo>
                  <a:pt x="55" y="75"/>
                </a:lnTo>
                <a:lnTo>
                  <a:pt x="55" y="72"/>
                </a:lnTo>
                <a:lnTo>
                  <a:pt x="61" y="69"/>
                </a:lnTo>
                <a:lnTo>
                  <a:pt x="72" y="72"/>
                </a:lnTo>
                <a:lnTo>
                  <a:pt x="75" y="72"/>
                </a:lnTo>
                <a:lnTo>
                  <a:pt x="63" y="80"/>
                </a:lnTo>
                <a:lnTo>
                  <a:pt x="55" y="83"/>
                </a:lnTo>
                <a:lnTo>
                  <a:pt x="49" y="86"/>
                </a:lnTo>
                <a:lnTo>
                  <a:pt x="35" y="83"/>
                </a:lnTo>
                <a:lnTo>
                  <a:pt x="23" y="83"/>
                </a:lnTo>
                <a:lnTo>
                  <a:pt x="15" y="80"/>
                </a:lnTo>
                <a:lnTo>
                  <a:pt x="17" y="78"/>
                </a:lnTo>
                <a:lnTo>
                  <a:pt x="9" y="78"/>
                </a:lnTo>
                <a:lnTo>
                  <a:pt x="6" y="80"/>
                </a:lnTo>
                <a:lnTo>
                  <a:pt x="0" y="83"/>
                </a:lnTo>
                <a:lnTo>
                  <a:pt x="3" y="86"/>
                </a:lnTo>
                <a:lnTo>
                  <a:pt x="9" y="86"/>
                </a:lnTo>
                <a:lnTo>
                  <a:pt x="12" y="86"/>
                </a:lnTo>
                <a:lnTo>
                  <a:pt x="12" y="92"/>
                </a:lnTo>
                <a:lnTo>
                  <a:pt x="15" y="95"/>
                </a:lnTo>
                <a:lnTo>
                  <a:pt x="17" y="95"/>
                </a:lnTo>
                <a:lnTo>
                  <a:pt x="20" y="89"/>
                </a:lnTo>
                <a:lnTo>
                  <a:pt x="26" y="86"/>
                </a:lnTo>
                <a:lnTo>
                  <a:pt x="32" y="86"/>
                </a:lnTo>
                <a:lnTo>
                  <a:pt x="29" y="92"/>
                </a:lnTo>
                <a:lnTo>
                  <a:pt x="20" y="95"/>
                </a:lnTo>
                <a:lnTo>
                  <a:pt x="23" y="98"/>
                </a:lnTo>
                <a:lnTo>
                  <a:pt x="26" y="98"/>
                </a:lnTo>
                <a:lnTo>
                  <a:pt x="32" y="95"/>
                </a:lnTo>
                <a:lnTo>
                  <a:pt x="40" y="95"/>
                </a:lnTo>
                <a:lnTo>
                  <a:pt x="46" y="95"/>
                </a:lnTo>
                <a:lnTo>
                  <a:pt x="52" y="95"/>
                </a:lnTo>
                <a:lnTo>
                  <a:pt x="55" y="98"/>
                </a:lnTo>
                <a:lnTo>
                  <a:pt x="58" y="100"/>
                </a:lnTo>
                <a:lnTo>
                  <a:pt x="66" y="95"/>
                </a:lnTo>
                <a:lnTo>
                  <a:pt x="69" y="92"/>
                </a:lnTo>
                <a:lnTo>
                  <a:pt x="72" y="98"/>
                </a:lnTo>
                <a:lnTo>
                  <a:pt x="81" y="95"/>
                </a:lnTo>
                <a:lnTo>
                  <a:pt x="86" y="95"/>
                </a:lnTo>
                <a:lnTo>
                  <a:pt x="89" y="100"/>
                </a:lnTo>
                <a:lnTo>
                  <a:pt x="98" y="95"/>
                </a:lnTo>
                <a:lnTo>
                  <a:pt x="101" y="98"/>
                </a:lnTo>
                <a:lnTo>
                  <a:pt x="106" y="98"/>
                </a:lnTo>
                <a:lnTo>
                  <a:pt x="109" y="98"/>
                </a:lnTo>
                <a:lnTo>
                  <a:pt x="112" y="100"/>
                </a:lnTo>
                <a:lnTo>
                  <a:pt x="115" y="100"/>
                </a:lnTo>
                <a:lnTo>
                  <a:pt x="121" y="103"/>
                </a:lnTo>
                <a:lnTo>
                  <a:pt x="127" y="103"/>
                </a:lnTo>
                <a:lnTo>
                  <a:pt x="129" y="106"/>
                </a:lnTo>
                <a:lnTo>
                  <a:pt x="127" y="109"/>
                </a:lnTo>
                <a:lnTo>
                  <a:pt x="127" y="112"/>
                </a:lnTo>
                <a:lnTo>
                  <a:pt x="132" y="115"/>
                </a:lnTo>
                <a:lnTo>
                  <a:pt x="138" y="118"/>
                </a:lnTo>
                <a:lnTo>
                  <a:pt x="135" y="121"/>
                </a:lnTo>
                <a:lnTo>
                  <a:pt x="129" y="121"/>
                </a:lnTo>
                <a:lnTo>
                  <a:pt x="127" y="123"/>
                </a:lnTo>
                <a:lnTo>
                  <a:pt x="135" y="123"/>
                </a:lnTo>
                <a:lnTo>
                  <a:pt x="129" y="126"/>
                </a:lnTo>
                <a:lnTo>
                  <a:pt x="127" y="129"/>
                </a:lnTo>
                <a:lnTo>
                  <a:pt x="135" y="129"/>
                </a:lnTo>
                <a:lnTo>
                  <a:pt x="127" y="135"/>
                </a:lnTo>
                <a:lnTo>
                  <a:pt x="135" y="135"/>
                </a:lnTo>
                <a:lnTo>
                  <a:pt x="135" y="138"/>
                </a:lnTo>
                <a:lnTo>
                  <a:pt x="129" y="146"/>
                </a:lnTo>
                <a:lnTo>
                  <a:pt x="135" y="144"/>
                </a:lnTo>
                <a:lnTo>
                  <a:pt x="138" y="141"/>
                </a:lnTo>
                <a:lnTo>
                  <a:pt x="129" y="149"/>
                </a:lnTo>
                <a:lnTo>
                  <a:pt x="124" y="152"/>
                </a:lnTo>
                <a:lnTo>
                  <a:pt x="129" y="155"/>
                </a:lnTo>
                <a:lnTo>
                  <a:pt x="124" y="164"/>
                </a:lnTo>
                <a:lnTo>
                  <a:pt x="121" y="169"/>
                </a:lnTo>
                <a:lnTo>
                  <a:pt x="129" y="172"/>
                </a:lnTo>
                <a:lnTo>
                  <a:pt x="138" y="169"/>
                </a:lnTo>
                <a:lnTo>
                  <a:pt x="144" y="167"/>
                </a:lnTo>
                <a:lnTo>
                  <a:pt x="150" y="169"/>
                </a:lnTo>
                <a:lnTo>
                  <a:pt x="144" y="172"/>
                </a:lnTo>
                <a:lnTo>
                  <a:pt x="144" y="175"/>
                </a:lnTo>
                <a:lnTo>
                  <a:pt x="147" y="175"/>
                </a:lnTo>
                <a:lnTo>
                  <a:pt x="155" y="175"/>
                </a:lnTo>
                <a:lnTo>
                  <a:pt x="161" y="178"/>
                </a:lnTo>
                <a:lnTo>
                  <a:pt x="158" y="184"/>
                </a:lnTo>
                <a:lnTo>
                  <a:pt x="164" y="181"/>
                </a:lnTo>
                <a:lnTo>
                  <a:pt x="167" y="184"/>
                </a:lnTo>
                <a:lnTo>
                  <a:pt x="161" y="187"/>
                </a:lnTo>
                <a:lnTo>
                  <a:pt x="150" y="181"/>
                </a:lnTo>
                <a:lnTo>
                  <a:pt x="135" y="181"/>
                </a:lnTo>
                <a:lnTo>
                  <a:pt x="124" y="184"/>
                </a:lnTo>
                <a:lnTo>
                  <a:pt x="132" y="187"/>
                </a:lnTo>
                <a:lnTo>
                  <a:pt x="141" y="187"/>
                </a:lnTo>
                <a:lnTo>
                  <a:pt x="147" y="192"/>
                </a:lnTo>
                <a:lnTo>
                  <a:pt x="158" y="192"/>
                </a:lnTo>
                <a:lnTo>
                  <a:pt x="158" y="198"/>
                </a:lnTo>
                <a:lnTo>
                  <a:pt x="155" y="198"/>
                </a:lnTo>
                <a:lnTo>
                  <a:pt x="152" y="201"/>
                </a:lnTo>
                <a:lnTo>
                  <a:pt x="155" y="201"/>
                </a:lnTo>
                <a:lnTo>
                  <a:pt x="161" y="201"/>
                </a:lnTo>
                <a:lnTo>
                  <a:pt x="164" y="201"/>
                </a:lnTo>
                <a:lnTo>
                  <a:pt x="158" y="204"/>
                </a:lnTo>
                <a:lnTo>
                  <a:pt x="155" y="210"/>
                </a:lnTo>
                <a:lnTo>
                  <a:pt x="155" y="212"/>
                </a:lnTo>
                <a:lnTo>
                  <a:pt x="155" y="215"/>
                </a:lnTo>
                <a:lnTo>
                  <a:pt x="147" y="218"/>
                </a:lnTo>
                <a:lnTo>
                  <a:pt x="138" y="215"/>
                </a:lnTo>
                <a:lnTo>
                  <a:pt x="127" y="212"/>
                </a:lnTo>
                <a:lnTo>
                  <a:pt x="124" y="218"/>
                </a:lnTo>
                <a:lnTo>
                  <a:pt x="129" y="218"/>
                </a:lnTo>
                <a:lnTo>
                  <a:pt x="132" y="221"/>
                </a:lnTo>
                <a:lnTo>
                  <a:pt x="138" y="224"/>
                </a:lnTo>
                <a:lnTo>
                  <a:pt x="147" y="224"/>
                </a:lnTo>
                <a:lnTo>
                  <a:pt x="144" y="227"/>
                </a:lnTo>
                <a:lnTo>
                  <a:pt x="141" y="230"/>
                </a:lnTo>
                <a:lnTo>
                  <a:pt x="132" y="230"/>
                </a:lnTo>
                <a:lnTo>
                  <a:pt x="129" y="227"/>
                </a:lnTo>
                <a:lnTo>
                  <a:pt x="121" y="227"/>
                </a:lnTo>
                <a:lnTo>
                  <a:pt x="115" y="230"/>
                </a:lnTo>
                <a:lnTo>
                  <a:pt x="106" y="233"/>
                </a:lnTo>
                <a:lnTo>
                  <a:pt x="115" y="233"/>
                </a:lnTo>
                <a:lnTo>
                  <a:pt x="124" y="230"/>
                </a:lnTo>
                <a:lnTo>
                  <a:pt x="144" y="233"/>
                </a:lnTo>
                <a:lnTo>
                  <a:pt x="141" y="238"/>
                </a:lnTo>
                <a:lnTo>
                  <a:pt x="132" y="238"/>
                </a:lnTo>
                <a:lnTo>
                  <a:pt x="124" y="235"/>
                </a:lnTo>
                <a:lnTo>
                  <a:pt x="115" y="235"/>
                </a:lnTo>
                <a:lnTo>
                  <a:pt x="106" y="244"/>
                </a:lnTo>
                <a:lnTo>
                  <a:pt x="115" y="247"/>
                </a:lnTo>
                <a:lnTo>
                  <a:pt x="112" y="253"/>
                </a:lnTo>
                <a:lnTo>
                  <a:pt x="106" y="256"/>
                </a:lnTo>
                <a:lnTo>
                  <a:pt x="109" y="264"/>
                </a:lnTo>
                <a:lnTo>
                  <a:pt x="115" y="261"/>
                </a:lnTo>
                <a:lnTo>
                  <a:pt x="106" y="270"/>
                </a:lnTo>
                <a:lnTo>
                  <a:pt x="106" y="273"/>
                </a:lnTo>
                <a:lnTo>
                  <a:pt x="106" y="276"/>
                </a:lnTo>
                <a:lnTo>
                  <a:pt x="112" y="276"/>
                </a:lnTo>
                <a:lnTo>
                  <a:pt x="104" y="281"/>
                </a:lnTo>
                <a:lnTo>
                  <a:pt x="101" y="281"/>
                </a:lnTo>
                <a:lnTo>
                  <a:pt x="101" y="287"/>
                </a:lnTo>
                <a:lnTo>
                  <a:pt x="104" y="284"/>
                </a:lnTo>
                <a:lnTo>
                  <a:pt x="109" y="284"/>
                </a:lnTo>
                <a:lnTo>
                  <a:pt x="106" y="284"/>
                </a:lnTo>
                <a:lnTo>
                  <a:pt x="118" y="281"/>
                </a:lnTo>
                <a:lnTo>
                  <a:pt x="115" y="287"/>
                </a:lnTo>
                <a:lnTo>
                  <a:pt x="106" y="293"/>
                </a:lnTo>
                <a:lnTo>
                  <a:pt x="104" y="296"/>
                </a:lnTo>
                <a:lnTo>
                  <a:pt x="104" y="304"/>
                </a:lnTo>
                <a:lnTo>
                  <a:pt x="109" y="301"/>
                </a:lnTo>
                <a:lnTo>
                  <a:pt x="109" y="307"/>
                </a:lnTo>
                <a:lnTo>
                  <a:pt x="118" y="307"/>
                </a:lnTo>
                <a:lnTo>
                  <a:pt x="118" y="313"/>
                </a:lnTo>
                <a:lnTo>
                  <a:pt x="104" y="322"/>
                </a:lnTo>
                <a:lnTo>
                  <a:pt x="112" y="324"/>
                </a:lnTo>
                <a:lnTo>
                  <a:pt x="121" y="327"/>
                </a:lnTo>
                <a:lnTo>
                  <a:pt x="124" y="333"/>
                </a:lnTo>
                <a:lnTo>
                  <a:pt x="115" y="336"/>
                </a:lnTo>
                <a:lnTo>
                  <a:pt x="121" y="339"/>
                </a:lnTo>
                <a:lnTo>
                  <a:pt x="127" y="336"/>
                </a:lnTo>
                <a:lnTo>
                  <a:pt x="121" y="342"/>
                </a:lnTo>
                <a:lnTo>
                  <a:pt x="127" y="345"/>
                </a:lnTo>
                <a:lnTo>
                  <a:pt x="129" y="345"/>
                </a:lnTo>
                <a:lnTo>
                  <a:pt x="129" y="347"/>
                </a:lnTo>
                <a:lnTo>
                  <a:pt x="124" y="350"/>
                </a:lnTo>
                <a:lnTo>
                  <a:pt x="124" y="353"/>
                </a:lnTo>
                <a:lnTo>
                  <a:pt x="129" y="353"/>
                </a:lnTo>
                <a:lnTo>
                  <a:pt x="132" y="350"/>
                </a:lnTo>
                <a:lnTo>
                  <a:pt x="138" y="347"/>
                </a:lnTo>
                <a:lnTo>
                  <a:pt x="144" y="347"/>
                </a:lnTo>
                <a:lnTo>
                  <a:pt x="147" y="347"/>
                </a:lnTo>
                <a:lnTo>
                  <a:pt x="161" y="342"/>
                </a:lnTo>
                <a:lnTo>
                  <a:pt x="167" y="345"/>
                </a:lnTo>
                <a:lnTo>
                  <a:pt x="152" y="350"/>
                </a:lnTo>
                <a:lnTo>
                  <a:pt x="152" y="353"/>
                </a:lnTo>
                <a:lnTo>
                  <a:pt x="158" y="356"/>
                </a:lnTo>
                <a:lnTo>
                  <a:pt x="167" y="353"/>
                </a:lnTo>
                <a:lnTo>
                  <a:pt x="178" y="353"/>
                </a:lnTo>
                <a:lnTo>
                  <a:pt x="172" y="362"/>
                </a:lnTo>
                <a:lnTo>
                  <a:pt x="184" y="362"/>
                </a:lnTo>
                <a:lnTo>
                  <a:pt x="181" y="353"/>
                </a:lnTo>
                <a:lnTo>
                  <a:pt x="190" y="350"/>
                </a:lnTo>
                <a:lnTo>
                  <a:pt x="193" y="345"/>
                </a:lnTo>
                <a:lnTo>
                  <a:pt x="198" y="345"/>
                </a:lnTo>
                <a:lnTo>
                  <a:pt x="201" y="336"/>
                </a:lnTo>
                <a:lnTo>
                  <a:pt x="207" y="336"/>
                </a:lnTo>
                <a:lnTo>
                  <a:pt x="213" y="330"/>
                </a:lnTo>
                <a:lnTo>
                  <a:pt x="210" y="327"/>
                </a:lnTo>
                <a:lnTo>
                  <a:pt x="210" y="324"/>
                </a:lnTo>
                <a:lnTo>
                  <a:pt x="218" y="319"/>
                </a:lnTo>
                <a:lnTo>
                  <a:pt x="224" y="316"/>
                </a:lnTo>
                <a:lnTo>
                  <a:pt x="227" y="313"/>
                </a:lnTo>
                <a:lnTo>
                  <a:pt x="236" y="307"/>
                </a:lnTo>
                <a:lnTo>
                  <a:pt x="241" y="299"/>
                </a:lnTo>
                <a:lnTo>
                  <a:pt x="244" y="299"/>
                </a:lnTo>
                <a:lnTo>
                  <a:pt x="247" y="299"/>
                </a:lnTo>
                <a:lnTo>
                  <a:pt x="247" y="296"/>
                </a:lnTo>
                <a:lnTo>
                  <a:pt x="241" y="284"/>
                </a:lnTo>
                <a:lnTo>
                  <a:pt x="253" y="287"/>
                </a:lnTo>
                <a:lnTo>
                  <a:pt x="253" y="281"/>
                </a:lnTo>
                <a:lnTo>
                  <a:pt x="253" y="276"/>
                </a:lnTo>
                <a:lnTo>
                  <a:pt x="261" y="276"/>
                </a:lnTo>
                <a:lnTo>
                  <a:pt x="267" y="276"/>
                </a:lnTo>
                <a:lnTo>
                  <a:pt x="270" y="273"/>
                </a:lnTo>
                <a:lnTo>
                  <a:pt x="270" y="267"/>
                </a:lnTo>
                <a:lnTo>
                  <a:pt x="273" y="267"/>
                </a:lnTo>
                <a:lnTo>
                  <a:pt x="284" y="264"/>
                </a:lnTo>
                <a:lnTo>
                  <a:pt x="293" y="261"/>
                </a:lnTo>
                <a:lnTo>
                  <a:pt x="299" y="258"/>
                </a:lnTo>
                <a:lnTo>
                  <a:pt x="305" y="253"/>
                </a:lnTo>
                <a:lnTo>
                  <a:pt x="299" y="261"/>
                </a:lnTo>
                <a:lnTo>
                  <a:pt x="296" y="264"/>
                </a:lnTo>
                <a:lnTo>
                  <a:pt x="296" y="267"/>
                </a:lnTo>
                <a:lnTo>
                  <a:pt x="302" y="267"/>
                </a:lnTo>
                <a:lnTo>
                  <a:pt x="307" y="264"/>
                </a:lnTo>
                <a:lnTo>
                  <a:pt x="313" y="261"/>
                </a:lnTo>
                <a:lnTo>
                  <a:pt x="327" y="258"/>
                </a:lnTo>
                <a:lnTo>
                  <a:pt x="336" y="258"/>
                </a:lnTo>
                <a:lnTo>
                  <a:pt x="342" y="258"/>
                </a:lnTo>
                <a:lnTo>
                  <a:pt x="350" y="250"/>
                </a:lnTo>
                <a:lnTo>
                  <a:pt x="353" y="244"/>
                </a:lnTo>
                <a:lnTo>
                  <a:pt x="359" y="241"/>
                </a:lnTo>
                <a:lnTo>
                  <a:pt x="365" y="238"/>
                </a:lnTo>
                <a:lnTo>
                  <a:pt x="373" y="233"/>
                </a:lnTo>
                <a:lnTo>
                  <a:pt x="379" y="230"/>
                </a:lnTo>
                <a:lnTo>
                  <a:pt x="382" y="227"/>
                </a:lnTo>
                <a:lnTo>
                  <a:pt x="382" y="224"/>
                </a:lnTo>
                <a:lnTo>
                  <a:pt x="385" y="218"/>
                </a:lnTo>
                <a:lnTo>
                  <a:pt x="388" y="224"/>
                </a:lnTo>
                <a:lnTo>
                  <a:pt x="391" y="227"/>
                </a:lnTo>
                <a:lnTo>
                  <a:pt x="402" y="227"/>
                </a:lnTo>
                <a:lnTo>
                  <a:pt x="414" y="224"/>
                </a:lnTo>
                <a:lnTo>
                  <a:pt x="431" y="221"/>
                </a:lnTo>
                <a:lnTo>
                  <a:pt x="445" y="218"/>
                </a:lnTo>
                <a:lnTo>
                  <a:pt x="460" y="215"/>
                </a:lnTo>
                <a:lnTo>
                  <a:pt x="488" y="207"/>
                </a:lnTo>
                <a:close/>
                <a:moveTo>
                  <a:pt x="577" y="78"/>
                </a:moveTo>
                <a:lnTo>
                  <a:pt x="577" y="78"/>
                </a:lnTo>
                <a:lnTo>
                  <a:pt x="580" y="75"/>
                </a:lnTo>
                <a:lnTo>
                  <a:pt x="583" y="75"/>
                </a:lnTo>
                <a:lnTo>
                  <a:pt x="592" y="80"/>
                </a:lnTo>
                <a:lnTo>
                  <a:pt x="580" y="80"/>
                </a:lnTo>
                <a:lnTo>
                  <a:pt x="577" y="80"/>
                </a:lnTo>
                <a:lnTo>
                  <a:pt x="577" y="7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76" name="Freeform 381"/>
          <p:cNvSpPr>
            <a:spLocks/>
          </p:cNvSpPr>
          <p:nvPr/>
        </p:nvSpPr>
        <p:spPr bwMode="gray">
          <a:xfrm>
            <a:off x="4056731" y="1971054"/>
            <a:ext cx="4001" cy="9000"/>
          </a:xfrm>
          <a:custGeom>
            <a:avLst/>
            <a:gdLst>
              <a:gd name="T0" fmla="*/ 2147483647 w 2"/>
              <a:gd name="T1" fmla="*/ 0 h 6"/>
              <a:gd name="T2" fmla="*/ 0 w 2"/>
              <a:gd name="T3" fmla="*/ 0 h 6"/>
              <a:gd name="T4" fmla="*/ 0 w 2"/>
              <a:gd name="T5" fmla="*/ 2147483647 h 6"/>
              <a:gd name="T6" fmla="*/ 2147483647 w 2"/>
              <a:gd name="T7" fmla="*/ 2147483647 h 6"/>
              <a:gd name="T8" fmla="*/ 2147483647 w 2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"/>
              <a:gd name="T16" fmla="*/ 0 h 6"/>
              <a:gd name="T17" fmla="*/ 2 w 2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" h="6">
                <a:moveTo>
                  <a:pt x="2" y="0"/>
                </a:moveTo>
                <a:lnTo>
                  <a:pt x="0" y="0"/>
                </a:lnTo>
                <a:lnTo>
                  <a:pt x="0" y="3"/>
                </a:lnTo>
                <a:lnTo>
                  <a:pt x="2" y="6"/>
                </a:lnTo>
                <a:lnTo>
                  <a:pt x="2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1277" name="Freeform 382"/>
          <p:cNvSpPr>
            <a:spLocks/>
          </p:cNvSpPr>
          <p:nvPr/>
        </p:nvSpPr>
        <p:spPr bwMode="gray">
          <a:xfrm>
            <a:off x="4050731" y="1858551"/>
            <a:ext cx="10001" cy="16500"/>
          </a:xfrm>
          <a:custGeom>
            <a:avLst/>
            <a:gdLst>
              <a:gd name="T0" fmla="*/ 2147483647 w 5"/>
              <a:gd name="T1" fmla="*/ 0 h 11"/>
              <a:gd name="T2" fmla="*/ 0 w 5"/>
              <a:gd name="T3" fmla="*/ 2147483647 h 11"/>
              <a:gd name="T4" fmla="*/ 0 w 5"/>
              <a:gd name="T5" fmla="*/ 2147483647 h 11"/>
              <a:gd name="T6" fmla="*/ 2147483647 w 5"/>
              <a:gd name="T7" fmla="*/ 2147483647 h 11"/>
              <a:gd name="T8" fmla="*/ 2147483647 w 5"/>
              <a:gd name="T9" fmla="*/ 2147483647 h 11"/>
              <a:gd name="T10" fmla="*/ 2147483647 w 5"/>
              <a:gd name="T11" fmla="*/ 0 h 1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"/>
              <a:gd name="T19" fmla="*/ 0 h 11"/>
              <a:gd name="T20" fmla="*/ 5 w 5"/>
              <a:gd name="T21" fmla="*/ 11 h 1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" h="11">
                <a:moveTo>
                  <a:pt x="5" y="0"/>
                </a:moveTo>
                <a:lnTo>
                  <a:pt x="0" y="8"/>
                </a:lnTo>
                <a:lnTo>
                  <a:pt x="0" y="11"/>
                </a:lnTo>
                <a:lnTo>
                  <a:pt x="5" y="11"/>
                </a:lnTo>
                <a:lnTo>
                  <a:pt x="5" y="5"/>
                </a:lnTo>
                <a:lnTo>
                  <a:pt x="5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1278" name="Freeform 383"/>
          <p:cNvSpPr>
            <a:spLocks/>
          </p:cNvSpPr>
          <p:nvPr/>
        </p:nvSpPr>
        <p:spPr bwMode="gray">
          <a:xfrm>
            <a:off x="4914886" y="1714547"/>
            <a:ext cx="18003" cy="4500"/>
          </a:xfrm>
          <a:custGeom>
            <a:avLst/>
            <a:gdLst>
              <a:gd name="T0" fmla="*/ 2147483647 w 9"/>
              <a:gd name="T1" fmla="*/ 2147483647 h 3"/>
              <a:gd name="T2" fmla="*/ 2147483647 w 9"/>
              <a:gd name="T3" fmla="*/ 2147483647 h 3"/>
              <a:gd name="T4" fmla="*/ 2147483647 w 9"/>
              <a:gd name="T5" fmla="*/ 2147483647 h 3"/>
              <a:gd name="T6" fmla="*/ 0 w 9"/>
              <a:gd name="T7" fmla="*/ 0 h 3"/>
              <a:gd name="T8" fmla="*/ 2147483647 w 9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3"/>
              <a:gd name="T17" fmla="*/ 9 w 9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3">
                <a:moveTo>
                  <a:pt x="3" y="3"/>
                </a:moveTo>
                <a:lnTo>
                  <a:pt x="9" y="3"/>
                </a:lnTo>
                <a:lnTo>
                  <a:pt x="0" y="0"/>
                </a:lnTo>
                <a:lnTo>
                  <a:pt x="3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79" name="Freeform 384"/>
          <p:cNvSpPr>
            <a:spLocks/>
          </p:cNvSpPr>
          <p:nvPr/>
        </p:nvSpPr>
        <p:spPr bwMode="gray">
          <a:xfrm>
            <a:off x="5042909" y="1636544"/>
            <a:ext cx="2000" cy="4500"/>
          </a:xfrm>
          <a:custGeom>
            <a:avLst/>
            <a:gdLst>
              <a:gd name="T0" fmla="*/ 0 w 1"/>
              <a:gd name="T1" fmla="*/ 2147483647 h 3"/>
              <a:gd name="T2" fmla="*/ 0 w 1"/>
              <a:gd name="T3" fmla="*/ 0 h 3"/>
              <a:gd name="T4" fmla="*/ 0 w 1"/>
              <a:gd name="T5" fmla="*/ 2147483647 h 3"/>
              <a:gd name="T6" fmla="*/ 0 w 1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1"/>
              <a:gd name="T13" fmla="*/ 0 h 3"/>
              <a:gd name="T14" fmla="*/ 1 w 1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" h="3">
                <a:moveTo>
                  <a:pt x="0" y="3"/>
                </a:move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80" name="Freeform 385"/>
          <p:cNvSpPr>
            <a:spLocks/>
          </p:cNvSpPr>
          <p:nvPr/>
        </p:nvSpPr>
        <p:spPr bwMode="gray">
          <a:xfrm>
            <a:off x="5030907" y="1641045"/>
            <a:ext cx="12002" cy="16501"/>
          </a:xfrm>
          <a:custGeom>
            <a:avLst/>
            <a:gdLst>
              <a:gd name="T0" fmla="*/ 2147483647 w 6"/>
              <a:gd name="T1" fmla="*/ 2147483647 h 11"/>
              <a:gd name="T2" fmla="*/ 2147483647 w 6"/>
              <a:gd name="T3" fmla="*/ 2147483647 h 11"/>
              <a:gd name="T4" fmla="*/ 2147483647 w 6"/>
              <a:gd name="T5" fmla="*/ 0 h 11"/>
              <a:gd name="T6" fmla="*/ 0 w 6"/>
              <a:gd name="T7" fmla="*/ 2147483647 h 11"/>
              <a:gd name="T8" fmla="*/ 2147483647 w 6"/>
              <a:gd name="T9" fmla="*/ 2147483647 h 1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11"/>
              <a:gd name="T17" fmla="*/ 6 w 6"/>
              <a:gd name="T18" fmla="*/ 11 h 1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11">
                <a:moveTo>
                  <a:pt x="3" y="11"/>
                </a:moveTo>
                <a:lnTo>
                  <a:pt x="6" y="6"/>
                </a:lnTo>
                <a:lnTo>
                  <a:pt x="6" y="0"/>
                </a:lnTo>
                <a:lnTo>
                  <a:pt x="0" y="6"/>
                </a:lnTo>
                <a:lnTo>
                  <a:pt x="3" y="11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81" name="Freeform 386"/>
          <p:cNvSpPr>
            <a:spLocks/>
          </p:cNvSpPr>
          <p:nvPr/>
        </p:nvSpPr>
        <p:spPr bwMode="gray">
          <a:xfrm>
            <a:off x="4938891" y="1719046"/>
            <a:ext cx="12002" cy="7501"/>
          </a:xfrm>
          <a:custGeom>
            <a:avLst/>
            <a:gdLst>
              <a:gd name="T0" fmla="*/ 2147483647 w 6"/>
              <a:gd name="T1" fmla="*/ 2147483647 h 5"/>
              <a:gd name="T2" fmla="*/ 2147483647 w 6"/>
              <a:gd name="T3" fmla="*/ 2147483647 h 5"/>
              <a:gd name="T4" fmla="*/ 0 w 6"/>
              <a:gd name="T5" fmla="*/ 0 h 5"/>
              <a:gd name="T6" fmla="*/ 0 w 6"/>
              <a:gd name="T7" fmla="*/ 2147483647 h 5"/>
              <a:gd name="T8" fmla="*/ 2147483647 w 6"/>
              <a:gd name="T9" fmla="*/ 2147483647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5"/>
              <a:gd name="T17" fmla="*/ 6 w 6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5">
                <a:moveTo>
                  <a:pt x="6" y="5"/>
                </a:moveTo>
                <a:lnTo>
                  <a:pt x="6" y="3"/>
                </a:lnTo>
                <a:lnTo>
                  <a:pt x="0" y="0"/>
                </a:lnTo>
                <a:lnTo>
                  <a:pt x="0" y="3"/>
                </a:lnTo>
                <a:lnTo>
                  <a:pt x="6" y="5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82" name="Freeform 387"/>
          <p:cNvSpPr>
            <a:spLocks/>
          </p:cNvSpPr>
          <p:nvPr/>
        </p:nvSpPr>
        <p:spPr bwMode="gray">
          <a:xfrm>
            <a:off x="4856874" y="1710046"/>
            <a:ext cx="48009" cy="13501"/>
          </a:xfrm>
          <a:custGeom>
            <a:avLst/>
            <a:gdLst>
              <a:gd name="T0" fmla="*/ 2147483647 w 23"/>
              <a:gd name="T1" fmla="*/ 2147483647 h 9"/>
              <a:gd name="T2" fmla="*/ 2147483647 w 23"/>
              <a:gd name="T3" fmla="*/ 2147483647 h 9"/>
              <a:gd name="T4" fmla="*/ 2147483647 w 23"/>
              <a:gd name="T5" fmla="*/ 2147483647 h 9"/>
              <a:gd name="T6" fmla="*/ 2147483647 w 23"/>
              <a:gd name="T7" fmla="*/ 2147483647 h 9"/>
              <a:gd name="T8" fmla="*/ 0 w 23"/>
              <a:gd name="T9" fmla="*/ 0 h 9"/>
              <a:gd name="T10" fmla="*/ 0 w 23"/>
              <a:gd name="T11" fmla="*/ 2147483647 h 9"/>
              <a:gd name="T12" fmla="*/ 2147483647 w 23"/>
              <a:gd name="T13" fmla="*/ 2147483647 h 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3"/>
              <a:gd name="T22" fmla="*/ 0 h 9"/>
              <a:gd name="T23" fmla="*/ 23 w 23"/>
              <a:gd name="T24" fmla="*/ 9 h 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3" h="9">
                <a:moveTo>
                  <a:pt x="8" y="9"/>
                </a:moveTo>
                <a:lnTo>
                  <a:pt x="17" y="9"/>
                </a:lnTo>
                <a:lnTo>
                  <a:pt x="23" y="6"/>
                </a:lnTo>
                <a:lnTo>
                  <a:pt x="11" y="3"/>
                </a:lnTo>
                <a:lnTo>
                  <a:pt x="0" y="0"/>
                </a:lnTo>
                <a:lnTo>
                  <a:pt x="0" y="6"/>
                </a:lnTo>
                <a:lnTo>
                  <a:pt x="8" y="9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83" name="Freeform 388"/>
          <p:cNvSpPr>
            <a:spLocks/>
          </p:cNvSpPr>
          <p:nvPr/>
        </p:nvSpPr>
        <p:spPr bwMode="gray">
          <a:xfrm>
            <a:off x="4072734" y="1789549"/>
            <a:ext cx="78015" cy="30001"/>
          </a:xfrm>
          <a:custGeom>
            <a:avLst/>
            <a:gdLst>
              <a:gd name="T0" fmla="*/ 2147483647 w 38"/>
              <a:gd name="T1" fmla="*/ 2147483647 h 20"/>
              <a:gd name="T2" fmla="*/ 2147483647 w 38"/>
              <a:gd name="T3" fmla="*/ 2147483647 h 20"/>
              <a:gd name="T4" fmla="*/ 2147483647 w 38"/>
              <a:gd name="T5" fmla="*/ 2147483647 h 20"/>
              <a:gd name="T6" fmla="*/ 2147483647 w 38"/>
              <a:gd name="T7" fmla="*/ 2147483647 h 20"/>
              <a:gd name="T8" fmla="*/ 2147483647 w 38"/>
              <a:gd name="T9" fmla="*/ 2147483647 h 20"/>
              <a:gd name="T10" fmla="*/ 2147483647 w 38"/>
              <a:gd name="T11" fmla="*/ 2147483647 h 20"/>
              <a:gd name="T12" fmla="*/ 2147483647 w 38"/>
              <a:gd name="T13" fmla="*/ 2147483647 h 20"/>
              <a:gd name="T14" fmla="*/ 2147483647 w 38"/>
              <a:gd name="T15" fmla="*/ 2147483647 h 20"/>
              <a:gd name="T16" fmla="*/ 2147483647 w 38"/>
              <a:gd name="T17" fmla="*/ 2147483647 h 20"/>
              <a:gd name="T18" fmla="*/ 2147483647 w 38"/>
              <a:gd name="T19" fmla="*/ 2147483647 h 20"/>
              <a:gd name="T20" fmla="*/ 2147483647 w 38"/>
              <a:gd name="T21" fmla="*/ 2147483647 h 20"/>
              <a:gd name="T22" fmla="*/ 2147483647 w 38"/>
              <a:gd name="T23" fmla="*/ 2147483647 h 20"/>
              <a:gd name="T24" fmla="*/ 2147483647 w 38"/>
              <a:gd name="T25" fmla="*/ 2147483647 h 20"/>
              <a:gd name="T26" fmla="*/ 2147483647 w 38"/>
              <a:gd name="T27" fmla="*/ 2147483647 h 20"/>
              <a:gd name="T28" fmla="*/ 2147483647 w 38"/>
              <a:gd name="T29" fmla="*/ 0 h 20"/>
              <a:gd name="T30" fmla="*/ 2147483647 w 38"/>
              <a:gd name="T31" fmla="*/ 0 h 20"/>
              <a:gd name="T32" fmla="*/ 2147483647 w 38"/>
              <a:gd name="T33" fmla="*/ 2147483647 h 20"/>
              <a:gd name="T34" fmla="*/ 0 w 38"/>
              <a:gd name="T35" fmla="*/ 2147483647 h 20"/>
              <a:gd name="T36" fmla="*/ 0 w 38"/>
              <a:gd name="T37" fmla="*/ 2147483647 h 20"/>
              <a:gd name="T38" fmla="*/ 2147483647 w 38"/>
              <a:gd name="T39" fmla="*/ 2147483647 h 20"/>
              <a:gd name="T40" fmla="*/ 2147483647 w 38"/>
              <a:gd name="T41" fmla="*/ 2147483647 h 20"/>
              <a:gd name="T42" fmla="*/ 2147483647 w 38"/>
              <a:gd name="T43" fmla="*/ 2147483647 h 20"/>
              <a:gd name="T44" fmla="*/ 2147483647 w 38"/>
              <a:gd name="T45" fmla="*/ 2147483647 h 20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38"/>
              <a:gd name="T70" fmla="*/ 0 h 20"/>
              <a:gd name="T71" fmla="*/ 38 w 38"/>
              <a:gd name="T72" fmla="*/ 20 h 20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38" h="20">
                <a:moveTo>
                  <a:pt x="6" y="20"/>
                </a:moveTo>
                <a:lnTo>
                  <a:pt x="6" y="20"/>
                </a:lnTo>
                <a:lnTo>
                  <a:pt x="15" y="20"/>
                </a:lnTo>
                <a:lnTo>
                  <a:pt x="20" y="17"/>
                </a:lnTo>
                <a:lnTo>
                  <a:pt x="29" y="17"/>
                </a:lnTo>
                <a:lnTo>
                  <a:pt x="35" y="14"/>
                </a:lnTo>
                <a:lnTo>
                  <a:pt x="38" y="11"/>
                </a:lnTo>
                <a:lnTo>
                  <a:pt x="26" y="8"/>
                </a:lnTo>
                <a:lnTo>
                  <a:pt x="26" y="5"/>
                </a:lnTo>
                <a:lnTo>
                  <a:pt x="20" y="2"/>
                </a:lnTo>
                <a:lnTo>
                  <a:pt x="12" y="0"/>
                </a:lnTo>
                <a:lnTo>
                  <a:pt x="6" y="0"/>
                </a:lnTo>
                <a:lnTo>
                  <a:pt x="3" y="2"/>
                </a:lnTo>
                <a:lnTo>
                  <a:pt x="0" y="11"/>
                </a:lnTo>
                <a:lnTo>
                  <a:pt x="0" y="17"/>
                </a:lnTo>
                <a:lnTo>
                  <a:pt x="9" y="11"/>
                </a:lnTo>
                <a:lnTo>
                  <a:pt x="15" y="11"/>
                </a:lnTo>
                <a:lnTo>
                  <a:pt x="12" y="14"/>
                </a:lnTo>
                <a:lnTo>
                  <a:pt x="6" y="2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1284" name="Freeform 389"/>
          <p:cNvSpPr>
            <a:spLocks/>
          </p:cNvSpPr>
          <p:nvPr/>
        </p:nvSpPr>
        <p:spPr bwMode="gray">
          <a:xfrm>
            <a:off x="4758858" y="3319590"/>
            <a:ext cx="202036" cy="126003"/>
          </a:xfrm>
          <a:custGeom>
            <a:avLst/>
            <a:gdLst>
              <a:gd name="T0" fmla="*/ 2147483647 w 100"/>
              <a:gd name="T1" fmla="*/ 2147483647 h 83"/>
              <a:gd name="T2" fmla="*/ 2147483647 w 100"/>
              <a:gd name="T3" fmla="*/ 2147483647 h 83"/>
              <a:gd name="T4" fmla="*/ 2147483647 w 100"/>
              <a:gd name="T5" fmla="*/ 2147483647 h 83"/>
              <a:gd name="T6" fmla="*/ 2147483647 w 100"/>
              <a:gd name="T7" fmla="*/ 2147483647 h 83"/>
              <a:gd name="T8" fmla="*/ 2147483647 w 100"/>
              <a:gd name="T9" fmla="*/ 2147483647 h 83"/>
              <a:gd name="T10" fmla="*/ 2147483647 w 100"/>
              <a:gd name="T11" fmla="*/ 2147483647 h 83"/>
              <a:gd name="T12" fmla="*/ 2147483647 w 100"/>
              <a:gd name="T13" fmla="*/ 2147483647 h 83"/>
              <a:gd name="T14" fmla="*/ 2147483647 w 100"/>
              <a:gd name="T15" fmla="*/ 2147483647 h 83"/>
              <a:gd name="T16" fmla="*/ 2147483647 w 100"/>
              <a:gd name="T17" fmla="*/ 2147483647 h 83"/>
              <a:gd name="T18" fmla="*/ 2147483647 w 100"/>
              <a:gd name="T19" fmla="*/ 2147483647 h 83"/>
              <a:gd name="T20" fmla="*/ 2147483647 w 100"/>
              <a:gd name="T21" fmla="*/ 2147483647 h 83"/>
              <a:gd name="T22" fmla="*/ 2147483647 w 100"/>
              <a:gd name="T23" fmla="*/ 2147483647 h 83"/>
              <a:gd name="T24" fmla="*/ 2147483647 w 100"/>
              <a:gd name="T25" fmla="*/ 2147483647 h 83"/>
              <a:gd name="T26" fmla="*/ 2147483647 w 100"/>
              <a:gd name="T27" fmla="*/ 2147483647 h 83"/>
              <a:gd name="T28" fmla="*/ 2147483647 w 100"/>
              <a:gd name="T29" fmla="*/ 2147483647 h 83"/>
              <a:gd name="T30" fmla="*/ 2147483647 w 100"/>
              <a:gd name="T31" fmla="*/ 2147483647 h 83"/>
              <a:gd name="T32" fmla="*/ 2147483647 w 100"/>
              <a:gd name="T33" fmla="*/ 0 h 83"/>
              <a:gd name="T34" fmla="*/ 2147483647 w 100"/>
              <a:gd name="T35" fmla="*/ 0 h 83"/>
              <a:gd name="T36" fmla="*/ 2147483647 w 100"/>
              <a:gd name="T37" fmla="*/ 0 h 83"/>
              <a:gd name="T38" fmla="*/ 2147483647 w 100"/>
              <a:gd name="T39" fmla="*/ 0 h 83"/>
              <a:gd name="T40" fmla="*/ 2147483647 w 100"/>
              <a:gd name="T41" fmla="*/ 2147483647 h 83"/>
              <a:gd name="T42" fmla="*/ 2147483647 w 100"/>
              <a:gd name="T43" fmla="*/ 2147483647 h 83"/>
              <a:gd name="T44" fmla="*/ 2147483647 w 100"/>
              <a:gd name="T45" fmla="*/ 2147483647 h 83"/>
              <a:gd name="T46" fmla="*/ 2147483647 w 100"/>
              <a:gd name="T47" fmla="*/ 2147483647 h 83"/>
              <a:gd name="T48" fmla="*/ 2147483647 w 100"/>
              <a:gd name="T49" fmla="*/ 2147483647 h 83"/>
              <a:gd name="T50" fmla="*/ 2147483647 w 100"/>
              <a:gd name="T51" fmla="*/ 2147483647 h 83"/>
              <a:gd name="T52" fmla="*/ 0 w 100"/>
              <a:gd name="T53" fmla="*/ 2147483647 h 83"/>
              <a:gd name="T54" fmla="*/ 2147483647 w 100"/>
              <a:gd name="T55" fmla="*/ 2147483647 h 83"/>
              <a:gd name="T56" fmla="*/ 2147483647 w 100"/>
              <a:gd name="T57" fmla="*/ 2147483647 h 83"/>
              <a:gd name="T58" fmla="*/ 2147483647 w 100"/>
              <a:gd name="T59" fmla="*/ 2147483647 h 83"/>
              <a:gd name="T60" fmla="*/ 2147483647 w 100"/>
              <a:gd name="T61" fmla="*/ 2147483647 h 83"/>
              <a:gd name="T62" fmla="*/ 2147483647 w 100"/>
              <a:gd name="T63" fmla="*/ 2147483647 h 83"/>
              <a:gd name="T64" fmla="*/ 2147483647 w 100"/>
              <a:gd name="T65" fmla="*/ 2147483647 h 83"/>
              <a:gd name="T66" fmla="*/ 2147483647 w 100"/>
              <a:gd name="T67" fmla="*/ 2147483647 h 83"/>
              <a:gd name="T68" fmla="*/ 2147483647 w 100"/>
              <a:gd name="T69" fmla="*/ 2147483647 h 83"/>
              <a:gd name="T70" fmla="*/ 2147483647 w 100"/>
              <a:gd name="T71" fmla="*/ 2147483647 h 83"/>
              <a:gd name="T72" fmla="*/ 2147483647 w 100"/>
              <a:gd name="T73" fmla="*/ 2147483647 h 83"/>
              <a:gd name="T74" fmla="*/ 2147483647 w 100"/>
              <a:gd name="T75" fmla="*/ 2147483647 h 83"/>
              <a:gd name="T76" fmla="*/ 2147483647 w 100"/>
              <a:gd name="T77" fmla="*/ 2147483647 h 83"/>
              <a:gd name="T78" fmla="*/ 2147483647 w 100"/>
              <a:gd name="T79" fmla="*/ 2147483647 h 83"/>
              <a:gd name="T80" fmla="*/ 2147483647 w 100"/>
              <a:gd name="T81" fmla="*/ 2147483647 h 83"/>
              <a:gd name="T82" fmla="*/ 2147483647 w 100"/>
              <a:gd name="T83" fmla="*/ 2147483647 h 83"/>
              <a:gd name="T84" fmla="*/ 2147483647 w 100"/>
              <a:gd name="T85" fmla="*/ 2147483647 h 8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100"/>
              <a:gd name="T130" fmla="*/ 0 h 83"/>
              <a:gd name="T131" fmla="*/ 100 w 100"/>
              <a:gd name="T132" fmla="*/ 83 h 83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100" h="83">
                <a:moveTo>
                  <a:pt x="26" y="81"/>
                </a:moveTo>
                <a:lnTo>
                  <a:pt x="34" y="75"/>
                </a:lnTo>
                <a:lnTo>
                  <a:pt x="72" y="75"/>
                </a:lnTo>
                <a:lnTo>
                  <a:pt x="77" y="78"/>
                </a:lnTo>
                <a:lnTo>
                  <a:pt x="86" y="81"/>
                </a:lnTo>
                <a:lnTo>
                  <a:pt x="89" y="78"/>
                </a:lnTo>
                <a:lnTo>
                  <a:pt x="98" y="81"/>
                </a:lnTo>
                <a:lnTo>
                  <a:pt x="98" y="78"/>
                </a:lnTo>
                <a:lnTo>
                  <a:pt x="98" y="75"/>
                </a:lnTo>
                <a:lnTo>
                  <a:pt x="100" y="72"/>
                </a:lnTo>
                <a:lnTo>
                  <a:pt x="98" y="63"/>
                </a:lnTo>
                <a:lnTo>
                  <a:pt x="89" y="66"/>
                </a:lnTo>
                <a:lnTo>
                  <a:pt x="89" y="63"/>
                </a:lnTo>
                <a:lnTo>
                  <a:pt x="86" y="60"/>
                </a:lnTo>
                <a:lnTo>
                  <a:pt x="86" y="58"/>
                </a:lnTo>
                <a:lnTo>
                  <a:pt x="89" y="52"/>
                </a:lnTo>
                <a:lnTo>
                  <a:pt x="89" y="46"/>
                </a:lnTo>
                <a:lnTo>
                  <a:pt x="86" y="43"/>
                </a:lnTo>
                <a:lnTo>
                  <a:pt x="86" y="38"/>
                </a:lnTo>
                <a:lnTo>
                  <a:pt x="77" y="32"/>
                </a:lnTo>
                <a:lnTo>
                  <a:pt x="75" y="23"/>
                </a:lnTo>
                <a:lnTo>
                  <a:pt x="69" y="20"/>
                </a:lnTo>
                <a:lnTo>
                  <a:pt x="66" y="12"/>
                </a:lnTo>
                <a:lnTo>
                  <a:pt x="57" y="9"/>
                </a:lnTo>
                <a:lnTo>
                  <a:pt x="52" y="0"/>
                </a:lnTo>
                <a:lnTo>
                  <a:pt x="40" y="0"/>
                </a:lnTo>
                <a:lnTo>
                  <a:pt x="37" y="3"/>
                </a:lnTo>
                <a:lnTo>
                  <a:pt x="34" y="3"/>
                </a:lnTo>
                <a:lnTo>
                  <a:pt x="23" y="3"/>
                </a:lnTo>
                <a:lnTo>
                  <a:pt x="17" y="6"/>
                </a:lnTo>
                <a:lnTo>
                  <a:pt x="17" y="12"/>
                </a:lnTo>
                <a:lnTo>
                  <a:pt x="14" y="12"/>
                </a:lnTo>
                <a:lnTo>
                  <a:pt x="0" y="35"/>
                </a:lnTo>
                <a:lnTo>
                  <a:pt x="9" y="49"/>
                </a:lnTo>
                <a:lnTo>
                  <a:pt x="9" y="58"/>
                </a:lnTo>
                <a:lnTo>
                  <a:pt x="11" y="58"/>
                </a:lnTo>
                <a:lnTo>
                  <a:pt x="20" y="55"/>
                </a:lnTo>
                <a:lnTo>
                  <a:pt x="29" y="58"/>
                </a:lnTo>
                <a:lnTo>
                  <a:pt x="34" y="52"/>
                </a:lnTo>
                <a:lnTo>
                  <a:pt x="40" y="52"/>
                </a:lnTo>
                <a:lnTo>
                  <a:pt x="43" y="52"/>
                </a:lnTo>
                <a:lnTo>
                  <a:pt x="46" y="55"/>
                </a:lnTo>
                <a:lnTo>
                  <a:pt x="52" y="58"/>
                </a:lnTo>
                <a:lnTo>
                  <a:pt x="60" y="58"/>
                </a:lnTo>
                <a:lnTo>
                  <a:pt x="63" y="66"/>
                </a:lnTo>
                <a:lnTo>
                  <a:pt x="52" y="69"/>
                </a:lnTo>
                <a:lnTo>
                  <a:pt x="43" y="63"/>
                </a:lnTo>
                <a:lnTo>
                  <a:pt x="37" y="63"/>
                </a:lnTo>
                <a:lnTo>
                  <a:pt x="31" y="66"/>
                </a:lnTo>
                <a:lnTo>
                  <a:pt x="26" y="66"/>
                </a:lnTo>
                <a:lnTo>
                  <a:pt x="23" y="72"/>
                </a:lnTo>
                <a:lnTo>
                  <a:pt x="9" y="72"/>
                </a:lnTo>
                <a:lnTo>
                  <a:pt x="9" y="81"/>
                </a:lnTo>
                <a:lnTo>
                  <a:pt x="9" y="83"/>
                </a:lnTo>
                <a:lnTo>
                  <a:pt x="14" y="81"/>
                </a:lnTo>
                <a:lnTo>
                  <a:pt x="26" y="8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85" name="Freeform 390"/>
          <p:cNvSpPr>
            <a:spLocks/>
          </p:cNvSpPr>
          <p:nvPr/>
        </p:nvSpPr>
        <p:spPr bwMode="gray">
          <a:xfrm>
            <a:off x="4978898" y="1641044"/>
            <a:ext cx="18003" cy="13501"/>
          </a:xfrm>
          <a:custGeom>
            <a:avLst/>
            <a:gdLst>
              <a:gd name="T0" fmla="*/ 0 w 9"/>
              <a:gd name="T1" fmla="*/ 2147483647 h 9"/>
              <a:gd name="T2" fmla="*/ 2147483647 w 9"/>
              <a:gd name="T3" fmla="*/ 2147483647 h 9"/>
              <a:gd name="T4" fmla="*/ 2147483647 w 9"/>
              <a:gd name="T5" fmla="*/ 2147483647 h 9"/>
              <a:gd name="T6" fmla="*/ 2147483647 w 9"/>
              <a:gd name="T7" fmla="*/ 0 h 9"/>
              <a:gd name="T8" fmla="*/ 0 w 9"/>
              <a:gd name="T9" fmla="*/ 2147483647 h 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9"/>
              <a:gd name="T17" fmla="*/ 9 w 9"/>
              <a:gd name="T18" fmla="*/ 9 h 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9">
                <a:moveTo>
                  <a:pt x="0" y="6"/>
                </a:moveTo>
                <a:lnTo>
                  <a:pt x="3" y="9"/>
                </a:lnTo>
                <a:lnTo>
                  <a:pt x="9" y="3"/>
                </a:lnTo>
                <a:lnTo>
                  <a:pt x="9" y="0"/>
                </a:lnTo>
                <a:lnTo>
                  <a:pt x="0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86" name="Freeform 391"/>
          <p:cNvSpPr>
            <a:spLocks/>
          </p:cNvSpPr>
          <p:nvPr/>
        </p:nvSpPr>
        <p:spPr bwMode="gray">
          <a:xfrm>
            <a:off x="4996900" y="1645546"/>
            <a:ext cx="22005" cy="9000"/>
          </a:xfrm>
          <a:custGeom>
            <a:avLst/>
            <a:gdLst>
              <a:gd name="T0" fmla="*/ 2147483647 w 11"/>
              <a:gd name="T1" fmla="*/ 2147483647 h 6"/>
              <a:gd name="T2" fmla="*/ 2147483647 w 11"/>
              <a:gd name="T3" fmla="*/ 2147483647 h 6"/>
              <a:gd name="T4" fmla="*/ 2147483647 w 11"/>
              <a:gd name="T5" fmla="*/ 2147483647 h 6"/>
              <a:gd name="T6" fmla="*/ 2147483647 w 11"/>
              <a:gd name="T7" fmla="*/ 0 h 6"/>
              <a:gd name="T8" fmla="*/ 0 w 11"/>
              <a:gd name="T9" fmla="*/ 2147483647 h 6"/>
              <a:gd name="T10" fmla="*/ 2147483647 w 11"/>
              <a:gd name="T11" fmla="*/ 2147483647 h 6"/>
              <a:gd name="T12" fmla="*/ 2147483647 w 11"/>
              <a:gd name="T13" fmla="*/ 2147483647 h 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"/>
              <a:gd name="T22" fmla="*/ 0 h 6"/>
              <a:gd name="T23" fmla="*/ 11 w 11"/>
              <a:gd name="T24" fmla="*/ 6 h 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" h="6">
                <a:moveTo>
                  <a:pt x="8" y="6"/>
                </a:moveTo>
                <a:lnTo>
                  <a:pt x="11" y="3"/>
                </a:lnTo>
                <a:lnTo>
                  <a:pt x="5" y="3"/>
                </a:lnTo>
                <a:lnTo>
                  <a:pt x="2" y="0"/>
                </a:lnTo>
                <a:lnTo>
                  <a:pt x="0" y="3"/>
                </a:lnTo>
                <a:lnTo>
                  <a:pt x="2" y="6"/>
                </a:lnTo>
                <a:lnTo>
                  <a:pt x="8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87" name="Freeform 392"/>
          <p:cNvSpPr>
            <a:spLocks/>
          </p:cNvSpPr>
          <p:nvPr/>
        </p:nvSpPr>
        <p:spPr bwMode="gray">
          <a:xfrm>
            <a:off x="5042910" y="1593043"/>
            <a:ext cx="10001" cy="4501"/>
          </a:xfrm>
          <a:custGeom>
            <a:avLst/>
            <a:gdLst>
              <a:gd name="T0" fmla="*/ 0 w 5"/>
              <a:gd name="T1" fmla="*/ 2147483647 h 3"/>
              <a:gd name="T2" fmla="*/ 2147483647 w 5"/>
              <a:gd name="T3" fmla="*/ 2147483647 h 3"/>
              <a:gd name="T4" fmla="*/ 2147483647 w 5"/>
              <a:gd name="T5" fmla="*/ 0 h 3"/>
              <a:gd name="T6" fmla="*/ 0 w 5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5"/>
              <a:gd name="T13" fmla="*/ 0 h 3"/>
              <a:gd name="T14" fmla="*/ 5 w 5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" h="3">
                <a:moveTo>
                  <a:pt x="0" y="3"/>
                </a:moveTo>
                <a:lnTo>
                  <a:pt x="5" y="3"/>
                </a:lnTo>
                <a:lnTo>
                  <a:pt x="5" y="0"/>
                </a:lnTo>
                <a:lnTo>
                  <a:pt x="0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88" name="Freeform 393"/>
          <p:cNvSpPr>
            <a:spLocks/>
          </p:cNvSpPr>
          <p:nvPr/>
        </p:nvSpPr>
        <p:spPr bwMode="gray">
          <a:xfrm>
            <a:off x="4080736" y="1836050"/>
            <a:ext cx="28005" cy="9000"/>
          </a:xfrm>
          <a:custGeom>
            <a:avLst/>
            <a:gdLst>
              <a:gd name="T0" fmla="*/ 2147483647 w 14"/>
              <a:gd name="T1" fmla="*/ 2147483647 h 6"/>
              <a:gd name="T2" fmla="*/ 2147483647 w 14"/>
              <a:gd name="T3" fmla="*/ 2147483647 h 6"/>
              <a:gd name="T4" fmla="*/ 2147483647 w 14"/>
              <a:gd name="T5" fmla="*/ 0 h 6"/>
              <a:gd name="T6" fmla="*/ 0 w 14"/>
              <a:gd name="T7" fmla="*/ 2147483647 h 6"/>
              <a:gd name="T8" fmla="*/ 2147483647 w 14"/>
              <a:gd name="T9" fmla="*/ 2147483647 h 6"/>
              <a:gd name="T10" fmla="*/ 2147483647 w 14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4"/>
              <a:gd name="T19" fmla="*/ 0 h 6"/>
              <a:gd name="T20" fmla="*/ 14 w 14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4" h="6">
                <a:moveTo>
                  <a:pt x="9" y="3"/>
                </a:moveTo>
                <a:lnTo>
                  <a:pt x="14" y="6"/>
                </a:lnTo>
                <a:lnTo>
                  <a:pt x="14" y="0"/>
                </a:lnTo>
                <a:lnTo>
                  <a:pt x="0" y="3"/>
                </a:lnTo>
                <a:lnTo>
                  <a:pt x="6" y="6"/>
                </a:lnTo>
                <a:lnTo>
                  <a:pt x="9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1289" name="Freeform 394"/>
          <p:cNvSpPr>
            <a:spLocks/>
          </p:cNvSpPr>
          <p:nvPr/>
        </p:nvSpPr>
        <p:spPr bwMode="gray">
          <a:xfrm>
            <a:off x="5046910" y="1602043"/>
            <a:ext cx="6000" cy="13501"/>
          </a:xfrm>
          <a:custGeom>
            <a:avLst/>
            <a:gdLst>
              <a:gd name="T0" fmla="*/ 0 w 3"/>
              <a:gd name="T1" fmla="*/ 2147483647 h 9"/>
              <a:gd name="T2" fmla="*/ 0 w 3"/>
              <a:gd name="T3" fmla="*/ 2147483647 h 9"/>
              <a:gd name="T4" fmla="*/ 2147483647 w 3"/>
              <a:gd name="T5" fmla="*/ 2147483647 h 9"/>
              <a:gd name="T6" fmla="*/ 0 w 3"/>
              <a:gd name="T7" fmla="*/ 0 h 9"/>
              <a:gd name="T8" fmla="*/ 0 w 3"/>
              <a:gd name="T9" fmla="*/ 2147483647 h 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9"/>
              <a:gd name="T17" fmla="*/ 3 w 3"/>
              <a:gd name="T18" fmla="*/ 9 h 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9">
                <a:moveTo>
                  <a:pt x="0" y="3"/>
                </a:moveTo>
                <a:lnTo>
                  <a:pt x="0" y="9"/>
                </a:lnTo>
                <a:lnTo>
                  <a:pt x="3" y="6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90" name="Freeform 395"/>
          <p:cNvSpPr>
            <a:spLocks/>
          </p:cNvSpPr>
          <p:nvPr/>
        </p:nvSpPr>
        <p:spPr bwMode="gray">
          <a:xfrm>
            <a:off x="4218761" y="2050556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0 h 6"/>
              <a:gd name="T4" fmla="*/ 0 w 6"/>
              <a:gd name="T5" fmla="*/ 2147483647 h 6"/>
              <a:gd name="T6" fmla="*/ 2147483647 w 6"/>
              <a:gd name="T7" fmla="*/ 2147483647 h 6"/>
              <a:gd name="T8" fmla="*/ 2147483647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6" y="3"/>
                </a:move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lnTo>
                  <a:pt x="6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1291" name="Freeform 396"/>
          <p:cNvSpPr>
            <a:spLocks/>
          </p:cNvSpPr>
          <p:nvPr/>
        </p:nvSpPr>
        <p:spPr bwMode="gray">
          <a:xfrm>
            <a:off x="4166751" y="2046055"/>
            <a:ext cx="24004" cy="13501"/>
          </a:xfrm>
          <a:custGeom>
            <a:avLst/>
            <a:gdLst>
              <a:gd name="T0" fmla="*/ 2147483647 w 12"/>
              <a:gd name="T1" fmla="*/ 0 h 9"/>
              <a:gd name="T2" fmla="*/ 0 w 12"/>
              <a:gd name="T3" fmla="*/ 2147483647 h 9"/>
              <a:gd name="T4" fmla="*/ 2147483647 w 12"/>
              <a:gd name="T5" fmla="*/ 2147483647 h 9"/>
              <a:gd name="T6" fmla="*/ 2147483647 w 12"/>
              <a:gd name="T7" fmla="*/ 2147483647 h 9"/>
              <a:gd name="T8" fmla="*/ 2147483647 w 12"/>
              <a:gd name="T9" fmla="*/ 0 h 9"/>
              <a:gd name="T10" fmla="*/ 2147483647 w 12"/>
              <a:gd name="T11" fmla="*/ 0 h 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"/>
              <a:gd name="T19" fmla="*/ 0 h 9"/>
              <a:gd name="T20" fmla="*/ 12 w 12"/>
              <a:gd name="T21" fmla="*/ 9 h 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" h="9">
                <a:moveTo>
                  <a:pt x="3" y="0"/>
                </a:moveTo>
                <a:lnTo>
                  <a:pt x="0" y="9"/>
                </a:lnTo>
                <a:lnTo>
                  <a:pt x="3" y="9"/>
                </a:lnTo>
                <a:lnTo>
                  <a:pt x="6" y="3"/>
                </a:lnTo>
                <a:lnTo>
                  <a:pt x="12" y="0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1292" name="Freeform 397"/>
          <p:cNvSpPr>
            <a:spLocks/>
          </p:cNvSpPr>
          <p:nvPr/>
        </p:nvSpPr>
        <p:spPr bwMode="gray">
          <a:xfrm>
            <a:off x="4050730" y="1911052"/>
            <a:ext cx="6000" cy="16501"/>
          </a:xfrm>
          <a:custGeom>
            <a:avLst/>
            <a:gdLst>
              <a:gd name="T0" fmla="*/ 0 w 3"/>
              <a:gd name="T1" fmla="*/ 2147483647 h 11"/>
              <a:gd name="T2" fmla="*/ 0 w 3"/>
              <a:gd name="T3" fmla="*/ 2147483647 h 11"/>
              <a:gd name="T4" fmla="*/ 2147483647 w 3"/>
              <a:gd name="T5" fmla="*/ 2147483647 h 11"/>
              <a:gd name="T6" fmla="*/ 2147483647 w 3"/>
              <a:gd name="T7" fmla="*/ 0 h 11"/>
              <a:gd name="T8" fmla="*/ 0 w 3"/>
              <a:gd name="T9" fmla="*/ 2147483647 h 11"/>
              <a:gd name="T10" fmla="*/ 0 w 3"/>
              <a:gd name="T11" fmla="*/ 2147483647 h 1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"/>
              <a:gd name="T19" fmla="*/ 0 h 11"/>
              <a:gd name="T20" fmla="*/ 3 w 3"/>
              <a:gd name="T21" fmla="*/ 11 h 1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" h="11">
                <a:moveTo>
                  <a:pt x="0" y="6"/>
                </a:moveTo>
                <a:lnTo>
                  <a:pt x="0" y="11"/>
                </a:lnTo>
                <a:lnTo>
                  <a:pt x="3" y="6"/>
                </a:lnTo>
                <a:lnTo>
                  <a:pt x="3" y="0"/>
                </a:lnTo>
                <a:lnTo>
                  <a:pt x="0" y="3"/>
                </a:lnTo>
                <a:lnTo>
                  <a:pt x="0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1293" name="Freeform 398"/>
          <p:cNvSpPr>
            <a:spLocks/>
          </p:cNvSpPr>
          <p:nvPr/>
        </p:nvSpPr>
        <p:spPr bwMode="gray">
          <a:xfrm>
            <a:off x="4184754" y="2055055"/>
            <a:ext cx="34007" cy="7501"/>
          </a:xfrm>
          <a:custGeom>
            <a:avLst/>
            <a:gdLst>
              <a:gd name="T0" fmla="*/ 0 w 17"/>
              <a:gd name="T1" fmla="*/ 2147483647 h 5"/>
              <a:gd name="T2" fmla="*/ 2147483647 w 17"/>
              <a:gd name="T3" fmla="*/ 2147483647 h 5"/>
              <a:gd name="T4" fmla="*/ 2147483647 w 17"/>
              <a:gd name="T5" fmla="*/ 2147483647 h 5"/>
              <a:gd name="T6" fmla="*/ 2147483647 w 17"/>
              <a:gd name="T7" fmla="*/ 2147483647 h 5"/>
              <a:gd name="T8" fmla="*/ 2147483647 w 17"/>
              <a:gd name="T9" fmla="*/ 0 h 5"/>
              <a:gd name="T10" fmla="*/ 0 w 17"/>
              <a:gd name="T11" fmla="*/ 2147483647 h 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7"/>
              <a:gd name="T19" fmla="*/ 0 h 5"/>
              <a:gd name="T20" fmla="*/ 17 w 17"/>
              <a:gd name="T21" fmla="*/ 5 h 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7" h="5">
                <a:moveTo>
                  <a:pt x="0" y="5"/>
                </a:moveTo>
                <a:lnTo>
                  <a:pt x="5" y="5"/>
                </a:lnTo>
                <a:lnTo>
                  <a:pt x="11" y="5"/>
                </a:lnTo>
                <a:lnTo>
                  <a:pt x="17" y="3"/>
                </a:lnTo>
                <a:lnTo>
                  <a:pt x="5" y="0"/>
                </a:lnTo>
                <a:lnTo>
                  <a:pt x="0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1294" name="Rectangle 399"/>
          <p:cNvSpPr>
            <a:spLocks noChangeArrowheads="1"/>
          </p:cNvSpPr>
          <p:nvPr/>
        </p:nvSpPr>
        <p:spPr bwMode="gray">
          <a:xfrm>
            <a:off x="4050731" y="1879551"/>
            <a:ext cx="10001" cy="45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295" name="Freeform 400"/>
          <p:cNvSpPr>
            <a:spLocks/>
          </p:cNvSpPr>
          <p:nvPr/>
        </p:nvSpPr>
        <p:spPr bwMode="gray">
          <a:xfrm>
            <a:off x="4038729" y="1890051"/>
            <a:ext cx="12002" cy="16501"/>
          </a:xfrm>
          <a:custGeom>
            <a:avLst/>
            <a:gdLst>
              <a:gd name="T0" fmla="*/ 0 w 6"/>
              <a:gd name="T1" fmla="*/ 2147483647 h 11"/>
              <a:gd name="T2" fmla="*/ 0 w 6"/>
              <a:gd name="T3" fmla="*/ 2147483647 h 11"/>
              <a:gd name="T4" fmla="*/ 2147483647 w 6"/>
              <a:gd name="T5" fmla="*/ 2147483647 h 11"/>
              <a:gd name="T6" fmla="*/ 2147483647 w 6"/>
              <a:gd name="T7" fmla="*/ 2147483647 h 11"/>
              <a:gd name="T8" fmla="*/ 2147483647 w 6"/>
              <a:gd name="T9" fmla="*/ 0 h 11"/>
              <a:gd name="T10" fmla="*/ 0 w 6"/>
              <a:gd name="T11" fmla="*/ 2147483647 h 1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11"/>
              <a:gd name="T20" fmla="*/ 6 w 6"/>
              <a:gd name="T21" fmla="*/ 11 h 1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11">
                <a:moveTo>
                  <a:pt x="0" y="5"/>
                </a:moveTo>
                <a:lnTo>
                  <a:pt x="0" y="11"/>
                </a:lnTo>
                <a:lnTo>
                  <a:pt x="6" y="5"/>
                </a:lnTo>
                <a:lnTo>
                  <a:pt x="3" y="3"/>
                </a:lnTo>
                <a:lnTo>
                  <a:pt x="3" y="0"/>
                </a:lnTo>
                <a:lnTo>
                  <a:pt x="0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1214" name="Freeform 401"/>
          <p:cNvSpPr>
            <a:spLocks/>
          </p:cNvSpPr>
          <p:nvPr/>
        </p:nvSpPr>
        <p:spPr bwMode="gray">
          <a:xfrm>
            <a:off x="2786502" y="3658600"/>
            <a:ext cx="1358244" cy="1149031"/>
          </a:xfrm>
          <a:custGeom>
            <a:avLst/>
            <a:gdLst>
              <a:gd name="T0" fmla="*/ 2147483647 w 672"/>
              <a:gd name="T1" fmla="*/ 2147483647 h 758"/>
              <a:gd name="T2" fmla="*/ 2147483647 w 672"/>
              <a:gd name="T3" fmla="*/ 2147483647 h 758"/>
              <a:gd name="T4" fmla="*/ 2147483647 w 672"/>
              <a:gd name="T5" fmla="*/ 2147483647 h 758"/>
              <a:gd name="T6" fmla="*/ 2147483647 w 672"/>
              <a:gd name="T7" fmla="*/ 2147483647 h 758"/>
              <a:gd name="T8" fmla="*/ 2147483647 w 672"/>
              <a:gd name="T9" fmla="*/ 2147483647 h 758"/>
              <a:gd name="T10" fmla="*/ 2147483647 w 672"/>
              <a:gd name="T11" fmla="*/ 2147483647 h 758"/>
              <a:gd name="T12" fmla="*/ 2147483647 w 672"/>
              <a:gd name="T13" fmla="*/ 2147483647 h 758"/>
              <a:gd name="T14" fmla="*/ 2147483647 w 672"/>
              <a:gd name="T15" fmla="*/ 2147483647 h 758"/>
              <a:gd name="T16" fmla="*/ 2147483647 w 672"/>
              <a:gd name="T17" fmla="*/ 2147483647 h 758"/>
              <a:gd name="T18" fmla="*/ 2147483647 w 672"/>
              <a:gd name="T19" fmla="*/ 2147483647 h 758"/>
              <a:gd name="T20" fmla="*/ 2147483647 w 672"/>
              <a:gd name="T21" fmla="*/ 2147483647 h 758"/>
              <a:gd name="T22" fmla="*/ 2147483647 w 672"/>
              <a:gd name="T23" fmla="*/ 2147483647 h 758"/>
              <a:gd name="T24" fmla="*/ 2147483647 w 672"/>
              <a:gd name="T25" fmla="*/ 2147483647 h 758"/>
              <a:gd name="T26" fmla="*/ 2147483647 w 672"/>
              <a:gd name="T27" fmla="*/ 2147483647 h 758"/>
              <a:gd name="T28" fmla="*/ 2147483647 w 672"/>
              <a:gd name="T29" fmla="*/ 2147483647 h 758"/>
              <a:gd name="T30" fmla="*/ 2147483647 w 672"/>
              <a:gd name="T31" fmla="*/ 2147483647 h 758"/>
              <a:gd name="T32" fmla="*/ 2147483647 w 672"/>
              <a:gd name="T33" fmla="*/ 2147483647 h 758"/>
              <a:gd name="T34" fmla="*/ 2147483647 w 672"/>
              <a:gd name="T35" fmla="*/ 2147483647 h 758"/>
              <a:gd name="T36" fmla="*/ 2147483647 w 672"/>
              <a:gd name="T37" fmla="*/ 2147483647 h 758"/>
              <a:gd name="T38" fmla="*/ 2147483647 w 672"/>
              <a:gd name="T39" fmla="*/ 2147483647 h 758"/>
              <a:gd name="T40" fmla="*/ 2147483647 w 672"/>
              <a:gd name="T41" fmla="*/ 2147483647 h 758"/>
              <a:gd name="T42" fmla="*/ 2147483647 w 672"/>
              <a:gd name="T43" fmla="*/ 2147483647 h 758"/>
              <a:gd name="T44" fmla="*/ 2147483647 w 672"/>
              <a:gd name="T45" fmla="*/ 2147483647 h 758"/>
              <a:gd name="T46" fmla="*/ 2147483647 w 672"/>
              <a:gd name="T47" fmla="*/ 2147483647 h 758"/>
              <a:gd name="T48" fmla="*/ 2147483647 w 672"/>
              <a:gd name="T49" fmla="*/ 2147483647 h 758"/>
              <a:gd name="T50" fmla="*/ 2147483647 w 672"/>
              <a:gd name="T51" fmla="*/ 2147483647 h 758"/>
              <a:gd name="T52" fmla="*/ 0 w 672"/>
              <a:gd name="T53" fmla="*/ 2147483647 h 758"/>
              <a:gd name="T54" fmla="*/ 2147483647 w 672"/>
              <a:gd name="T55" fmla="*/ 2147483647 h 758"/>
              <a:gd name="T56" fmla="*/ 2147483647 w 672"/>
              <a:gd name="T57" fmla="*/ 2147483647 h 758"/>
              <a:gd name="T58" fmla="*/ 2147483647 w 672"/>
              <a:gd name="T59" fmla="*/ 2147483647 h 758"/>
              <a:gd name="T60" fmla="*/ 2147483647 w 672"/>
              <a:gd name="T61" fmla="*/ 2147483647 h 758"/>
              <a:gd name="T62" fmla="*/ 2147483647 w 672"/>
              <a:gd name="T63" fmla="*/ 2147483647 h 758"/>
              <a:gd name="T64" fmla="*/ 2147483647 w 672"/>
              <a:gd name="T65" fmla="*/ 2147483647 h 758"/>
              <a:gd name="T66" fmla="*/ 2147483647 w 672"/>
              <a:gd name="T67" fmla="*/ 2147483647 h 758"/>
              <a:gd name="T68" fmla="*/ 2147483647 w 672"/>
              <a:gd name="T69" fmla="*/ 2147483647 h 758"/>
              <a:gd name="T70" fmla="*/ 2147483647 w 672"/>
              <a:gd name="T71" fmla="*/ 2147483647 h 758"/>
              <a:gd name="T72" fmla="*/ 2147483647 w 672"/>
              <a:gd name="T73" fmla="*/ 2147483647 h 758"/>
              <a:gd name="T74" fmla="*/ 2147483647 w 672"/>
              <a:gd name="T75" fmla="*/ 2147483647 h 758"/>
              <a:gd name="T76" fmla="*/ 2147483647 w 672"/>
              <a:gd name="T77" fmla="*/ 2147483647 h 758"/>
              <a:gd name="T78" fmla="*/ 2147483647 w 672"/>
              <a:gd name="T79" fmla="*/ 2147483647 h 758"/>
              <a:gd name="T80" fmla="*/ 2147483647 w 672"/>
              <a:gd name="T81" fmla="*/ 2147483647 h 758"/>
              <a:gd name="T82" fmla="*/ 2147483647 w 672"/>
              <a:gd name="T83" fmla="*/ 2147483647 h 758"/>
              <a:gd name="T84" fmla="*/ 2147483647 w 672"/>
              <a:gd name="T85" fmla="*/ 2147483647 h 758"/>
              <a:gd name="T86" fmla="*/ 2147483647 w 672"/>
              <a:gd name="T87" fmla="*/ 2147483647 h 758"/>
              <a:gd name="T88" fmla="*/ 2147483647 w 672"/>
              <a:gd name="T89" fmla="*/ 2147483647 h 758"/>
              <a:gd name="T90" fmla="*/ 2147483647 w 672"/>
              <a:gd name="T91" fmla="*/ 2147483647 h 758"/>
              <a:gd name="T92" fmla="*/ 2147483647 w 672"/>
              <a:gd name="T93" fmla="*/ 2147483647 h 758"/>
              <a:gd name="T94" fmla="*/ 2147483647 w 672"/>
              <a:gd name="T95" fmla="*/ 2147483647 h 758"/>
              <a:gd name="T96" fmla="*/ 2147483647 w 672"/>
              <a:gd name="T97" fmla="*/ 2147483647 h 758"/>
              <a:gd name="T98" fmla="*/ 2147483647 w 672"/>
              <a:gd name="T99" fmla="*/ 2147483647 h 758"/>
              <a:gd name="T100" fmla="*/ 2147483647 w 672"/>
              <a:gd name="T101" fmla="*/ 2147483647 h 758"/>
              <a:gd name="T102" fmla="*/ 2147483647 w 672"/>
              <a:gd name="T103" fmla="*/ 2147483647 h 758"/>
              <a:gd name="T104" fmla="*/ 2147483647 w 672"/>
              <a:gd name="T105" fmla="*/ 2147483647 h 758"/>
              <a:gd name="T106" fmla="*/ 2147483647 w 672"/>
              <a:gd name="T107" fmla="*/ 2147483647 h 758"/>
              <a:gd name="T108" fmla="*/ 2147483647 w 672"/>
              <a:gd name="T109" fmla="*/ 2147483647 h 758"/>
              <a:gd name="T110" fmla="*/ 2147483647 w 672"/>
              <a:gd name="T111" fmla="*/ 2147483647 h 758"/>
              <a:gd name="T112" fmla="*/ 2147483647 w 672"/>
              <a:gd name="T113" fmla="*/ 2147483647 h 758"/>
              <a:gd name="T114" fmla="*/ 2147483647 w 672"/>
              <a:gd name="T115" fmla="*/ 2147483647 h 758"/>
              <a:gd name="T116" fmla="*/ 2147483647 w 672"/>
              <a:gd name="T117" fmla="*/ 2147483647 h 758"/>
              <a:gd name="T118" fmla="*/ 2147483647 w 672"/>
              <a:gd name="T119" fmla="*/ 2147483647 h 758"/>
              <a:gd name="T120" fmla="*/ 2147483647 w 672"/>
              <a:gd name="T121" fmla="*/ 2147483647 h 758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672"/>
              <a:gd name="T184" fmla="*/ 0 h 758"/>
              <a:gd name="T185" fmla="*/ 672 w 672"/>
              <a:gd name="T186" fmla="*/ 758 h 758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672" h="758">
                <a:moveTo>
                  <a:pt x="666" y="204"/>
                </a:moveTo>
                <a:lnTo>
                  <a:pt x="666" y="204"/>
                </a:lnTo>
                <a:lnTo>
                  <a:pt x="663" y="201"/>
                </a:lnTo>
                <a:lnTo>
                  <a:pt x="660" y="198"/>
                </a:lnTo>
                <a:lnTo>
                  <a:pt x="657" y="198"/>
                </a:lnTo>
                <a:lnTo>
                  <a:pt x="643" y="198"/>
                </a:lnTo>
                <a:lnTo>
                  <a:pt x="637" y="195"/>
                </a:lnTo>
                <a:lnTo>
                  <a:pt x="631" y="193"/>
                </a:lnTo>
                <a:lnTo>
                  <a:pt x="623" y="187"/>
                </a:lnTo>
                <a:lnTo>
                  <a:pt x="606" y="172"/>
                </a:lnTo>
                <a:lnTo>
                  <a:pt x="588" y="158"/>
                </a:lnTo>
                <a:lnTo>
                  <a:pt x="568" y="152"/>
                </a:lnTo>
                <a:lnTo>
                  <a:pt x="551" y="155"/>
                </a:lnTo>
                <a:lnTo>
                  <a:pt x="542" y="152"/>
                </a:lnTo>
                <a:lnTo>
                  <a:pt x="528" y="147"/>
                </a:lnTo>
                <a:lnTo>
                  <a:pt x="519" y="144"/>
                </a:lnTo>
                <a:lnTo>
                  <a:pt x="514" y="147"/>
                </a:lnTo>
                <a:lnTo>
                  <a:pt x="508" y="147"/>
                </a:lnTo>
                <a:lnTo>
                  <a:pt x="505" y="152"/>
                </a:lnTo>
                <a:lnTo>
                  <a:pt x="502" y="147"/>
                </a:lnTo>
                <a:lnTo>
                  <a:pt x="505" y="144"/>
                </a:lnTo>
                <a:lnTo>
                  <a:pt x="505" y="135"/>
                </a:lnTo>
                <a:lnTo>
                  <a:pt x="499" y="132"/>
                </a:lnTo>
                <a:lnTo>
                  <a:pt x="497" y="126"/>
                </a:lnTo>
                <a:lnTo>
                  <a:pt x="488" y="129"/>
                </a:lnTo>
                <a:lnTo>
                  <a:pt x="476" y="121"/>
                </a:lnTo>
                <a:lnTo>
                  <a:pt x="459" y="112"/>
                </a:lnTo>
                <a:lnTo>
                  <a:pt x="442" y="115"/>
                </a:lnTo>
                <a:lnTo>
                  <a:pt x="436" y="124"/>
                </a:lnTo>
                <a:lnTo>
                  <a:pt x="428" y="132"/>
                </a:lnTo>
                <a:lnTo>
                  <a:pt x="419" y="149"/>
                </a:lnTo>
                <a:lnTo>
                  <a:pt x="419" y="135"/>
                </a:lnTo>
                <a:lnTo>
                  <a:pt x="425" y="129"/>
                </a:lnTo>
                <a:lnTo>
                  <a:pt x="431" y="124"/>
                </a:lnTo>
                <a:lnTo>
                  <a:pt x="433" y="112"/>
                </a:lnTo>
                <a:lnTo>
                  <a:pt x="433" y="104"/>
                </a:lnTo>
                <a:lnTo>
                  <a:pt x="422" y="101"/>
                </a:lnTo>
                <a:lnTo>
                  <a:pt x="413" y="101"/>
                </a:lnTo>
                <a:lnTo>
                  <a:pt x="408" y="98"/>
                </a:lnTo>
                <a:lnTo>
                  <a:pt x="413" y="98"/>
                </a:lnTo>
                <a:lnTo>
                  <a:pt x="408" y="95"/>
                </a:lnTo>
                <a:lnTo>
                  <a:pt x="408" y="92"/>
                </a:lnTo>
                <a:lnTo>
                  <a:pt x="405" y="89"/>
                </a:lnTo>
                <a:lnTo>
                  <a:pt x="402" y="89"/>
                </a:lnTo>
                <a:lnTo>
                  <a:pt x="393" y="104"/>
                </a:lnTo>
                <a:lnTo>
                  <a:pt x="399" y="104"/>
                </a:lnTo>
                <a:lnTo>
                  <a:pt x="393" y="109"/>
                </a:lnTo>
                <a:lnTo>
                  <a:pt x="390" y="112"/>
                </a:lnTo>
                <a:lnTo>
                  <a:pt x="390" y="115"/>
                </a:lnTo>
                <a:lnTo>
                  <a:pt x="387" y="115"/>
                </a:lnTo>
                <a:lnTo>
                  <a:pt x="387" y="112"/>
                </a:lnTo>
                <a:lnTo>
                  <a:pt x="385" y="112"/>
                </a:lnTo>
                <a:lnTo>
                  <a:pt x="387" y="104"/>
                </a:lnTo>
                <a:lnTo>
                  <a:pt x="396" y="89"/>
                </a:lnTo>
                <a:lnTo>
                  <a:pt x="408" y="83"/>
                </a:lnTo>
                <a:lnTo>
                  <a:pt x="410" y="72"/>
                </a:lnTo>
                <a:lnTo>
                  <a:pt x="408" y="63"/>
                </a:lnTo>
                <a:lnTo>
                  <a:pt x="399" y="58"/>
                </a:lnTo>
                <a:lnTo>
                  <a:pt x="396" y="58"/>
                </a:lnTo>
                <a:lnTo>
                  <a:pt x="393" y="43"/>
                </a:lnTo>
                <a:lnTo>
                  <a:pt x="393" y="37"/>
                </a:lnTo>
                <a:lnTo>
                  <a:pt x="390" y="26"/>
                </a:lnTo>
                <a:lnTo>
                  <a:pt x="385" y="17"/>
                </a:lnTo>
                <a:lnTo>
                  <a:pt x="382" y="23"/>
                </a:lnTo>
                <a:lnTo>
                  <a:pt x="379" y="23"/>
                </a:lnTo>
                <a:lnTo>
                  <a:pt x="376" y="26"/>
                </a:lnTo>
                <a:lnTo>
                  <a:pt x="373" y="32"/>
                </a:lnTo>
                <a:lnTo>
                  <a:pt x="370" y="46"/>
                </a:lnTo>
                <a:lnTo>
                  <a:pt x="367" y="52"/>
                </a:lnTo>
                <a:lnTo>
                  <a:pt x="364" y="52"/>
                </a:lnTo>
                <a:lnTo>
                  <a:pt x="356" y="55"/>
                </a:lnTo>
                <a:lnTo>
                  <a:pt x="347" y="55"/>
                </a:lnTo>
                <a:lnTo>
                  <a:pt x="339" y="58"/>
                </a:lnTo>
                <a:lnTo>
                  <a:pt x="336" y="58"/>
                </a:lnTo>
                <a:lnTo>
                  <a:pt x="330" y="55"/>
                </a:lnTo>
                <a:lnTo>
                  <a:pt x="327" y="55"/>
                </a:lnTo>
                <a:lnTo>
                  <a:pt x="319" y="52"/>
                </a:lnTo>
                <a:lnTo>
                  <a:pt x="316" y="52"/>
                </a:lnTo>
                <a:lnTo>
                  <a:pt x="307" y="55"/>
                </a:lnTo>
                <a:lnTo>
                  <a:pt x="307" y="63"/>
                </a:lnTo>
                <a:lnTo>
                  <a:pt x="301" y="63"/>
                </a:lnTo>
                <a:lnTo>
                  <a:pt x="296" y="63"/>
                </a:lnTo>
                <a:lnTo>
                  <a:pt x="290" y="63"/>
                </a:lnTo>
                <a:lnTo>
                  <a:pt x="287" y="63"/>
                </a:lnTo>
                <a:lnTo>
                  <a:pt x="281" y="63"/>
                </a:lnTo>
                <a:lnTo>
                  <a:pt x="275" y="69"/>
                </a:lnTo>
                <a:lnTo>
                  <a:pt x="275" y="72"/>
                </a:lnTo>
                <a:lnTo>
                  <a:pt x="273" y="72"/>
                </a:lnTo>
                <a:lnTo>
                  <a:pt x="261" y="69"/>
                </a:lnTo>
                <a:lnTo>
                  <a:pt x="253" y="75"/>
                </a:lnTo>
                <a:lnTo>
                  <a:pt x="238" y="69"/>
                </a:lnTo>
                <a:lnTo>
                  <a:pt x="238" y="60"/>
                </a:lnTo>
                <a:lnTo>
                  <a:pt x="235" y="55"/>
                </a:lnTo>
                <a:lnTo>
                  <a:pt x="235" y="52"/>
                </a:lnTo>
                <a:lnTo>
                  <a:pt x="235" y="37"/>
                </a:lnTo>
                <a:lnTo>
                  <a:pt x="235" y="29"/>
                </a:lnTo>
                <a:lnTo>
                  <a:pt x="235" y="26"/>
                </a:lnTo>
                <a:lnTo>
                  <a:pt x="238" y="20"/>
                </a:lnTo>
                <a:lnTo>
                  <a:pt x="241" y="20"/>
                </a:lnTo>
                <a:lnTo>
                  <a:pt x="241" y="15"/>
                </a:lnTo>
                <a:lnTo>
                  <a:pt x="232" y="6"/>
                </a:lnTo>
                <a:lnTo>
                  <a:pt x="235" y="0"/>
                </a:lnTo>
                <a:lnTo>
                  <a:pt x="230" y="0"/>
                </a:lnTo>
                <a:lnTo>
                  <a:pt x="227" y="9"/>
                </a:lnTo>
                <a:lnTo>
                  <a:pt x="218" y="12"/>
                </a:lnTo>
                <a:lnTo>
                  <a:pt x="212" y="15"/>
                </a:lnTo>
                <a:lnTo>
                  <a:pt x="201" y="20"/>
                </a:lnTo>
                <a:lnTo>
                  <a:pt x="192" y="23"/>
                </a:lnTo>
                <a:lnTo>
                  <a:pt x="189" y="26"/>
                </a:lnTo>
                <a:lnTo>
                  <a:pt x="189" y="29"/>
                </a:lnTo>
                <a:lnTo>
                  <a:pt x="192" y="35"/>
                </a:lnTo>
                <a:lnTo>
                  <a:pt x="178" y="23"/>
                </a:lnTo>
                <a:lnTo>
                  <a:pt x="166" y="26"/>
                </a:lnTo>
                <a:lnTo>
                  <a:pt x="166" y="23"/>
                </a:lnTo>
                <a:lnTo>
                  <a:pt x="166" y="20"/>
                </a:lnTo>
                <a:lnTo>
                  <a:pt x="158" y="20"/>
                </a:lnTo>
                <a:lnTo>
                  <a:pt x="166" y="29"/>
                </a:lnTo>
                <a:lnTo>
                  <a:pt x="166" y="40"/>
                </a:lnTo>
                <a:lnTo>
                  <a:pt x="169" y="43"/>
                </a:lnTo>
                <a:lnTo>
                  <a:pt x="169" y="46"/>
                </a:lnTo>
                <a:lnTo>
                  <a:pt x="169" y="49"/>
                </a:lnTo>
                <a:lnTo>
                  <a:pt x="181" y="52"/>
                </a:lnTo>
                <a:lnTo>
                  <a:pt x="175" y="58"/>
                </a:lnTo>
                <a:lnTo>
                  <a:pt x="166" y="63"/>
                </a:lnTo>
                <a:lnTo>
                  <a:pt x="164" y="75"/>
                </a:lnTo>
                <a:lnTo>
                  <a:pt x="161" y="75"/>
                </a:lnTo>
                <a:lnTo>
                  <a:pt x="158" y="72"/>
                </a:lnTo>
                <a:lnTo>
                  <a:pt x="152" y="78"/>
                </a:lnTo>
                <a:lnTo>
                  <a:pt x="138" y="89"/>
                </a:lnTo>
                <a:lnTo>
                  <a:pt x="138" y="86"/>
                </a:lnTo>
                <a:lnTo>
                  <a:pt x="138" y="83"/>
                </a:lnTo>
                <a:lnTo>
                  <a:pt x="132" y="89"/>
                </a:lnTo>
                <a:lnTo>
                  <a:pt x="129" y="89"/>
                </a:lnTo>
                <a:lnTo>
                  <a:pt x="123" y="86"/>
                </a:lnTo>
                <a:lnTo>
                  <a:pt x="118" y="83"/>
                </a:lnTo>
                <a:lnTo>
                  <a:pt x="112" y="78"/>
                </a:lnTo>
                <a:lnTo>
                  <a:pt x="112" y="75"/>
                </a:lnTo>
                <a:lnTo>
                  <a:pt x="112" y="60"/>
                </a:lnTo>
                <a:lnTo>
                  <a:pt x="109" y="60"/>
                </a:lnTo>
                <a:lnTo>
                  <a:pt x="100" y="66"/>
                </a:lnTo>
                <a:lnTo>
                  <a:pt x="98" y="66"/>
                </a:lnTo>
                <a:lnTo>
                  <a:pt x="98" y="63"/>
                </a:lnTo>
                <a:lnTo>
                  <a:pt x="95" y="66"/>
                </a:lnTo>
                <a:lnTo>
                  <a:pt x="75" y="66"/>
                </a:lnTo>
                <a:lnTo>
                  <a:pt x="69" y="69"/>
                </a:lnTo>
                <a:lnTo>
                  <a:pt x="66" y="75"/>
                </a:lnTo>
                <a:lnTo>
                  <a:pt x="80" y="78"/>
                </a:lnTo>
                <a:lnTo>
                  <a:pt x="80" y="92"/>
                </a:lnTo>
                <a:lnTo>
                  <a:pt x="77" y="92"/>
                </a:lnTo>
                <a:lnTo>
                  <a:pt x="72" y="89"/>
                </a:lnTo>
                <a:lnTo>
                  <a:pt x="63" y="89"/>
                </a:lnTo>
                <a:lnTo>
                  <a:pt x="63" y="104"/>
                </a:lnTo>
                <a:lnTo>
                  <a:pt x="72" y="112"/>
                </a:lnTo>
                <a:lnTo>
                  <a:pt x="75" y="115"/>
                </a:lnTo>
                <a:lnTo>
                  <a:pt x="75" y="121"/>
                </a:lnTo>
                <a:lnTo>
                  <a:pt x="75" y="132"/>
                </a:lnTo>
                <a:lnTo>
                  <a:pt x="72" y="147"/>
                </a:lnTo>
                <a:lnTo>
                  <a:pt x="69" y="181"/>
                </a:lnTo>
                <a:lnTo>
                  <a:pt x="69" y="187"/>
                </a:lnTo>
                <a:lnTo>
                  <a:pt x="66" y="184"/>
                </a:lnTo>
                <a:lnTo>
                  <a:pt x="63" y="187"/>
                </a:lnTo>
                <a:lnTo>
                  <a:pt x="54" y="184"/>
                </a:lnTo>
                <a:lnTo>
                  <a:pt x="52" y="187"/>
                </a:lnTo>
                <a:lnTo>
                  <a:pt x="46" y="190"/>
                </a:lnTo>
                <a:lnTo>
                  <a:pt x="32" y="193"/>
                </a:lnTo>
                <a:lnTo>
                  <a:pt x="23" y="195"/>
                </a:lnTo>
                <a:lnTo>
                  <a:pt x="20" y="204"/>
                </a:lnTo>
                <a:lnTo>
                  <a:pt x="14" y="215"/>
                </a:lnTo>
                <a:lnTo>
                  <a:pt x="14" y="227"/>
                </a:lnTo>
                <a:lnTo>
                  <a:pt x="11" y="233"/>
                </a:lnTo>
                <a:lnTo>
                  <a:pt x="9" y="233"/>
                </a:lnTo>
                <a:lnTo>
                  <a:pt x="6" y="233"/>
                </a:lnTo>
                <a:lnTo>
                  <a:pt x="6" y="236"/>
                </a:lnTo>
                <a:lnTo>
                  <a:pt x="6" y="244"/>
                </a:lnTo>
                <a:lnTo>
                  <a:pt x="3" y="244"/>
                </a:lnTo>
                <a:lnTo>
                  <a:pt x="0" y="247"/>
                </a:lnTo>
                <a:lnTo>
                  <a:pt x="3" y="250"/>
                </a:lnTo>
                <a:lnTo>
                  <a:pt x="20" y="279"/>
                </a:lnTo>
                <a:lnTo>
                  <a:pt x="17" y="282"/>
                </a:lnTo>
                <a:lnTo>
                  <a:pt x="32" y="287"/>
                </a:lnTo>
                <a:lnTo>
                  <a:pt x="37" y="293"/>
                </a:lnTo>
                <a:lnTo>
                  <a:pt x="49" y="290"/>
                </a:lnTo>
                <a:lnTo>
                  <a:pt x="63" y="282"/>
                </a:lnTo>
                <a:lnTo>
                  <a:pt x="63" y="284"/>
                </a:lnTo>
                <a:lnTo>
                  <a:pt x="63" y="299"/>
                </a:lnTo>
                <a:lnTo>
                  <a:pt x="63" y="307"/>
                </a:lnTo>
                <a:lnTo>
                  <a:pt x="66" y="313"/>
                </a:lnTo>
                <a:lnTo>
                  <a:pt x="66" y="316"/>
                </a:lnTo>
                <a:lnTo>
                  <a:pt x="75" y="313"/>
                </a:lnTo>
                <a:lnTo>
                  <a:pt x="92" y="316"/>
                </a:lnTo>
                <a:lnTo>
                  <a:pt x="100" y="316"/>
                </a:lnTo>
                <a:lnTo>
                  <a:pt x="106" y="307"/>
                </a:lnTo>
                <a:lnTo>
                  <a:pt x="115" y="299"/>
                </a:lnTo>
                <a:lnTo>
                  <a:pt x="129" y="293"/>
                </a:lnTo>
                <a:lnTo>
                  <a:pt x="152" y="287"/>
                </a:lnTo>
                <a:lnTo>
                  <a:pt x="152" y="290"/>
                </a:lnTo>
                <a:lnTo>
                  <a:pt x="152" y="307"/>
                </a:lnTo>
                <a:lnTo>
                  <a:pt x="152" y="313"/>
                </a:lnTo>
                <a:lnTo>
                  <a:pt x="155" y="325"/>
                </a:lnTo>
                <a:lnTo>
                  <a:pt x="161" y="333"/>
                </a:lnTo>
                <a:lnTo>
                  <a:pt x="169" y="339"/>
                </a:lnTo>
                <a:lnTo>
                  <a:pt x="175" y="342"/>
                </a:lnTo>
                <a:lnTo>
                  <a:pt x="187" y="345"/>
                </a:lnTo>
                <a:lnTo>
                  <a:pt x="209" y="359"/>
                </a:lnTo>
                <a:lnTo>
                  <a:pt x="227" y="365"/>
                </a:lnTo>
                <a:lnTo>
                  <a:pt x="230" y="365"/>
                </a:lnTo>
                <a:lnTo>
                  <a:pt x="232" y="365"/>
                </a:lnTo>
                <a:lnTo>
                  <a:pt x="235" y="368"/>
                </a:lnTo>
                <a:lnTo>
                  <a:pt x="238" y="371"/>
                </a:lnTo>
                <a:lnTo>
                  <a:pt x="241" y="379"/>
                </a:lnTo>
                <a:lnTo>
                  <a:pt x="241" y="388"/>
                </a:lnTo>
                <a:lnTo>
                  <a:pt x="244" y="391"/>
                </a:lnTo>
                <a:lnTo>
                  <a:pt x="244" y="388"/>
                </a:lnTo>
                <a:lnTo>
                  <a:pt x="247" y="391"/>
                </a:lnTo>
                <a:lnTo>
                  <a:pt x="244" y="399"/>
                </a:lnTo>
                <a:lnTo>
                  <a:pt x="247" y="416"/>
                </a:lnTo>
                <a:lnTo>
                  <a:pt x="281" y="419"/>
                </a:lnTo>
                <a:lnTo>
                  <a:pt x="278" y="422"/>
                </a:lnTo>
                <a:lnTo>
                  <a:pt x="278" y="431"/>
                </a:lnTo>
                <a:lnTo>
                  <a:pt x="281" y="437"/>
                </a:lnTo>
                <a:lnTo>
                  <a:pt x="290" y="442"/>
                </a:lnTo>
                <a:lnTo>
                  <a:pt x="293" y="448"/>
                </a:lnTo>
                <a:lnTo>
                  <a:pt x="296" y="457"/>
                </a:lnTo>
                <a:lnTo>
                  <a:pt x="296" y="460"/>
                </a:lnTo>
                <a:lnTo>
                  <a:pt x="296" y="477"/>
                </a:lnTo>
                <a:lnTo>
                  <a:pt x="293" y="488"/>
                </a:lnTo>
                <a:lnTo>
                  <a:pt x="296" y="491"/>
                </a:lnTo>
                <a:lnTo>
                  <a:pt x="293" y="491"/>
                </a:lnTo>
                <a:lnTo>
                  <a:pt x="293" y="494"/>
                </a:lnTo>
                <a:lnTo>
                  <a:pt x="293" y="497"/>
                </a:lnTo>
                <a:lnTo>
                  <a:pt x="293" y="503"/>
                </a:lnTo>
                <a:lnTo>
                  <a:pt x="296" y="503"/>
                </a:lnTo>
                <a:lnTo>
                  <a:pt x="298" y="503"/>
                </a:lnTo>
                <a:lnTo>
                  <a:pt x="298" y="505"/>
                </a:lnTo>
                <a:lnTo>
                  <a:pt x="298" y="508"/>
                </a:lnTo>
                <a:lnTo>
                  <a:pt x="298" y="514"/>
                </a:lnTo>
                <a:lnTo>
                  <a:pt x="304" y="520"/>
                </a:lnTo>
                <a:lnTo>
                  <a:pt x="313" y="528"/>
                </a:lnTo>
                <a:lnTo>
                  <a:pt x="319" y="534"/>
                </a:lnTo>
                <a:lnTo>
                  <a:pt x="327" y="534"/>
                </a:lnTo>
                <a:lnTo>
                  <a:pt x="333" y="540"/>
                </a:lnTo>
                <a:lnTo>
                  <a:pt x="342" y="551"/>
                </a:lnTo>
                <a:lnTo>
                  <a:pt x="344" y="560"/>
                </a:lnTo>
                <a:lnTo>
                  <a:pt x="347" y="569"/>
                </a:lnTo>
                <a:lnTo>
                  <a:pt x="353" y="566"/>
                </a:lnTo>
                <a:lnTo>
                  <a:pt x="359" y="563"/>
                </a:lnTo>
                <a:lnTo>
                  <a:pt x="362" y="566"/>
                </a:lnTo>
                <a:lnTo>
                  <a:pt x="364" y="569"/>
                </a:lnTo>
                <a:lnTo>
                  <a:pt x="367" y="574"/>
                </a:lnTo>
                <a:lnTo>
                  <a:pt x="370" y="583"/>
                </a:lnTo>
                <a:lnTo>
                  <a:pt x="367" y="589"/>
                </a:lnTo>
                <a:lnTo>
                  <a:pt x="362" y="597"/>
                </a:lnTo>
                <a:lnTo>
                  <a:pt x="367" y="597"/>
                </a:lnTo>
                <a:lnTo>
                  <a:pt x="373" y="597"/>
                </a:lnTo>
                <a:lnTo>
                  <a:pt x="379" y="606"/>
                </a:lnTo>
                <a:lnTo>
                  <a:pt x="382" y="617"/>
                </a:lnTo>
                <a:lnTo>
                  <a:pt x="385" y="626"/>
                </a:lnTo>
                <a:lnTo>
                  <a:pt x="382" y="632"/>
                </a:lnTo>
                <a:lnTo>
                  <a:pt x="376" y="635"/>
                </a:lnTo>
                <a:lnTo>
                  <a:pt x="362" y="643"/>
                </a:lnTo>
                <a:lnTo>
                  <a:pt x="356" y="646"/>
                </a:lnTo>
                <a:lnTo>
                  <a:pt x="353" y="652"/>
                </a:lnTo>
                <a:lnTo>
                  <a:pt x="339" y="669"/>
                </a:lnTo>
                <a:lnTo>
                  <a:pt x="333" y="681"/>
                </a:lnTo>
                <a:lnTo>
                  <a:pt x="327" y="689"/>
                </a:lnTo>
                <a:lnTo>
                  <a:pt x="330" y="689"/>
                </a:lnTo>
                <a:lnTo>
                  <a:pt x="336" y="686"/>
                </a:lnTo>
                <a:lnTo>
                  <a:pt x="336" y="689"/>
                </a:lnTo>
                <a:lnTo>
                  <a:pt x="347" y="695"/>
                </a:lnTo>
                <a:lnTo>
                  <a:pt x="350" y="698"/>
                </a:lnTo>
                <a:lnTo>
                  <a:pt x="356" y="704"/>
                </a:lnTo>
                <a:lnTo>
                  <a:pt x="359" y="701"/>
                </a:lnTo>
                <a:lnTo>
                  <a:pt x="367" y="709"/>
                </a:lnTo>
                <a:lnTo>
                  <a:pt x="370" y="712"/>
                </a:lnTo>
                <a:lnTo>
                  <a:pt x="379" y="715"/>
                </a:lnTo>
                <a:lnTo>
                  <a:pt x="385" y="718"/>
                </a:lnTo>
                <a:lnTo>
                  <a:pt x="387" y="721"/>
                </a:lnTo>
                <a:lnTo>
                  <a:pt x="390" y="724"/>
                </a:lnTo>
                <a:lnTo>
                  <a:pt x="396" y="724"/>
                </a:lnTo>
                <a:lnTo>
                  <a:pt x="399" y="727"/>
                </a:lnTo>
                <a:lnTo>
                  <a:pt x="402" y="732"/>
                </a:lnTo>
                <a:lnTo>
                  <a:pt x="405" y="735"/>
                </a:lnTo>
                <a:lnTo>
                  <a:pt x="408" y="735"/>
                </a:lnTo>
                <a:lnTo>
                  <a:pt x="410" y="732"/>
                </a:lnTo>
                <a:lnTo>
                  <a:pt x="408" y="747"/>
                </a:lnTo>
                <a:lnTo>
                  <a:pt x="408" y="752"/>
                </a:lnTo>
                <a:lnTo>
                  <a:pt x="408" y="755"/>
                </a:lnTo>
                <a:lnTo>
                  <a:pt x="408" y="758"/>
                </a:lnTo>
                <a:lnTo>
                  <a:pt x="416" y="752"/>
                </a:lnTo>
                <a:lnTo>
                  <a:pt x="419" y="747"/>
                </a:lnTo>
                <a:lnTo>
                  <a:pt x="419" y="744"/>
                </a:lnTo>
                <a:lnTo>
                  <a:pt x="419" y="735"/>
                </a:lnTo>
                <a:lnTo>
                  <a:pt x="422" y="727"/>
                </a:lnTo>
                <a:lnTo>
                  <a:pt x="428" y="721"/>
                </a:lnTo>
                <a:lnTo>
                  <a:pt x="422" y="721"/>
                </a:lnTo>
                <a:lnTo>
                  <a:pt x="422" y="709"/>
                </a:lnTo>
                <a:lnTo>
                  <a:pt x="431" y="706"/>
                </a:lnTo>
                <a:lnTo>
                  <a:pt x="431" y="695"/>
                </a:lnTo>
                <a:lnTo>
                  <a:pt x="433" y="689"/>
                </a:lnTo>
                <a:lnTo>
                  <a:pt x="436" y="692"/>
                </a:lnTo>
                <a:lnTo>
                  <a:pt x="439" y="692"/>
                </a:lnTo>
                <a:lnTo>
                  <a:pt x="439" y="701"/>
                </a:lnTo>
                <a:lnTo>
                  <a:pt x="433" y="715"/>
                </a:lnTo>
                <a:lnTo>
                  <a:pt x="431" y="721"/>
                </a:lnTo>
                <a:lnTo>
                  <a:pt x="436" y="712"/>
                </a:lnTo>
                <a:lnTo>
                  <a:pt x="448" y="695"/>
                </a:lnTo>
                <a:lnTo>
                  <a:pt x="451" y="675"/>
                </a:lnTo>
                <a:lnTo>
                  <a:pt x="465" y="658"/>
                </a:lnTo>
                <a:lnTo>
                  <a:pt x="468" y="643"/>
                </a:lnTo>
                <a:lnTo>
                  <a:pt x="471" y="640"/>
                </a:lnTo>
                <a:lnTo>
                  <a:pt x="468" y="635"/>
                </a:lnTo>
                <a:lnTo>
                  <a:pt x="465" y="617"/>
                </a:lnTo>
                <a:lnTo>
                  <a:pt x="465" y="606"/>
                </a:lnTo>
                <a:lnTo>
                  <a:pt x="465" y="600"/>
                </a:lnTo>
                <a:lnTo>
                  <a:pt x="465" y="592"/>
                </a:lnTo>
                <a:lnTo>
                  <a:pt x="471" y="594"/>
                </a:lnTo>
                <a:lnTo>
                  <a:pt x="471" y="589"/>
                </a:lnTo>
                <a:lnTo>
                  <a:pt x="474" y="586"/>
                </a:lnTo>
                <a:lnTo>
                  <a:pt x="485" y="580"/>
                </a:lnTo>
                <a:lnTo>
                  <a:pt x="488" y="574"/>
                </a:lnTo>
                <a:lnTo>
                  <a:pt x="494" y="569"/>
                </a:lnTo>
                <a:lnTo>
                  <a:pt x="499" y="569"/>
                </a:lnTo>
                <a:lnTo>
                  <a:pt x="505" y="566"/>
                </a:lnTo>
                <a:lnTo>
                  <a:pt x="511" y="569"/>
                </a:lnTo>
                <a:lnTo>
                  <a:pt x="514" y="566"/>
                </a:lnTo>
                <a:lnTo>
                  <a:pt x="514" y="560"/>
                </a:lnTo>
                <a:lnTo>
                  <a:pt x="519" y="557"/>
                </a:lnTo>
                <a:lnTo>
                  <a:pt x="525" y="557"/>
                </a:lnTo>
                <a:lnTo>
                  <a:pt x="525" y="551"/>
                </a:lnTo>
                <a:lnTo>
                  <a:pt x="528" y="549"/>
                </a:lnTo>
                <a:lnTo>
                  <a:pt x="528" y="554"/>
                </a:lnTo>
                <a:lnTo>
                  <a:pt x="534" y="551"/>
                </a:lnTo>
                <a:lnTo>
                  <a:pt x="542" y="551"/>
                </a:lnTo>
                <a:lnTo>
                  <a:pt x="548" y="549"/>
                </a:lnTo>
                <a:lnTo>
                  <a:pt x="560" y="549"/>
                </a:lnTo>
                <a:lnTo>
                  <a:pt x="565" y="549"/>
                </a:lnTo>
                <a:lnTo>
                  <a:pt x="565" y="546"/>
                </a:lnTo>
                <a:lnTo>
                  <a:pt x="568" y="540"/>
                </a:lnTo>
                <a:lnTo>
                  <a:pt x="580" y="531"/>
                </a:lnTo>
                <a:lnTo>
                  <a:pt x="583" y="526"/>
                </a:lnTo>
                <a:lnTo>
                  <a:pt x="583" y="517"/>
                </a:lnTo>
                <a:lnTo>
                  <a:pt x="583" y="511"/>
                </a:lnTo>
                <a:lnTo>
                  <a:pt x="586" y="508"/>
                </a:lnTo>
                <a:lnTo>
                  <a:pt x="588" y="505"/>
                </a:lnTo>
                <a:lnTo>
                  <a:pt x="591" y="500"/>
                </a:lnTo>
                <a:lnTo>
                  <a:pt x="597" y="482"/>
                </a:lnTo>
                <a:lnTo>
                  <a:pt x="600" y="480"/>
                </a:lnTo>
                <a:lnTo>
                  <a:pt x="600" y="477"/>
                </a:lnTo>
                <a:lnTo>
                  <a:pt x="600" y="468"/>
                </a:lnTo>
                <a:lnTo>
                  <a:pt x="600" y="460"/>
                </a:lnTo>
                <a:lnTo>
                  <a:pt x="603" y="454"/>
                </a:lnTo>
                <a:lnTo>
                  <a:pt x="606" y="448"/>
                </a:lnTo>
                <a:lnTo>
                  <a:pt x="606" y="442"/>
                </a:lnTo>
                <a:lnTo>
                  <a:pt x="608" y="419"/>
                </a:lnTo>
                <a:lnTo>
                  <a:pt x="611" y="408"/>
                </a:lnTo>
                <a:lnTo>
                  <a:pt x="608" y="396"/>
                </a:lnTo>
                <a:lnTo>
                  <a:pt x="608" y="382"/>
                </a:lnTo>
                <a:lnTo>
                  <a:pt x="606" y="368"/>
                </a:lnTo>
                <a:lnTo>
                  <a:pt x="606" y="356"/>
                </a:lnTo>
                <a:lnTo>
                  <a:pt x="614" y="350"/>
                </a:lnTo>
                <a:lnTo>
                  <a:pt x="617" y="348"/>
                </a:lnTo>
                <a:lnTo>
                  <a:pt x="623" y="342"/>
                </a:lnTo>
                <a:lnTo>
                  <a:pt x="631" y="325"/>
                </a:lnTo>
                <a:lnTo>
                  <a:pt x="634" y="316"/>
                </a:lnTo>
                <a:lnTo>
                  <a:pt x="643" y="307"/>
                </a:lnTo>
                <a:lnTo>
                  <a:pt x="652" y="299"/>
                </a:lnTo>
                <a:lnTo>
                  <a:pt x="663" y="279"/>
                </a:lnTo>
                <a:lnTo>
                  <a:pt x="669" y="267"/>
                </a:lnTo>
                <a:lnTo>
                  <a:pt x="672" y="250"/>
                </a:lnTo>
                <a:lnTo>
                  <a:pt x="669" y="224"/>
                </a:lnTo>
                <a:lnTo>
                  <a:pt x="666" y="204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297" name="Freeform 402"/>
          <p:cNvSpPr>
            <a:spLocks/>
          </p:cNvSpPr>
          <p:nvPr/>
        </p:nvSpPr>
        <p:spPr bwMode="gray">
          <a:xfrm>
            <a:off x="4044729" y="1941052"/>
            <a:ext cx="12002" cy="13501"/>
          </a:xfrm>
          <a:custGeom>
            <a:avLst/>
            <a:gdLst>
              <a:gd name="T0" fmla="*/ 0 w 6"/>
              <a:gd name="T1" fmla="*/ 2147483647 h 9"/>
              <a:gd name="T2" fmla="*/ 2147483647 w 6"/>
              <a:gd name="T3" fmla="*/ 2147483647 h 9"/>
              <a:gd name="T4" fmla="*/ 2147483647 w 6"/>
              <a:gd name="T5" fmla="*/ 2147483647 h 9"/>
              <a:gd name="T6" fmla="*/ 2147483647 w 6"/>
              <a:gd name="T7" fmla="*/ 0 h 9"/>
              <a:gd name="T8" fmla="*/ 0 w 6"/>
              <a:gd name="T9" fmla="*/ 2147483647 h 9"/>
              <a:gd name="T10" fmla="*/ 0 w 6"/>
              <a:gd name="T11" fmla="*/ 2147483647 h 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9"/>
              <a:gd name="T20" fmla="*/ 6 w 6"/>
              <a:gd name="T21" fmla="*/ 9 h 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9">
                <a:moveTo>
                  <a:pt x="0" y="9"/>
                </a:moveTo>
                <a:lnTo>
                  <a:pt x="6" y="6"/>
                </a:lnTo>
                <a:lnTo>
                  <a:pt x="6" y="3"/>
                </a:lnTo>
                <a:lnTo>
                  <a:pt x="3" y="0"/>
                </a:lnTo>
                <a:lnTo>
                  <a:pt x="0" y="6"/>
                </a:lnTo>
                <a:lnTo>
                  <a:pt x="0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1298" name="Freeform 403"/>
          <p:cNvSpPr>
            <a:spLocks/>
          </p:cNvSpPr>
          <p:nvPr/>
        </p:nvSpPr>
        <p:spPr bwMode="gray">
          <a:xfrm>
            <a:off x="4038728" y="1897552"/>
            <a:ext cx="22003" cy="22500"/>
          </a:xfrm>
          <a:custGeom>
            <a:avLst/>
            <a:gdLst>
              <a:gd name="T0" fmla="*/ 0 w 11"/>
              <a:gd name="T1" fmla="*/ 2147483647 h 15"/>
              <a:gd name="T2" fmla="*/ 2147483647 w 11"/>
              <a:gd name="T3" fmla="*/ 2147483647 h 15"/>
              <a:gd name="T4" fmla="*/ 2147483647 w 11"/>
              <a:gd name="T5" fmla="*/ 2147483647 h 15"/>
              <a:gd name="T6" fmla="*/ 2147483647 w 11"/>
              <a:gd name="T7" fmla="*/ 2147483647 h 15"/>
              <a:gd name="T8" fmla="*/ 2147483647 w 11"/>
              <a:gd name="T9" fmla="*/ 0 h 15"/>
              <a:gd name="T10" fmla="*/ 2147483647 w 11"/>
              <a:gd name="T11" fmla="*/ 0 h 15"/>
              <a:gd name="T12" fmla="*/ 2147483647 w 11"/>
              <a:gd name="T13" fmla="*/ 2147483647 h 15"/>
              <a:gd name="T14" fmla="*/ 0 w 11"/>
              <a:gd name="T15" fmla="*/ 2147483647 h 15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1"/>
              <a:gd name="T25" fmla="*/ 0 h 15"/>
              <a:gd name="T26" fmla="*/ 11 w 11"/>
              <a:gd name="T27" fmla="*/ 15 h 15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1" h="15">
                <a:moveTo>
                  <a:pt x="0" y="12"/>
                </a:moveTo>
                <a:lnTo>
                  <a:pt x="3" y="15"/>
                </a:lnTo>
                <a:lnTo>
                  <a:pt x="6" y="6"/>
                </a:lnTo>
                <a:lnTo>
                  <a:pt x="11" y="6"/>
                </a:lnTo>
                <a:lnTo>
                  <a:pt x="11" y="0"/>
                </a:lnTo>
                <a:lnTo>
                  <a:pt x="9" y="0"/>
                </a:lnTo>
                <a:lnTo>
                  <a:pt x="3" y="6"/>
                </a:lnTo>
                <a:lnTo>
                  <a:pt x="0" y="1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1299" name="Freeform 404"/>
          <p:cNvSpPr>
            <a:spLocks/>
          </p:cNvSpPr>
          <p:nvPr/>
        </p:nvSpPr>
        <p:spPr bwMode="gray">
          <a:xfrm>
            <a:off x="4230762" y="2028055"/>
            <a:ext cx="16003" cy="18000"/>
          </a:xfrm>
          <a:custGeom>
            <a:avLst/>
            <a:gdLst>
              <a:gd name="T0" fmla="*/ 0 w 8"/>
              <a:gd name="T1" fmla="*/ 2147483647 h 11"/>
              <a:gd name="T2" fmla="*/ 2147483647 w 8"/>
              <a:gd name="T3" fmla="*/ 2147483647 h 11"/>
              <a:gd name="T4" fmla="*/ 2147483647 w 8"/>
              <a:gd name="T5" fmla="*/ 2147483647 h 11"/>
              <a:gd name="T6" fmla="*/ 2147483647 w 8"/>
              <a:gd name="T7" fmla="*/ 0 h 11"/>
              <a:gd name="T8" fmla="*/ 0 w 8"/>
              <a:gd name="T9" fmla="*/ 2147483647 h 11"/>
              <a:gd name="T10" fmla="*/ 0 w 8"/>
              <a:gd name="T11" fmla="*/ 2147483647 h 1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8"/>
              <a:gd name="T19" fmla="*/ 0 h 11"/>
              <a:gd name="T20" fmla="*/ 8 w 8"/>
              <a:gd name="T21" fmla="*/ 11 h 1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8" h="11">
                <a:moveTo>
                  <a:pt x="0" y="11"/>
                </a:moveTo>
                <a:lnTo>
                  <a:pt x="5" y="11"/>
                </a:lnTo>
                <a:lnTo>
                  <a:pt x="8" y="5"/>
                </a:lnTo>
                <a:lnTo>
                  <a:pt x="8" y="0"/>
                </a:lnTo>
                <a:lnTo>
                  <a:pt x="0" y="5"/>
                </a:lnTo>
                <a:lnTo>
                  <a:pt x="0" y="1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1218" name="Freeform 405"/>
          <p:cNvSpPr>
            <a:spLocks/>
          </p:cNvSpPr>
          <p:nvPr/>
        </p:nvSpPr>
        <p:spPr bwMode="gray">
          <a:xfrm>
            <a:off x="3592647" y="5316144"/>
            <a:ext cx="40007" cy="34501"/>
          </a:xfrm>
          <a:custGeom>
            <a:avLst/>
            <a:gdLst>
              <a:gd name="T0" fmla="*/ 2147483647 w 20"/>
              <a:gd name="T1" fmla="*/ 2147483647 h 23"/>
              <a:gd name="T2" fmla="*/ 2147483647 w 20"/>
              <a:gd name="T3" fmla="*/ 2147483647 h 23"/>
              <a:gd name="T4" fmla="*/ 2147483647 w 20"/>
              <a:gd name="T5" fmla="*/ 2147483647 h 23"/>
              <a:gd name="T6" fmla="*/ 2147483647 w 20"/>
              <a:gd name="T7" fmla="*/ 0 h 23"/>
              <a:gd name="T8" fmla="*/ 2147483647 w 20"/>
              <a:gd name="T9" fmla="*/ 0 h 23"/>
              <a:gd name="T10" fmla="*/ 2147483647 w 20"/>
              <a:gd name="T11" fmla="*/ 0 h 23"/>
              <a:gd name="T12" fmla="*/ 2147483647 w 20"/>
              <a:gd name="T13" fmla="*/ 0 h 23"/>
              <a:gd name="T14" fmla="*/ 2147483647 w 20"/>
              <a:gd name="T15" fmla="*/ 0 h 23"/>
              <a:gd name="T16" fmla="*/ 2147483647 w 20"/>
              <a:gd name="T17" fmla="*/ 2147483647 h 23"/>
              <a:gd name="T18" fmla="*/ 2147483647 w 20"/>
              <a:gd name="T19" fmla="*/ 2147483647 h 23"/>
              <a:gd name="T20" fmla="*/ 2147483647 w 20"/>
              <a:gd name="T21" fmla="*/ 0 h 23"/>
              <a:gd name="T22" fmla="*/ 2147483647 w 20"/>
              <a:gd name="T23" fmla="*/ 2147483647 h 23"/>
              <a:gd name="T24" fmla="*/ 0 w 20"/>
              <a:gd name="T25" fmla="*/ 2147483647 h 23"/>
              <a:gd name="T26" fmla="*/ 0 w 20"/>
              <a:gd name="T27" fmla="*/ 2147483647 h 23"/>
              <a:gd name="T28" fmla="*/ 0 w 20"/>
              <a:gd name="T29" fmla="*/ 2147483647 h 23"/>
              <a:gd name="T30" fmla="*/ 0 w 20"/>
              <a:gd name="T31" fmla="*/ 2147483647 h 23"/>
              <a:gd name="T32" fmla="*/ 2147483647 w 20"/>
              <a:gd name="T33" fmla="*/ 2147483647 h 23"/>
              <a:gd name="T34" fmla="*/ 2147483647 w 20"/>
              <a:gd name="T35" fmla="*/ 2147483647 h 23"/>
              <a:gd name="T36" fmla="*/ 2147483647 w 20"/>
              <a:gd name="T37" fmla="*/ 2147483647 h 23"/>
              <a:gd name="T38" fmla="*/ 2147483647 w 20"/>
              <a:gd name="T39" fmla="*/ 2147483647 h 23"/>
              <a:gd name="T40" fmla="*/ 2147483647 w 20"/>
              <a:gd name="T41" fmla="*/ 2147483647 h 23"/>
              <a:gd name="T42" fmla="*/ 2147483647 w 20"/>
              <a:gd name="T43" fmla="*/ 2147483647 h 23"/>
              <a:gd name="T44" fmla="*/ 2147483647 w 20"/>
              <a:gd name="T45" fmla="*/ 2147483647 h 23"/>
              <a:gd name="T46" fmla="*/ 2147483647 w 20"/>
              <a:gd name="T47" fmla="*/ 2147483647 h 23"/>
              <a:gd name="T48" fmla="*/ 2147483647 w 20"/>
              <a:gd name="T49" fmla="*/ 2147483647 h 23"/>
              <a:gd name="T50" fmla="*/ 2147483647 w 20"/>
              <a:gd name="T51" fmla="*/ 2147483647 h 23"/>
              <a:gd name="T52" fmla="*/ 2147483647 w 20"/>
              <a:gd name="T53" fmla="*/ 2147483647 h 23"/>
              <a:gd name="T54" fmla="*/ 2147483647 w 20"/>
              <a:gd name="T55" fmla="*/ 2147483647 h 23"/>
              <a:gd name="T56" fmla="*/ 2147483647 w 20"/>
              <a:gd name="T57" fmla="*/ 2147483647 h 23"/>
              <a:gd name="T58" fmla="*/ 2147483647 w 20"/>
              <a:gd name="T59" fmla="*/ 2147483647 h 23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20"/>
              <a:gd name="T91" fmla="*/ 0 h 23"/>
              <a:gd name="T92" fmla="*/ 20 w 20"/>
              <a:gd name="T93" fmla="*/ 23 h 23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20" h="23">
                <a:moveTo>
                  <a:pt x="20" y="3"/>
                </a:moveTo>
                <a:lnTo>
                  <a:pt x="14" y="3"/>
                </a:lnTo>
                <a:lnTo>
                  <a:pt x="14" y="0"/>
                </a:lnTo>
                <a:lnTo>
                  <a:pt x="11" y="0"/>
                </a:lnTo>
                <a:lnTo>
                  <a:pt x="9" y="0"/>
                </a:lnTo>
                <a:lnTo>
                  <a:pt x="9" y="3"/>
                </a:lnTo>
                <a:lnTo>
                  <a:pt x="6" y="3"/>
                </a:lnTo>
                <a:lnTo>
                  <a:pt x="3" y="0"/>
                </a:lnTo>
                <a:lnTo>
                  <a:pt x="3" y="6"/>
                </a:lnTo>
                <a:lnTo>
                  <a:pt x="0" y="3"/>
                </a:lnTo>
                <a:lnTo>
                  <a:pt x="0" y="6"/>
                </a:lnTo>
                <a:lnTo>
                  <a:pt x="0" y="11"/>
                </a:lnTo>
                <a:lnTo>
                  <a:pt x="3" y="11"/>
                </a:lnTo>
                <a:lnTo>
                  <a:pt x="6" y="14"/>
                </a:lnTo>
                <a:lnTo>
                  <a:pt x="6" y="17"/>
                </a:lnTo>
                <a:lnTo>
                  <a:pt x="9" y="14"/>
                </a:lnTo>
                <a:lnTo>
                  <a:pt x="6" y="11"/>
                </a:lnTo>
                <a:lnTo>
                  <a:pt x="11" y="11"/>
                </a:lnTo>
                <a:lnTo>
                  <a:pt x="9" y="14"/>
                </a:lnTo>
                <a:lnTo>
                  <a:pt x="6" y="17"/>
                </a:lnTo>
                <a:lnTo>
                  <a:pt x="6" y="23"/>
                </a:lnTo>
                <a:lnTo>
                  <a:pt x="11" y="14"/>
                </a:lnTo>
                <a:lnTo>
                  <a:pt x="17" y="9"/>
                </a:lnTo>
                <a:lnTo>
                  <a:pt x="2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19" name="Rectangle 407"/>
          <p:cNvSpPr>
            <a:spLocks noChangeArrowheads="1"/>
          </p:cNvSpPr>
          <p:nvPr/>
        </p:nvSpPr>
        <p:spPr bwMode="gray">
          <a:xfrm>
            <a:off x="3580646" y="5332644"/>
            <a:ext cx="12002" cy="45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20" name="Freeform 408"/>
          <p:cNvSpPr>
            <a:spLocks/>
          </p:cNvSpPr>
          <p:nvPr/>
        </p:nvSpPr>
        <p:spPr bwMode="gray">
          <a:xfrm>
            <a:off x="3586647" y="5337144"/>
            <a:ext cx="12002" cy="10501"/>
          </a:xfrm>
          <a:custGeom>
            <a:avLst/>
            <a:gdLst>
              <a:gd name="T0" fmla="*/ 0 w 6"/>
              <a:gd name="T1" fmla="*/ 2147483647 h 6"/>
              <a:gd name="T2" fmla="*/ 2147483647 w 6"/>
              <a:gd name="T3" fmla="*/ 2147483647 h 6"/>
              <a:gd name="T4" fmla="*/ 2147483647 w 6"/>
              <a:gd name="T5" fmla="*/ 2147483647 h 6"/>
              <a:gd name="T6" fmla="*/ 2147483647 w 6"/>
              <a:gd name="T7" fmla="*/ 2147483647 h 6"/>
              <a:gd name="T8" fmla="*/ 2147483647 w 6"/>
              <a:gd name="T9" fmla="*/ 0 h 6"/>
              <a:gd name="T10" fmla="*/ 0 w 6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6"/>
              <a:gd name="T20" fmla="*/ 6 w 6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6">
                <a:moveTo>
                  <a:pt x="0" y="3"/>
                </a:moveTo>
                <a:lnTo>
                  <a:pt x="3" y="3"/>
                </a:lnTo>
                <a:lnTo>
                  <a:pt x="6" y="6"/>
                </a:lnTo>
                <a:lnTo>
                  <a:pt x="6" y="3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21" name="Freeform 409"/>
          <p:cNvSpPr>
            <a:spLocks/>
          </p:cNvSpPr>
          <p:nvPr/>
        </p:nvSpPr>
        <p:spPr bwMode="gray">
          <a:xfrm>
            <a:off x="3626654" y="5316144"/>
            <a:ext cx="54009" cy="31501"/>
          </a:xfrm>
          <a:custGeom>
            <a:avLst/>
            <a:gdLst>
              <a:gd name="T0" fmla="*/ 2147483647 w 26"/>
              <a:gd name="T1" fmla="*/ 2147483647 h 20"/>
              <a:gd name="T2" fmla="*/ 2147483647 w 26"/>
              <a:gd name="T3" fmla="*/ 2147483647 h 20"/>
              <a:gd name="T4" fmla="*/ 2147483647 w 26"/>
              <a:gd name="T5" fmla="*/ 2147483647 h 20"/>
              <a:gd name="T6" fmla="*/ 2147483647 w 26"/>
              <a:gd name="T7" fmla="*/ 2147483647 h 20"/>
              <a:gd name="T8" fmla="*/ 2147483647 w 26"/>
              <a:gd name="T9" fmla="*/ 0 h 20"/>
              <a:gd name="T10" fmla="*/ 2147483647 w 26"/>
              <a:gd name="T11" fmla="*/ 0 h 20"/>
              <a:gd name="T12" fmla="*/ 2147483647 w 26"/>
              <a:gd name="T13" fmla="*/ 2147483647 h 20"/>
              <a:gd name="T14" fmla="*/ 2147483647 w 26"/>
              <a:gd name="T15" fmla="*/ 2147483647 h 20"/>
              <a:gd name="T16" fmla="*/ 2147483647 w 26"/>
              <a:gd name="T17" fmla="*/ 2147483647 h 20"/>
              <a:gd name="T18" fmla="*/ 2147483647 w 26"/>
              <a:gd name="T19" fmla="*/ 2147483647 h 20"/>
              <a:gd name="T20" fmla="*/ 2147483647 w 26"/>
              <a:gd name="T21" fmla="*/ 2147483647 h 20"/>
              <a:gd name="T22" fmla="*/ 2147483647 w 26"/>
              <a:gd name="T23" fmla="*/ 2147483647 h 20"/>
              <a:gd name="T24" fmla="*/ 2147483647 w 26"/>
              <a:gd name="T25" fmla="*/ 2147483647 h 20"/>
              <a:gd name="T26" fmla="*/ 0 w 26"/>
              <a:gd name="T27" fmla="*/ 2147483647 h 20"/>
              <a:gd name="T28" fmla="*/ 0 w 26"/>
              <a:gd name="T29" fmla="*/ 2147483647 h 20"/>
              <a:gd name="T30" fmla="*/ 2147483647 w 26"/>
              <a:gd name="T31" fmla="*/ 2147483647 h 20"/>
              <a:gd name="T32" fmla="*/ 2147483647 w 26"/>
              <a:gd name="T33" fmla="*/ 2147483647 h 20"/>
              <a:gd name="T34" fmla="*/ 2147483647 w 26"/>
              <a:gd name="T35" fmla="*/ 2147483647 h 20"/>
              <a:gd name="T36" fmla="*/ 2147483647 w 26"/>
              <a:gd name="T37" fmla="*/ 2147483647 h 20"/>
              <a:gd name="T38" fmla="*/ 2147483647 w 26"/>
              <a:gd name="T39" fmla="*/ 2147483647 h 20"/>
              <a:gd name="T40" fmla="*/ 2147483647 w 26"/>
              <a:gd name="T41" fmla="*/ 2147483647 h 20"/>
              <a:gd name="T42" fmla="*/ 2147483647 w 26"/>
              <a:gd name="T43" fmla="*/ 2147483647 h 20"/>
              <a:gd name="T44" fmla="*/ 2147483647 w 26"/>
              <a:gd name="T45" fmla="*/ 2147483647 h 20"/>
              <a:gd name="T46" fmla="*/ 2147483647 w 26"/>
              <a:gd name="T47" fmla="*/ 2147483647 h 20"/>
              <a:gd name="T48" fmla="*/ 2147483647 w 26"/>
              <a:gd name="T49" fmla="*/ 2147483647 h 20"/>
              <a:gd name="T50" fmla="*/ 2147483647 w 26"/>
              <a:gd name="T51" fmla="*/ 2147483647 h 20"/>
              <a:gd name="T52" fmla="*/ 2147483647 w 26"/>
              <a:gd name="T53" fmla="*/ 2147483647 h 20"/>
              <a:gd name="T54" fmla="*/ 2147483647 w 26"/>
              <a:gd name="T55" fmla="*/ 2147483647 h 20"/>
              <a:gd name="T56" fmla="*/ 2147483647 w 26"/>
              <a:gd name="T57" fmla="*/ 2147483647 h 20"/>
              <a:gd name="T58" fmla="*/ 2147483647 w 26"/>
              <a:gd name="T59" fmla="*/ 2147483647 h 20"/>
              <a:gd name="T60" fmla="*/ 2147483647 w 26"/>
              <a:gd name="T61" fmla="*/ 2147483647 h 20"/>
              <a:gd name="T62" fmla="*/ 2147483647 w 26"/>
              <a:gd name="T63" fmla="*/ 2147483647 h 20"/>
              <a:gd name="T64" fmla="*/ 2147483647 w 26"/>
              <a:gd name="T65" fmla="*/ 2147483647 h 20"/>
              <a:gd name="T66" fmla="*/ 2147483647 w 26"/>
              <a:gd name="T67" fmla="*/ 2147483647 h 20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26"/>
              <a:gd name="T103" fmla="*/ 0 h 20"/>
              <a:gd name="T104" fmla="*/ 26 w 26"/>
              <a:gd name="T105" fmla="*/ 20 h 20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26" h="20">
                <a:moveTo>
                  <a:pt x="23" y="3"/>
                </a:moveTo>
                <a:lnTo>
                  <a:pt x="23" y="3"/>
                </a:lnTo>
                <a:lnTo>
                  <a:pt x="15" y="3"/>
                </a:lnTo>
                <a:lnTo>
                  <a:pt x="9" y="0"/>
                </a:lnTo>
                <a:lnTo>
                  <a:pt x="9" y="3"/>
                </a:lnTo>
                <a:lnTo>
                  <a:pt x="6" y="3"/>
                </a:lnTo>
                <a:lnTo>
                  <a:pt x="9" y="6"/>
                </a:lnTo>
                <a:lnTo>
                  <a:pt x="6" y="11"/>
                </a:lnTo>
                <a:lnTo>
                  <a:pt x="0" y="20"/>
                </a:lnTo>
                <a:lnTo>
                  <a:pt x="3" y="20"/>
                </a:lnTo>
                <a:lnTo>
                  <a:pt x="6" y="20"/>
                </a:lnTo>
                <a:lnTo>
                  <a:pt x="9" y="20"/>
                </a:lnTo>
                <a:lnTo>
                  <a:pt x="12" y="17"/>
                </a:lnTo>
                <a:lnTo>
                  <a:pt x="15" y="17"/>
                </a:lnTo>
                <a:lnTo>
                  <a:pt x="17" y="14"/>
                </a:lnTo>
                <a:lnTo>
                  <a:pt x="15" y="14"/>
                </a:lnTo>
                <a:lnTo>
                  <a:pt x="17" y="14"/>
                </a:lnTo>
                <a:lnTo>
                  <a:pt x="23" y="11"/>
                </a:lnTo>
                <a:lnTo>
                  <a:pt x="26" y="9"/>
                </a:lnTo>
                <a:lnTo>
                  <a:pt x="26" y="6"/>
                </a:lnTo>
                <a:lnTo>
                  <a:pt x="26" y="3"/>
                </a:lnTo>
                <a:lnTo>
                  <a:pt x="2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22" name="Rectangle 410"/>
          <p:cNvSpPr>
            <a:spLocks noChangeArrowheads="1"/>
          </p:cNvSpPr>
          <p:nvPr/>
        </p:nvSpPr>
        <p:spPr bwMode="gray">
          <a:xfrm>
            <a:off x="3680663" y="5329645"/>
            <a:ext cx="2001" cy="15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23" name="Freeform 411"/>
          <p:cNvSpPr>
            <a:spLocks/>
          </p:cNvSpPr>
          <p:nvPr/>
        </p:nvSpPr>
        <p:spPr bwMode="gray">
          <a:xfrm>
            <a:off x="3354605" y="5407646"/>
            <a:ext cx="6000" cy="4500"/>
          </a:xfrm>
          <a:custGeom>
            <a:avLst/>
            <a:gdLst>
              <a:gd name="T0" fmla="*/ 0 w 3"/>
              <a:gd name="T1" fmla="*/ 0 h 3"/>
              <a:gd name="T2" fmla="*/ 2147483647 w 3"/>
              <a:gd name="T3" fmla="*/ 2147483647 h 3"/>
              <a:gd name="T4" fmla="*/ 2147483647 w 3"/>
              <a:gd name="T5" fmla="*/ 0 h 3"/>
              <a:gd name="T6" fmla="*/ 2147483647 w 3"/>
              <a:gd name="T7" fmla="*/ 0 h 3"/>
              <a:gd name="T8" fmla="*/ 0 w 3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0" y="0"/>
                </a:moveTo>
                <a:lnTo>
                  <a:pt x="3" y="3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24" name="Rectangle 412"/>
          <p:cNvSpPr>
            <a:spLocks noChangeArrowheads="1"/>
          </p:cNvSpPr>
          <p:nvPr/>
        </p:nvSpPr>
        <p:spPr bwMode="gray">
          <a:xfrm>
            <a:off x="3058552" y="5103138"/>
            <a:ext cx="6000" cy="4501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25" name="Freeform 413"/>
          <p:cNvSpPr>
            <a:spLocks/>
          </p:cNvSpPr>
          <p:nvPr/>
        </p:nvSpPr>
        <p:spPr bwMode="gray">
          <a:xfrm>
            <a:off x="3100559" y="5142139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0 h 6"/>
              <a:gd name="T4" fmla="*/ 0 w 6"/>
              <a:gd name="T5" fmla="*/ 2147483647 h 6"/>
              <a:gd name="T6" fmla="*/ 2147483647 w 6"/>
              <a:gd name="T7" fmla="*/ 2147483647 h 6"/>
              <a:gd name="T8" fmla="*/ 2147483647 w 6"/>
              <a:gd name="T9" fmla="*/ 2147483647 h 6"/>
              <a:gd name="T10" fmla="*/ 2147483647 w 6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6"/>
              <a:gd name="T20" fmla="*/ 6 w 6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6">
                <a:moveTo>
                  <a:pt x="3" y="3"/>
                </a:move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lnTo>
                  <a:pt x="6" y="3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26" name="Freeform 414"/>
          <p:cNvSpPr>
            <a:spLocks/>
          </p:cNvSpPr>
          <p:nvPr/>
        </p:nvSpPr>
        <p:spPr bwMode="gray">
          <a:xfrm>
            <a:off x="3064553" y="5116639"/>
            <a:ext cx="12002" cy="9000"/>
          </a:xfrm>
          <a:custGeom>
            <a:avLst/>
            <a:gdLst>
              <a:gd name="T0" fmla="*/ 2147483647 w 5"/>
              <a:gd name="T1" fmla="*/ 2147483647 h 6"/>
              <a:gd name="T2" fmla="*/ 2147483647 w 5"/>
              <a:gd name="T3" fmla="*/ 2147483647 h 6"/>
              <a:gd name="T4" fmla="*/ 2147483647 w 5"/>
              <a:gd name="T5" fmla="*/ 0 h 6"/>
              <a:gd name="T6" fmla="*/ 2147483647 w 5"/>
              <a:gd name="T7" fmla="*/ 2147483647 h 6"/>
              <a:gd name="T8" fmla="*/ 0 w 5"/>
              <a:gd name="T9" fmla="*/ 2147483647 h 6"/>
              <a:gd name="T10" fmla="*/ 2147483647 w 5"/>
              <a:gd name="T11" fmla="*/ 2147483647 h 6"/>
              <a:gd name="T12" fmla="*/ 2147483647 w 5"/>
              <a:gd name="T13" fmla="*/ 2147483647 h 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"/>
              <a:gd name="T22" fmla="*/ 0 h 6"/>
              <a:gd name="T23" fmla="*/ 5 w 5"/>
              <a:gd name="T24" fmla="*/ 6 h 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" h="6">
                <a:moveTo>
                  <a:pt x="5" y="6"/>
                </a:moveTo>
                <a:lnTo>
                  <a:pt x="5" y="3"/>
                </a:lnTo>
                <a:lnTo>
                  <a:pt x="3" y="0"/>
                </a:lnTo>
                <a:lnTo>
                  <a:pt x="3" y="3"/>
                </a:lnTo>
                <a:lnTo>
                  <a:pt x="0" y="3"/>
                </a:lnTo>
                <a:lnTo>
                  <a:pt x="3" y="6"/>
                </a:lnTo>
                <a:lnTo>
                  <a:pt x="5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27" name="Freeform 415"/>
          <p:cNvSpPr>
            <a:spLocks/>
          </p:cNvSpPr>
          <p:nvPr/>
        </p:nvSpPr>
        <p:spPr bwMode="gray">
          <a:xfrm>
            <a:off x="3082556" y="5142139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2147483647 h 6"/>
              <a:gd name="T4" fmla="*/ 2147483647 w 6"/>
              <a:gd name="T5" fmla="*/ 0 h 6"/>
              <a:gd name="T6" fmla="*/ 0 w 6"/>
              <a:gd name="T7" fmla="*/ 0 h 6"/>
              <a:gd name="T8" fmla="*/ 0 w 6"/>
              <a:gd name="T9" fmla="*/ 2147483647 h 6"/>
              <a:gd name="T10" fmla="*/ 2147483647 w 6"/>
              <a:gd name="T11" fmla="*/ 2147483647 h 6"/>
              <a:gd name="T12" fmla="*/ 2147483647 w 6"/>
              <a:gd name="T13" fmla="*/ 2147483647 h 6"/>
              <a:gd name="T14" fmla="*/ 2147483647 w 6"/>
              <a:gd name="T15" fmla="*/ 2147483647 h 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"/>
              <a:gd name="T25" fmla="*/ 0 h 6"/>
              <a:gd name="T26" fmla="*/ 6 w 6"/>
              <a:gd name="T27" fmla="*/ 6 h 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" h="6">
                <a:moveTo>
                  <a:pt x="3" y="6"/>
                </a:moveTo>
                <a:lnTo>
                  <a:pt x="6" y="3"/>
                </a:lnTo>
                <a:lnTo>
                  <a:pt x="6" y="0"/>
                </a:lnTo>
                <a:lnTo>
                  <a:pt x="0" y="0"/>
                </a:lnTo>
                <a:lnTo>
                  <a:pt x="0" y="3"/>
                </a:lnTo>
                <a:lnTo>
                  <a:pt x="3" y="3"/>
                </a:lnTo>
                <a:lnTo>
                  <a:pt x="3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28" name="Freeform 416"/>
          <p:cNvSpPr>
            <a:spLocks/>
          </p:cNvSpPr>
          <p:nvPr/>
        </p:nvSpPr>
        <p:spPr bwMode="gray">
          <a:xfrm>
            <a:off x="3076554" y="5107638"/>
            <a:ext cx="2001" cy="4500"/>
          </a:xfrm>
          <a:custGeom>
            <a:avLst/>
            <a:gdLst>
              <a:gd name="T0" fmla="*/ 0 w 1"/>
              <a:gd name="T1" fmla="*/ 0 h 3"/>
              <a:gd name="T2" fmla="*/ 0 w 1"/>
              <a:gd name="T3" fmla="*/ 0 h 3"/>
              <a:gd name="T4" fmla="*/ 0 w 1"/>
              <a:gd name="T5" fmla="*/ 2147483647 h 3"/>
              <a:gd name="T6" fmla="*/ 0 w 1"/>
              <a:gd name="T7" fmla="*/ 0 h 3"/>
              <a:gd name="T8" fmla="*/ 0 w 1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"/>
              <a:gd name="T16" fmla="*/ 0 h 3"/>
              <a:gd name="T17" fmla="*/ 1 w 1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" h="3">
                <a:moveTo>
                  <a:pt x="0" y="0"/>
                </a:move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29" name="Freeform 417"/>
          <p:cNvSpPr>
            <a:spLocks/>
          </p:cNvSpPr>
          <p:nvPr/>
        </p:nvSpPr>
        <p:spPr bwMode="gray">
          <a:xfrm>
            <a:off x="3076555" y="5125639"/>
            <a:ext cx="6002" cy="4500"/>
          </a:xfrm>
          <a:custGeom>
            <a:avLst/>
            <a:gdLst>
              <a:gd name="T0" fmla="*/ 2147483647 w 3"/>
              <a:gd name="T1" fmla="*/ 2147483647 h 3"/>
              <a:gd name="T2" fmla="*/ 0 w 3"/>
              <a:gd name="T3" fmla="*/ 0 h 3"/>
              <a:gd name="T4" fmla="*/ 0 w 3"/>
              <a:gd name="T5" fmla="*/ 2147483647 h 3"/>
              <a:gd name="T6" fmla="*/ 2147483647 w 3"/>
              <a:gd name="T7" fmla="*/ 2147483647 h 3"/>
              <a:gd name="T8" fmla="*/ 2147483647 w 3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3" y="3"/>
                </a:moveTo>
                <a:lnTo>
                  <a:pt x="0" y="0"/>
                </a:lnTo>
                <a:lnTo>
                  <a:pt x="0" y="3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30" name="Freeform 418"/>
          <p:cNvSpPr>
            <a:spLocks/>
          </p:cNvSpPr>
          <p:nvPr/>
        </p:nvSpPr>
        <p:spPr bwMode="gray">
          <a:xfrm>
            <a:off x="3076555" y="5130139"/>
            <a:ext cx="12002" cy="12000"/>
          </a:xfrm>
          <a:custGeom>
            <a:avLst/>
            <a:gdLst>
              <a:gd name="T0" fmla="*/ 2147483647 w 6"/>
              <a:gd name="T1" fmla="*/ 2147483647 h 8"/>
              <a:gd name="T2" fmla="*/ 2147483647 w 6"/>
              <a:gd name="T3" fmla="*/ 2147483647 h 8"/>
              <a:gd name="T4" fmla="*/ 2147483647 w 6"/>
              <a:gd name="T5" fmla="*/ 2147483647 h 8"/>
              <a:gd name="T6" fmla="*/ 0 w 6"/>
              <a:gd name="T7" fmla="*/ 2147483647 h 8"/>
              <a:gd name="T8" fmla="*/ 0 w 6"/>
              <a:gd name="T9" fmla="*/ 2147483647 h 8"/>
              <a:gd name="T10" fmla="*/ 0 w 6"/>
              <a:gd name="T11" fmla="*/ 2147483647 h 8"/>
              <a:gd name="T12" fmla="*/ 2147483647 w 6"/>
              <a:gd name="T13" fmla="*/ 2147483647 h 8"/>
              <a:gd name="T14" fmla="*/ 2147483647 w 6"/>
              <a:gd name="T15" fmla="*/ 2147483647 h 8"/>
              <a:gd name="T16" fmla="*/ 2147483647 w 6"/>
              <a:gd name="T17" fmla="*/ 0 h 8"/>
              <a:gd name="T18" fmla="*/ 2147483647 w 6"/>
              <a:gd name="T19" fmla="*/ 0 h 8"/>
              <a:gd name="T20" fmla="*/ 2147483647 w 6"/>
              <a:gd name="T21" fmla="*/ 0 h 8"/>
              <a:gd name="T22" fmla="*/ 2147483647 w 6"/>
              <a:gd name="T23" fmla="*/ 2147483647 h 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6"/>
              <a:gd name="T37" fmla="*/ 0 h 8"/>
              <a:gd name="T38" fmla="*/ 6 w 6"/>
              <a:gd name="T39" fmla="*/ 8 h 8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6" h="8">
                <a:moveTo>
                  <a:pt x="3" y="2"/>
                </a:moveTo>
                <a:lnTo>
                  <a:pt x="6" y="2"/>
                </a:lnTo>
                <a:lnTo>
                  <a:pt x="3" y="5"/>
                </a:lnTo>
                <a:lnTo>
                  <a:pt x="0" y="5"/>
                </a:lnTo>
                <a:lnTo>
                  <a:pt x="0" y="8"/>
                </a:lnTo>
                <a:lnTo>
                  <a:pt x="3" y="5"/>
                </a:lnTo>
                <a:lnTo>
                  <a:pt x="6" y="5"/>
                </a:lnTo>
                <a:lnTo>
                  <a:pt x="6" y="0"/>
                </a:lnTo>
                <a:lnTo>
                  <a:pt x="3" y="0"/>
                </a:lnTo>
                <a:lnTo>
                  <a:pt x="3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31" name="Freeform 419"/>
          <p:cNvSpPr>
            <a:spLocks/>
          </p:cNvSpPr>
          <p:nvPr/>
        </p:nvSpPr>
        <p:spPr bwMode="gray">
          <a:xfrm>
            <a:off x="3058552" y="5125639"/>
            <a:ext cx="18003" cy="12000"/>
          </a:xfrm>
          <a:custGeom>
            <a:avLst/>
            <a:gdLst>
              <a:gd name="T0" fmla="*/ 2147483647 w 8"/>
              <a:gd name="T1" fmla="*/ 2147483647 h 8"/>
              <a:gd name="T2" fmla="*/ 2147483647 w 8"/>
              <a:gd name="T3" fmla="*/ 2147483647 h 8"/>
              <a:gd name="T4" fmla="*/ 2147483647 w 8"/>
              <a:gd name="T5" fmla="*/ 2147483647 h 8"/>
              <a:gd name="T6" fmla="*/ 2147483647 w 8"/>
              <a:gd name="T7" fmla="*/ 2147483647 h 8"/>
              <a:gd name="T8" fmla="*/ 2147483647 w 8"/>
              <a:gd name="T9" fmla="*/ 2147483647 h 8"/>
              <a:gd name="T10" fmla="*/ 2147483647 w 8"/>
              <a:gd name="T11" fmla="*/ 0 h 8"/>
              <a:gd name="T12" fmla="*/ 0 w 8"/>
              <a:gd name="T13" fmla="*/ 2147483647 h 8"/>
              <a:gd name="T14" fmla="*/ 2147483647 w 8"/>
              <a:gd name="T15" fmla="*/ 2147483647 h 8"/>
              <a:gd name="T16" fmla="*/ 2147483647 w 8"/>
              <a:gd name="T17" fmla="*/ 2147483647 h 8"/>
              <a:gd name="T18" fmla="*/ 2147483647 w 8"/>
              <a:gd name="T19" fmla="*/ 2147483647 h 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8"/>
              <a:gd name="T31" fmla="*/ 0 h 8"/>
              <a:gd name="T32" fmla="*/ 8 w 8"/>
              <a:gd name="T33" fmla="*/ 8 h 8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8" h="8">
                <a:moveTo>
                  <a:pt x="8" y="8"/>
                </a:moveTo>
                <a:lnTo>
                  <a:pt x="6" y="5"/>
                </a:lnTo>
                <a:lnTo>
                  <a:pt x="8" y="3"/>
                </a:lnTo>
                <a:lnTo>
                  <a:pt x="6" y="3"/>
                </a:lnTo>
                <a:lnTo>
                  <a:pt x="3" y="3"/>
                </a:lnTo>
                <a:lnTo>
                  <a:pt x="3" y="0"/>
                </a:lnTo>
                <a:lnTo>
                  <a:pt x="0" y="3"/>
                </a:lnTo>
                <a:lnTo>
                  <a:pt x="3" y="5"/>
                </a:lnTo>
                <a:lnTo>
                  <a:pt x="6" y="8"/>
                </a:lnTo>
                <a:lnTo>
                  <a:pt x="8" y="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32" name="Freeform 420"/>
          <p:cNvSpPr>
            <a:spLocks/>
          </p:cNvSpPr>
          <p:nvPr/>
        </p:nvSpPr>
        <p:spPr bwMode="gray">
          <a:xfrm>
            <a:off x="3052550" y="5112138"/>
            <a:ext cx="6002" cy="4501"/>
          </a:xfrm>
          <a:custGeom>
            <a:avLst/>
            <a:gdLst>
              <a:gd name="T0" fmla="*/ 0 w 3"/>
              <a:gd name="T1" fmla="*/ 2147483647 h 3"/>
              <a:gd name="T2" fmla="*/ 2147483647 w 3"/>
              <a:gd name="T3" fmla="*/ 2147483647 h 3"/>
              <a:gd name="T4" fmla="*/ 2147483647 w 3"/>
              <a:gd name="T5" fmla="*/ 2147483647 h 3"/>
              <a:gd name="T6" fmla="*/ 0 w 3"/>
              <a:gd name="T7" fmla="*/ 0 h 3"/>
              <a:gd name="T8" fmla="*/ 0 w 3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0" y="3"/>
                </a:move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33" name="Freeform 421"/>
          <p:cNvSpPr>
            <a:spLocks/>
          </p:cNvSpPr>
          <p:nvPr/>
        </p:nvSpPr>
        <p:spPr bwMode="gray">
          <a:xfrm>
            <a:off x="3064552" y="5164640"/>
            <a:ext cx="8001" cy="1500"/>
          </a:xfrm>
          <a:custGeom>
            <a:avLst/>
            <a:gdLst>
              <a:gd name="T0" fmla="*/ 0 w 3"/>
              <a:gd name="T1" fmla="*/ 0 h 1"/>
              <a:gd name="T2" fmla="*/ 2147483647 w 3"/>
              <a:gd name="T3" fmla="*/ 0 h 1"/>
              <a:gd name="T4" fmla="*/ 0 w 3"/>
              <a:gd name="T5" fmla="*/ 0 h 1"/>
              <a:gd name="T6" fmla="*/ 0 w 3"/>
              <a:gd name="T7" fmla="*/ 0 h 1"/>
              <a:gd name="T8" fmla="*/ 0 w 3"/>
              <a:gd name="T9" fmla="*/ 0 h 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1"/>
              <a:gd name="T17" fmla="*/ 3 w 3"/>
              <a:gd name="T18" fmla="*/ 1 h 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1">
                <a:moveTo>
                  <a:pt x="0" y="0"/>
                </a:move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34" name="Freeform 422"/>
          <p:cNvSpPr>
            <a:spLocks/>
          </p:cNvSpPr>
          <p:nvPr/>
        </p:nvSpPr>
        <p:spPr bwMode="gray">
          <a:xfrm>
            <a:off x="3052550" y="5121139"/>
            <a:ext cx="12002" cy="4501"/>
          </a:xfrm>
          <a:custGeom>
            <a:avLst/>
            <a:gdLst>
              <a:gd name="T0" fmla="*/ 2147483647 w 6"/>
              <a:gd name="T1" fmla="*/ 0 h 3"/>
              <a:gd name="T2" fmla="*/ 0 w 6"/>
              <a:gd name="T3" fmla="*/ 0 h 3"/>
              <a:gd name="T4" fmla="*/ 0 w 6"/>
              <a:gd name="T5" fmla="*/ 2147483647 h 3"/>
              <a:gd name="T6" fmla="*/ 2147483647 w 6"/>
              <a:gd name="T7" fmla="*/ 2147483647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6" y="0"/>
                </a:moveTo>
                <a:lnTo>
                  <a:pt x="0" y="0"/>
                </a:lnTo>
                <a:lnTo>
                  <a:pt x="0" y="3"/>
                </a:lnTo>
                <a:lnTo>
                  <a:pt x="3" y="3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35" name="Freeform 423"/>
          <p:cNvSpPr>
            <a:spLocks/>
          </p:cNvSpPr>
          <p:nvPr/>
        </p:nvSpPr>
        <p:spPr bwMode="gray">
          <a:xfrm>
            <a:off x="3088557" y="5155640"/>
            <a:ext cx="6002" cy="9000"/>
          </a:xfrm>
          <a:custGeom>
            <a:avLst/>
            <a:gdLst>
              <a:gd name="T0" fmla="*/ 2147483647 w 3"/>
              <a:gd name="T1" fmla="*/ 0 h 6"/>
              <a:gd name="T2" fmla="*/ 0 w 3"/>
              <a:gd name="T3" fmla="*/ 0 h 6"/>
              <a:gd name="T4" fmla="*/ 0 w 3"/>
              <a:gd name="T5" fmla="*/ 2147483647 h 6"/>
              <a:gd name="T6" fmla="*/ 2147483647 w 3"/>
              <a:gd name="T7" fmla="*/ 2147483647 h 6"/>
              <a:gd name="T8" fmla="*/ 2147483647 w 3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3" y="0"/>
                </a:moveTo>
                <a:lnTo>
                  <a:pt x="0" y="0"/>
                </a:lnTo>
                <a:lnTo>
                  <a:pt x="0" y="3"/>
                </a:lnTo>
                <a:lnTo>
                  <a:pt x="3" y="6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36" name="Freeform 424"/>
          <p:cNvSpPr>
            <a:spLocks/>
          </p:cNvSpPr>
          <p:nvPr/>
        </p:nvSpPr>
        <p:spPr bwMode="gray">
          <a:xfrm>
            <a:off x="3094558" y="5121139"/>
            <a:ext cx="6000" cy="9000"/>
          </a:xfrm>
          <a:custGeom>
            <a:avLst/>
            <a:gdLst>
              <a:gd name="T0" fmla="*/ 2147483647 w 3"/>
              <a:gd name="T1" fmla="*/ 2147483647 h 6"/>
              <a:gd name="T2" fmla="*/ 2147483647 w 3"/>
              <a:gd name="T3" fmla="*/ 0 h 6"/>
              <a:gd name="T4" fmla="*/ 0 w 3"/>
              <a:gd name="T5" fmla="*/ 0 h 6"/>
              <a:gd name="T6" fmla="*/ 0 w 3"/>
              <a:gd name="T7" fmla="*/ 2147483647 h 6"/>
              <a:gd name="T8" fmla="*/ 0 w 3"/>
              <a:gd name="T9" fmla="*/ 2147483647 h 6"/>
              <a:gd name="T10" fmla="*/ 0 w 3"/>
              <a:gd name="T11" fmla="*/ 2147483647 h 6"/>
              <a:gd name="T12" fmla="*/ 2147483647 w 3"/>
              <a:gd name="T13" fmla="*/ 2147483647 h 6"/>
              <a:gd name="T14" fmla="*/ 2147483647 w 3"/>
              <a:gd name="T15" fmla="*/ 2147483647 h 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"/>
              <a:gd name="T25" fmla="*/ 0 h 6"/>
              <a:gd name="T26" fmla="*/ 3 w 3"/>
              <a:gd name="T27" fmla="*/ 6 h 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" h="6">
                <a:moveTo>
                  <a:pt x="3" y="3"/>
                </a:move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lnTo>
                  <a:pt x="0" y="6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37" name="Freeform 425"/>
          <p:cNvSpPr>
            <a:spLocks/>
          </p:cNvSpPr>
          <p:nvPr/>
        </p:nvSpPr>
        <p:spPr bwMode="gray">
          <a:xfrm>
            <a:off x="3094558" y="5130139"/>
            <a:ext cx="6000" cy="3000"/>
          </a:xfrm>
          <a:custGeom>
            <a:avLst/>
            <a:gdLst>
              <a:gd name="T0" fmla="*/ 2147483647 w 3"/>
              <a:gd name="T1" fmla="*/ 0 h 2"/>
              <a:gd name="T2" fmla="*/ 2147483647 w 3"/>
              <a:gd name="T3" fmla="*/ 2147483647 h 2"/>
              <a:gd name="T4" fmla="*/ 0 w 3"/>
              <a:gd name="T5" fmla="*/ 2147483647 h 2"/>
              <a:gd name="T6" fmla="*/ 2147483647 w 3"/>
              <a:gd name="T7" fmla="*/ 2147483647 h 2"/>
              <a:gd name="T8" fmla="*/ 2147483647 w 3"/>
              <a:gd name="T9" fmla="*/ 0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2"/>
              <a:gd name="T17" fmla="*/ 3 w 3"/>
              <a:gd name="T18" fmla="*/ 2 h 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2">
                <a:moveTo>
                  <a:pt x="3" y="0"/>
                </a:moveTo>
                <a:lnTo>
                  <a:pt x="3" y="2"/>
                </a:lnTo>
                <a:lnTo>
                  <a:pt x="0" y="2"/>
                </a:lnTo>
                <a:lnTo>
                  <a:pt x="3" y="2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38" name="Freeform 426"/>
          <p:cNvSpPr>
            <a:spLocks/>
          </p:cNvSpPr>
          <p:nvPr/>
        </p:nvSpPr>
        <p:spPr bwMode="gray">
          <a:xfrm>
            <a:off x="3072554" y="5164640"/>
            <a:ext cx="4001" cy="7500"/>
          </a:xfrm>
          <a:custGeom>
            <a:avLst/>
            <a:gdLst>
              <a:gd name="T0" fmla="*/ 0 w 2"/>
              <a:gd name="T1" fmla="*/ 2147483647 h 5"/>
              <a:gd name="T2" fmla="*/ 2147483647 w 2"/>
              <a:gd name="T3" fmla="*/ 2147483647 h 5"/>
              <a:gd name="T4" fmla="*/ 2147483647 w 2"/>
              <a:gd name="T5" fmla="*/ 2147483647 h 5"/>
              <a:gd name="T6" fmla="*/ 2147483647 w 2"/>
              <a:gd name="T7" fmla="*/ 0 h 5"/>
              <a:gd name="T8" fmla="*/ 0 w 2"/>
              <a:gd name="T9" fmla="*/ 2147483647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"/>
              <a:gd name="T16" fmla="*/ 0 h 5"/>
              <a:gd name="T17" fmla="*/ 2 w 2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" h="5">
                <a:moveTo>
                  <a:pt x="0" y="2"/>
                </a:moveTo>
                <a:lnTo>
                  <a:pt x="2" y="5"/>
                </a:lnTo>
                <a:lnTo>
                  <a:pt x="2" y="0"/>
                </a:lnTo>
                <a:lnTo>
                  <a:pt x="0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39" name="Rectangle 427"/>
          <p:cNvSpPr>
            <a:spLocks noChangeArrowheads="1"/>
          </p:cNvSpPr>
          <p:nvPr/>
        </p:nvSpPr>
        <p:spPr bwMode="gray">
          <a:xfrm>
            <a:off x="3100559" y="5137639"/>
            <a:ext cx="6002" cy="15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40" name="Freeform 428"/>
          <p:cNvSpPr>
            <a:spLocks/>
          </p:cNvSpPr>
          <p:nvPr/>
        </p:nvSpPr>
        <p:spPr bwMode="gray">
          <a:xfrm>
            <a:off x="3072554" y="5142139"/>
            <a:ext cx="4001" cy="9000"/>
          </a:xfrm>
          <a:custGeom>
            <a:avLst/>
            <a:gdLst>
              <a:gd name="T0" fmla="*/ 2147483647 w 2"/>
              <a:gd name="T1" fmla="*/ 2147483647 h 6"/>
              <a:gd name="T2" fmla="*/ 2147483647 w 2"/>
              <a:gd name="T3" fmla="*/ 0 h 6"/>
              <a:gd name="T4" fmla="*/ 0 w 2"/>
              <a:gd name="T5" fmla="*/ 0 h 6"/>
              <a:gd name="T6" fmla="*/ 0 w 2"/>
              <a:gd name="T7" fmla="*/ 2147483647 h 6"/>
              <a:gd name="T8" fmla="*/ 0 w 2"/>
              <a:gd name="T9" fmla="*/ 2147483647 h 6"/>
              <a:gd name="T10" fmla="*/ 2147483647 w 2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"/>
              <a:gd name="T19" fmla="*/ 0 h 6"/>
              <a:gd name="T20" fmla="*/ 2 w 2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" h="6">
                <a:moveTo>
                  <a:pt x="2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0" y="6"/>
                </a:lnTo>
                <a:lnTo>
                  <a:pt x="2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41" name="Freeform 429"/>
          <p:cNvSpPr>
            <a:spLocks/>
          </p:cNvSpPr>
          <p:nvPr/>
        </p:nvSpPr>
        <p:spPr bwMode="gray">
          <a:xfrm>
            <a:off x="3076555" y="5155640"/>
            <a:ext cx="6002" cy="4500"/>
          </a:xfrm>
          <a:custGeom>
            <a:avLst/>
            <a:gdLst>
              <a:gd name="T0" fmla="*/ 2147483647 w 3"/>
              <a:gd name="T1" fmla="*/ 2147483647 h 3"/>
              <a:gd name="T2" fmla="*/ 2147483647 w 3"/>
              <a:gd name="T3" fmla="*/ 0 h 3"/>
              <a:gd name="T4" fmla="*/ 0 w 3"/>
              <a:gd name="T5" fmla="*/ 0 h 3"/>
              <a:gd name="T6" fmla="*/ 2147483647 w 3"/>
              <a:gd name="T7" fmla="*/ 2147483647 h 3"/>
              <a:gd name="T8" fmla="*/ 2147483647 w 3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3" y="3"/>
                </a:moveTo>
                <a:lnTo>
                  <a:pt x="3" y="0"/>
                </a:lnTo>
                <a:lnTo>
                  <a:pt x="0" y="0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42" name="Rectangle 430"/>
          <p:cNvSpPr>
            <a:spLocks noChangeArrowheads="1"/>
          </p:cNvSpPr>
          <p:nvPr/>
        </p:nvSpPr>
        <p:spPr bwMode="gray">
          <a:xfrm>
            <a:off x="3082556" y="5125639"/>
            <a:ext cx="6000" cy="15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43" name="Freeform 431"/>
          <p:cNvSpPr>
            <a:spLocks/>
          </p:cNvSpPr>
          <p:nvPr/>
        </p:nvSpPr>
        <p:spPr bwMode="gray">
          <a:xfrm>
            <a:off x="3308597" y="5407647"/>
            <a:ext cx="12002" cy="9000"/>
          </a:xfrm>
          <a:custGeom>
            <a:avLst/>
            <a:gdLst>
              <a:gd name="T0" fmla="*/ 2147483647 w 6"/>
              <a:gd name="T1" fmla="*/ 0 h 6"/>
              <a:gd name="T2" fmla="*/ 2147483647 w 6"/>
              <a:gd name="T3" fmla="*/ 0 h 6"/>
              <a:gd name="T4" fmla="*/ 2147483647 w 6"/>
              <a:gd name="T5" fmla="*/ 0 h 6"/>
              <a:gd name="T6" fmla="*/ 0 w 6"/>
              <a:gd name="T7" fmla="*/ 2147483647 h 6"/>
              <a:gd name="T8" fmla="*/ 0 w 6"/>
              <a:gd name="T9" fmla="*/ 2147483647 h 6"/>
              <a:gd name="T10" fmla="*/ 2147483647 w 6"/>
              <a:gd name="T11" fmla="*/ 2147483647 h 6"/>
              <a:gd name="T12" fmla="*/ 2147483647 w 6"/>
              <a:gd name="T13" fmla="*/ 2147483647 h 6"/>
              <a:gd name="T14" fmla="*/ 2147483647 w 6"/>
              <a:gd name="T15" fmla="*/ 0 h 6"/>
              <a:gd name="T16" fmla="*/ 2147483647 w 6"/>
              <a:gd name="T17" fmla="*/ 0 h 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6"/>
              <a:gd name="T28" fmla="*/ 0 h 6"/>
              <a:gd name="T29" fmla="*/ 6 w 6"/>
              <a:gd name="T30" fmla="*/ 6 h 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6" h="6">
                <a:moveTo>
                  <a:pt x="6" y="0"/>
                </a:moveTo>
                <a:lnTo>
                  <a:pt x="3" y="0"/>
                </a:lnTo>
                <a:lnTo>
                  <a:pt x="0" y="3"/>
                </a:lnTo>
                <a:lnTo>
                  <a:pt x="0" y="6"/>
                </a:lnTo>
                <a:lnTo>
                  <a:pt x="3" y="6"/>
                </a:lnTo>
                <a:lnTo>
                  <a:pt x="3" y="3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44" name="Freeform 432"/>
          <p:cNvSpPr>
            <a:spLocks/>
          </p:cNvSpPr>
          <p:nvPr/>
        </p:nvSpPr>
        <p:spPr bwMode="gray">
          <a:xfrm>
            <a:off x="3072554" y="5151139"/>
            <a:ext cx="4001" cy="4501"/>
          </a:xfrm>
          <a:custGeom>
            <a:avLst/>
            <a:gdLst>
              <a:gd name="T0" fmla="*/ 2147483647 w 2"/>
              <a:gd name="T1" fmla="*/ 2147483647 h 3"/>
              <a:gd name="T2" fmla="*/ 0 w 2"/>
              <a:gd name="T3" fmla="*/ 2147483647 h 3"/>
              <a:gd name="T4" fmla="*/ 2147483647 w 2"/>
              <a:gd name="T5" fmla="*/ 2147483647 h 3"/>
              <a:gd name="T6" fmla="*/ 2147483647 w 2"/>
              <a:gd name="T7" fmla="*/ 0 h 3"/>
              <a:gd name="T8" fmla="*/ 2147483647 w 2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"/>
              <a:gd name="T16" fmla="*/ 0 h 3"/>
              <a:gd name="T17" fmla="*/ 2 w 2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" h="3">
                <a:moveTo>
                  <a:pt x="2" y="3"/>
                </a:moveTo>
                <a:lnTo>
                  <a:pt x="0" y="3"/>
                </a:lnTo>
                <a:lnTo>
                  <a:pt x="2" y="3"/>
                </a:lnTo>
                <a:lnTo>
                  <a:pt x="2" y="0"/>
                </a:lnTo>
                <a:lnTo>
                  <a:pt x="2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45" name="Freeform 433"/>
          <p:cNvSpPr>
            <a:spLocks/>
          </p:cNvSpPr>
          <p:nvPr/>
        </p:nvSpPr>
        <p:spPr bwMode="gray">
          <a:xfrm>
            <a:off x="3064552" y="5112138"/>
            <a:ext cx="8001" cy="4501"/>
          </a:xfrm>
          <a:custGeom>
            <a:avLst/>
            <a:gdLst>
              <a:gd name="T0" fmla="*/ 2147483647 w 3"/>
              <a:gd name="T1" fmla="*/ 0 h 3"/>
              <a:gd name="T2" fmla="*/ 0 w 3"/>
              <a:gd name="T3" fmla="*/ 2147483647 h 3"/>
              <a:gd name="T4" fmla="*/ 2147483647 w 3"/>
              <a:gd name="T5" fmla="*/ 2147483647 h 3"/>
              <a:gd name="T6" fmla="*/ 2147483647 w 3"/>
              <a:gd name="T7" fmla="*/ 0 h 3"/>
              <a:gd name="T8" fmla="*/ 2147483647 w 3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3" y="0"/>
                </a:moveTo>
                <a:lnTo>
                  <a:pt x="0" y="3"/>
                </a:lnTo>
                <a:lnTo>
                  <a:pt x="3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46" name="Freeform 434"/>
          <p:cNvSpPr>
            <a:spLocks/>
          </p:cNvSpPr>
          <p:nvPr/>
        </p:nvSpPr>
        <p:spPr bwMode="gray">
          <a:xfrm>
            <a:off x="3128564" y="5233642"/>
            <a:ext cx="12002" cy="4500"/>
          </a:xfrm>
          <a:custGeom>
            <a:avLst/>
            <a:gdLst>
              <a:gd name="T0" fmla="*/ 2147483647 w 6"/>
              <a:gd name="T1" fmla="*/ 2147483647 h 3"/>
              <a:gd name="T2" fmla="*/ 2147483647 w 6"/>
              <a:gd name="T3" fmla="*/ 2147483647 h 3"/>
              <a:gd name="T4" fmla="*/ 2147483647 w 6"/>
              <a:gd name="T5" fmla="*/ 2147483647 h 3"/>
              <a:gd name="T6" fmla="*/ 0 w 6"/>
              <a:gd name="T7" fmla="*/ 0 h 3"/>
              <a:gd name="T8" fmla="*/ 0 w 6"/>
              <a:gd name="T9" fmla="*/ 2147483647 h 3"/>
              <a:gd name="T10" fmla="*/ 2147483647 w 6"/>
              <a:gd name="T11" fmla="*/ 2147483647 h 3"/>
              <a:gd name="T12" fmla="*/ 2147483647 w 6"/>
              <a:gd name="T13" fmla="*/ 2147483647 h 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6"/>
              <a:gd name="T22" fmla="*/ 0 h 3"/>
              <a:gd name="T23" fmla="*/ 6 w 6"/>
              <a:gd name="T24" fmla="*/ 3 h 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6" h="3">
                <a:moveTo>
                  <a:pt x="3" y="3"/>
                </a:moveTo>
                <a:lnTo>
                  <a:pt x="6" y="3"/>
                </a:ln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47" name="Freeform 435"/>
          <p:cNvSpPr>
            <a:spLocks/>
          </p:cNvSpPr>
          <p:nvPr/>
        </p:nvSpPr>
        <p:spPr bwMode="gray">
          <a:xfrm>
            <a:off x="3152568" y="5277142"/>
            <a:ext cx="16003" cy="13501"/>
          </a:xfrm>
          <a:custGeom>
            <a:avLst/>
            <a:gdLst>
              <a:gd name="T0" fmla="*/ 2147483647 w 8"/>
              <a:gd name="T1" fmla="*/ 2147483647 h 9"/>
              <a:gd name="T2" fmla="*/ 2147483647 w 8"/>
              <a:gd name="T3" fmla="*/ 2147483647 h 9"/>
              <a:gd name="T4" fmla="*/ 2147483647 w 8"/>
              <a:gd name="T5" fmla="*/ 2147483647 h 9"/>
              <a:gd name="T6" fmla="*/ 2147483647 w 8"/>
              <a:gd name="T7" fmla="*/ 2147483647 h 9"/>
              <a:gd name="T8" fmla="*/ 0 w 8"/>
              <a:gd name="T9" fmla="*/ 0 h 9"/>
              <a:gd name="T10" fmla="*/ 0 w 8"/>
              <a:gd name="T11" fmla="*/ 2147483647 h 9"/>
              <a:gd name="T12" fmla="*/ 2147483647 w 8"/>
              <a:gd name="T13" fmla="*/ 2147483647 h 9"/>
              <a:gd name="T14" fmla="*/ 2147483647 w 8"/>
              <a:gd name="T15" fmla="*/ 2147483647 h 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8"/>
              <a:gd name="T25" fmla="*/ 0 h 9"/>
              <a:gd name="T26" fmla="*/ 8 w 8"/>
              <a:gd name="T27" fmla="*/ 9 h 9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8" h="9">
                <a:moveTo>
                  <a:pt x="6" y="9"/>
                </a:moveTo>
                <a:lnTo>
                  <a:pt x="8" y="6"/>
                </a:lnTo>
                <a:lnTo>
                  <a:pt x="3" y="6"/>
                </a:lnTo>
                <a:lnTo>
                  <a:pt x="3" y="3"/>
                </a:lnTo>
                <a:lnTo>
                  <a:pt x="0" y="0"/>
                </a:lnTo>
                <a:lnTo>
                  <a:pt x="0" y="6"/>
                </a:lnTo>
                <a:lnTo>
                  <a:pt x="6" y="6"/>
                </a:lnTo>
                <a:lnTo>
                  <a:pt x="6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48" name="Freeform 436"/>
          <p:cNvSpPr>
            <a:spLocks/>
          </p:cNvSpPr>
          <p:nvPr/>
        </p:nvSpPr>
        <p:spPr bwMode="gray">
          <a:xfrm>
            <a:off x="3158570" y="5281643"/>
            <a:ext cx="10001" cy="1500"/>
          </a:xfrm>
          <a:custGeom>
            <a:avLst/>
            <a:gdLst>
              <a:gd name="T0" fmla="*/ 0 w 5"/>
              <a:gd name="T1" fmla="*/ 0 h 1"/>
              <a:gd name="T2" fmla="*/ 2147483647 w 5"/>
              <a:gd name="T3" fmla="*/ 0 h 1"/>
              <a:gd name="T4" fmla="*/ 2147483647 w 5"/>
              <a:gd name="T5" fmla="*/ 0 h 1"/>
              <a:gd name="T6" fmla="*/ 2147483647 w 5"/>
              <a:gd name="T7" fmla="*/ 0 h 1"/>
              <a:gd name="T8" fmla="*/ 0 w 5"/>
              <a:gd name="T9" fmla="*/ 0 h 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1"/>
              <a:gd name="T17" fmla="*/ 5 w 5"/>
              <a:gd name="T18" fmla="*/ 1 h 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1">
                <a:moveTo>
                  <a:pt x="0" y="0"/>
                </a:moveTo>
                <a:lnTo>
                  <a:pt x="3" y="0"/>
                </a:lnTo>
                <a:lnTo>
                  <a:pt x="5" y="0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49" name="Freeform 437"/>
          <p:cNvSpPr>
            <a:spLocks/>
          </p:cNvSpPr>
          <p:nvPr/>
        </p:nvSpPr>
        <p:spPr bwMode="gray">
          <a:xfrm>
            <a:off x="3100558" y="5212642"/>
            <a:ext cx="18004" cy="9000"/>
          </a:xfrm>
          <a:custGeom>
            <a:avLst/>
            <a:gdLst>
              <a:gd name="T0" fmla="*/ 2147483647 w 9"/>
              <a:gd name="T1" fmla="*/ 2147483647 h 6"/>
              <a:gd name="T2" fmla="*/ 2147483647 w 9"/>
              <a:gd name="T3" fmla="*/ 2147483647 h 6"/>
              <a:gd name="T4" fmla="*/ 2147483647 w 9"/>
              <a:gd name="T5" fmla="*/ 0 h 6"/>
              <a:gd name="T6" fmla="*/ 0 w 9"/>
              <a:gd name="T7" fmla="*/ 2147483647 h 6"/>
              <a:gd name="T8" fmla="*/ 2147483647 w 9"/>
              <a:gd name="T9" fmla="*/ 2147483647 h 6"/>
              <a:gd name="T10" fmla="*/ 2147483647 w 9"/>
              <a:gd name="T11" fmla="*/ 2147483647 h 6"/>
              <a:gd name="T12" fmla="*/ 2147483647 w 9"/>
              <a:gd name="T13" fmla="*/ 2147483647 h 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"/>
              <a:gd name="T22" fmla="*/ 0 h 6"/>
              <a:gd name="T23" fmla="*/ 9 w 9"/>
              <a:gd name="T24" fmla="*/ 6 h 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" h="6">
                <a:moveTo>
                  <a:pt x="9" y="6"/>
                </a:moveTo>
                <a:lnTo>
                  <a:pt x="3" y="3"/>
                </a:ln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lnTo>
                  <a:pt x="6" y="6"/>
                </a:lnTo>
                <a:lnTo>
                  <a:pt x="9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50" name="Freeform 438"/>
          <p:cNvSpPr>
            <a:spLocks/>
          </p:cNvSpPr>
          <p:nvPr/>
        </p:nvSpPr>
        <p:spPr bwMode="gray">
          <a:xfrm>
            <a:off x="3094559" y="5221642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0 h 6"/>
              <a:gd name="T4" fmla="*/ 0 w 6"/>
              <a:gd name="T5" fmla="*/ 2147483647 h 6"/>
              <a:gd name="T6" fmla="*/ 2147483647 w 6"/>
              <a:gd name="T7" fmla="*/ 2147483647 h 6"/>
              <a:gd name="T8" fmla="*/ 2147483647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6" y="3"/>
                </a:moveTo>
                <a:lnTo>
                  <a:pt x="6" y="0"/>
                </a:lnTo>
                <a:lnTo>
                  <a:pt x="0" y="3"/>
                </a:lnTo>
                <a:lnTo>
                  <a:pt x="3" y="6"/>
                </a:lnTo>
                <a:lnTo>
                  <a:pt x="6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51" name="Freeform 439"/>
          <p:cNvSpPr>
            <a:spLocks/>
          </p:cNvSpPr>
          <p:nvPr/>
        </p:nvSpPr>
        <p:spPr bwMode="gray">
          <a:xfrm>
            <a:off x="3140566" y="5277143"/>
            <a:ext cx="6002" cy="9000"/>
          </a:xfrm>
          <a:custGeom>
            <a:avLst/>
            <a:gdLst>
              <a:gd name="T0" fmla="*/ 0 w 3"/>
              <a:gd name="T1" fmla="*/ 2147483647 h 6"/>
              <a:gd name="T2" fmla="*/ 2147483647 w 3"/>
              <a:gd name="T3" fmla="*/ 2147483647 h 6"/>
              <a:gd name="T4" fmla="*/ 2147483647 w 3"/>
              <a:gd name="T5" fmla="*/ 2147483647 h 6"/>
              <a:gd name="T6" fmla="*/ 2147483647 w 3"/>
              <a:gd name="T7" fmla="*/ 0 h 6"/>
              <a:gd name="T8" fmla="*/ 2147483647 w 3"/>
              <a:gd name="T9" fmla="*/ 2147483647 h 6"/>
              <a:gd name="T10" fmla="*/ 0 w 3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"/>
              <a:gd name="T19" fmla="*/ 0 h 6"/>
              <a:gd name="T20" fmla="*/ 3 w 3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" h="6">
                <a:moveTo>
                  <a:pt x="0" y="3"/>
                </a:moveTo>
                <a:lnTo>
                  <a:pt x="3" y="6"/>
                </a:lnTo>
                <a:lnTo>
                  <a:pt x="3" y="3"/>
                </a:lnTo>
                <a:lnTo>
                  <a:pt x="3" y="0"/>
                </a:lnTo>
                <a:lnTo>
                  <a:pt x="3" y="3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52" name="Freeform 440"/>
          <p:cNvSpPr>
            <a:spLocks/>
          </p:cNvSpPr>
          <p:nvPr/>
        </p:nvSpPr>
        <p:spPr bwMode="gray">
          <a:xfrm>
            <a:off x="3088557" y="5217141"/>
            <a:ext cx="12002" cy="4501"/>
          </a:xfrm>
          <a:custGeom>
            <a:avLst/>
            <a:gdLst>
              <a:gd name="T0" fmla="*/ 0 w 6"/>
              <a:gd name="T1" fmla="*/ 0 h 3"/>
              <a:gd name="T2" fmla="*/ 0 w 6"/>
              <a:gd name="T3" fmla="*/ 2147483647 h 3"/>
              <a:gd name="T4" fmla="*/ 2147483647 w 6"/>
              <a:gd name="T5" fmla="*/ 2147483647 h 3"/>
              <a:gd name="T6" fmla="*/ 2147483647 w 6"/>
              <a:gd name="T7" fmla="*/ 0 h 3"/>
              <a:gd name="T8" fmla="*/ 0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0" y="0"/>
                </a:moveTo>
                <a:lnTo>
                  <a:pt x="0" y="3"/>
                </a:lnTo>
                <a:lnTo>
                  <a:pt x="3" y="3"/>
                </a:lnTo>
                <a:lnTo>
                  <a:pt x="6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53" name="Freeform 441"/>
          <p:cNvSpPr>
            <a:spLocks/>
          </p:cNvSpPr>
          <p:nvPr/>
        </p:nvSpPr>
        <p:spPr bwMode="gray">
          <a:xfrm>
            <a:off x="3164570" y="5272643"/>
            <a:ext cx="4001" cy="4500"/>
          </a:xfrm>
          <a:custGeom>
            <a:avLst/>
            <a:gdLst>
              <a:gd name="T0" fmla="*/ 0 w 2"/>
              <a:gd name="T1" fmla="*/ 0 h 3"/>
              <a:gd name="T2" fmla="*/ 0 w 2"/>
              <a:gd name="T3" fmla="*/ 0 h 3"/>
              <a:gd name="T4" fmla="*/ 0 w 2"/>
              <a:gd name="T5" fmla="*/ 2147483647 h 3"/>
              <a:gd name="T6" fmla="*/ 2147483647 w 2"/>
              <a:gd name="T7" fmla="*/ 0 h 3"/>
              <a:gd name="T8" fmla="*/ 0 w 2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"/>
              <a:gd name="T16" fmla="*/ 0 h 3"/>
              <a:gd name="T17" fmla="*/ 2 w 2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" h="3">
                <a:moveTo>
                  <a:pt x="0" y="0"/>
                </a:move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54" name="Freeform 442"/>
          <p:cNvSpPr>
            <a:spLocks/>
          </p:cNvSpPr>
          <p:nvPr/>
        </p:nvSpPr>
        <p:spPr bwMode="gray">
          <a:xfrm>
            <a:off x="3140566" y="5265142"/>
            <a:ext cx="12002" cy="7501"/>
          </a:xfrm>
          <a:custGeom>
            <a:avLst/>
            <a:gdLst>
              <a:gd name="T0" fmla="*/ 2147483647 w 6"/>
              <a:gd name="T1" fmla="*/ 0 h 5"/>
              <a:gd name="T2" fmla="*/ 0 w 6"/>
              <a:gd name="T3" fmla="*/ 0 h 5"/>
              <a:gd name="T4" fmla="*/ 0 w 6"/>
              <a:gd name="T5" fmla="*/ 2147483647 h 5"/>
              <a:gd name="T6" fmla="*/ 2147483647 w 6"/>
              <a:gd name="T7" fmla="*/ 2147483647 h 5"/>
              <a:gd name="T8" fmla="*/ 2147483647 w 6"/>
              <a:gd name="T9" fmla="*/ 0 h 5"/>
              <a:gd name="T10" fmla="*/ 2147483647 w 6"/>
              <a:gd name="T11" fmla="*/ 0 h 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5"/>
              <a:gd name="T20" fmla="*/ 6 w 6"/>
              <a:gd name="T21" fmla="*/ 5 h 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5">
                <a:moveTo>
                  <a:pt x="3" y="0"/>
                </a:moveTo>
                <a:lnTo>
                  <a:pt x="0" y="0"/>
                </a:lnTo>
                <a:lnTo>
                  <a:pt x="0" y="2"/>
                </a:lnTo>
                <a:lnTo>
                  <a:pt x="3" y="5"/>
                </a:lnTo>
                <a:lnTo>
                  <a:pt x="6" y="0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55" name="Freeform 443"/>
          <p:cNvSpPr>
            <a:spLocks/>
          </p:cNvSpPr>
          <p:nvPr/>
        </p:nvSpPr>
        <p:spPr bwMode="gray">
          <a:xfrm>
            <a:off x="3146568" y="5268143"/>
            <a:ext cx="18003" cy="9000"/>
          </a:xfrm>
          <a:custGeom>
            <a:avLst/>
            <a:gdLst>
              <a:gd name="T0" fmla="*/ 2147483647 w 9"/>
              <a:gd name="T1" fmla="*/ 2147483647 h 6"/>
              <a:gd name="T2" fmla="*/ 2147483647 w 9"/>
              <a:gd name="T3" fmla="*/ 0 h 6"/>
              <a:gd name="T4" fmla="*/ 2147483647 w 9"/>
              <a:gd name="T5" fmla="*/ 0 h 6"/>
              <a:gd name="T6" fmla="*/ 2147483647 w 9"/>
              <a:gd name="T7" fmla="*/ 2147483647 h 6"/>
              <a:gd name="T8" fmla="*/ 0 w 9"/>
              <a:gd name="T9" fmla="*/ 2147483647 h 6"/>
              <a:gd name="T10" fmla="*/ 2147483647 w 9"/>
              <a:gd name="T11" fmla="*/ 2147483647 h 6"/>
              <a:gd name="T12" fmla="*/ 2147483647 w 9"/>
              <a:gd name="T13" fmla="*/ 2147483647 h 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"/>
              <a:gd name="T22" fmla="*/ 0 h 6"/>
              <a:gd name="T23" fmla="*/ 9 w 9"/>
              <a:gd name="T24" fmla="*/ 6 h 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" h="6">
                <a:moveTo>
                  <a:pt x="9" y="3"/>
                </a:moveTo>
                <a:lnTo>
                  <a:pt x="9" y="0"/>
                </a:lnTo>
                <a:lnTo>
                  <a:pt x="3" y="0"/>
                </a:lnTo>
                <a:lnTo>
                  <a:pt x="3" y="3"/>
                </a:lnTo>
                <a:lnTo>
                  <a:pt x="0" y="6"/>
                </a:lnTo>
                <a:lnTo>
                  <a:pt x="6" y="6"/>
                </a:lnTo>
                <a:lnTo>
                  <a:pt x="9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56" name="Freeform 444"/>
          <p:cNvSpPr>
            <a:spLocks/>
          </p:cNvSpPr>
          <p:nvPr/>
        </p:nvSpPr>
        <p:spPr bwMode="gray">
          <a:xfrm>
            <a:off x="3088557" y="5226141"/>
            <a:ext cx="12002" cy="7501"/>
          </a:xfrm>
          <a:custGeom>
            <a:avLst/>
            <a:gdLst>
              <a:gd name="T0" fmla="*/ 2147483647 w 6"/>
              <a:gd name="T1" fmla="*/ 2147483647 h 5"/>
              <a:gd name="T2" fmla="*/ 2147483647 w 6"/>
              <a:gd name="T3" fmla="*/ 2147483647 h 5"/>
              <a:gd name="T4" fmla="*/ 2147483647 w 6"/>
              <a:gd name="T5" fmla="*/ 0 h 5"/>
              <a:gd name="T6" fmla="*/ 0 w 6"/>
              <a:gd name="T7" fmla="*/ 0 h 5"/>
              <a:gd name="T8" fmla="*/ 2147483647 w 6"/>
              <a:gd name="T9" fmla="*/ 2147483647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5"/>
              <a:gd name="T17" fmla="*/ 6 w 6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5">
                <a:moveTo>
                  <a:pt x="3" y="5"/>
                </a:moveTo>
                <a:lnTo>
                  <a:pt x="6" y="3"/>
                </a:lnTo>
                <a:lnTo>
                  <a:pt x="3" y="0"/>
                </a:lnTo>
                <a:lnTo>
                  <a:pt x="0" y="0"/>
                </a:lnTo>
                <a:lnTo>
                  <a:pt x="3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57" name="Freeform 445"/>
          <p:cNvSpPr>
            <a:spLocks/>
          </p:cNvSpPr>
          <p:nvPr/>
        </p:nvSpPr>
        <p:spPr bwMode="gray">
          <a:xfrm>
            <a:off x="3118562" y="5208141"/>
            <a:ext cx="16003" cy="9000"/>
          </a:xfrm>
          <a:custGeom>
            <a:avLst/>
            <a:gdLst>
              <a:gd name="T0" fmla="*/ 2147483647 w 8"/>
              <a:gd name="T1" fmla="*/ 2147483647 h 6"/>
              <a:gd name="T2" fmla="*/ 2147483647 w 8"/>
              <a:gd name="T3" fmla="*/ 0 h 6"/>
              <a:gd name="T4" fmla="*/ 0 w 8"/>
              <a:gd name="T5" fmla="*/ 2147483647 h 6"/>
              <a:gd name="T6" fmla="*/ 2147483647 w 8"/>
              <a:gd name="T7" fmla="*/ 2147483647 h 6"/>
              <a:gd name="T8" fmla="*/ 2147483647 w 8"/>
              <a:gd name="T9" fmla="*/ 2147483647 h 6"/>
              <a:gd name="T10" fmla="*/ 2147483647 w 8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8"/>
              <a:gd name="T19" fmla="*/ 0 h 6"/>
              <a:gd name="T20" fmla="*/ 8 w 8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8" h="6">
                <a:moveTo>
                  <a:pt x="8" y="6"/>
                </a:moveTo>
                <a:lnTo>
                  <a:pt x="5" y="0"/>
                </a:lnTo>
                <a:lnTo>
                  <a:pt x="0" y="3"/>
                </a:lnTo>
                <a:lnTo>
                  <a:pt x="2" y="6"/>
                </a:lnTo>
                <a:lnTo>
                  <a:pt x="5" y="6"/>
                </a:lnTo>
                <a:lnTo>
                  <a:pt x="8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58" name="Rectangle 446"/>
          <p:cNvSpPr>
            <a:spLocks noChangeArrowheads="1"/>
          </p:cNvSpPr>
          <p:nvPr/>
        </p:nvSpPr>
        <p:spPr bwMode="gray">
          <a:xfrm>
            <a:off x="3112561" y="5230642"/>
            <a:ext cx="2001" cy="30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59" name="Freeform 447"/>
          <p:cNvSpPr>
            <a:spLocks/>
          </p:cNvSpPr>
          <p:nvPr/>
        </p:nvSpPr>
        <p:spPr bwMode="gray">
          <a:xfrm>
            <a:off x="3112561" y="5230642"/>
            <a:ext cx="10002" cy="12000"/>
          </a:xfrm>
          <a:custGeom>
            <a:avLst/>
            <a:gdLst>
              <a:gd name="T0" fmla="*/ 2147483647 w 5"/>
              <a:gd name="T1" fmla="*/ 2147483647 h 8"/>
              <a:gd name="T2" fmla="*/ 2147483647 w 5"/>
              <a:gd name="T3" fmla="*/ 0 h 8"/>
              <a:gd name="T4" fmla="*/ 0 w 5"/>
              <a:gd name="T5" fmla="*/ 2147483647 h 8"/>
              <a:gd name="T6" fmla="*/ 2147483647 w 5"/>
              <a:gd name="T7" fmla="*/ 2147483647 h 8"/>
              <a:gd name="T8" fmla="*/ 2147483647 w 5"/>
              <a:gd name="T9" fmla="*/ 2147483647 h 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8"/>
              <a:gd name="T17" fmla="*/ 5 w 5"/>
              <a:gd name="T18" fmla="*/ 8 h 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8">
                <a:moveTo>
                  <a:pt x="5" y="2"/>
                </a:moveTo>
                <a:lnTo>
                  <a:pt x="5" y="0"/>
                </a:lnTo>
                <a:lnTo>
                  <a:pt x="0" y="5"/>
                </a:lnTo>
                <a:lnTo>
                  <a:pt x="3" y="8"/>
                </a:lnTo>
                <a:lnTo>
                  <a:pt x="5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60" name="Freeform 448"/>
          <p:cNvSpPr>
            <a:spLocks/>
          </p:cNvSpPr>
          <p:nvPr/>
        </p:nvSpPr>
        <p:spPr bwMode="gray">
          <a:xfrm>
            <a:off x="3106560" y="5208141"/>
            <a:ext cx="6000" cy="9000"/>
          </a:xfrm>
          <a:custGeom>
            <a:avLst/>
            <a:gdLst>
              <a:gd name="T0" fmla="*/ 2147483647 w 3"/>
              <a:gd name="T1" fmla="*/ 2147483647 h 6"/>
              <a:gd name="T2" fmla="*/ 2147483647 w 3"/>
              <a:gd name="T3" fmla="*/ 0 h 6"/>
              <a:gd name="T4" fmla="*/ 0 w 3"/>
              <a:gd name="T5" fmla="*/ 0 h 6"/>
              <a:gd name="T6" fmla="*/ 2147483647 w 3"/>
              <a:gd name="T7" fmla="*/ 2147483647 h 6"/>
              <a:gd name="T8" fmla="*/ 2147483647 w 3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3" y="3"/>
                </a:moveTo>
                <a:lnTo>
                  <a:pt x="3" y="0"/>
                </a:lnTo>
                <a:lnTo>
                  <a:pt x="0" y="0"/>
                </a:lnTo>
                <a:lnTo>
                  <a:pt x="3" y="6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61" name="Freeform 449"/>
          <p:cNvSpPr>
            <a:spLocks/>
          </p:cNvSpPr>
          <p:nvPr/>
        </p:nvSpPr>
        <p:spPr bwMode="gray">
          <a:xfrm>
            <a:off x="3122563" y="5221641"/>
            <a:ext cx="6000" cy="4500"/>
          </a:xfrm>
          <a:custGeom>
            <a:avLst/>
            <a:gdLst>
              <a:gd name="T0" fmla="*/ 2147483647 w 3"/>
              <a:gd name="T1" fmla="*/ 0 h 3"/>
              <a:gd name="T2" fmla="*/ 2147483647 w 3"/>
              <a:gd name="T3" fmla="*/ 0 h 3"/>
              <a:gd name="T4" fmla="*/ 0 w 3"/>
              <a:gd name="T5" fmla="*/ 0 h 3"/>
              <a:gd name="T6" fmla="*/ 0 w 3"/>
              <a:gd name="T7" fmla="*/ 2147483647 h 3"/>
              <a:gd name="T8" fmla="*/ 0 w 3"/>
              <a:gd name="T9" fmla="*/ 2147483647 h 3"/>
              <a:gd name="T10" fmla="*/ 2147483647 w 3"/>
              <a:gd name="T11" fmla="*/ 2147483647 h 3"/>
              <a:gd name="T12" fmla="*/ 2147483647 w 3"/>
              <a:gd name="T13" fmla="*/ 0 h 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"/>
              <a:gd name="T22" fmla="*/ 0 h 3"/>
              <a:gd name="T23" fmla="*/ 3 w 3"/>
              <a:gd name="T24" fmla="*/ 3 h 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" h="3">
                <a:moveTo>
                  <a:pt x="3" y="0"/>
                </a:move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lnTo>
                  <a:pt x="3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62" name="Freeform 450"/>
          <p:cNvSpPr>
            <a:spLocks/>
          </p:cNvSpPr>
          <p:nvPr/>
        </p:nvSpPr>
        <p:spPr bwMode="gray">
          <a:xfrm>
            <a:off x="3112561" y="5196140"/>
            <a:ext cx="6002" cy="7501"/>
          </a:xfrm>
          <a:custGeom>
            <a:avLst/>
            <a:gdLst>
              <a:gd name="T0" fmla="*/ 2147483647 w 3"/>
              <a:gd name="T1" fmla="*/ 2147483647 h 5"/>
              <a:gd name="T2" fmla="*/ 2147483647 w 3"/>
              <a:gd name="T3" fmla="*/ 0 h 5"/>
              <a:gd name="T4" fmla="*/ 0 w 3"/>
              <a:gd name="T5" fmla="*/ 0 h 5"/>
              <a:gd name="T6" fmla="*/ 0 w 3"/>
              <a:gd name="T7" fmla="*/ 2147483647 h 5"/>
              <a:gd name="T8" fmla="*/ 2147483647 w 3"/>
              <a:gd name="T9" fmla="*/ 2147483647 h 5"/>
              <a:gd name="T10" fmla="*/ 2147483647 w 3"/>
              <a:gd name="T11" fmla="*/ 2147483647 h 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"/>
              <a:gd name="T19" fmla="*/ 0 h 5"/>
              <a:gd name="T20" fmla="*/ 3 w 3"/>
              <a:gd name="T21" fmla="*/ 5 h 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" h="5">
                <a:moveTo>
                  <a:pt x="3" y="2"/>
                </a:moveTo>
                <a:lnTo>
                  <a:pt x="3" y="0"/>
                </a:lnTo>
                <a:lnTo>
                  <a:pt x="0" y="0"/>
                </a:lnTo>
                <a:lnTo>
                  <a:pt x="0" y="5"/>
                </a:lnTo>
                <a:lnTo>
                  <a:pt x="3" y="5"/>
                </a:lnTo>
                <a:lnTo>
                  <a:pt x="3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63" name="Freeform 451"/>
          <p:cNvSpPr>
            <a:spLocks/>
          </p:cNvSpPr>
          <p:nvPr/>
        </p:nvSpPr>
        <p:spPr bwMode="gray">
          <a:xfrm>
            <a:off x="3106561" y="5203641"/>
            <a:ext cx="2000" cy="4500"/>
          </a:xfrm>
          <a:custGeom>
            <a:avLst/>
            <a:gdLst>
              <a:gd name="T0" fmla="*/ 0 w 1"/>
              <a:gd name="T1" fmla="*/ 2147483647 h 3"/>
              <a:gd name="T2" fmla="*/ 0 w 1"/>
              <a:gd name="T3" fmla="*/ 2147483647 h 3"/>
              <a:gd name="T4" fmla="*/ 0 w 1"/>
              <a:gd name="T5" fmla="*/ 2147483647 h 3"/>
              <a:gd name="T6" fmla="*/ 0 w 1"/>
              <a:gd name="T7" fmla="*/ 0 h 3"/>
              <a:gd name="T8" fmla="*/ 0 w 1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"/>
              <a:gd name="T16" fmla="*/ 0 h 3"/>
              <a:gd name="T17" fmla="*/ 1 w 1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" h="3">
                <a:moveTo>
                  <a:pt x="0" y="3"/>
                </a:move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64" name="Freeform 452"/>
          <p:cNvSpPr>
            <a:spLocks/>
          </p:cNvSpPr>
          <p:nvPr/>
        </p:nvSpPr>
        <p:spPr bwMode="gray">
          <a:xfrm>
            <a:off x="3100559" y="5233642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2147483647 h 6"/>
              <a:gd name="T4" fmla="*/ 2147483647 w 6"/>
              <a:gd name="T5" fmla="*/ 0 h 6"/>
              <a:gd name="T6" fmla="*/ 0 w 6"/>
              <a:gd name="T7" fmla="*/ 0 h 6"/>
              <a:gd name="T8" fmla="*/ 2147483647 w 6"/>
              <a:gd name="T9" fmla="*/ 2147483647 h 6"/>
              <a:gd name="T10" fmla="*/ 2147483647 w 6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6"/>
              <a:gd name="T20" fmla="*/ 6 w 6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6">
                <a:moveTo>
                  <a:pt x="6" y="6"/>
                </a:moveTo>
                <a:lnTo>
                  <a:pt x="6" y="3"/>
                </a:lnTo>
                <a:lnTo>
                  <a:pt x="3" y="0"/>
                </a:lnTo>
                <a:lnTo>
                  <a:pt x="0" y="0"/>
                </a:lnTo>
                <a:lnTo>
                  <a:pt x="3" y="3"/>
                </a:lnTo>
                <a:lnTo>
                  <a:pt x="6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65" name="Rectangle 453"/>
          <p:cNvSpPr>
            <a:spLocks noChangeArrowheads="1"/>
          </p:cNvSpPr>
          <p:nvPr/>
        </p:nvSpPr>
        <p:spPr bwMode="gray">
          <a:xfrm>
            <a:off x="3100559" y="5196141"/>
            <a:ext cx="6002" cy="30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66" name="Freeform 454"/>
          <p:cNvSpPr>
            <a:spLocks/>
          </p:cNvSpPr>
          <p:nvPr/>
        </p:nvSpPr>
        <p:spPr bwMode="gray">
          <a:xfrm>
            <a:off x="3088557" y="5103138"/>
            <a:ext cx="12002" cy="13501"/>
          </a:xfrm>
          <a:custGeom>
            <a:avLst/>
            <a:gdLst>
              <a:gd name="T0" fmla="*/ 2147483647 w 6"/>
              <a:gd name="T1" fmla="*/ 2147483647 h 9"/>
              <a:gd name="T2" fmla="*/ 2147483647 w 6"/>
              <a:gd name="T3" fmla="*/ 2147483647 h 9"/>
              <a:gd name="T4" fmla="*/ 2147483647 w 6"/>
              <a:gd name="T5" fmla="*/ 2147483647 h 9"/>
              <a:gd name="T6" fmla="*/ 2147483647 w 6"/>
              <a:gd name="T7" fmla="*/ 0 h 9"/>
              <a:gd name="T8" fmla="*/ 0 w 6"/>
              <a:gd name="T9" fmla="*/ 0 h 9"/>
              <a:gd name="T10" fmla="*/ 0 w 6"/>
              <a:gd name="T11" fmla="*/ 2147483647 h 9"/>
              <a:gd name="T12" fmla="*/ 0 w 6"/>
              <a:gd name="T13" fmla="*/ 2147483647 h 9"/>
              <a:gd name="T14" fmla="*/ 2147483647 w 6"/>
              <a:gd name="T15" fmla="*/ 2147483647 h 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"/>
              <a:gd name="T25" fmla="*/ 0 h 9"/>
              <a:gd name="T26" fmla="*/ 6 w 6"/>
              <a:gd name="T27" fmla="*/ 9 h 9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" h="9">
                <a:moveTo>
                  <a:pt x="3" y="9"/>
                </a:moveTo>
                <a:lnTo>
                  <a:pt x="6" y="9"/>
                </a:lnTo>
                <a:lnTo>
                  <a:pt x="3" y="6"/>
                </a:ln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lnTo>
                  <a:pt x="0" y="6"/>
                </a:lnTo>
                <a:lnTo>
                  <a:pt x="3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67" name="Freeform 455"/>
          <p:cNvSpPr>
            <a:spLocks/>
          </p:cNvSpPr>
          <p:nvPr/>
        </p:nvSpPr>
        <p:spPr bwMode="gray">
          <a:xfrm>
            <a:off x="3180573" y="5316144"/>
            <a:ext cx="6002" cy="4501"/>
          </a:xfrm>
          <a:custGeom>
            <a:avLst/>
            <a:gdLst>
              <a:gd name="T0" fmla="*/ 2147483647 w 3"/>
              <a:gd name="T1" fmla="*/ 0 h 3"/>
              <a:gd name="T2" fmla="*/ 0 w 3"/>
              <a:gd name="T3" fmla="*/ 2147483647 h 3"/>
              <a:gd name="T4" fmla="*/ 2147483647 w 3"/>
              <a:gd name="T5" fmla="*/ 2147483647 h 3"/>
              <a:gd name="T6" fmla="*/ 2147483647 w 3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3" y="0"/>
                </a:moveTo>
                <a:lnTo>
                  <a:pt x="0" y="3"/>
                </a:lnTo>
                <a:lnTo>
                  <a:pt x="3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68" name="Freeform 456"/>
          <p:cNvSpPr>
            <a:spLocks/>
          </p:cNvSpPr>
          <p:nvPr/>
        </p:nvSpPr>
        <p:spPr bwMode="gray">
          <a:xfrm>
            <a:off x="3186575" y="5332644"/>
            <a:ext cx="12002" cy="4500"/>
          </a:xfrm>
          <a:custGeom>
            <a:avLst/>
            <a:gdLst>
              <a:gd name="T0" fmla="*/ 2147483647 w 6"/>
              <a:gd name="T1" fmla="*/ 0 h 3"/>
              <a:gd name="T2" fmla="*/ 0 w 6"/>
              <a:gd name="T3" fmla="*/ 0 h 3"/>
              <a:gd name="T4" fmla="*/ 0 w 6"/>
              <a:gd name="T5" fmla="*/ 2147483647 h 3"/>
              <a:gd name="T6" fmla="*/ 2147483647 w 6"/>
              <a:gd name="T7" fmla="*/ 2147483647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3" y="0"/>
                </a:moveTo>
                <a:lnTo>
                  <a:pt x="0" y="0"/>
                </a:lnTo>
                <a:lnTo>
                  <a:pt x="0" y="3"/>
                </a:lnTo>
                <a:lnTo>
                  <a:pt x="6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69" name="Rectangle 457"/>
          <p:cNvSpPr>
            <a:spLocks noChangeArrowheads="1"/>
          </p:cNvSpPr>
          <p:nvPr/>
        </p:nvSpPr>
        <p:spPr bwMode="gray">
          <a:xfrm>
            <a:off x="3186575" y="5325144"/>
            <a:ext cx="6000" cy="4501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70" name="Freeform 458"/>
          <p:cNvSpPr>
            <a:spLocks/>
          </p:cNvSpPr>
          <p:nvPr/>
        </p:nvSpPr>
        <p:spPr bwMode="gray">
          <a:xfrm>
            <a:off x="3168571" y="5337145"/>
            <a:ext cx="18004" cy="15000"/>
          </a:xfrm>
          <a:custGeom>
            <a:avLst/>
            <a:gdLst>
              <a:gd name="T0" fmla="*/ 2147483647 w 9"/>
              <a:gd name="T1" fmla="*/ 2147483647 h 9"/>
              <a:gd name="T2" fmla="*/ 2147483647 w 9"/>
              <a:gd name="T3" fmla="*/ 2147483647 h 9"/>
              <a:gd name="T4" fmla="*/ 2147483647 w 9"/>
              <a:gd name="T5" fmla="*/ 0 h 9"/>
              <a:gd name="T6" fmla="*/ 2147483647 w 9"/>
              <a:gd name="T7" fmla="*/ 0 h 9"/>
              <a:gd name="T8" fmla="*/ 2147483647 w 9"/>
              <a:gd name="T9" fmla="*/ 0 h 9"/>
              <a:gd name="T10" fmla="*/ 2147483647 w 9"/>
              <a:gd name="T11" fmla="*/ 0 h 9"/>
              <a:gd name="T12" fmla="*/ 0 w 9"/>
              <a:gd name="T13" fmla="*/ 0 h 9"/>
              <a:gd name="T14" fmla="*/ 0 w 9"/>
              <a:gd name="T15" fmla="*/ 0 h 9"/>
              <a:gd name="T16" fmla="*/ 0 w 9"/>
              <a:gd name="T17" fmla="*/ 2147483647 h 9"/>
              <a:gd name="T18" fmla="*/ 2147483647 w 9"/>
              <a:gd name="T19" fmla="*/ 2147483647 h 9"/>
              <a:gd name="T20" fmla="*/ 2147483647 w 9"/>
              <a:gd name="T21" fmla="*/ 2147483647 h 9"/>
              <a:gd name="T22" fmla="*/ 2147483647 w 9"/>
              <a:gd name="T23" fmla="*/ 2147483647 h 9"/>
              <a:gd name="T24" fmla="*/ 2147483647 w 9"/>
              <a:gd name="T25" fmla="*/ 2147483647 h 9"/>
              <a:gd name="T26" fmla="*/ 2147483647 w 9"/>
              <a:gd name="T27" fmla="*/ 2147483647 h 9"/>
              <a:gd name="T28" fmla="*/ 2147483647 w 9"/>
              <a:gd name="T29" fmla="*/ 2147483647 h 9"/>
              <a:gd name="T30" fmla="*/ 2147483647 w 9"/>
              <a:gd name="T31" fmla="*/ 2147483647 h 9"/>
              <a:gd name="T32" fmla="*/ 2147483647 w 9"/>
              <a:gd name="T33" fmla="*/ 2147483647 h 9"/>
              <a:gd name="T34" fmla="*/ 2147483647 w 9"/>
              <a:gd name="T35" fmla="*/ 2147483647 h 9"/>
              <a:gd name="T36" fmla="*/ 2147483647 w 9"/>
              <a:gd name="T37" fmla="*/ 2147483647 h 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9"/>
              <a:gd name="T58" fmla="*/ 0 h 9"/>
              <a:gd name="T59" fmla="*/ 9 w 9"/>
              <a:gd name="T60" fmla="*/ 9 h 9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9" h="9">
                <a:moveTo>
                  <a:pt x="6" y="3"/>
                </a:moveTo>
                <a:lnTo>
                  <a:pt x="6" y="3"/>
                </a:lnTo>
                <a:lnTo>
                  <a:pt x="6" y="0"/>
                </a:ln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lnTo>
                  <a:pt x="3" y="3"/>
                </a:lnTo>
                <a:lnTo>
                  <a:pt x="6" y="3"/>
                </a:lnTo>
                <a:lnTo>
                  <a:pt x="6" y="9"/>
                </a:lnTo>
                <a:lnTo>
                  <a:pt x="9" y="6"/>
                </a:lnTo>
                <a:lnTo>
                  <a:pt x="6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71" name="Freeform 459"/>
          <p:cNvSpPr>
            <a:spLocks/>
          </p:cNvSpPr>
          <p:nvPr/>
        </p:nvSpPr>
        <p:spPr bwMode="gray">
          <a:xfrm>
            <a:off x="3164570" y="5329645"/>
            <a:ext cx="10002" cy="3000"/>
          </a:xfrm>
          <a:custGeom>
            <a:avLst/>
            <a:gdLst>
              <a:gd name="T0" fmla="*/ 2147483647 w 5"/>
              <a:gd name="T1" fmla="*/ 0 h 2"/>
              <a:gd name="T2" fmla="*/ 0 w 5"/>
              <a:gd name="T3" fmla="*/ 0 h 2"/>
              <a:gd name="T4" fmla="*/ 2147483647 w 5"/>
              <a:gd name="T5" fmla="*/ 2147483647 h 2"/>
              <a:gd name="T6" fmla="*/ 2147483647 w 5"/>
              <a:gd name="T7" fmla="*/ 2147483647 h 2"/>
              <a:gd name="T8" fmla="*/ 2147483647 w 5"/>
              <a:gd name="T9" fmla="*/ 0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2"/>
              <a:gd name="T17" fmla="*/ 5 w 5"/>
              <a:gd name="T18" fmla="*/ 2 h 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2">
                <a:moveTo>
                  <a:pt x="5" y="0"/>
                </a:moveTo>
                <a:lnTo>
                  <a:pt x="0" y="0"/>
                </a:lnTo>
                <a:lnTo>
                  <a:pt x="2" y="2"/>
                </a:lnTo>
                <a:lnTo>
                  <a:pt x="5" y="2"/>
                </a:lnTo>
                <a:lnTo>
                  <a:pt x="5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72" name="Freeform 460"/>
          <p:cNvSpPr>
            <a:spLocks/>
          </p:cNvSpPr>
          <p:nvPr/>
        </p:nvSpPr>
        <p:spPr bwMode="gray">
          <a:xfrm>
            <a:off x="3180573" y="5329645"/>
            <a:ext cx="6002" cy="3000"/>
          </a:xfrm>
          <a:custGeom>
            <a:avLst/>
            <a:gdLst>
              <a:gd name="T0" fmla="*/ 2147483647 w 3"/>
              <a:gd name="T1" fmla="*/ 2147483647 h 2"/>
              <a:gd name="T2" fmla="*/ 2147483647 w 3"/>
              <a:gd name="T3" fmla="*/ 2147483647 h 2"/>
              <a:gd name="T4" fmla="*/ 2147483647 w 3"/>
              <a:gd name="T5" fmla="*/ 0 h 2"/>
              <a:gd name="T6" fmla="*/ 2147483647 w 3"/>
              <a:gd name="T7" fmla="*/ 0 h 2"/>
              <a:gd name="T8" fmla="*/ 0 w 3"/>
              <a:gd name="T9" fmla="*/ 0 h 2"/>
              <a:gd name="T10" fmla="*/ 0 w 3"/>
              <a:gd name="T11" fmla="*/ 0 h 2"/>
              <a:gd name="T12" fmla="*/ 2147483647 w 3"/>
              <a:gd name="T13" fmla="*/ 2147483647 h 2"/>
              <a:gd name="T14" fmla="*/ 2147483647 w 3"/>
              <a:gd name="T15" fmla="*/ 2147483647 h 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"/>
              <a:gd name="T25" fmla="*/ 0 h 2"/>
              <a:gd name="T26" fmla="*/ 3 w 3"/>
              <a:gd name="T27" fmla="*/ 2 h 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" h="2">
                <a:moveTo>
                  <a:pt x="3" y="2"/>
                </a:moveTo>
                <a:lnTo>
                  <a:pt x="3" y="2"/>
                </a:lnTo>
                <a:lnTo>
                  <a:pt x="3" y="0"/>
                </a:lnTo>
                <a:lnTo>
                  <a:pt x="0" y="0"/>
                </a:lnTo>
                <a:lnTo>
                  <a:pt x="3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73" name="Freeform 461"/>
          <p:cNvSpPr>
            <a:spLocks/>
          </p:cNvSpPr>
          <p:nvPr/>
        </p:nvSpPr>
        <p:spPr bwMode="gray">
          <a:xfrm>
            <a:off x="3164570" y="5302644"/>
            <a:ext cx="10002" cy="18000"/>
          </a:xfrm>
          <a:custGeom>
            <a:avLst/>
            <a:gdLst>
              <a:gd name="T0" fmla="*/ 2147483647 w 5"/>
              <a:gd name="T1" fmla="*/ 2147483647 h 12"/>
              <a:gd name="T2" fmla="*/ 2147483647 w 5"/>
              <a:gd name="T3" fmla="*/ 2147483647 h 12"/>
              <a:gd name="T4" fmla="*/ 2147483647 w 5"/>
              <a:gd name="T5" fmla="*/ 0 h 12"/>
              <a:gd name="T6" fmla="*/ 2147483647 w 5"/>
              <a:gd name="T7" fmla="*/ 2147483647 h 12"/>
              <a:gd name="T8" fmla="*/ 0 w 5"/>
              <a:gd name="T9" fmla="*/ 2147483647 h 12"/>
              <a:gd name="T10" fmla="*/ 0 w 5"/>
              <a:gd name="T11" fmla="*/ 2147483647 h 12"/>
              <a:gd name="T12" fmla="*/ 2147483647 w 5"/>
              <a:gd name="T13" fmla="*/ 2147483647 h 12"/>
              <a:gd name="T14" fmla="*/ 2147483647 w 5"/>
              <a:gd name="T15" fmla="*/ 2147483647 h 12"/>
              <a:gd name="T16" fmla="*/ 2147483647 w 5"/>
              <a:gd name="T17" fmla="*/ 2147483647 h 12"/>
              <a:gd name="T18" fmla="*/ 2147483647 w 5"/>
              <a:gd name="T19" fmla="*/ 2147483647 h 1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5"/>
              <a:gd name="T31" fmla="*/ 0 h 12"/>
              <a:gd name="T32" fmla="*/ 5 w 5"/>
              <a:gd name="T33" fmla="*/ 12 h 1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5" h="12">
                <a:moveTo>
                  <a:pt x="2" y="6"/>
                </a:moveTo>
                <a:lnTo>
                  <a:pt x="2" y="3"/>
                </a:lnTo>
                <a:lnTo>
                  <a:pt x="2" y="0"/>
                </a:lnTo>
                <a:lnTo>
                  <a:pt x="2" y="6"/>
                </a:lnTo>
                <a:lnTo>
                  <a:pt x="0" y="6"/>
                </a:lnTo>
                <a:lnTo>
                  <a:pt x="0" y="9"/>
                </a:lnTo>
                <a:lnTo>
                  <a:pt x="2" y="9"/>
                </a:lnTo>
                <a:lnTo>
                  <a:pt x="2" y="12"/>
                </a:lnTo>
                <a:lnTo>
                  <a:pt x="5" y="9"/>
                </a:lnTo>
                <a:lnTo>
                  <a:pt x="2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74" name="Freeform 462"/>
          <p:cNvSpPr>
            <a:spLocks/>
          </p:cNvSpPr>
          <p:nvPr/>
        </p:nvSpPr>
        <p:spPr bwMode="gray">
          <a:xfrm>
            <a:off x="3164570" y="5320644"/>
            <a:ext cx="10002" cy="4500"/>
          </a:xfrm>
          <a:custGeom>
            <a:avLst/>
            <a:gdLst>
              <a:gd name="T0" fmla="*/ 0 w 5"/>
              <a:gd name="T1" fmla="*/ 2147483647 h 3"/>
              <a:gd name="T2" fmla="*/ 2147483647 w 5"/>
              <a:gd name="T3" fmla="*/ 2147483647 h 3"/>
              <a:gd name="T4" fmla="*/ 2147483647 w 5"/>
              <a:gd name="T5" fmla="*/ 0 h 3"/>
              <a:gd name="T6" fmla="*/ 2147483647 w 5"/>
              <a:gd name="T7" fmla="*/ 0 h 3"/>
              <a:gd name="T8" fmla="*/ 2147483647 w 5"/>
              <a:gd name="T9" fmla="*/ 0 h 3"/>
              <a:gd name="T10" fmla="*/ 0 w 5"/>
              <a:gd name="T11" fmla="*/ 0 h 3"/>
              <a:gd name="T12" fmla="*/ 0 w 5"/>
              <a:gd name="T13" fmla="*/ 2147483647 h 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"/>
              <a:gd name="T22" fmla="*/ 0 h 3"/>
              <a:gd name="T23" fmla="*/ 5 w 5"/>
              <a:gd name="T24" fmla="*/ 3 h 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" h="3">
                <a:moveTo>
                  <a:pt x="0" y="3"/>
                </a:moveTo>
                <a:lnTo>
                  <a:pt x="2" y="3"/>
                </a:lnTo>
                <a:lnTo>
                  <a:pt x="5" y="0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75" name="Freeform 463"/>
          <p:cNvSpPr>
            <a:spLocks/>
          </p:cNvSpPr>
          <p:nvPr/>
        </p:nvSpPr>
        <p:spPr bwMode="gray">
          <a:xfrm>
            <a:off x="3180573" y="5302643"/>
            <a:ext cx="6002" cy="4500"/>
          </a:xfrm>
          <a:custGeom>
            <a:avLst/>
            <a:gdLst>
              <a:gd name="T0" fmla="*/ 0 w 3"/>
              <a:gd name="T1" fmla="*/ 2147483647 h 3"/>
              <a:gd name="T2" fmla="*/ 2147483647 w 3"/>
              <a:gd name="T3" fmla="*/ 2147483647 h 3"/>
              <a:gd name="T4" fmla="*/ 2147483647 w 3"/>
              <a:gd name="T5" fmla="*/ 0 h 3"/>
              <a:gd name="T6" fmla="*/ 0 w 3"/>
              <a:gd name="T7" fmla="*/ 0 h 3"/>
              <a:gd name="T8" fmla="*/ 0 w 3"/>
              <a:gd name="T9" fmla="*/ 2147483647 h 3"/>
              <a:gd name="T10" fmla="*/ 0 w 3"/>
              <a:gd name="T11" fmla="*/ 2147483647 h 3"/>
              <a:gd name="T12" fmla="*/ 0 w 3"/>
              <a:gd name="T13" fmla="*/ 2147483647 h 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"/>
              <a:gd name="T22" fmla="*/ 0 h 3"/>
              <a:gd name="T23" fmla="*/ 3 w 3"/>
              <a:gd name="T24" fmla="*/ 3 h 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" h="3">
                <a:moveTo>
                  <a:pt x="0" y="3"/>
                </a:moveTo>
                <a:lnTo>
                  <a:pt x="3" y="3"/>
                </a:ln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76" name="Freeform 464"/>
          <p:cNvSpPr>
            <a:spLocks/>
          </p:cNvSpPr>
          <p:nvPr/>
        </p:nvSpPr>
        <p:spPr bwMode="gray">
          <a:xfrm>
            <a:off x="3168571" y="5307144"/>
            <a:ext cx="18004" cy="9000"/>
          </a:xfrm>
          <a:custGeom>
            <a:avLst/>
            <a:gdLst>
              <a:gd name="T0" fmla="*/ 2147483647 w 9"/>
              <a:gd name="T1" fmla="*/ 2147483647 h 6"/>
              <a:gd name="T2" fmla="*/ 2147483647 w 9"/>
              <a:gd name="T3" fmla="*/ 2147483647 h 6"/>
              <a:gd name="T4" fmla="*/ 2147483647 w 9"/>
              <a:gd name="T5" fmla="*/ 2147483647 h 6"/>
              <a:gd name="T6" fmla="*/ 2147483647 w 9"/>
              <a:gd name="T7" fmla="*/ 0 h 6"/>
              <a:gd name="T8" fmla="*/ 0 w 9"/>
              <a:gd name="T9" fmla="*/ 2147483647 h 6"/>
              <a:gd name="T10" fmla="*/ 2147483647 w 9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9"/>
              <a:gd name="T19" fmla="*/ 0 h 6"/>
              <a:gd name="T20" fmla="*/ 9 w 9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9" h="6">
                <a:moveTo>
                  <a:pt x="3" y="6"/>
                </a:moveTo>
                <a:lnTo>
                  <a:pt x="6" y="6"/>
                </a:lnTo>
                <a:lnTo>
                  <a:pt x="9" y="3"/>
                </a:lnTo>
                <a:lnTo>
                  <a:pt x="6" y="0"/>
                </a:lnTo>
                <a:lnTo>
                  <a:pt x="0" y="3"/>
                </a:lnTo>
                <a:lnTo>
                  <a:pt x="3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77" name="Freeform 465"/>
          <p:cNvSpPr>
            <a:spLocks/>
          </p:cNvSpPr>
          <p:nvPr/>
        </p:nvSpPr>
        <p:spPr bwMode="gray">
          <a:xfrm>
            <a:off x="3298595" y="5403147"/>
            <a:ext cx="10001" cy="9000"/>
          </a:xfrm>
          <a:custGeom>
            <a:avLst/>
            <a:gdLst>
              <a:gd name="T0" fmla="*/ 0 w 5"/>
              <a:gd name="T1" fmla="*/ 0 h 6"/>
              <a:gd name="T2" fmla="*/ 0 w 5"/>
              <a:gd name="T3" fmla="*/ 2147483647 h 6"/>
              <a:gd name="T4" fmla="*/ 2147483647 w 5"/>
              <a:gd name="T5" fmla="*/ 2147483647 h 6"/>
              <a:gd name="T6" fmla="*/ 2147483647 w 5"/>
              <a:gd name="T7" fmla="*/ 0 h 6"/>
              <a:gd name="T8" fmla="*/ 2147483647 w 5"/>
              <a:gd name="T9" fmla="*/ 0 h 6"/>
              <a:gd name="T10" fmla="*/ 2147483647 w 5"/>
              <a:gd name="T11" fmla="*/ 0 h 6"/>
              <a:gd name="T12" fmla="*/ 0 w 5"/>
              <a:gd name="T13" fmla="*/ 0 h 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"/>
              <a:gd name="T22" fmla="*/ 0 h 6"/>
              <a:gd name="T23" fmla="*/ 5 w 5"/>
              <a:gd name="T24" fmla="*/ 6 h 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" h="6">
                <a:moveTo>
                  <a:pt x="0" y="0"/>
                </a:moveTo>
                <a:lnTo>
                  <a:pt x="0" y="6"/>
                </a:lnTo>
                <a:lnTo>
                  <a:pt x="2" y="3"/>
                </a:lnTo>
                <a:lnTo>
                  <a:pt x="5" y="0"/>
                </a:lnTo>
                <a:lnTo>
                  <a:pt x="2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78" name="Freeform 466"/>
          <p:cNvSpPr>
            <a:spLocks/>
          </p:cNvSpPr>
          <p:nvPr/>
        </p:nvSpPr>
        <p:spPr bwMode="gray">
          <a:xfrm>
            <a:off x="3100559" y="5146640"/>
            <a:ext cx="6002" cy="13500"/>
          </a:xfrm>
          <a:custGeom>
            <a:avLst/>
            <a:gdLst>
              <a:gd name="T0" fmla="*/ 0 w 3"/>
              <a:gd name="T1" fmla="*/ 2147483647 h 9"/>
              <a:gd name="T2" fmla="*/ 0 w 3"/>
              <a:gd name="T3" fmla="*/ 2147483647 h 9"/>
              <a:gd name="T4" fmla="*/ 2147483647 w 3"/>
              <a:gd name="T5" fmla="*/ 2147483647 h 9"/>
              <a:gd name="T6" fmla="*/ 2147483647 w 3"/>
              <a:gd name="T7" fmla="*/ 2147483647 h 9"/>
              <a:gd name="T8" fmla="*/ 0 w 3"/>
              <a:gd name="T9" fmla="*/ 0 h 9"/>
              <a:gd name="T10" fmla="*/ 0 w 3"/>
              <a:gd name="T11" fmla="*/ 2147483647 h 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"/>
              <a:gd name="T19" fmla="*/ 0 h 9"/>
              <a:gd name="T20" fmla="*/ 3 w 3"/>
              <a:gd name="T21" fmla="*/ 9 h 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" h="9">
                <a:moveTo>
                  <a:pt x="0" y="3"/>
                </a:moveTo>
                <a:lnTo>
                  <a:pt x="0" y="9"/>
                </a:lnTo>
                <a:lnTo>
                  <a:pt x="3" y="6"/>
                </a:ln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79" name="Freeform 467"/>
          <p:cNvSpPr>
            <a:spLocks/>
          </p:cNvSpPr>
          <p:nvPr/>
        </p:nvSpPr>
        <p:spPr bwMode="gray">
          <a:xfrm>
            <a:off x="3192576" y="5361145"/>
            <a:ext cx="28005" cy="16501"/>
          </a:xfrm>
          <a:custGeom>
            <a:avLst/>
            <a:gdLst>
              <a:gd name="T0" fmla="*/ 2147483647 w 14"/>
              <a:gd name="T1" fmla="*/ 2147483647 h 11"/>
              <a:gd name="T2" fmla="*/ 2147483647 w 14"/>
              <a:gd name="T3" fmla="*/ 2147483647 h 11"/>
              <a:gd name="T4" fmla="*/ 2147483647 w 14"/>
              <a:gd name="T5" fmla="*/ 0 h 11"/>
              <a:gd name="T6" fmla="*/ 0 w 14"/>
              <a:gd name="T7" fmla="*/ 0 h 11"/>
              <a:gd name="T8" fmla="*/ 0 w 14"/>
              <a:gd name="T9" fmla="*/ 2147483647 h 11"/>
              <a:gd name="T10" fmla="*/ 2147483647 w 14"/>
              <a:gd name="T11" fmla="*/ 2147483647 h 11"/>
              <a:gd name="T12" fmla="*/ 2147483647 w 14"/>
              <a:gd name="T13" fmla="*/ 2147483647 h 11"/>
              <a:gd name="T14" fmla="*/ 2147483647 w 14"/>
              <a:gd name="T15" fmla="*/ 2147483647 h 11"/>
              <a:gd name="T16" fmla="*/ 2147483647 w 14"/>
              <a:gd name="T17" fmla="*/ 2147483647 h 11"/>
              <a:gd name="T18" fmla="*/ 2147483647 w 14"/>
              <a:gd name="T19" fmla="*/ 2147483647 h 11"/>
              <a:gd name="T20" fmla="*/ 2147483647 w 14"/>
              <a:gd name="T21" fmla="*/ 2147483647 h 11"/>
              <a:gd name="T22" fmla="*/ 2147483647 w 14"/>
              <a:gd name="T23" fmla="*/ 2147483647 h 11"/>
              <a:gd name="T24" fmla="*/ 2147483647 w 14"/>
              <a:gd name="T25" fmla="*/ 2147483647 h 11"/>
              <a:gd name="T26" fmla="*/ 2147483647 w 14"/>
              <a:gd name="T27" fmla="*/ 2147483647 h 11"/>
              <a:gd name="T28" fmla="*/ 2147483647 w 14"/>
              <a:gd name="T29" fmla="*/ 2147483647 h 11"/>
              <a:gd name="T30" fmla="*/ 2147483647 w 14"/>
              <a:gd name="T31" fmla="*/ 2147483647 h 1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4"/>
              <a:gd name="T49" fmla="*/ 0 h 11"/>
              <a:gd name="T50" fmla="*/ 14 w 14"/>
              <a:gd name="T51" fmla="*/ 11 h 11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4" h="11">
                <a:moveTo>
                  <a:pt x="11" y="5"/>
                </a:moveTo>
                <a:lnTo>
                  <a:pt x="6" y="3"/>
                </a:lnTo>
                <a:lnTo>
                  <a:pt x="6" y="0"/>
                </a:lnTo>
                <a:lnTo>
                  <a:pt x="0" y="0"/>
                </a:lnTo>
                <a:lnTo>
                  <a:pt x="0" y="3"/>
                </a:lnTo>
                <a:lnTo>
                  <a:pt x="3" y="3"/>
                </a:lnTo>
                <a:lnTo>
                  <a:pt x="6" y="5"/>
                </a:lnTo>
                <a:lnTo>
                  <a:pt x="8" y="8"/>
                </a:lnTo>
                <a:lnTo>
                  <a:pt x="11" y="8"/>
                </a:lnTo>
                <a:lnTo>
                  <a:pt x="14" y="8"/>
                </a:lnTo>
                <a:lnTo>
                  <a:pt x="14" y="11"/>
                </a:lnTo>
                <a:lnTo>
                  <a:pt x="14" y="8"/>
                </a:lnTo>
                <a:lnTo>
                  <a:pt x="11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80" name="Freeform 468"/>
          <p:cNvSpPr>
            <a:spLocks/>
          </p:cNvSpPr>
          <p:nvPr/>
        </p:nvSpPr>
        <p:spPr bwMode="gray">
          <a:xfrm>
            <a:off x="3198577" y="5332645"/>
            <a:ext cx="16003" cy="15000"/>
          </a:xfrm>
          <a:custGeom>
            <a:avLst/>
            <a:gdLst>
              <a:gd name="T0" fmla="*/ 0 w 8"/>
              <a:gd name="T1" fmla="*/ 0 h 9"/>
              <a:gd name="T2" fmla="*/ 0 w 8"/>
              <a:gd name="T3" fmla="*/ 2147483647 h 9"/>
              <a:gd name="T4" fmla="*/ 2147483647 w 8"/>
              <a:gd name="T5" fmla="*/ 2147483647 h 9"/>
              <a:gd name="T6" fmla="*/ 2147483647 w 8"/>
              <a:gd name="T7" fmla="*/ 2147483647 h 9"/>
              <a:gd name="T8" fmla="*/ 2147483647 w 8"/>
              <a:gd name="T9" fmla="*/ 2147483647 h 9"/>
              <a:gd name="T10" fmla="*/ 2147483647 w 8"/>
              <a:gd name="T11" fmla="*/ 2147483647 h 9"/>
              <a:gd name="T12" fmla="*/ 2147483647 w 8"/>
              <a:gd name="T13" fmla="*/ 2147483647 h 9"/>
              <a:gd name="T14" fmla="*/ 2147483647 w 8"/>
              <a:gd name="T15" fmla="*/ 2147483647 h 9"/>
              <a:gd name="T16" fmla="*/ 2147483647 w 8"/>
              <a:gd name="T17" fmla="*/ 2147483647 h 9"/>
              <a:gd name="T18" fmla="*/ 2147483647 w 8"/>
              <a:gd name="T19" fmla="*/ 2147483647 h 9"/>
              <a:gd name="T20" fmla="*/ 2147483647 w 8"/>
              <a:gd name="T21" fmla="*/ 0 h 9"/>
              <a:gd name="T22" fmla="*/ 2147483647 w 8"/>
              <a:gd name="T23" fmla="*/ 0 h 9"/>
              <a:gd name="T24" fmla="*/ 0 w 8"/>
              <a:gd name="T25" fmla="*/ 0 h 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8"/>
              <a:gd name="T40" fmla="*/ 0 h 9"/>
              <a:gd name="T41" fmla="*/ 8 w 8"/>
              <a:gd name="T42" fmla="*/ 9 h 9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8" h="9">
                <a:moveTo>
                  <a:pt x="0" y="0"/>
                </a:moveTo>
                <a:lnTo>
                  <a:pt x="0" y="3"/>
                </a:lnTo>
                <a:lnTo>
                  <a:pt x="3" y="3"/>
                </a:lnTo>
                <a:lnTo>
                  <a:pt x="3" y="9"/>
                </a:lnTo>
                <a:lnTo>
                  <a:pt x="5" y="9"/>
                </a:lnTo>
                <a:lnTo>
                  <a:pt x="8" y="9"/>
                </a:lnTo>
                <a:lnTo>
                  <a:pt x="8" y="6"/>
                </a:lnTo>
                <a:lnTo>
                  <a:pt x="5" y="6"/>
                </a:lnTo>
                <a:lnTo>
                  <a:pt x="3" y="6"/>
                </a:lnTo>
                <a:lnTo>
                  <a:pt x="5" y="3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81" name="Freeform 469"/>
          <p:cNvSpPr>
            <a:spLocks/>
          </p:cNvSpPr>
          <p:nvPr/>
        </p:nvSpPr>
        <p:spPr bwMode="gray">
          <a:xfrm>
            <a:off x="3158570" y="5299644"/>
            <a:ext cx="6000" cy="7500"/>
          </a:xfrm>
          <a:custGeom>
            <a:avLst/>
            <a:gdLst>
              <a:gd name="T0" fmla="*/ 0 w 3"/>
              <a:gd name="T1" fmla="*/ 0 h 5"/>
              <a:gd name="T2" fmla="*/ 0 w 3"/>
              <a:gd name="T3" fmla="*/ 2147483647 h 5"/>
              <a:gd name="T4" fmla="*/ 2147483647 w 3"/>
              <a:gd name="T5" fmla="*/ 2147483647 h 5"/>
              <a:gd name="T6" fmla="*/ 2147483647 w 3"/>
              <a:gd name="T7" fmla="*/ 2147483647 h 5"/>
              <a:gd name="T8" fmla="*/ 0 w 3"/>
              <a:gd name="T9" fmla="*/ 0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5"/>
              <a:gd name="T17" fmla="*/ 3 w 3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5">
                <a:moveTo>
                  <a:pt x="0" y="0"/>
                </a:moveTo>
                <a:lnTo>
                  <a:pt x="0" y="5"/>
                </a:lnTo>
                <a:lnTo>
                  <a:pt x="3" y="5"/>
                </a:lnTo>
                <a:lnTo>
                  <a:pt x="3" y="2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82" name="Rectangle 470"/>
          <p:cNvSpPr>
            <a:spLocks noChangeArrowheads="1"/>
          </p:cNvSpPr>
          <p:nvPr/>
        </p:nvSpPr>
        <p:spPr bwMode="gray">
          <a:xfrm>
            <a:off x="3198577" y="5329645"/>
            <a:ext cx="6000" cy="30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83" name="Freeform 471"/>
          <p:cNvSpPr>
            <a:spLocks/>
          </p:cNvSpPr>
          <p:nvPr/>
        </p:nvSpPr>
        <p:spPr bwMode="gray">
          <a:xfrm>
            <a:off x="3220580" y="5343145"/>
            <a:ext cx="6002" cy="9000"/>
          </a:xfrm>
          <a:custGeom>
            <a:avLst/>
            <a:gdLst>
              <a:gd name="T0" fmla="*/ 0 w 3"/>
              <a:gd name="T1" fmla="*/ 2147483647 h 6"/>
              <a:gd name="T2" fmla="*/ 0 w 3"/>
              <a:gd name="T3" fmla="*/ 2147483647 h 6"/>
              <a:gd name="T4" fmla="*/ 2147483647 w 3"/>
              <a:gd name="T5" fmla="*/ 2147483647 h 6"/>
              <a:gd name="T6" fmla="*/ 2147483647 w 3"/>
              <a:gd name="T7" fmla="*/ 2147483647 h 6"/>
              <a:gd name="T8" fmla="*/ 2147483647 w 3"/>
              <a:gd name="T9" fmla="*/ 2147483647 h 6"/>
              <a:gd name="T10" fmla="*/ 0 w 3"/>
              <a:gd name="T11" fmla="*/ 0 h 6"/>
              <a:gd name="T12" fmla="*/ 0 w 3"/>
              <a:gd name="T13" fmla="*/ 2147483647 h 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"/>
              <a:gd name="T22" fmla="*/ 0 h 6"/>
              <a:gd name="T23" fmla="*/ 3 w 3"/>
              <a:gd name="T24" fmla="*/ 6 h 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" h="6">
                <a:moveTo>
                  <a:pt x="0" y="3"/>
                </a:moveTo>
                <a:lnTo>
                  <a:pt x="0" y="6"/>
                </a:lnTo>
                <a:lnTo>
                  <a:pt x="3" y="6"/>
                </a:ln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84" name="Rectangle 472"/>
          <p:cNvSpPr>
            <a:spLocks noChangeArrowheads="1"/>
          </p:cNvSpPr>
          <p:nvPr/>
        </p:nvSpPr>
        <p:spPr bwMode="gray">
          <a:xfrm>
            <a:off x="3214580" y="5337144"/>
            <a:ext cx="6000" cy="60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85" name="Rectangle 473"/>
          <p:cNvSpPr>
            <a:spLocks noChangeArrowheads="1"/>
          </p:cNvSpPr>
          <p:nvPr/>
        </p:nvSpPr>
        <p:spPr bwMode="gray">
          <a:xfrm>
            <a:off x="3214580" y="5356645"/>
            <a:ext cx="6000" cy="45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86" name="Freeform 474"/>
          <p:cNvSpPr>
            <a:spLocks/>
          </p:cNvSpPr>
          <p:nvPr/>
        </p:nvSpPr>
        <p:spPr bwMode="gray">
          <a:xfrm>
            <a:off x="3204578" y="5347645"/>
            <a:ext cx="4001" cy="4500"/>
          </a:xfrm>
          <a:custGeom>
            <a:avLst/>
            <a:gdLst>
              <a:gd name="T0" fmla="*/ 0 w 2"/>
              <a:gd name="T1" fmla="*/ 2147483647 h 3"/>
              <a:gd name="T2" fmla="*/ 2147483647 w 2"/>
              <a:gd name="T3" fmla="*/ 2147483647 h 3"/>
              <a:gd name="T4" fmla="*/ 2147483647 w 2"/>
              <a:gd name="T5" fmla="*/ 0 h 3"/>
              <a:gd name="T6" fmla="*/ 0 w 2"/>
              <a:gd name="T7" fmla="*/ 2147483647 h 3"/>
              <a:gd name="T8" fmla="*/ 0 w 2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"/>
              <a:gd name="T16" fmla="*/ 0 h 3"/>
              <a:gd name="T17" fmla="*/ 2 w 2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" h="3">
                <a:moveTo>
                  <a:pt x="0" y="3"/>
                </a:moveTo>
                <a:lnTo>
                  <a:pt x="2" y="3"/>
                </a:lnTo>
                <a:lnTo>
                  <a:pt x="2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87" name="Freeform 475"/>
          <p:cNvSpPr>
            <a:spLocks/>
          </p:cNvSpPr>
          <p:nvPr/>
        </p:nvSpPr>
        <p:spPr bwMode="gray">
          <a:xfrm>
            <a:off x="3192576" y="5343145"/>
            <a:ext cx="12002" cy="4501"/>
          </a:xfrm>
          <a:custGeom>
            <a:avLst/>
            <a:gdLst>
              <a:gd name="T0" fmla="*/ 2147483647 w 6"/>
              <a:gd name="T1" fmla="*/ 2147483647 h 3"/>
              <a:gd name="T2" fmla="*/ 2147483647 w 6"/>
              <a:gd name="T3" fmla="*/ 2147483647 h 3"/>
              <a:gd name="T4" fmla="*/ 2147483647 w 6"/>
              <a:gd name="T5" fmla="*/ 2147483647 h 3"/>
              <a:gd name="T6" fmla="*/ 2147483647 w 6"/>
              <a:gd name="T7" fmla="*/ 0 h 3"/>
              <a:gd name="T8" fmla="*/ 0 w 6"/>
              <a:gd name="T9" fmla="*/ 0 h 3"/>
              <a:gd name="T10" fmla="*/ 0 w 6"/>
              <a:gd name="T11" fmla="*/ 0 h 3"/>
              <a:gd name="T12" fmla="*/ 2147483647 w 6"/>
              <a:gd name="T13" fmla="*/ 0 h 3"/>
              <a:gd name="T14" fmla="*/ 2147483647 w 6"/>
              <a:gd name="T15" fmla="*/ 0 h 3"/>
              <a:gd name="T16" fmla="*/ 2147483647 w 6"/>
              <a:gd name="T17" fmla="*/ 2147483647 h 3"/>
              <a:gd name="T18" fmla="*/ 2147483647 w 6"/>
              <a:gd name="T19" fmla="*/ 2147483647 h 3"/>
              <a:gd name="T20" fmla="*/ 2147483647 w 6"/>
              <a:gd name="T21" fmla="*/ 2147483647 h 3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6"/>
              <a:gd name="T34" fmla="*/ 0 h 3"/>
              <a:gd name="T35" fmla="*/ 6 w 6"/>
              <a:gd name="T36" fmla="*/ 3 h 3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6" h="3">
                <a:moveTo>
                  <a:pt x="3" y="3"/>
                </a:moveTo>
                <a:lnTo>
                  <a:pt x="3" y="3"/>
                </a:lnTo>
                <a:lnTo>
                  <a:pt x="6" y="3"/>
                </a:lnTo>
                <a:lnTo>
                  <a:pt x="6" y="0"/>
                </a:lnTo>
                <a:lnTo>
                  <a:pt x="0" y="0"/>
                </a:lnTo>
                <a:lnTo>
                  <a:pt x="3" y="0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88" name="Freeform 476"/>
          <p:cNvSpPr>
            <a:spLocks/>
          </p:cNvSpPr>
          <p:nvPr/>
        </p:nvSpPr>
        <p:spPr bwMode="gray">
          <a:xfrm>
            <a:off x="3100559" y="5160140"/>
            <a:ext cx="6002" cy="12000"/>
          </a:xfrm>
          <a:custGeom>
            <a:avLst/>
            <a:gdLst>
              <a:gd name="T0" fmla="*/ 2147483647 w 3"/>
              <a:gd name="T1" fmla="*/ 2147483647 h 8"/>
              <a:gd name="T2" fmla="*/ 0 w 3"/>
              <a:gd name="T3" fmla="*/ 0 h 8"/>
              <a:gd name="T4" fmla="*/ 0 w 3"/>
              <a:gd name="T5" fmla="*/ 2147483647 h 8"/>
              <a:gd name="T6" fmla="*/ 2147483647 w 3"/>
              <a:gd name="T7" fmla="*/ 2147483647 h 8"/>
              <a:gd name="T8" fmla="*/ 2147483647 w 3"/>
              <a:gd name="T9" fmla="*/ 2147483647 h 8"/>
              <a:gd name="T10" fmla="*/ 2147483647 w 3"/>
              <a:gd name="T11" fmla="*/ 2147483647 h 8"/>
              <a:gd name="T12" fmla="*/ 2147483647 w 3"/>
              <a:gd name="T13" fmla="*/ 2147483647 h 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"/>
              <a:gd name="T22" fmla="*/ 0 h 8"/>
              <a:gd name="T23" fmla="*/ 3 w 3"/>
              <a:gd name="T24" fmla="*/ 8 h 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" h="8">
                <a:moveTo>
                  <a:pt x="3" y="3"/>
                </a:moveTo>
                <a:lnTo>
                  <a:pt x="0" y="0"/>
                </a:lnTo>
                <a:lnTo>
                  <a:pt x="0" y="3"/>
                </a:lnTo>
                <a:lnTo>
                  <a:pt x="3" y="5"/>
                </a:lnTo>
                <a:lnTo>
                  <a:pt x="3" y="8"/>
                </a:lnTo>
                <a:lnTo>
                  <a:pt x="3" y="5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89" name="Freeform 477"/>
          <p:cNvSpPr>
            <a:spLocks/>
          </p:cNvSpPr>
          <p:nvPr/>
        </p:nvSpPr>
        <p:spPr bwMode="gray">
          <a:xfrm>
            <a:off x="3100559" y="5172140"/>
            <a:ext cx="12002" cy="4501"/>
          </a:xfrm>
          <a:custGeom>
            <a:avLst/>
            <a:gdLst>
              <a:gd name="T0" fmla="*/ 2147483647 w 6"/>
              <a:gd name="T1" fmla="*/ 0 h 3"/>
              <a:gd name="T2" fmla="*/ 2147483647 w 6"/>
              <a:gd name="T3" fmla="*/ 0 h 3"/>
              <a:gd name="T4" fmla="*/ 0 w 6"/>
              <a:gd name="T5" fmla="*/ 0 h 3"/>
              <a:gd name="T6" fmla="*/ 2147483647 w 6"/>
              <a:gd name="T7" fmla="*/ 2147483647 h 3"/>
              <a:gd name="T8" fmla="*/ 2147483647 w 6"/>
              <a:gd name="T9" fmla="*/ 2147483647 h 3"/>
              <a:gd name="T10" fmla="*/ 2147483647 w 6"/>
              <a:gd name="T11" fmla="*/ 0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3"/>
              <a:gd name="T20" fmla="*/ 6 w 6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3">
                <a:moveTo>
                  <a:pt x="3" y="0"/>
                </a:moveTo>
                <a:lnTo>
                  <a:pt x="3" y="0"/>
                </a:lnTo>
                <a:lnTo>
                  <a:pt x="0" y="0"/>
                </a:lnTo>
                <a:lnTo>
                  <a:pt x="3" y="3"/>
                </a:lnTo>
                <a:lnTo>
                  <a:pt x="6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90" name="Freeform 478"/>
          <p:cNvSpPr>
            <a:spLocks/>
          </p:cNvSpPr>
          <p:nvPr/>
        </p:nvSpPr>
        <p:spPr bwMode="gray">
          <a:xfrm>
            <a:off x="3064552" y="5190140"/>
            <a:ext cx="8001" cy="6000"/>
          </a:xfrm>
          <a:custGeom>
            <a:avLst/>
            <a:gdLst>
              <a:gd name="T0" fmla="*/ 0 w 3"/>
              <a:gd name="T1" fmla="*/ 2147483647 h 3"/>
              <a:gd name="T2" fmla="*/ 0 w 3"/>
              <a:gd name="T3" fmla="*/ 2147483647 h 3"/>
              <a:gd name="T4" fmla="*/ 2147483647 w 3"/>
              <a:gd name="T5" fmla="*/ 2147483647 h 3"/>
              <a:gd name="T6" fmla="*/ 2147483647 w 3"/>
              <a:gd name="T7" fmla="*/ 0 h 3"/>
              <a:gd name="T8" fmla="*/ 0 w 3"/>
              <a:gd name="T9" fmla="*/ 0 h 3"/>
              <a:gd name="T10" fmla="*/ 0 w 3"/>
              <a:gd name="T11" fmla="*/ 2147483647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"/>
              <a:gd name="T19" fmla="*/ 0 h 3"/>
              <a:gd name="T20" fmla="*/ 3 w 3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" h="3">
                <a:moveTo>
                  <a:pt x="0" y="3"/>
                </a:moveTo>
                <a:lnTo>
                  <a:pt x="0" y="3"/>
                </a:lnTo>
                <a:lnTo>
                  <a:pt x="3" y="3"/>
                </a:ln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91" name="Rectangle 479"/>
          <p:cNvSpPr>
            <a:spLocks noChangeArrowheads="1"/>
          </p:cNvSpPr>
          <p:nvPr/>
        </p:nvSpPr>
        <p:spPr bwMode="gray">
          <a:xfrm>
            <a:off x="3152568" y="5325144"/>
            <a:ext cx="6002" cy="4501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92" name="Freeform 480"/>
          <p:cNvSpPr>
            <a:spLocks/>
          </p:cNvSpPr>
          <p:nvPr/>
        </p:nvSpPr>
        <p:spPr bwMode="gray">
          <a:xfrm>
            <a:off x="3082556" y="5226141"/>
            <a:ext cx="18003" cy="12000"/>
          </a:xfrm>
          <a:custGeom>
            <a:avLst/>
            <a:gdLst>
              <a:gd name="T0" fmla="*/ 2147483647 w 9"/>
              <a:gd name="T1" fmla="*/ 2147483647 h 8"/>
              <a:gd name="T2" fmla="*/ 2147483647 w 9"/>
              <a:gd name="T3" fmla="*/ 2147483647 h 8"/>
              <a:gd name="T4" fmla="*/ 2147483647 w 9"/>
              <a:gd name="T5" fmla="*/ 2147483647 h 8"/>
              <a:gd name="T6" fmla="*/ 0 w 9"/>
              <a:gd name="T7" fmla="*/ 0 h 8"/>
              <a:gd name="T8" fmla="*/ 2147483647 w 9"/>
              <a:gd name="T9" fmla="*/ 2147483647 h 8"/>
              <a:gd name="T10" fmla="*/ 2147483647 w 9"/>
              <a:gd name="T11" fmla="*/ 2147483647 h 8"/>
              <a:gd name="T12" fmla="*/ 2147483647 w 9"/>
              <a:gd name="T13" fmla="*/ 2147483647 h 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"/>
              <a:gd name="T22" fmla="*/ 0 h 8"/>
              <a:gd name="T23" fmla="*/ 9 w 9"/>
              <a:gd name="T24" fmla="*/ 8 h 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" h="8">
                <a:moveTo>
                  <a:pt x="6" y="8"/>
                </a:moveTo>
                <a:lnTo>
                  <a:pt x="9" y="8"/>
                </a:lnTo>
                <a:lnTo>
                  <a:pt x="6" y="5"/>
                </a:lnTo>
                <a:lnTo>
                  <a:pt x="0" y="0"/>
                </a:lnTo>
                <a:lnTo>
                  <a:pt x="3" y="3"/>
                </a:lnTo>
                <a:lnTo>
                  <a:pt x="3" y="5"/>
                </a:lnTo>
                <a:lnTo>
                  <a:pt x="6" y="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93" name="Freeform 481"/>
          <p:cNvSpPr>
            <a:spLocks/>
          </p:cNvSpPr>
          <p:nvPr/>
        </p:nvSpPr>
        <p:spPr bwMode="gray">
          <a:xfrm>
            <a:off x="3058552" y="5043136"/>
            <a:ext cx="6000" cy="4501"/>
          </a:xfrm>
          <a:custGeom>
            <a:avLst/>
            <a:gdLst>
              <a:gd name="T0" fmla="*/ 2147483647 w 3"/>
              <a:gd name="T1" fmla="*/ 2147483647 h 3"/>
              <a:gd name="T2" fmla="*/ 2147483647 w 3"/>
              <a:gd name="T3" fmla="*/ 0 h 3"/>
              <a:gd name="T4" fmla="*/ 2147483647 w 3"/>
              <a:gd name="T5" fmla="*/ 0 h 3"/>
              <a:gd name="T6" fmla="*/ 0 w 3"/>
              <a:gd name="T7" fmla="*/ 2147483647 h 3"/>
              <a:gd name="T8" fmla="*/ 2147483647 w 3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3" y="3"/>
                </a:moveTo>
                <a:lnTo>
                  <a:pt x="3" y="0"/>
                </a:lnTo>
                <a:lnTo>
                  <a:pt x="0" y="3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94" name="Freeform 482"/>
          <p:cNvSpPr>
            <a:spLocks/>
          </p:cNvSpPr>
          <p:nvPr/>
        </p:nvSpPr>
        <p:spPr bwMode="gray">
          <a:xfrm>
            <a:off x="3052550" y="5037136"/>
            <a:ext cx="12002" cy="10501"/>
          </a:xfrm>
          <a:custGeom>
            <a:avLst/>
            <a:gdLst>
              <a:gd name="T0" fmla="*/ 0 w 6"/>
              <a:gd name="T1" fmla="*/ 2147483647 h 6"/>
              <a:gd name="T2" fmla="*/ 2147483647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0" y="3"/>
                </a:moveTo>
                <a:lnTo>
                  <a:pt x="3" y="6"/>
                </a:lnTo>
                <a:lnTo>
                  <a:pt x="6" y="3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95" name="Freeform 483"/>
          <p:cNvSpPr>
            <a:spLocks/>
          </p:cNvSpPr>
          <p:nvPr/>
        </p:nvSpPr>
        <p:spPr bwMode="gray">
          <a:xfrm>
            <a:off x="3046550" y="5125639"/>
            <a:ext cx="6000" cy="4500"/>
          </a:xfrm>
          <a:custGeom>
            <a:avLst/>
            <a:gdLst>
              <a:gd name="T0" fmla="*/ 0 w 3"/>
              <a:gd name="T1" fmla="*/ 2147483647 h 3"/>
              <a:gd name="T2" fmla="*/ 2147483647 w 3"/>
              <a:gd name="T3" fmla="*/ 2147483647 h 3"/>
              <a:gd name="T4" fmla="*/ 2147483647 w 3"/>
              <a:gd name="T5" fmla="*/ 2147483647 h 3"/>
              <a:gd name="T6" fmla="*/ 2147483647 w 3"/>
              <a:gd name="T7" fmla="*/ 0 h 3"/>
              <a:gd name="T8" fmla="*/ 0 w 3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0" y="3"/>
                </a:moveTo>
                <a:lnTo>
                  <a:pt x="3" y="3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96" name="Freeform 484"/>
          <p:cNvSpPr>
            <a:spLocks/>
          </p:cNvSpPr>
          <p:nvPr/>
        </p:nvSpPr>
        <p:spPr bwMode="gray">
          <a:xfrm>
            <a:off x="3088557" y="5238142"/>
            <a:ext cx="12002" cy="18000"/>
          </a:xfrm>
          <a:custGeom>
            <a:avLst/>
            <a:gdLst>
              <a:gd name="T0" fmla="*/ 2147483647 w 6"/>
              <a:gd name="T1" fmla="*/ 2147483647 h 12"/>
              <a:gd name="T2" fmla="*/ 2147483647 w 6"/>
              <a:gd name="T3" fmla="*/ 2147483647 h 12"/>
              <a:gd name="T4" fmla="*/ 0 w 6"/>
              <a:gd name="T5" fmla="*/ 0 h 12"/>
              <a:gd name="T6" fmla="*/ 0 w 6"/>
              <a:gd name="T7" fmla="*/ 2147483647 h 12"/>
              <a:gd name="T8" fmla="*/ 2147483647 w 6"/>
              <a:gd name="T9" fmla="*/ 2147483647 h 12"/>
              <a:gd name="T10" fmla="*/ 2147483647 w 6"/>
              <a:gd name="T11" fmla="*/ 2147483647 h 12"/>
              <a:gd name="T12" fmla="*/ 2147483647 w 6"/>
              <a:gd name="T13" fmla="*/ 2147483647 h 12"/>
              <a:gd name="T14" fmla="*/ 2147483647 w 6"/>
              <a:gd name="T15" fmla="*/ 2147483647 h 12"/>
              <a:gd name="T16" fmla="*/ 2147483647 w 6"/>
              <a:gd name="T17" fmla="*/ 2147483647 h 12"/>
              <a:gd name="T18" fmla="*/ 2147483647 w 6"/>
              <a:gd name="T19" fmla="*/ 2147483647 h 1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6"/>
              <a:gd name="T31" fmla="*/ 0 h 12"/>
              <a:gd name="T32" fmla="*/ 6 w 6"/>
              <a:gd name="T33" fmla="*/ 12 h 1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6" h="12">
                <a:moveTo>
                  <a:pt x="3" y="3"/>
                </a:move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lnTo>
                  <a:pt x="3" y="6"/>
                </a:lnTo>
                <a:lnTo>
                  <a:pt x="3" y="9"/>
                </a:lnTo>
                <a:lnTo>
                  <a:pt x="6" y="12"/>
                </a:lnTo>
                <a:lnTo>
                  <a:pt x="6" y="9"/>
                </a:lnTo>
                <a:lnTo>
                  <a:pt x="6" y="6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97" name="Freeform 485"/>
          <p:cNvSpPr>
            <a:spLocks/>
          </p:cNvSpPr>
          <p:nvPr/>
        </p:nvSpPr>
        <p:spPr bwMode="gray">
          <a:xfrm>
            <a:off x="3040548" y="5133139"/>
            <a:ext cx="6002" cy="4501"/>
          </a:xfrm>
          <a:custGeom>
            <a:avLst/>
            <a:gdLst>
              <a:gd name="T0" fmla="*/ 0 w 3"/>
              <a:gd name="T1" fmla="*/ 2147483647 h 3"/>
              <a:gd name="T2" fmla="*/ 2147483647 w 3"/>
              <a:gd name="T3" fmla="*/ 2147483647 h 3"/>
              <a:gd name="T4" fmla="*/ 2147483647 w 3"/>
              <a:gd name="T5" fmla="*/ 0 h 3"/>
              <a:gd name="T6" fmla="*/ 0 w 3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0" y="3"/>
                </a:moveTo>
                <a:lnTo>
                  <a:pt x="3" y="3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98" name="Freeform 486"/>
          <p:cNvSpPr>
            <a:spLocks/>
          </p:cNvSpPr>
          <p:nvPr/>
        </p:nvSpPr>
        <p:spPr bwMode="gray">
          <a:xfrm>
            <a:off x="3052551" y="5164641"/>
            <a:ext cx="54010" cy="25500"/>
          </a:xfrm>
          <a:custGeom>
            <a:avLst/>
            <a:gdLst>
              <a:gd name="T0" fmla="*/ 2147483647 w 26"/>
              <a:gd name="T1" fmla="*/ 2147483647 h 17"/>
              <a:gd name="T2" fmla="*/ 2147483647 w 26"/>
              <a:gd name="T3" fmla="*/ 2147483647 h 17"/>
              <a:gd name="T4" fmla="*/ 2147483647 w 26"/>
              <a:gd name="T5" fmla="*/ 2147483647 h 17"/>
              <a:gd name="T6" fmla="*/ 2147483647 w 26"/>
              <a:gd name="T7" fmla="*/ 2147483647 h 17"/>
              <a:gd name="T8" fmla="*/ 2147483647 w 26"/>
              <a:gd name="T9" fmla="*/ 2147483647 h 17"/>
              <a:gd name="T10" fmla="*/ 2147483647 w 26"/>
              <a:gd name="T11" fmla="*/ 2147483647 h 17"/>
              <a:gd name="T12" fmla="*/ 2147483647 w 26"/>
              <a:gd name="T13" fmla="*/ 2147483647 h 17"/>
              <a:gd name="T14" fmla="*/ 2147483647 w 26"/>
              <a:gd name="T15" fmla="*/ 2147483647 h 17"/>
              <a:gd name="T16" fmla="*/ 2147483647 w 26"/>
              <a:gd name="T17" fmla="*/ 2147483647 h 17"/>
              <a:gd name="T18" fmla="*/ 2147483647 w 26"/>
              <a:gd name="T19" fmla="*/ 2147483647 h 17"/>
              <a:gd name="T20" fmla="*/ 2147483647 w 26"/>
              <a:gd name="T21" fmla="*/ 2147483647 h 17"/>
              <a:gd name="T22" fmla="*/ 2147483647 w 26"/>
              <a:gd name="T23" fmla="*/ 0 h 17"/>
              <a:gd name="T24" fmla="*/ 2147483647 w 26"/>
              <a:gd name="T25" fmla="*/ 0 h 17"/>
              <a:gd name="T26" fmla="*/ 2147483647 w 26"/>
              <a:gd name="T27" fmla="*/ 2147483647 h 17"/>
              <a:gd name="T28" fmla="*/ 2147483647 w 26"/>
              <a:gd name="T29" fmla="*/ 2147483647 h 17"/>
              <a:gd name="T30" fmla="*/ 2147483647 w 26"/>
              <a:gd name="T31" fmla="*/ 2147483647 h 17"/>
              <a:gd name="T32" fmla="*/ 2147483647 w 26"/>
              <a:gd name="T33" fmla="*/ 2147483647 h 17"/>
              <a:gd name="T34" fmla="*/ 0 w 26"/>
              <a:gd name="T35" fmla="*/ 2147483647 h 17"/>
              <a:gd name="T36" fmla="*/ 2147483647 w 26"/>
              <a:gd name="T37" fmla="*/ 2147483647 h 17"/>
              <a:gd name="T38" fmla="*/ 2147483647 w 26"/>
              <a:gd name="T39" fmla="*/ 2147483647 h 17"/>
              <a:gd name="T40" fmla="*/ 2147483647 w 26"/>
              <a:gd name="T41" fmla="*/ 2147483647 h 17"/>
              <a:gd name="T42" fmla="*/ 2147483647 w 26"/>
              <a:gd name="T43" fmla="*/ 2147483647 h 17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26"/>
              <a:gd name="T67" fmla="*/ 0 h 17"/>
              <a:gd name="T68" fmla="*/ 26 w 26"/>
              <a:gd name="T69" fmla="*/ 17 h 17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26" h="17">
                <a:moveTo>
                  <a:pt x="20" y="17"/>
                </a:moveTo>
                <a:lnTo>
                  <a:pt x="23" y="17"/>
                </a:lnTo>
                <a:lnTo>
                  <a:pt x="26" y="17"/>
                </a:lnTo>
                <a:lnTo>
                  <a:pt x="26" y="14"/>
                </a:lnTo>
                <a:lnTo>
                  <a:pt x="26" y="8"/>
                </a:lnTo>
                <a:lnTo>
                  <a:pt x="20" y="8"/>
                </a:lnTo>
                <a:lnTo>
                  <a:pt x="20" y="5"/>
                </a:lnTo>
                <a:lnTo>
                  <a:pt x="20" y="8"/>
                </a:lnTo>
                <a:lnTo>
                  <a:pt x="20" y="2"/>
                </a:lnTo>
                <a:lnTo>
                  <a:pt x="17" y="0"/>
                </a:lnTo>
                <a:lnTo>
                  <a:pt x="14" y="0"/>
                </a:lnTo>
                <a:lnTo>
                  <a:pt x="11" y="2"/>
                </a:lnTo>
                <a:lnTo>
                  <a:pt x="14" y="5"/>
                </a:lnTo>
                <a:lnTo>
                  <a:pt x="11" y="5"/>
                </a:lnTo>
                <a:lnTo>
                  <a:pt x="6" y="8"/>
                </a:lnTo>
                <a:lnTo>
                  <a:pt x="0" y="14"/>
                </a:lnTo>
                <a:lnTo>
                  <a:pt x="3" y="17"/>
                </a:lnTo>
                <a:lnTo>
                  <a:pt x="11" y="14"/>
                </a:lnTo>
                <a:lnTo>
                  <a:pt x="14" y="17"/>
                </a:lnTo>
                <a:lnTo>
                  <a:pt x="20" y="1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99" name="Freeform 487"/>
          <p:cNvSpPr>
            <a:spLocks/>
          </p:cNvSpPr>
          <p:nvPr/>
        </p:nvSpPr>
        <p:spPr bwMode="gray">
          <a:xfrm>
            <a:off x="3152568" y="5302644"/>
            <a:ext cx="6002" cy="9000"/>
          </a:xfrm>
          <a:custGeom>
            <a:avLst/>
            <a:gdLst>
              <a:gd name="T0" fmla="*/ 2147483647 w 3"/>
              <a:gd name="T1" fmla="*/ 2147483647 h 6"/>
              <a:gd name="T2" fmla="*/ 2147483647 w 3"/>
              <a:gd name="T3" fmla="*/ 2147483647 h 6"/>
              <a:gd name="T4" fmla="*/ 0 w 3"/>
              <a:gd name="T5" fmla="*/ 0 h 6"/>
              <a:gd name="T6" fmla="*/ 0 w 3"/>
              <a:gd name="T7" fmla="*/ 2147483647 h 6"/>
              <a:gd name="T8" fmla="*/ 0 w 3"/>
              <a:gd name="T9" fmla="*/ 2147483647 h 6"/>
              <a:gd name="T10" fmla="*/ 2147483647 w 3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"/>
              <a:gd name="T19" fmla="*/ 0 h 6"/>
              <a:gd name="T20" fmla="*/ 3 w 3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" h="6">
                <a:moveTo>
                  <a:pt x="3" y="6"/>
                </a:move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lnTo>
                  <a:pt x="0" y="6"/>
                </a:lnTo>
                <a:lnTo>
                  <a:pt x="3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00" name="Freeform 488"/>
          <p:cNvSpPr>
            <a:spLocks/>
          </p:cNvSpPr>
          <p:nvPr/>
        </p:nvSpPr>
        <p:spPr bwMode="gray">
          <a:xfrm>
            <a:off x="3118562" y="5272643"/>
            <a:ext cx="22003" cy="34500"/>
          </a:xfrm>
          <a:custGeom>
            <a:avLst/>
            <a:gdLst>
              <a:gd name="T0" fmla="*/ 2147483647 w 11"/>
              <a:gd name="T1" fmla="*/ 2147483647 h 23"/>
              <a:gd name="T2" fmla="*/ 2147483647 w 11"/>
              <a:gd name="T3" fmla="*/ 2147483647 h 23"/>
              <a:gd name="T4" fmla="*/ 2147483647 w 11"/>
              <a:gd name="T5" fmla="*/ 2147483647 h 23"/>
              <a:gd name="T6" fmla="*/ 2147483647 w 11"/>
              <a:gd name="T7" fmla="*/ 2147483647 h 23"/>
              <a:gd name="T8" fmla="*/ 2147483647 w 11"/>
              <a:gd name="T9" fmla="*/ 2147483647 h 23"/>
              <a:gd name="T10" fmla="*/ 2147483647 w 11"/>
              <a:gd name="T11" fmla="*/ 2147483647 h 23"/>
              <a:gd name="T12" fmla="*/ 2147483647 w 11"/>
              <a:gd name="T13" fmla="*/ 2147483647 h 23"/>
              <a:gd name="T14" fmla="*/ 2147483647 w 11"/>
              <a:gd name="T15" fmla="*/ 2147483647 h 23"/>
              <a:gd name="T16" fmla="*/ 2147483647 w 11"/>
              <a:gd name="T17" fmla="*/ 0 h 23"/>
              <a:gd name="T18" fmla="*/ 0 w 11"/>
              <a:gd name="T19" fmla="*/ 0 h 23"/>
              <a:gd name="T20" fmla="*/ 0 w 11"/>
              <a:gd name="T21" fmla="*/ 2147483647 h 23"/>
              <a:gd name="T22" fmla="*/ 0 w 11"/>
              <a:gd name="T23" fmla="*/ 2147483647 h 23"/>
              <a:gd name="T24" fmla="*/ 2147483647 w 11"/>
              <a:gd name="T25" fmla="*/ 2147483647 h 23"/>
              <a:gd name="T26" fmla="*/ 2147483647 w 11"/>
              <a:gd name="T27" fmla="*/ 2147483647 h 23"/>
              <a:gd name="T28" fmla="*/ 2147483647 w 11"/>
              <a:gd name="T29" fmla="*/ 2147483647 h 23"/>
              <a:gd name="T30" fmla="*/ 2147483647 w 11"/>
              <a:gd name="T31" fmla="*/ 2147483647 h 23"/>
              <a:gd name="T32" fmla="*/ 2147483647 w 11"/>
              <a:gd name="T33" fmla="*/ 2147483647 h 23"/>
              <a:gd name="T34" fmla="*/ 2147483647 w 11"/>
              <a:gd name="T35" fmla="*/ 2147483647 h 23"/>
              <a:gd name="T36" fmla="*/ 2147483647 w 11"/>
              <a:gd name="T37" fmla="*/ 2147483647 h 23"/>
              <a:gd name="T38" fmla="*/ 2147483647 w 11"/>
              <a:gd name="T39" fmla="*/ 2147483647 h 23"/>
              <a:gd name="T40" fmla="*/ 2147483647 w 11"/>
              <a:gd name="T41" fmla="*/ 2147483647 h 23"/>
              <a:gd name="T42" fmla="*/ 2147483647 w 11"/>
              <a:gd name="T43" fmla="*/ 2147483647 h 23"/>
              <a:gd name="T44" fmla="*/ 2147483647 w 11"/>
              <a:gd name="T45" fmla="*/ 2147483647 h 23"/>
              <a:gd name="T46" fmla="*/ 2147483647 w 11"/>
              <a:gd name="T47" fmla="*/ 2147483647 h 23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1"/>
              <a:gd name="T73" fmla="*/ 0 h 23"/>
              <a:gd name="T74" fmla="*/ 11 w 11"/>
              <a:gd name="T75" fmla="*/ 23 h 23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1" h="23">
                <a:moveTo>
                  <a:pt x="8" y="15"/>
                </a:moveTo>
                <a:lnTo>
                  <a:pt x="11" y="12"/>
                </a:lnTo>
                <a:lnTo>
                  <a:pt x="11" y="9"/>
                </a:lnTo>
                <a:lnTo>
                  <a:pt x="8" y="12"/>
                </a:lnTo>
                <a:lnTo>
                  <a:pt x="8" y="9"/>
                </a:lnTo>
                <a:lnTo>
                  <a:pt x="5" y="6"/>
                </a:lnTo>
                <a:lnTo>
                  <a:pt x="5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5" y="3"/>
                </a:lnTo>
                <a:lnTo>
                  <a:pt x="2" y="9"/>
                </a:lnTo>
                <a:lnTo>
                  <a:pt x="5" y="15"/>
                </a:lnTo>
                <a:lnTo>
                  <a:pt x="8" y="15"/>
                </a:lnTo>
                <a:lnTo>
                  <a:pt x="5" y="18"/>
                </a:lnTo>
                <a:lnTo>
                  <a:pt x="8" y="20"/>
                </a:lnTo>
                <a:lnTo>
                  <a:pt x="8" y="23"/>
                </a:lnTo>
                <a:lnTo>
                  <a:pt x="11" y="23"/>
                </a:lnTo>
                <a:lnTo>
                  <a:pt x="8" y="20"/>
                </a:lnTo>
                <a:lnTo>
                  <a:pt x="11" y="18"/>
                </a:lnTo>
                <a:lnTo>
                  <a:pt x="11" y="15"/>
                </a:lnTo>
                <a:lnTo>
                  <a:pt x="8" y="1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01" name="Freeform 489"/>
          <p:cNvSpPr>
            <a:spLocks/>
          </p:cNvSpPr>
          <p:nvPr/>
        </p:nvSpPr>
        <p:spPr bwMode="gray">
          <a:xfrm>
            <a:off x="3146568" y="5286143"/>
            <a:ext cx="18003" cy="13501"/>
          </a:xfrm>
          <a:custGeom>
            <a:avLst/>
            <a:gdLst>
              <a:gd name="T0" fmla="*/ 2147483647 w 9"/>
              <a:gd name="T1" fmla="*/ 2147483647 h 9"/>
              <a:gd name="T2" fmla="*/ 2147483647 w 9"/>
              <a:gd name="T3" fmla="*/ 2147483647 h 9"/>
              <a:gd name="T4" fmla="*/ 2147483647 w 9"/>
              <a:gd name="T5" fmla="*/ 2147483647 h 9"/>
              <a:gd name="T6" fmla="*/ 2147483647 w 9"/>
              <a:gd name="T7" fmla="*/ 2147483647 h 9"/>
              <a:gd name="T8" fmla="*/ 2147483647 w 9"/>
              <a:gd name="T9" fmla="*/ 2147483647 h 9"/>
              <a:gd name="T10" fmla="*/ 2147483647 w 9"/>
              <a:gd name="T11" fmla="*/ 0 h 9"/>
              <a:gd name="T12" fmla="*/ 2147483647 w 9"/>
              <a:gd name="T13" fmla="*/ 0 h 9"/>
              <a:gd name="T14" fmla="*/ 0 w 9"/>
              <a:gd name="T15" fmla="*/ 0 h 9"/>
              <a:gd name="T16" fmla="*/ 2147483647 w 9"/>
              <a:gd name="T17" fmla="*/ 2147483647 h 9"/>
              <a:gd name="T18" fmla="*/ 2147483647 w 9"/>
              <a:gd name="T19" fmla="*/ 2147483647 h 9"/>
              <a:gd name="T20" fmla="*/ 0 w 9"/>
              <a:gd name="T21" fmla="*/ 2147483647 h 9"/>
              <a:gd name="T22" fmla="*/ 0 w 9"/>
              <a:gd name="T23" fmla="*/ 2147483647 h 9"/>
              <a:gd name="T24" fmla="*/ 2147483647 w 9"/>
              <a:gd name="T25" fmla="*/ 2147483647 h 9"/>
              <a:gd name="T26" fmla="*/ 2147483647 w 9"/>
              <a:gd name="T27" fmla="*/ 2147483647 h 9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9"/>
              <a:gd name="T43" fmla="*/ 0 h 9"/>
              <a:gd name="T44" fmla="*/ 9 w 9"/>
              <a:gd name="T45" fmla="*/ 9 h 9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9" h="9">
                <a:moveTo>
                  <a:pt x="3" y="9"/>
                </a:moveTo>
                <a:lnTo>
                  <a:pt x="6" y="6"/>
                </a:lnTo>
                <a:lnTo>
                  <a:pt x="9" y="3"/>
                </a:lnTo>
                <a:lnTo>
                  <a:pt x="6" y="3"/>
                </a:lnTo>
                <a:lnTo>
                  <a:pt x="3" y="0"/>
                </a:lnTo>
                <a:lnTo>
                  <a:pt x="0" y="0"/>
                </a:lnTo>
                <a:lnTo>
                  <a:pt x="3" y="3"/>
                </a:lnTo>
                <a:lnTo>
                  <a:pt x="3" y="6"/>
                </a:lnTo>
                <a:lnTo>
                  <a:pt x="0" y="6"/>
                </a:lnTo>
                <a:lnTo>
                  <a:pt x="0" y="9"/>
                </a:lnTo>
                <a:lnTo>
                  <a:pt x="3" y="6"/>
                </a:lnTo>
                <a:lnTo>
                  <a:pt x="3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02" name="Freeform 490"/>
          <p:cNvSpPr>
            <a:spLocks/>
          </p:cNvSpPr>
          <p:nvPr/>
        </p:nvSpPr>
        <p:spPr bwMode="gray">
          <a:xfrm>
            <a:off x="3152568" y="5316144"/>
            <a:ext cx="6002" cy="4501"/>
          </a:xfrm>
          <a:custGeom>
            <a:avLst/>
            <a:gdLst>
              <a:gd name="T0" fmla="*/ 2147483647 w 3"/>
              <a:gd name="T1" fmla="*/ 2147483647 h 3"/>
              <a:gd name="T2" fmla="*/ 2147483647 w 3"/>
              <a:gd name="T3" fmla="*/ 2147483647 h 3"/>
              <a:gd name="T4" fmla="*/ 0 w 3"/>
              <a:gd name="T5" fmla="*/ 0 h 3"/>
              <a:gd name="T6" fmla="*/ 0 w 3"/>
              <a:gd name="T7" fmla="*/ 2147483647 h 3"/>
              <a:gd name="T8" fmla="*/ 2147483647 w 3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3" y="3"/>
                </a:move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03" name="Freeform 491"/>
          <p:cNvSpPr>
            <a:spLocks/>
          </p:cNvSpPr>
          <p:nvPr/>
        </p:nvSpPr>
        <p:spPr bwMode="gray">
          <a:xfrm>
            <a:off x="3100559" y="5242643"/>
            <a:ext cx="12002" cy="9000"/>
          </a:xfrm>
          <a:custGeom>
            <a:avLst/>
            <a:gdLst>
              <a:gd name="T0" fmla="*/ 2147483647 w 6"/>
              <a:gd name="T1" fmla="*/ 0 h 6"/>
              <a:gd name="T2" fmla="*/ 2147483647 w 6"/>
              <a:gd name="T3" fmla="*/ 0 h 6"/>
              <a:gd name="T4" fmla="*/ 0 w 6"/>
              <a:gd name="T5" fmla="*/ 0 h 6"/>
              <a:gd name="T6" fmla="*/ 0 w 6"/>
              <a:gd name="T7" fmla="*/ 0 h 6"/>
              <a:gd name="T8" fmla="*/ 2147483647 w 6"/>
              <a:gd name="T9" fmla="*/ 2147483647 h 6"/>
              <a:gd name="T10" fmla="*/ 2147483647 w 6"/>
              <a:gd name="T11" fmla="*/ 2147483647 h 6"/>
              <a:gd name="T12" fmla="*/ 2147483647 w 6"/>
              <a:gd name="T13" fmla="*/ 2147483647 h 6"/>
              <a:gd name="T14" fmla="*/ 2147483647 w 6"/>
              <a:gd name="T15" fmla="*/ 0 h 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"/>
              <a:gd name="T25" fmla="*/ 0 h 6"/>
              <a:gd name="T26" fmla="*/ 6 w 6"/>
              <a:gd name="T27" fmla="*/ 6 h 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" h="6">
                <a:moveTo>
                  <a:pt x="3" y="0"/>
                </a:moveTo>
                <a:lnTo>
                  <a:pt x="3" y="0"/>
                </a:lnTo>
                <a:lnTo>
                  <a:pt x="0" y="0"/>
                </a:lnTo>
                <a:lnTo>
                  <a:pt x="3" y="3"/>
                </a:lnTo>
                <a:lnTo>
                  <a:pt x="3" y="6"/>
                </a:lnTo>
                <a:lnTo>
                  <a:pt x="6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04" name="Rectangle 492"/>
          <p:cNvSpPr>
            <a:spLocks noChangeArrowheads="1"/>
          </p:cNvSpPr>
          <p:nvPr/>
        </p:nvSpPr>
        <p:spPr bwMode="gray">
          <a:xfrm>
            <a:off x="3106560" y="5251642"/>
            <a:ext cx="6000" cy="45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05" name="Freeform 493"/>
          <p:cNvSpPr>
            <a:spLocks/>
          </p:cNvSpPr>
          <p:nvPr/>
        </p:nvSpPr>
        <p:spPr bwMode="gray">
          <a:xfrm>
            <a:off x="3140566" y="5299644"/>
            <a:ext cx="6002" cy="7500"/>
          </a:xfrm>
          <a:custGeom>
            <a:avLst/>
            <a:gdLst>
              <a:gd name="T0" fmla="*/ 2147483647 w 3"/>
              <a:gd name="T1" fmla="*/ 2147483647 h 5"/>
              <a:gd name="T2" fmla="*/ 2147483647 w 3"/>
              <a:gd name="T3" fmla="*/ 2147483647 h 5"/>
              <a:gd name="T4" fmla="*/ 2147483647 w 3"/>
              <a:gd name="T5" fmla="*/ 2147483647 h 5"/>
              <a:gd name="T6" fmla="*/ 2147483647 w 3"/>
              <a:gd name="T7" fmla="*/ 0 h 5"/>
              <a:gd name="T8" fmla="*/ 0 w 3"/>
              <a:gd name="T9" fmla="*/ 0 h 5"/>
              <a:gd name="T10" fmla="*/ 2147483647 w 3"/>
              <a:gd name="T11" fmla="*/ 2147483647 h 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"/>
              <a:gd name="T19" fmla="*/ 0 h 5"/>
              <a:gd name="T20" fmla="*/ 3 w 3"/>
              <a:gd name="T21" fmla="*/ 5 h 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" h="5">
                <a:moveTo>
                  <a:pt x="3" y="2"/>
                </a:moveTo>
                <a:lnTo>
                  <a:pt x="3" y="5"/>
                </a:lnTo>
                <a:lnTo>
                  <a:pt x="3" y="2"/>
                </a:lnTo>
                <a:lnTo>
                  <a:pt x="3" y="0"/>
                </a:lnTo>
                <a:lnTo>
                  <a:pt x="0" y="0"/>
                </a:lnTo>
                <a:lnTo>
                  <a:pt x="3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06" name="Freeform 494"/>
          <p:cNvSpPr>
            <a:spLocks/>
          </p:cNvSpPr>
          <p:nvPr/>
        </p:nvSpPr>
        <p:spPr bwMode="gray">
          <a:xfrm>
            <a:off x="3100559" y="5256142"/>
            <a:ext cx="12002" cy="4501"/>
          </a:xfrm>
          <a:custGeom>
            <a:avLst/>
            <a:gdLst>
              <a:gd name="T0" fmla="*/ 2147483647 w 6"/>
              <a:gd name="T1" fmla="*/ 0 h 3"/>
              <a:gd name="T2" fmla="*/ 0 w 6"/>
              <a:gd name="T3" fmla="*/ 2147483647 h 3"/>
              <a:gd name="T4" fmla="*/ 2147483647 w 6"/>
              <a:gd name="T5" fmla="*/ 2147483647 h 3"/>
              <a:gd name="T6" fmla="*/ 2147483647 w 6"/>
              <a:gd name="T7" fmla="*/ 2147483647 h 3"/>
              <a:gd name="T8" fmla="*/ 2147483647 w 6"/>
              <a:gd name="T9" fmla="*/ 0 h 3"/>
              <a:gd name="T10" fmla="*/ 2147483647 w 6"/>
              <a:gd name="T11" fmla="*/ 0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3"/>
              <a:gd name="T20" fmla="*/ 6 w 6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3">
                <a:moveTo>
                  <a:pt x="3" y="0"/>
                </a:moveTo>
                <a:lnTo>
                  <a:pt x="0" y="3"/>
                </a:lnTo>
                <a:lnTo>
                  <a:pt x="3" y="3"/>
                </a:lnTo>
                <a:lnTo>
                  <a:pt x="6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07" name="Freeform 495"/>
          <p:cNvSpPr>
            <a:spLocks/>
          </p:cNvSpPr>
          <p:nvPr/>
        </p:nvSpPr>
        <p:spPr bwMode="gray">
          <a:xfrm>
            <a:off x="3112561" y="5242642"/>
            <a:ext cx="40007" cy="30001"/>
          </a:xfrm>
          <a:custGeom>
            <a:avLst/>
            <a:gdLst>
              <a:gd name="T0" fmla="*/ 2147483647 w 20"/>
              <a:gd name="T1" fmla="*/ 2147483647 h 20"/>
              <a:gd name="T2" fmla="*/ 2147483647 w 20"/>
              <a:gd name="T3" fmla="*/ 2147483647 h 20"/>
              <a:gd name="T4" fmla="*/ 2147483647 w 20"/>
              <a:gd name="T5" fmla="*/ 2147483647 h 20"/>
              <a:gd name="T6" fmla="*/ 2147483647 w 20"/>
              <a:gd name="T7" fmla="*/ 2147483647 h 20"/>
              <a:gd name="T8" fmla="*/ 2147483647 w 20"/>
              <a:gd name="T9" fmla="*/ 2147483647 h 20"/>
              <a:gd name="T10" fmla="*/ 2147483647 w 20"/>
              <a:gd name="T11" fmla="*/ 2147483647 h 20"/>
              <a:gd name="T12" fmla="*/ 2147483647 w 20"/>
              <a:gd name="T13" fmla="*/ 2147483647 h 20"/>
              <a:gd name="T14" fmla="*/ 2147483647 w 20"/>
              <a:gd name="T15" fmla="*/ 2147483647 h 20"/>
              <a:gd name="T16" fmla="*/ 2147483647 w 20"/>
              <a:gd name="T17" fmla="*/ 2147483647 h 20"/>
              <a:gd name="T18" fmla="*/ 2147483647 w 20"/>
              <a:gd name="T19" fmla="*/ 0 h 20"/>
              <a:gd name="T20" fmla="*/ 2147483647 w 20"/>
              <a:gd name="T21" fmla="*/ 2147483647 h 20"/>
              <a:gd name="T22" fmla="*/ 2147483647 w 20"/>
              <a:gd name="T23" fmla="*/ 2147483647 h 20"/>
              <a:gd name="T24" fmla="*/ 2147483647 w 20"/>
              <a:gd name="T25" fmla="*/ 2147483647 h 20"/>
              <a:gd name="T26" fmla="*/ 2147483647 w 20"/>
              <a:gd name="T27" fmla="*/ 2147483647 h 20"/>
              <a:gd name="T28" fmla="*/ 2147483647 w 20"/>
              <a:gd name="T29" fmla="*/ 2147483647 h 20"/>
              <a:gd name="T30" fmla="*/ 2147483647 w 20"/>
              <a:gd name="T31" fmla="*/ 2147483647 h 20"/>
              <a:gd name="T32" fmla="*/ 2147483647 w 20"/>
              <a:gd name="T33" fmla="*/ 2147483647 h 20"/>
              <a:gd name="T34" fmla="*/ 2147483647 w 20"/>
              <a:gd name="T35" fmla="*/ 2147483647 h 20"/>
              <a:gd name="T36" fmla="*/ 2147483647 w 20"/>
              <a:gd name="T37" fmla="*/ 2147483647 h 20"/>
              <a:gd name="T38" fmla="*/ 2147483647 w 20"/>
              <a:gd name="T39" fmla="*/ 2147483647 h 20"/>
              <a:gd name="T40" fmla="*/ 0 w 20"/>
              <a:gd name="T41" fmla="*/ 2147483647 h 20"/>
              <a:gd name="T42" fmla="*/ 2147483647 w 20"/>
              <a:gd name="T43" fmla="*/ 2147483647 h 20"/>
              <a:gd name="T44" fmla="*/ 2147483647 w 20"/>
              <a:gd name="T45" fmla="*/ 2147483647 h 20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20"/>
              <a:gd name="T70" fmla="*/ 0 h 20"/>
              <a:gd name="T71" fmla="*/ 20 w 20"/>
              <a:gd name="T72" fmla="*/ 20 h 20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20" h="20">
                <a:moveTo>
                  <a:pt x="8" y="17"/>
                </a:moveTo>
                <a:lnTo>
                  <a:pt x="11" y="15"/>
                </a:lnTo>
                <a:lnTo>
                  <a:pt x="17" y="15"/>
                </a:lnTo>
                <a:lnTo>
                  <a:pt x="20" y="12"/>
                </a:lnTo>
                <a:lnTo>
                  <a:pt x="20" y="6"/>
                </a:lnTo>
                <a:lnTo>
                  <a:pt x="14" y="6"/>
                </a:lnTo>
                <a:lnTo>
                  <a:pt x="14" y="9"/>
                </a:lnTo>
                <a:lnTo>
                  <a:pt x="14" y="6"/>
                </a:lnTo>
                <a:lnTo>
                  <a:pt x="14" y="3"/>
                </a:lnTo>
                <a:lnTo>
                  <a:pt x="8" y="0"/>
                </a:lnTo>
                <a:lnTo>
                  <a:pt x="11" y="3"/>
                </a:lnTo>
                <a:lnTo>
                  <a:pt x="11" y="6"/>
                </a:lnTo>
                <a:lnTo>
                  <a:pt x="8" y="6"/>
                </a:lnTo>
                <a:lnTo>
                  <a:pt x="8" y="3"/>
                </a:lnTo>
                <a:lnTo>
                  <a:pt x="5" y="3"/>
                </a:lnTo>
                <a:lnTo>
                  <a:pt x="3" y="3"/>
                </a:lnTo>
                <a:lnTo>
                  <a:pt x="5" y="9"/>
                </a:lnTo>
                <a:lnTo>
                  <a:pt x="8" y="12"/>
                </a:lnTo>
                <a:lnTo>
                  <a:pt x="5" y="12"/>
                </a:lnTo>
                <a:lnTo>
                  <a:pt x="0" y="15"/>
                </a:lnTo>
                <a:lnTo>
                  <a:pt x="3" y="20"/>
                </a:lnTo>
                <a:lnTo>
                  <a:pt x="8" y="1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390" name="Freeform 496"/>
          <p:cNvSpPr>
            <a:spLocks/>
          </p:cNvSpPr>
          <p:nvPr/>
        </p:nvSpPr>
        <p:spPr bwMode="gray">
          <a:xfrm>
            <a:off x="9155650" y="4128111"/>
            <a:ext cx="1398251" cy="835523"/>
          </a:xfrm>
          <a:custGeom>
            <a:avLst/>
            <a:gdLst>
              <a:gd name="T0" fmla="*/ 2147483647 w 692"/>
              <a:gd name="T1" fmla="*/ 2147483647 h 551"/>
              <a:gd name="T2" fmla="*/ 2147483647 w 692"/>
              <a:gd name="T3" fmla="*/ 2147483647 h 551"/>
              <a:gd name="T4" fmla="*/ 2147483647 w 692"/>
              <a:gd name="T5" fmla="*/ 2147483647 h 551"/>
              <a:gd name="T6" fmla="*/ 2147483647 w 692"/>
              <a:gd name="T7" fmla="*/ 2147483647 h 551"/>
              <a:gd name="T8" fmla="*/ 2147483647 w 692"/>
              <a:gd name="T9" fmla="*/ 2147483647 h 551"/>
              <a:gd name="T10" fmla="*/ 2147483647 w 692"/>
              <a:gd name="T11" fmla="*/ 2147483647 h 551"/>
              <a:gd name="T12" fmla="*/ 2147483647 w 692"/>
              <a:gd name="T13" fmla="*/ 2147483647 h 551"/>
              <a:gd name="T14" fmla="*/ 2147483647 w 692"/>
              <a:gd name="T15" fmla="*/ 2147483647 h 551"/>
              <a:gd name="T16" fmla="*/ 2147483647 w 692"/>
              <a:gd name="T17" fmla="*/ 2147483647 h 551"/>
              <a:gd name="T18" fmla="*/ 2147483647 w 692"/>
              <a:gd name="T19" fmla="*/ 0 h 551"/>
              <a:gd name="T20" fmla="*/ 2147483647 w 692"/>
              <a:gd name="T21" fmla="*/ 2147483647 h 551"/>
              <a:gd name="T22" fmla="*/ 2147483647 w 692"/>
              <a:gd name="T23" fmla="*/ 2147483647 h 551"/>
              <a:gd name="T24" fmla="*/ 2147483647 w 692"/>
              <a:gd name="T25" fmla="*/ 2147483647 h 551"/>
              <a:gd name="T26" fmla="*/ 2147483647 w 692"/>
              <a:gd name="T27" fmla="*/ 2147483647 h 551"/>
              <a:gd name="T28" fmla="*/ 2147483647 w 692"/>
              <a:gd name="T29" fmla="*/ 2147483647 h 551"/>
              <a:gd name="T30" fmla="*/ 2147483647 w 692"/>
              <a:gd name="T31" fmla="*/ 2147483647 h 551"/>
              <a:gd name="T32" fmla="*/ 2147483647 w 692"/>
              <a:gd name="T33" fmla="*/ 2147483647 h 551"/>
              <a:gd name="T34" fmla="*/ 2147483647 w 692"/>
              <a:gd name="T35" fmla="*/ 2147483647 h 551"/>
              <a:gd name="T36" fmla="*/ 2147483647 w 692"/>
              <a:gd name="T37" fmla="*/ 2147483647 h 551"/>
              <a:gd name="T38" fmla="*/ 2147483647 w 692"/>
              <a:gd name="T39" fmla="*/ 2147483647 h 551"/>
              <a:gd name="T40" fmla="*/ 2147483647 w 692"/>
              <a:gd name="T41" fmla="*/ 2147483647 h 551"/>
              <a:gd name="T42" fmla="*/ 2147483647 w 692"/>
              <a:gd name="T43" fmla="*/ 2147483647 h 551"/>
              <a:gd name="T44" fmla="*/ 2147483647 w 692"/>
              <a:gd name="T45" fmla="*/ 2147483647 h 551"/>
              <a:gd name="T46" fmla="*/ 2147483647 w 692"/>
              <a:gd name="T47" fmla="*/ 2147483647 h 551"/>
              <a:gd name="T48" fmla="*/ 2147483647 w 692"/>
              <a:gd name="T49" fmla="*/ 2147483647 h 551"/>
              <a:gd name="T50" fmla="*/ 2147483647 w 692"/>
              <a:gd name="T51" fmla="*/ 2147483647 h 551"/>
              <a:gd name="T52" fmla="*/ 2147483647 w 692"/>
              <a:gd name="T53" fmla="*/ 2147483647 h 551"/>
              <a:gd name="T54" fmla="*/ 2147483647 w 692"/>
              <a:gd name="T55" fmla="*/ 2147483647 h 551"/>
              <a:gd name="T56" fmla="*/ 2147483647 w 692"/>
              <a:gd name="T57" fmla="*/ 2147483647 h 551"/>
              <a:gd name="T58" fmla="*/ 2147483647 w 692"/>
              <a:gd name="T59" fmla="*/ 2147483647 h 551"/>
              <a:gd name="T60" fmla="*/ 2147483647 w 692"/>
              <a:gd name="T61" fmla="*/ 2147483647 h 551"/>
              <a:gd name="T62" fmla="*/ 2147483647 w 692"/>
              <a:gd name="T63" fmla="*/ 2147483647 h 551"/>
              <a:gd name="T64" fmla="*/ 2147483647 w 692"/>
              <a:gd name="T65" fmla="*/ 2147483647 h 551"/>
              <a:gd name="T66" fmla="*/ 2147483647 w 692"/>
              <a:gd name="T67" fmla="*/ 2147483647 h 551"/>
              <a:gd name="T68" fmla="*/ 2147483647 w 692"/>
              <a:gd name="T69" fmla="*/ 2147483647 h 551"/>
              <a:gd name="T70" fmla="*/ 2147483647 w 692"/>
              <a:gd name="T71" fmla="*/ 2147483647 h 551"/>
              <a:gd name="T72" fmla="*/ 2147483647 w 692"/>
              <a:gd name="T73" fmla="*/ 2147483647 h 551"/>
              <a:gd name="T74" fmla="*/ 2147483647 w 692"/>
              <a:gd name="T75" fmla="*/ 2147483647 h 551"/>
              <a:gd name="T76" fmla="*/ 2147483647 w 692"/>
              <a:gd name="T77" fmla="*/ 2147483647 h 551"/>
              <a:gd name="T78" fmla="*/ 2147483647 w 692"/>
              <a:gd name="T79" fmla="*/ 2147483647 h 551"/>
              <a:gd name="T80" fmla="*/ 2147483647 w 692"/>
              <a:gd name="T81" fmla="*/ 2147483647 h 551"/>
              <a:gd name="T82" fmla="*/ 2147483647 w 692"/>
              <a:gd name="T83" fmla="*/ 2147483647 h 551"/>
              <a:gd name="T84" fmla="*/ 2147483647 w 692"/>
              <a:gd name="T85" fmla="*/ 2147483647 h 551"/>
              <a:gd name="T86" fmla="*/ 2147483647 w 692"/>
              <a:gd name="T87" fmla="*/ 2147483647 h 551"/>
              <a:gd name="T88" fmla="*/ 2147483647 w 692"/>
              <a:gd name="T89" fmla="*/ 2147483647 h 551"/>
              <a:gd name="T90" fmla="*/ 2147483647 w 692"/>
              <a:gd name="T91" fmla="*/ 2147483647 h 551"/>
              <a:gd name="T92" fmla="*/ 2147483647 w 692"/>
              <a:gd name="T93" fmla="*/ 2147483647 h 551"/>
              <a:gd name="T94" fmla="*/ 2147483647 w 692"/>
              <a:gd name="T95" fmla="*/ 2147483647 h 551"/>
              <a:gd name="T96" fmla="*/ 2147483647 w 692"/>
              <a:gd name="T97" fmla="*/ 2147483647 h 551"/>
              <a:gd name="T98" fmla="*/ 2147483647 w 692"/>
              <a:gd name="T99" fmla="*/ 2147483647 h 551"/>
              <a:gd name="T100" fmla="*/ 2147483647 w 692"/>
              <a:gd name="T101" fmla="*/ 2147483647 h 551"/>
              <a:gd name="T102" fmla="*/ 2147483647 w 692"/>
              <a:gd name="T103" fmla="*/ 2147483647 h 551"/>
              <a:gd name="T104" fmla="*/ 2147483647 w 692"/>
              <a:gd name="T105" fmla="*/ 2147483647 h 551"/>
              <a:gd name="T106" fmla="*/ 2147483647 w 692"/>
              <a:gd name="T107" fmla="*/ 2147483647 h 551"/>
              <a:gd name="T108" fmla="*/ 2147483647 w 692"/>
              <a:gd name="T109" fmla="*/ 2147483647 h 551"/>
              <a:gd name="T110" fmla="*/ 2147483647 w 692"/>
              <a:gd name="T111" fmla="*/ 2147483647 h 551"/>
              <a:gd name="T112" fmla="*/ 2147483647 w 692"/>
              <a:gd name="T113" fmla="*/ 2147483647 h 551"/>
              <a:gd name="T114" fmla="*/ 2147483647 w 692"/>
              <a:gd name="T115" fmla="*/ 2147483647 h 551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692"/>
              <a:gd name="T175" fmla="*/ 0 h 551"/>
              <a:gd name="T176" fmla="*/ 692 w 692"/>
              <a:gd name="T177" fmla="*/ 551 h 551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692" h="551">
                <a:moveTo>
                  <a:pt x="677" y="307"/>
                </a:moveTo>
                <a:lnTo>
                  <a:pt x="677" y="307"/>
                </a:lnTo>
                <a:lnTo>
                  <a:pt x="680" y="302"/>
                </a:lnTo>
                <a:lnTo>
                  <a:pt x="680" y="299"/>
                </a:lnTo>
                <a:lnTo>
                  <a:pt x="683" y="293"/>
                </a:lnTo>
                <a:lnTo>
                  <a:pt x="686" y="287"/>
                </a:lnTo>
                <a:lnTo>
                  <a:pt x="692" y="282"/>
                </a:lnTo>
                <a:lnTo>
                  <a:pt x="692" y="270"/>
                </a:lnTo>
                <a:lnTo>
                  <a:pt x="689" y="279"/>
                </a:lnTo>
                <a:lnTo>
                  <a:pt x="686" y="282"/>
                </a:lnTo>
                <a:lnTo>
                  <a:pt x="680" y="282"/>
                </a:lnTo>
                <a:lnTo>
                  <a:pt x="677" y="279"/>
                </a:lnTo>
                <a:lnTo>
                  <a:pt x="674" y="276"/>
                </a:lnTo>
                <a:lnTo>
                  <a:pt x="674" y="273"/>
                </a:lnTo>
                <a:lnTo>
                  <a:pt x="677" y="273"/>
                </a:lnTo>
                <a:lnTo>
                  <a:pt x="674" y="270"/>
                </a:lnTo>
                <a:lnTo>
                  <a:pt x="671" y="261"/>
                </a:lnTo>
                <a:lnTo>
                  <a:pt x="669" y="259"/>
                </a:lnTo>
                <a:lnTo>
                  <a:pt x="666" y="256"/>
                </a:lnTo>
                <a:lnTo>
                  <a:pt x="663" y="256"/>
                </a:lnTo>
                <a:lnTo>
                  <a:pt x="663" y="253"/>
                </a:lnTo>
                <a:lnTo>
                  <a:pt x="663" y="244"/>
                </a:lnTo>
                <a:lnTo>
                  <a:pt x="657" y="247"/>
                </a:lnTo>
                <a:lnTo>
                  <a:pt x="660" y="230"/>
                </a:lnTo>
                <a:lnTo>
                  <a:pt x="657" y="224"/>
                </a:lnTo>
                <a:lnTo>
                  <a:pt x="654" y="227"/>
                </a:lnTo>
                <a:lnTo>
                  <a:pt x="654" y="230"/>
                </a:lnTo>
                <a:lnTo>
                  <a:pt x="651" y="230"/>
                </a:lnTo>
                <a:lnTo>
                  <a:pt x="649" y="227"/>
                </a:lnTo>
                <a:lnTo>
                  <a:pt x="646" y="221"/>
                </a:lnTo>
                <a:lnTo>
                  <a:pt x="643" y="227"/>
                </a:lnTo>
                <a:lnTo>
                  <a:pt x="643" y="224"/>
                </a:lnTo>
                <a:lnTo>
                  <a:pt x="640" y="221"/>
                </a:lnTo>
                <a:lnTo>
                  <a:pt x="640" y="218"/>
                </a:lnTo>
                <a:lnTo>
                  <a:pt x="640" y="210"/>
                </a:lnTo>
                <a:lnTo>
                  <a:pt x="637" y="198"/>
                </a:lnTo>
                <a:lnTo>
                  <a:pt x="634" y="198"/>
                </a:lnTo>
                <a:lnTo>
                  <a:pt x="631" y="195"/>
                </a:lnTo>
                <a:lnTo>
                  <a:pt x="631" y="193"/>
                </a:lnTo>
                <a:lnTo>
                  <a:pt x="634" y="187"/>
                </a:lnTo>
                <a:lnTo>
                  <a:pt x="637" y="184"/>
                </a:lnTo>
                <a:lnTo>
                  <a:pt x="626" y="181"/>
                </a:lnTo>
                <a:lnTo>
                  <a:pt x="620" y="175"/>
                </a:lnTo>
                <a:lnTo>
                  <a:pt x="617" y="170"/>
                </a:lnTo>
                <a:lnTo>
                  <a:pt x="617" y="167"/>
                </a:lnTo>
                <a:lnTo>
                  <a:pt x="614" y="167"/>
                </a:lnTo>
                <a:lnTo>
                  <a:pt x="608" y="164"/>
                </a:lnTo>
                <a:lnTo>
                  <a:pt x="600" y="158"/>
                </a:lnTo>
                <a:lnTo>
                  <a:pt x="600" y="155"/>
                </a:lnTo>
                <a:lnTo>
                  <a:pt x="600" y="150"/>
                </a:lnTo>
                <a:lnTo>
                  <a:pt x="603" y="147"/>
                </a:lnTo>
                <a:lnTo>
                  <a:pt x="603" y="144"/>
                </a:lnTo>
                <a:lnTo>
                  <a:pt x="597" y="150"/>
                </a:lnTo>
                <a:lnTo>
                  <a:pt x="597" y="147"/>
                </a:lnTo>
                <a:lnTo>
                  <a:pt x="594" y="147"/>
                </a:lnTo>
                <a:lnTo>
                  <a:pt x="597" y="141"/>
                </a:lnTo>
                <a:lnTo>
                  <a:pt x="603" y="129"/>
                </a:lnTo>
                <a:lnTo>
                  <a:pt x="600" y="124"/>
                </a:lnTo>
                <a:lnTo>
                  <a:pt x="600" y="118"/>
                </a:lnTo>
                <a:lnTo>
                  <a:pt x="591" y="112"/>
                </a:lnTo>
                <a:lnTo>
                  <a:pt x="591" y="109"/>
                </a:lnTo>
                <a:lnTo>
                  <a:pt x="594" y="104"/>
                </a:lnTo>
                <a:lnTo>
                  <a:pt x="597" y="98"/>
                </a:lnTo>
                <a:lnTo>
                  <a:pt x="591" y="92"/>
                </a:lnTo>
                <a:lnTo>
                  <a:pt x="591" y="89"/>
                </a:lnTo>
                <a:lnTo>
                  <a:pt x="594" y="89"/>
                </a:lnTo>
                <a:lnTo>
                  <a:pt x="594" y="81"/>
                </a:lnTo>
                <a:lnTo>
                  <a:pt x="588" y="75"/>
                </a:lnTo>
                <a:lnTo>
                  <a:pt x="583" y="69"/>
                </a:lnTo>
                <a:lnTo>
                  <a:pt x="577" y="72"/>
                </a:lnTo>
                <a:lnTo>
                  <a:pt x="574" y="72"/>
                </a:lnTo>
                <a:lnTo>
                  <a:pt x="571" y="72"/>
                </a:lnTo>
                <a:lnTo>
                  <a:pt x="571" y="55"/>
                </a:lnTo>
                <a:lnTo>
                  <a:pt x="571" y="32"/>
                </a:lnTo>
                <a:lnTo>
                  <a:pt x="565" y="32"/>
                </a:lnTo>
                <a:lnTo>
                  <a:pt x="565" y="23"/>
                </a:lnTo>
                <a:lnTo>
                  <a:pt x="562" y="20"/>
                </a:lnTo>
                <a:lnTo>
                  <a:pt x="562" y="6"/>
                </a:lnTo>
                <a:lnTo>
                  <a:pt x="560" y="0"/>
                </a:lnTo>
                <a:lnTo>
                  <a:pt x="557" y="0"/>
                </a:lnTo>
                <a:lnTo>
                  <a:pt x="554" y="0"/>
                </a:lnTo>
                <a:lnTo>
                  <a:pt x="554" y="3"/>
                </a:lnTo>
                <a:lnTo>
                  <a:pt x="548" y="15"/>
                </a:lnTo>
                <a:lnTo>
                  <a:pt x="548" y="17"/>
                </a:lnTo>
                <a:lnTo>
                  <a:pt x="545" y="23"/>
                </a:lnTo>
                <a:lnTo>
                  <a:pt x="542" y="23"/>
                </a:lnTo>
                <a:lnTo>
                  <a:pt x="537" y="32"/>
                </a:lnTo>
                <a:lnTo>
                  <a:pt x="539" y="35"/>
                </a:lnTo>
                <a:lnTo>
                  <a:pt x="542" y="35"/>
                </a:lnTo>
                <a:lnTo>
                  <a:pt x="537" y="40"/>
                </a:lnTo>
                <a:lnTo>
                  <a:pt x="539" y="49"/>
                </a:lnTo>
                <a:lnTo>
                  <a:pt x="537" y="49"/>
                </a:lnTo>
                <a:lnTo>
                  <a:pt x="534" y="55"/>
                </a:lnTo>
                <a:lnTo>
                  <a:pt x="534" y="61"/>
                </a:lnTo>
                <a:lnTo>
                  <a:pt x="537" y="66"/>
                </a:lnTo>
                <a:lnTo>
                  <a:pt x="534" y="72"/>
                </a:lnTo>
                <a:lnTo>
                  <a:pt x="534" y="81"/>
                </a:lnTo>
                <a:lnTo>
                  <a:pt x="534" y="86"/>
                </a:lnTo>
                <a:lnTo>
                  <a:pt x="531" y="89"/>
                </a:lnTo>
                <a:lnTo>
                  <a:pt x="528" y="95"/>
                </a:lnTo>
                <a:lnTo>
                  <a:pt x="525" y="98"/>
                </a:lnTo>
                <a:lnTo>
                  <a:pt x="522" y="112"/>
                </a:lnTo>
                <a:lnTo>
                  <a:pt x="519" y="118"/>
                </a:lnTo>
                <a:lnTo>
                  <a:pt x="516" y="121"/>
                </a:lnTo>
                <a:lnTo>
                  <a:pt x="514" y="124"/>
                </a:lnTo>
                <a:lnTo>
                  <a:pt x="511" y="127"/>
                </a:lnTo>
                <a:lnTo>
                  <a:pt x="511" y="129"/>
                </a:lnTo>
                <a:lnTo>
                  <a:pt x="508" y="129"/>
                </a:lnTo>
                <a:lnTo>
                  <a:pt x="499" y="132"/>
                </a:lnTo>
                <a:lnTo>
                  <a:pt x="494" y="129"/>
                </a:lnTo>
                <a:lnTo>
                  <a:pt x="488" y="127"/>
                </a:lnTo>
                <a:lnTo>
                  <a:pt x="485" y="124"/>
                </a:lnTo>
                <a:lnTo>
                  <a:pt x="482" y="121"/>
                </a:lnTo>
                <a:lnTo>
                  <a:pt x="479" y="115"/>
                </a:lnTo>
                <a:lnTo>
                  <a:pt x="473" y="115"/>
                </a:lnTo>
                <a:lnTo>
                  <a:pt x="471" y="115"/>
                </a:lnTo>
                <a:lnTo>
                  <a:pt x="468" y="112"/>
                </a:lnTo>
                <a:lnTo>
                  <a:pt x="465" y="106"/>
                </a:lnTo>
                <a:lnTo>
                  <a:pt x="462" y="104"/>
                </a:lnTo>
                <a:lnTo>
                  <a:pt x="459" y="101"/>
                </a:lnTo>
                <a:lnTo>
                  <a:pt x="453" y="101"/>
                </a:lnTo>
                <a:lnTo>
                  <a:pt x="445" y="92"/>
                </a:lnTo>
                <a:lnTo>
                  <a:pt x="430" y="83"/>
                </a:lnTo>
                <a:lnTo>
                  <a:pt x="428" y="81"/>
                </a:lnTo>
                <a:lnTo>
                  <a:pt x="428" y="78"/>
                </a:lnTo>
                <a:lnTo>
                  <a:pt x="430" y="75"/>
                </a:lnTo>
                <a:lnTo>
                  <a:pt x="433" y="69"/>
                </a:lnTo>
                <a:lnTo>
                  <a:pt x="439" y="63"/>
                </a:lnTo>
                <a:lnTo>
                  <a:pt x="442" y="61"/>
                </a:lnTo>
                <a:lnTo>
                  <a:pt x="445" y="55"/>
                </a:lnTo>
                <a:lnTo>
                  <a:pt x="442" y="55"/>
                </a:lnTo>
                <a:lnTo>
                  <a:pt x="439" y="52"/>
                </a:lnTo>
                <a:lnTo>
                  <a:pt x="436" y="49"/>
                </a:lnTo>
                <a:lnTo>
                  <a:pt x="439" y="49"/>
                </a:lnTo>
                <a:lnTo>
                  <a:pt x="445" y="46"/>
                </a:lnTo>
                <a:lnTo>
                  <a:pt x="448" y="46"/>
                </a:lnTo>
                <a:lnTo>
                  <a:pt x="448" y="49"/>
                </a:lnTo>
                <a:lnTo>
                  <a:pt x="453" y="43"/>
                </a:lnTo>
                <a:lnTo>
                  <a:pt x="450" y="40"/>
                </a:lnTo>
                <a:lnTo>
                  <a:pt x="456" y="35"/>
                </a:lnTo>
                <a:lnTo>
                  <a:pt x="462" y="29"/>
                </a:lnTo>
                <a:lnTo>
                  <a:pt x="459" y="29"/>
                </a:lnTo>
                <a:lnTo>
                  <a:pt x="456" y="23"/>
                </a:lnTo>
                <a:lnTo>
                  <a:pt x="453" y="20"/>
                </a:lnTo>
                <a:lnTo>
                  <a:pt x="453" y="17"/>
                </a:lnTo>
                <a:lnTo>
                  <a:pt x="448" y="23"/>
                </a:lnTo>
                <a:lnTo>
                  <a:pt x="450" y="29"/>
                </a:lnTo>
                <a:lnTo>
                  <a:pt x="448" y="32"/>
                </a:lnTo>
                <a:lnTo>
                  <a:pt x="448" y="29"/>
                </a:lnTo>
                <a:lnTo>
                  <a:pt x="445" y="26"/>
                </a:lnTo>
                <a:lnTo>
                  <a:pt x="442" y="23"/>
                </a:lnTo>
                <a:lnTo>
                  <a:pt x="442" y="17"/>
                </a:lnTo>
                <a:lnTo>
                  <a:pt x="430" y="26"/>
                </a:lnTo>
                <a:lnTo>
                  <a:pt x="422" y="20"/>
                </a:lnTo>
                <a:lnTo>
                  <a:pt x="419" y="23"/>
                </a:lnTo>
                <a:lnTo>
                  <a:pt x="413" y="23"/>
                </a:lnTo>
                <a:lnTo>
                  <a:pt x="407" y="17"/>
                </a:lnTo>
                <a:lnTo>
                  <a:pt x="402" y="12"/>
                </a:lnTo>
                <a:lnTo>
                  <a:pt x="402" y="15"/>
                </a:lnTo>
                <a:lnTo>
                  <a:pt x="399" y="17"/>
                </a:lnTo>
                <a:lnTo>
                  <a:pt x="396" y="15"/>
                </a:lnTo>
                <a:lnTo>
                  <a:pt x="390" y="9"/>
                </a:lnTo>
                <a:lnTo>
                  <a:pt x="390" y="12"/>
                </a:lnTo>
                <a:lnTo>
                  <a:pt x="387" y="3"/>
                </a:lnTo>
                <a:lnTo>
                  <a:pt x="384" y="6"/>
                </a:lnTo>
                <a:lnTo>
                  <a:pt x="379" y="9"/>
                </a:lnTo>
                <a:lnTo>
                  <a:pt x="376" y="6"/>
                </a:lnTo>
                <a:lnTo>
                  <a:pt x="373" y="12"/>
                </a:lnTo>
                <a:lnTo>
                  <a:pt x="379" y="15"/>
                </a:lnTo>
                <a:lnTo>
                  <a:pt x="384" y="15"/>
                </a:lnTo>
                <a:lnTo>
                  <a:pt x="387" y="20"/>
                </a:lnTo>
                <a:lnTo>
                  <a:pt x="384" y="26"/>
                </a:lnTo>
                <a:lnTo>
                  <a:pt x="376" y="26"/>
                </a:lnTo>
                <a:lnTo>
                  <a:pt x="373" y="26"/>
                </a:lnTo>
                <a:lnTo>
                  <a:pt x="367" y="26"/>
                </a:lnTo>
                <a:lnTo>
                  <a:pt x="359" y="23"/>
                </a:lnTo>
                <a:lnTo>
                  <a:pt x="359" y="26"/>
                </a:lnTo>
                <a:lnTo>
                  <a:pt x="356" y="29"/>
                </a:lnTo>
                <a:lnTo>
                  <a:pt x="350" y="29"/>
                </a:lnTo>
                <a:lnTo>
                  <a:pt x="350" y="35"/>
                </a:lnTo>
                <a:lnTo>
                  <a:pt x="347" y="35"/>
                </a:lnTo>
                <a:lnTo>
                  <a:pt x="344" y="40"/>
                </a:lnTo>
                <a:lnTo>
                  <a:pt x="339" y="43"/>
                </a:lnTo>
                <a:lnTo>
                  <a:pt x="339" y="49"/>
                </a:lnTo>
                <a:lnTo>
                  <a:pt x="333" y="55"/>
                </a:lnTo>
                <a:lnTo>
                  <a:pt x="333" y="61"/>
                </a:lnTo>
                <a:lnTo>
                  <a:pt x="330" y="63"/>
                </a:lnTo>
                <a:lnTo>
                  <a:pt x="324" y="72"/>
                </a:lnTo>
                <a:lnTo>
                  <a:pt x="330" y="75"/>
                </a:lnTo>
                <a:lnTo>
                  <a:pt x="330" y="78"/>
                </a:lnTo>
                <a:lnTo>
                  <a:pt x="321" y="78"/>
                </a:lnTo>
                <a:lnTo>
                  <a:pt x="318" y="81"/>
                </a:lnTo>
                <a:lnTo>
                  <a:pt x="318" y="78"/>
                </a:lnTo>
                <a:lnTo>
                  <a:pt x="310" y="75"/>
                </a:lnTo>
                <a:lnTo>
                  <a:pt x="304" y="78"/>
                </a:lnTo>
                <a:lnTo>
                  <a:pt x="304" y="81"/>
                </a:lnTo>
                <a:lnTo>
                  <a:pt x="304" y="72"/>
                </a:lnTo>
                <a:lnTo>
                  <a:pt x="301" y="69"/>
                </a:lnTo>
                <a:lnTo>
                  <a:pt x="298" y="69"/>
                </a:lnTo>
                <a:lnTo>
                  <a:pt x="298" y="66"/>
                </a:lnTo>
                <a:lnTo>
                  <a:pt x="295" y="63"/>
                </a:lnTo>
                <a:lnTo>
                  <a:pt x="293" y="61"/>
                </a:lnTo>
                <a:lnTo>
                  <a:pt x="293" y="58"/>
                </a:lnTo>
                <a:lnTo>
                  <a:pt x="287" y="61"/>
                </a:lnTo>
                <a:lnTo>
                  <a:pt x="284" y="55"/>
                </a:lnTo>
                <a:lnTo>
                  <a:pt x="278" y="61"/>
                </a:lnTo>
                <a:lnTo>
                  <a:pt x="275" y="63"/>
                </a:lnTo>
                <a:lnTo>
                  <a:pt x="272" y="58"/>
                </a:lnTo>
                <a:lnTo>
                  <a:pt x="270" y="66"/>
                </a:lnTo>
                <a:lnTo>
                  <a:pt x="267" y="72"/>
                </a:lnTo>
                <a:lnTo>
                  <a:pt x="264" y="72"/>
                </a:lnTo>
                <a:lnTo>
                  <a:pt x="261" y="66"/>
                </a:lnTo>
                <a:lnTo>
                  <a:pt x="258" y="66"/>
                </a:lnTo>
                <a:lnTo>
                  <a:pt x="258" y="72"/>
                </a:lnTo>
                <a:lnTo>
                  <a:pt x="252" y="75"/>
                </a:lnTo>
                <a:lnTo>
                  <a:pt x="252" y="81"/>
                </a:lnTo>
                <a:lnTo>
                  <a:pt x="247" y="81"/>
                </a:lnTo>
                <a:lnTo>
                  <a:pt x="247" y="89"/>
                </a:lnTo>
                <a:lnTo>
                  <a:pt x="241" y="89"/>
                </a:lnTo>
                <a:lnTo>
                  <a:pt x="238" y="95"/>
                </a:lnTo>
                <a:lnTo>
                  <a:pt x="241" y="98"/>
                </a:lnTo>
                <a:lnTo>
                  <a:pt x="241" y="101"/>
                </a:lnTo>
                <a:lnTo>
                  <a:pt x="235" y="104"/>
                </a:lnTo>
                <a:lnTo>
                  <a:pt x="235" y="106"/>
                </a:lnTo>
                <a:lnTo>
                  <a:pt x="238" y="112"/>
                </a:lnTo>
                <a:lnTo>
                  <a:pt x="232" y="106"/>
                </a:lnTo>
                <a:lnTo>
                  <a:pt x="229" y="106"/>
                </a:lnTo>
                <a:lnTo>
                  <a:pt x="227" y="106"/>
                </a:lnTo>
                <a:lnTo>
                  <a:pt x="224" y="104"/>
                </a:lnTo>
                <a:lnTo>
                  <a:pt x="221" y="109"/>
                </a:lnTo>
                <a:lnTo>
                  <a:pt x="218" y="112"/>
                </a:lnTo>
                <a:lnTo>
                  <a:pt x="224" y="118"/>
                </a:lnTo>
                <a:lnTo>
                  <a:pt x="221" y="124"/>
                </a:lnTo>
                <a:lnTo>
                  <a:pt x="221" y="121"/>
                </a:lnTo>
                <a:lnTo>
                  <a:pt x="218" y="129"/>
                </a:lnTo>
                <a:lnTo>
                  <a:pt x="215" y="127"/>
                </a:lnTo>
                <a:lnTo>
                  <a:pt x="215" y="124"/>
                </a:lnTo>
                <a:lnTo>
                  <a:pt x="212" y="118"/>
                </a:lnTo>
                <a:lnTo>
                  <a:pt x="209" y="112"/>
                </a:lnTo>
                <a:lnTo>
                  <a:pt x="209" y="109"/>
                </a:lnTo>
                <a:lnTo>
                  <a:pt x="204" y="115"/>
                </a:lnTo>
                <a:lnTo>
                  <a:pt x="198" y="121"/>
                </a:lnTo>
                <a:lnTo>
                  <a:pt x="195" y="127"/>
                </a:lnTo>
                <a:lnTo>
                  <a:pt x="195" y="135"/>
                </a:lnTo>
                <a:lnTo>
                  <a:pt x="195" y="141"/>
                </a:lnTo>
                <a:lnTo>
                  <a:pt x="186" y="150"/>
                </a:lnTo>
                <a:lnTo>
                  <a:pt x="175" y="164"/>
                </a:lnTo>
                <a:lnTo>
                  <a:pt x="172" y="170"/>
                </a:lnTo>
                <a:lnTo>
                  <a:pt x="169" y="172"/>
                </a:lnTo>
                <a:lnTo>
                  <a:pt x="158" y="175"/>
                </a:lnTo>
                <a:lnTo>
                  <a:pt x="149" y="178"/>
                </a:lnTo>
                <a:lnTo>
                  <a:pt x="140" y="181"/>
                </a:lnTo>
                <a:lnTo>
                  <a:pt x="138" y="178"/>
                </a:lnTo>
                <a:lnTo>
                  <a:pt x="129" y="184"/>
                </a:lnTo>
                <a:lnTo>
                  <a:pt x="117" y="184"/>
                </a:lnTo>
                <a:lnTo>
                  <a:pt x="115" y="187"/>
                </a:lnTo>
                <a:lnTo>
                  <a:pt x="112" y="190"/>
                </a:lnTo>
                <a:lnTo>
                  <a:pt x="109" y="193"/>
                </a:lnTo>
                <a:lnTo>
                  <a:pt x="103" y="193"/>
                </a:lnTo>
                <a:lnTo>
                  <a:pt x="97" y="193"/>
                </a:lnTo>
                <a:lnTo>
                  <a:pt x="92" y="190"/>
                </a:lnTo>
                <a:lnTo>
                  <a:pt x="80" y="198"/>
                </a:lnTo>
                <a:lnTo>
                  <a:pt x="63" y="210"/>
                </a:lnTo>
                <a:lnTo>
                  <a:pt x="57" y="213"/>
                </a:lnTo>
                <a:lnTo>
                  <a:pt x="51" y="218"/>
                </a:lnTo>
                <a:lnTo>
                  <a:pt x="49" y="224"/>
                </a:lnTo>
                <a:lnTo>
                  <a:pt x="46" y="227"/>
                </a:lnTo>
                <a:lnTo>
                  <a:pt x="43" y="227"/>
                </a:lnTo>
                <a:lnTo>
                  <a:pt x="40" y="227"/>
                </a:lnTo>
                <a:lnTo>
                  <a:pt x="43" y="227"/>
                </a:lnTo>
                <a:lnTo>
                  <a:pt x="43" y="224"/>
                </a:lnTo>
                <a:lnTo>
                  <a:pt x="43" y="216"/>
                </a:lnTo>
                <a:lnTo>
                  <a:pt x="34" y="230"/>
                </a:lnTo>
                <a:lnTo>
                  <a:pt x="37" y="236"/>
                </a:lnTo>
                <a:lnTo>
                  <a:pt x="34" y="247"/>
                </a:lnTo>
                <a:lnTo>
                  <a:pt x="23" y="264"/>
                </a:lnTo>
                <a:lnTo>
                  <a:pt x="23" y="267"/>
                </a:lnTo>
                <a:lnTo>
                  <a:pt x="23" y="270"/>
                </a:lnTo>
                <a:lnTo>
                  <a:pt x="26" y="270"/>
                </a:lnTo>
                <a:lnTo>
                  <a:pt x="28" y="284"/>
                </a:lnTo>
                <a:lnTo>
                  <a:pt x="28" y="290"/>
                </a:lnTo>
                <a:lnTo>
                  <a:pt x="31" y="296"/>
                </a:lnTo>
                <a:lnTo>
                  <a:pt x="28" y="299"/>
                </a:lnTo>
                <a:lnTo>
                  <a:pt x="26" y="302"/>
                </a:lnTo>
                <a:lnTo>
                  <a:pt x="26" y="299"/>
                </a:lnTo>
                <a:lnTo>
                  <a:pt x="26" y="296"/>
                </a:lnTo>
                <a:lnTo>
                  <a:pt x="23" y="299"/>
                </a:lnTo>
                <a:lnTo>
                  <a:pt x="23" y="293"/>
                </a:lnTo>
                <a:lnTo>
                  <a:pt x="20" y="287"/>
                </a:lnTo>
                <a:lnTo>
                  <a:pt x="17" y="290"/>
                </a:lnTo>
                <a:lnTo>
                  <a:pt x="17" y="293"/>
                </a:lnTo>
                <a:lnTo>
                  <a:pt x="20" y="299"/>
                </a:lnTo>
                <a:lnTo>
                  <a:pt x="23" y="302"/>
                </a:lnTo>
                <a:lnTo>
                  <a:pt x="20" y="307"/>
                </a:lnTo>
                <a:lnTo>
                  <a:pt x="20" y="305"/>
                </a:lnTo>
                <a:lnTo>
                  <a:pt x="17" y="302"/>
                </a:lnTo>
                <a:lnTo>
                  <a:pt x="17" y="299"/>
                </a:lnTo>
                <a:lnTo>
                  <a:pt x="14" y="296"/>
                </a:lnTo>
                <a:lnTo>
                  <a:pt x="11" y="290"/>
                </a:lnTo>
                <a:lnTo>
                  <a:pt x="11" y="284"/>
                </a:lnTo>
                <a:lnTo>
                  <a:pt x="11" y="296"/>
                </a:lnTo>
                <a:lnTo>
                  <a:pt x="14" y="305"/>
                </a:lnTo>
                <a:lnTo>
                  <a:pt x="17" y="310"/>
                </a:lnTo>
                <a:lnTo>
                  <a:pt x="23" y="328"/>
                </a:lnTo>
                <a:lnTo>
                  <a:pt x="23" y="333"/>
                </a:lnTo>
                <a:lnTo>
                  <a:pt x="20" y="339"/>
                </a:lnTo>
                <a:lnTo>
                  <a:pt x="23" y="345"/>
                </a:lnTo>
                <a:lnTo>
                  <a:pt x="26" y="348"/>
                </a:lnTo>
                <a:lnTo>
                  <a:pt x="26" y="353"/>
                </a:lnTo>
                <a:lnTo>
                  <a:pt x="26" y="362"/>
                </a:lnTo>
                <a:lnTo>
                  <a:pt x="26" y="376"/>
                </a:lnTo>
                <a:lnTo>
                  <a:pt x="23" y="388"/>
                </a:lnTo>
                <a:lnTo>
                  <a:pt x="23" y="394"/>
                </a:lnTo>
                <a:lnTo>
                  <a:pt x="23" y="399"/>
                </a:lnTo>
                <a:lnTo>
                  <a:pt x="26" y="414"/>
                </a:lnTo>
                <a:lnTo>
                  <a:pt x="26" y="419"/>
                </a:lnTo>
                <a:lnTo>
                  <a:pt x="23" y="422"/>
                </a:lnTo>
                <a:lnTo>
                  <a:pt x="20" y="428"/>
                </a:lnTo>
                <a:lnTo>
                  <a:pt x="17" y="437"/>
                </a:lnTo>
                <a:lnTo>
                  <a:pt x="11" y="445"/>
                </a:lnTo>
                <a:lnTo>
                  <a:pt x="6" y="445"/>
                </a:lnTo>
                <a:lnTo>
                  <a:pt x="3" y="445"/>
                </a:lnTo>
                <a:lnTo>
                  <a:pt x="0" y="451"/>
                </a:lnTo>
                <a:lnTo>
                  <a:pt x="0" y="457"/>
                </a:lnTo>
                <a:lnTo>
                  <a:pt x="3" y="460"/>
                </a:lnTo>
                <a:lnTo>
                  <a:pt x="6" y="462"/>
                </a:lnTo>
                <a:lnTo>
                  <a:pt x="11" y="468"/>
                </a:lnTo>
                <a:lnTo>
                  <a:pt x="17" y="474"/>
                </a:lnTo>
                <a:lnTo>
                  <a:pt x="26" y="474"/>
                </a:lnTo>
                <a:lnTo>
                  <a:pt x="37" y="474"/>
                </a:lnTo>
                <a:lnTo>
                  <a:pt x="43" y="471"/>
                </a:lnTo>
                <a:lnTo>
                  <a:pt x="51" y="468"/>
                </a:lnTo>
                <a:lnTo>
                  <a:pt x="60" y="462"/>
                </a:lnTo>
                <a:lnTo>
                  <a:pt x="63" y="462"/>
                </a:lnTo>
                <a:lnTo>
                  <a:pt x="69" y="462"/>
                </a:lnTo>
                <a:lnTo>
                  <a:pt x="74" y="460"/>
                </a:lnTo>
                <a:lnTo>
                  <a:pt x="77" y="457"/>
                </a:lnTo>
                <a:lnTo>
                  <a:pt x="83" y="451"/>
                </a:lnTo>
                <a:lnTo>
                  <a:pt x="97" y="451"/>
                </a:lnTo>
                <a:lnTo>
                  <a:pt x="109" y="451"/>
                </a:lnTo>
                <a:lnTo>
                  <a:pt x="126" y="451"/>
                </a:lnTo>
                <a:lnTo>
                  <a:pt x="132" y="454"/>
                </a:lnTo>
                <a:lnTo>
                  <a:pt x="140" y="451"/>
                </a:lnTo>
                <a:lnTo>
                  <a:pt x="149" y="448"/>
                </a:lnTo>
                <a:lnTo>
                  <a:pt x="152" y="439"/>
                </a:lnTo>
                <a:lnTo>
                  <a:pt x="158" y="437"/>
                </a:lnTo>
                <a:lnTo>
                  <a:pt x="161" y="434"/>
                </a:lnTo>
                <a:lnTo>
                  <a:pt x="166" y="434"/>
                </a:lnTo>
                <a:lnTo>
                  <a:pt x="175" y="428"/>
                </a:lnTo>
                <a:lnTo>
                  <a:pt x="186" y="422"/>
                </a:lnTo>
                <a:lnTo>
                  <a:pt x="192" y="419"/>
                </a:lnTo>
                <a:lnTo>
                  <a:pt x="198" y="422"/>
                </a:lnTo>
                <a:lnTo>
                  <a:pt x="212" y="419"/>
                </a:lnTo>
                <a:lnTo>
                  <a:pt x="232" y="414"/>
                </a:lnTo>
                <a:lnTo>
                  <a:pt x="247" y="408"/>
                </a:lnTo>
                <a:lnTo>
                  <a:pt x="264" y="405"/>
                </a:lnTo>
                <a:lnTo>
                  <a:pt x="267" y="405"/>
                </a:lnTo>
                <a:lnTo>
                  <a:pt x="270" y="408"/>
                </a:lnTo>
                <a:lnTo>
                  <a:pt x="272" y="408"/>
                </a:lnTo>
                <a:lnTo>
                  <a:pt x="278" y="405"/>
                </a:lnTo>
                <a:lnTo>
                  <a:pt x="284" y="405"/>
                </a:lnTo>
                <a:lnTo>
                  <a:pt x="293" y="408"/>
                </a:lnTo>
                <a:lnTo>
                  <a:pt x="298" y="414"/>
                </a:lnTo>
                <a:lnTo>
                  <a:pt x="304" y="414"/>
                </a:lnTo>
                <a:lnTo>
                  <a:pt x="310" y="419"/>
                </a:lnTo>
                <a:lnTo>
                  <a:pt x="316" y="417"/>
                </a:lnTo>
                <a:lnTo>
                  <a:pt x="321" y="417"/>
                </a:lnTo>
                <a:lnTo>
                  <a:pt x="318" y="422"/>
                </a:lnTo>
                <a:lnTo>
                  <a:pt x="324" y="422"/>
                </a:lnTo>
                <a:lnTo>
                  <a:pt x="327" y="428"/>
                </a:lnTo>
                <a:lnTo>
                  <a:pt x="321" y="431"/>
                </a:lnTo>
                <a:lnTo>
                  <a:pt x="318" y="431"/>
                </a:lnTo>
                <a:lnTo>
                  <a:pt x="321" y="437"/>
                </a:lnTo>
                <a:lnTo>
                  <a:pt x="330" y="437"/>
                </a:lnTo>
                <a:lnTo>
                  <a:pt x="330" y="439"/>
                </a:lnTo>
                <a:lnTo>
                  <a:pt x="327" y="445"/>
                </a:lnTo>
                <a:lnTo>
                  <a:pt x="330" y="448"/>
                </a:lnTo>
                <a:lnTo>
                  <a:pt x="330" y="460"/>
                </a:lnTo>
                <a:lnTo>
                  <a:pt x="324" y="465"/>
                </a:lnTo>
                <a:lnTo>
                  <a:pt x="333" y="471"/>
                </a:lnTo>
                <a:lnTo>
                  <a:pt x="336" y="465"/>
                </a:lnTo>
                <a:lnTo>
                  <a:pt x="339" y="462"/>
                </a:lnTo>
                <a:lnTo>
                  <a:pt x="341" y="462"/>
                </a:lnTo>
                <a:lnTo>
                  <a:pt x="347" y="457"/>
                </a:lnTo>
                <a:lnTo>
                  <a:pt x="350" y="454"/>
                </a:lnTo>
                <a:lnTo>
                  <a:pt x="356" y="451"/>
                </a:lnTo>
                <a:lnTo>
                  <a:pt x="364" y="448"/>
                </a:lnTo>
                <a:lnTo>
                  <a:pt x="370" y="439"/>
                </a:lnTo>
                <a:lnTo>
                  <a:pt x="379" y="434"/>
                </a:lnTo>
                <a:lnTo>
                  <a:pt x="382" y="431"/>
                </a:lnTo>
                <a:lnTo>
                  <a:pt x="384" y="425"/>
                </a:lnTo>
                <a:lnTo>
                  <a:pt x="384" y="434"/>
                </a:lnTo>
                <a:lnTo>
                  <a:pt x="379" y="437"/>
                </a:lnTo>
                <a:lnTo>
                  <a:pt x="376" y="445"/>
                </a:lnTo>
                <a:lnTo>
                  <a:pt x="367" y="451"/>
                </a:lnTo>
                <a:lnTo>
                  <a:pt x="364" y="462"/>
                </a:lnTo>
                <a:lnTo>
                  <a:pt x="364" y="465"/>
                </a:lnTo>
                <a:lnTo>
                  <a:pt x="359" y="468"/>
                </a:lnTo>
                <a:lnTo>
                  <a:pt x="356" y="471"/>
                </a:lnTo>
                <a:lnTo>
                  <a:pt x="353" y="471"/>
                </a:lnTo>
                <a:lnTo>
                  <a:pt x="350" y="468"/>
                </a:lnTo>
                <a:lnTo>
                  <a:pt x="344" y="477"/>
                </a:lnTo>
                <a:lnTo>
                  <a:pt x="347" y="480"/>
                </a:lnTo>
                <a:lnTo>
                  <a:pt x="350" y="477"/>
                </a:lnTo>
                <a:lnTo>
                  <a:pt x="353" y="474"/>
                </a:lnTo>
                <a:lnTo>
                  <a:pt x="356" y="474"/>
                </a:lnTo>
                <a:lnTo>
                  <a:pt x="359" y="474"/>
                </a:lnTo>
                <a:lnTo>
                  <a:pt x="361" y="474"/>
                </a:lnTo>
                <a:lnTo>
                  <a:pt x="364" y="468"/>
                </a:lnTo>
                <a:lnTo>
                  <a:pt x="373" y="457"/>
                </a:lnTo>
                <a:lnTo>
                  <a:pt x="376" y="465"/>
                </a:lnTo>
                <a:lnTo>
                  <a:pt x="373" y="474"/>
                </a:lnTo>
                <a:lnTo>
                  <a:pt x="373" y="480"/>
                </a:lnTo>
                <a:lnTo>
                  <a:pt x="367" y="483"/>
                </a:lnTo>
                <a:lnTo>
                  <a:pt x="364" y="483"/>
                </a:lnTo>
                <a:lnTo>
                  <a:pt x="364" y="485"/>
                </a:lnTo>
                <a:lnTo>
                  <a:pt x="367" y="488"/>
                </a:lnTo>
                <a:lnTo>
                  <a:pt x="373" y="485"/>
                </a:lnTo>
                <a:lnTo>
                  <a:pt x="376" y="485"/>
                </a:lnTo>
                <a:lnTo>
                  <a:pt x="379" y="485"/>
                </a:lnTo>
                <a:lnTo>
                  <a:pt x="382" y="488"/>
                </a:lnTo>
                <a:lnTo>
                  <a:pt x="384" y="491"/>
                </a:lnTo>
                <a:lnTo>
                  <a:pt x="384" y="497"/>
                </a:lnTo>
                <a:lnTo>
                  <a:pt x="376" y="508"/>
                </a:lnTo>
                <a:lnTo>
                  <a:pt x="373" y="514"/>
                </a:lnTo>
                <a:lnTo>
                  <a:pt x="373" y="517"/>
                </a:lnTo>
                <a:lnTo>
                  <a:pt x="376" y="523"/>
                </a:lnTo>
                <a:lnTo>
                  <a:pt x="379" y="531"/>
                </a:lnTo>
                <a:lnTo>
                  <a:pt x="387" y="531"/>
                </a:lnTo>
                <a:lnTo>
                  <a:pt x="393" y="534"/>
                </a:lnTo>
                <a:lnTo>
                  <a:pt x="393" y="537"/>
                </a:lnTo>
                <a:lnTo>
                  <a:pt x="399" y="534"/>
                </a:lnTo>
                <a:lnTo>
                  <a:pt x="402" y="534"/>
                </a:lnTo>
                <a:lnTo>
                  <a:pt x="402" y="537"/>
                </a:lnTo>
                <a:lnTo>
                  <a:pt x="410" y="537"/>
                </a:lnTo>
                <a:lnTo>
                  <a:pt x="413" y="543"/>
                </a:lnTo>
                <a:lnTo>
                  <a:pt x="422" y="546"/>
                </a:lnTo>
                <a:lnTo>
                  <a:pt x="425" y="546"/>
                </a:lnTo>
                <a:lnTo>
                  <a:pt x="425" y="543"/>
                </a:lnTo>
                <a:lnTo>
                  <a:pt x="433" y="540"/>
                </a:lnTo>
                <a:lnTo>
                  <a:pt x="442" y="537"/>
                </a:lnTo>
                <a:lnTo>
                  <a:pt x="450" y="540"/>
                </a:lnTo>
                <a:lnTo>
                  <a:pt x="453" y="543"/>
                </a:lnTo>
                <a:lnTo>
                  <a:pt x="459" y="543"/>
                </a:lnTo>
                <a:lnTo>
                  <a:pt x="462" y="543"/>
                </a:lnTo>
                <a:lnTo>
                  <a:pt x="462" y="546"/>
                </a:lnTo>
                <a:lnTo>
                  <a:pt x="465" y="551"/>
                </a:lnTo>
                <a:lnTo>
                  <a:pt x="465" y="549"/>
                </a:lnTo>
                <a:lnTo>
                  <a:pt x="473" y="546"/>
                </a:lnTo>
                <a:lnTo>
                  <a:pt x="482" y="540"/>
                </a:lnTo>
                <a:lnTo>
                  <a:pt x="491" y="534"/>
                </a:lnTo>
                <a:lnTo>
                  <a:pt x="499" y="528"/>
                </a:lnTo>
                <a:lnTo>
                  <a:pt x="505" y="528"/>
                </a:lnTo>
                <a:lnTo>
                  <a:pt x="508" y="528"/>
                </a:lnTo>
                <a:lnTo>
                  <a:pt x="516" y="526"/>
                </a:lnTo>
                <a:lnTo>
                  <a:pt x="528" y="526"/>
                </a:lnTo>
                <a:lnTo>
                  <a:pt x="531" y="526"/>
                </a:lnTo>
                <a:lnTo>
                  <a:pt x="537" y="523"/>
                </a:lnTo>
                <a:lnTo>
                  <a:pt x="548" y="503"/>
                </a:lnTo>
                <a:lnTo>
                  <a:pt x="557" y="491"/>
                </a:lnTo>
                <a:lnTo>
                  <a:pt x="562" y="485"/>
                </a:lnTo>
                <a:lnTo>
                  <a:pt x="568" y="477"/>
                </a:lnTo>
                <a:lnTo>
                  <a:pt x="574" y="471"/>
                </a:lnTo>
                <a:lnTo>
                  <a:pt x="577" y="468"/>
                </a:lnTo>
                <a:lnTo>
                  <a:pt x="583" y="460"/>
                </a:lnTo>
                <a:lnTo>
                  <a:pt x="591" y="454"/>
                </a:lnTo>
                <a:lnTo>
                  <a:pt x="597" y="451"/>
                </a:lnTo>
                <a:lnTo>
                  <a:pt x="597" y="448"/>
                </a:lnTo>
                <a:lnTo>
                  <a:pt x="600" y="442"/>
                </a:lnTo>
                <a:lnTo>
                  <a:pt x="608" y="434"/>
                </a:lnTo>
                <a:lnTo>
                  <a:pt x="620" y="431"/>
                </a:lnTo>
                <a:lnTo>
                  <a:pt x="626" y="425"/>
                </a:lnTo>
                <a:lnTo>
                  <a:pt x="626" y="422"/>
                </a:lnTo>
                <a:lnTo>
                  <a:pt x="628" y="417"/>
                </a:lnTo>
                <a:lnTo>
                  <a:pt x="634" y="411"/>
                </a:lnTo>
                <a:lnTo>
                  <a:pt x="643" y="402"/>
                </a:lnTo>
                <a:lnTo>
                  <a:pt x="649" y="394"/>
                </a:lnTo>
                <a:lnTo>
                  <a:pt x="649" y="388"/>
                </a:lnTo>
                <a:lnTo>
                  <a:pt x="654" y="382"/>
                </a:lnTo>
                <a:lnTo>
                  <a:pt x="660" y="373"/>
                </a:lnTo>
                <a:lnTo>
                  <a:pt x="666" y="359"/>
                </a:lnTo>
                <a:lnTo>
                  <a:pt x="669" y="350"/>
                </a:lnTo>
                <a:lnTo>
                  <a:pt x="671" y="350"/>
                </a:lnTo>
                <a:lnTo>
                  <a:pt x="674" y="348"/>
                </a:lnTo>
                <a:lnTo>
                  <a:pt x="674" y="342"/>
                </a:lnTo>
                <a:lnTo>
                  <a:pt x="677" y="336"/>
                </a:lnTo>
                <a:lnTo>
                  <a:pt x="674" y="328"/>
                </a:lnTo>
                <a:lnTo>
                  <a:pt x="671" y="322"/>
                </a:lnTo>
                <a:lnTo>
                  <a:pt x="674" y="316"/>
                </a:lnTo>
                <a:lnTo>
                  <a:pt x="677" y="30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391" name="Freeform 497"/>
          <p:cNvSpPr>
            <a:spLocks/>
          </p:cNvSpPr>
          <p:nvPr/>
        </p:nvSpPr>
        <p:spPr bwMode="gray">
          <a:xfrm>
            <a:off x="10059813" y="4216615"/>
            <a:ext cx="18003" cy="12000"/>
          </a:xfrm>
          <a:custGeom>
            <a:avLst/>
            <a:gdLst>
              <a:gd name="T0" fmla="*/ 2147483647 w 8"/>
              <a:gd name="T1" fmla="*/ 0 h 8"/>
              <a:gd name="T2" fmla="*/ 0 w 8"/>
              <a:gd name="T3" fmla="*/ 2147483647 h 8"/>
              <a:gd name="T4" fmla="*/ 0 w 8"/>
              <a:gd name="T5" fmla="*/ 2147483647 h 8"/>
              <a:gd name="T6" fmla="*/ 2147483647 w 8"/>
              <a:gd name="T7" fmla="*/ 2147483647 h 8"/>
              <a:gd name="T8" fmla="*/ 2147483647 w 8"/>
              <a:gd name="T9" fmla="*/ 2147483647 h 8"/>
              <a:gd name="T10" fmla="*/ 2147483647 w 8"/>
              <a:gd name="T11" fmla="*/ 2147483647 h 8"/>
              <a:gd name="T12" fmla="*/ 2147483647 w 8"/>
              <a:gd name="T13" fmla="*/ 0 h 8"/>
              <a:gd name="T14" fmla="*/ 2147483647 w 8"/>
              <a:gd name="T15" fmla="*/ 0 h 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8"/>
              <a:gd name="T25" fmla="*/ 0 h 8"/>
              <a:gd name="T26" fmla="*/ 8 w 8"/>
              <a:gd name="T27" fmla="*/ 8 h 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8" h="8">
                <a:moveTo>
                  <a:pt x="2" y="0"/>
                </a:moveTo>
                <a:lnTo>
                  <a:pt x="0" y="3"/>
                </a:lnTo>
                <a:lnTo>
                  <a:pt x="0" y="8"/>
                </a:lnTo>
                <a:lnTo>
                  <a:pt x="5" y="8"/>
                </a:lnTo>
                <a:lnTo>
                  <a:pt x="8" y="5"/>
                </a:lnTo>
                <a:lnTo>
                  <a:pt x="2" y="5"/>
                </a:lnTo>
                <a:lnTo>
                  <a:pt x="8" y="0"/>
                </a:lnTo>
                <a:lnTo>
                  <a:pt x="2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392" name="Freeform 498"/>
          <p:cNvSpPr>
            <a:spLocks/>
          </p:cNvSpPr>
          <p:nvPr/>
        </p:nvSpPr>
        <p:spPr bwMode="gray">
          <a:xfrm>
            <a:off x="10547901" y="5002636"/>
            <a:ext cx="388070" cy="178504"/>
          </a:xfrm>
          <a:custGeom>
            <a:avLst/>
            <a:gdLst>
              <a:gd name="T0" fmla="*/ 2147483647 w 192"/>
              <a:gd name="T1" fmla="*/ 2147483647 h 118"/>
              <a:gd name="T2" fmla="*/ 2147483647 w 192"/>
              <a:gd name="T3" fmla="*/ 2147483647 h 118"/>
              <a:gd name="T4" fmla="*/ 2147483647 w 192"/>
              <a:gd name="T5" fmla="*/ 2147483647 h 118"/>
              <a:gd name="T6" fmla="*/ 2147483647 w 192"/>
              <a:gd name="T7" fmla="*/ 2147483647 h 118"/>
              <a:gd name="T8" fmla="*/ 2147483647 w 192"/>
              <a:gd name="T9" fmla="*/ 2147483647 h 118"/>
              <a:gd name="T10" fmla="*/ 2147483647 w 192"/>
              <a:gd name="T11" fmla="*/ 0 h 118"/>
              <a:gd name="T12" fmla="*/ 2147483647 w 192"/>
              <a:gd name="T13" fmla="*/ 2147483647 h 118"/>
              <a:gd name="T14" fmla="*/ 2147483647 w 192"/>
              <a:gd name="T15" fmla="*/ 2147483647 h 118"/>
              <a:gd name="T16" fmla="*/ 2147483647 w 192"/>
              <a:gd name="T17" fmla="*/ 2147483647 h 118"/>
              <a:gd name="T18" fmla="*/ 2147483647 w 192"/>
              <a:gd name="T19" fmla="*/ 2147483647 h 118"/>
              <a:gd name="T20" fmla="*/ 2147483647 w 192"/>
              <a:gd name="T21" fmla="*/ 2147483647 h 118"/>
              <a:gd name="T22" fmla="*/ 2147483647 w 192"/>
              <a:gd name="T23" fmla="*/ 2147483647 h 118"/>
              <a:gd name="T24" fmla="*/ 2147483647 w 192"/>
              <a:gd name="T25" fmla="*/ 2147483647 h 118"/>
              <a:gd name="T26" fmla="*/ 2147483647 w 192"/>
              <a:gd name="T27" fmla="*/ 2147483647 h 118"/>
              <a:gd name="T28" fmla="*/ 2147483647 w 192"/>
              <a:gd name="T29" fmla="*/ 2147483647 h 118"/>
              <a:gd name="T30" fmla="*/ 2147483647 w 192"/>
              <a:gd name="T31" fmla="*/ 2147483647 h 118"/>
              <a:gd name="T32" fmla="*/ 2147483647 w 192"/>
              <a:gd name="T33" fmla="*/ 2147483647 h 118"/>
              <a:gd name="T34" fmla="*/ 2147483647 w 192"/>
              <a:gd name="T35" fmla="*/ 2147483647 h 118"/>
              <a:gd name="T36" fmla="*/ 2147483647 w 192"/>
              <a:gd name="T37" fmla="*/ 2147483647 h 118"/>
              <a:gd name="T38" fmla="*/ 2147483647 w 192"/>
              <a:gd name="T39" fmla="*/ 2147483647 h 118"/>
              <a:gd name="T40" fmla="*/ 2147483647 w 192"/>
              <a:gd name="T41" fmla="*/ 2147483647 h 118"/>
              <a:gd name="T42" fmla="*/ 2147483647 w 192"/>
              <a:gd name="T43" fmla="*/ 2147483647 h 118"/>
              <a:gd name="T44" fmla="*/ 2147483647 w 192"/>
              <a:gd name="T45" fmla="*/ 2147483647 h 118"/>
              <a:gd name="T46" fmla="*/ 2147483647 w 192"/>
              <a:gd name="T47" fmla="*/ 2147483647 h 118"/>
              <a:gd name="T48" fmla="*/ 2147483647 w 192"/>
              <a:gd name="T49" fmla="*/ 2147483647 h 118"/>
              <a:gd name="T50" fmla="*/ 2147483647 w 192"/>
              <a:gd name="T51" fmla="*/ 2147483647 h 118"/>
              <a:gd name="T52" fmla="*/ 2147483647 w 192"/>
              <a:gd name="T53" fmla="*/ 2147483647 h 118"/>
              <a:gd name="T54" fmla="*/ 2147483647 w 192"/>
              <a:gd name="T55" fmla="*/ 2147483647 h 118"/>
              <a:gd name="T56" fmla="*/ 2147483647 w 192"/>
              <a:gd name="T57" fmla="*/ 2147483647 h 118"/>
              <a:gd name="T58" fmla="*/ 2147483647 w 192"/>
              <a:gd name="T59" fmla="*/ 2147483647 h 118"/>
              <a:gd name="T60" fmla="*/ 2147483647 w 192"/>
              <a:gd name="T61" fmla="*/ 2147483647 h 118"/>
              <a:gd name="T62" fmla="*/ 2147483647 w 192"/>
              <a:gd name="T63" fmla="*/ 2147483647 h 118"/>
              <a:gd name="T64" fmla="*/ 2147483647 w 192"/>
              <a:gd name="T65" fmla="*/ 2147483647 h 118"/>
              <a:gd name="T66" fmla="*/ 2147483647 w 192"/>
              <a:gd name="T67" fmla="*/ 2147483647 h 118"/>
              <a:gd name="T68" fmla="*/ 2147483647 w 192"/>
              <a:gd name="T69" fmla="*/ 2147483647 h 118"/>
              <a:gd name="T70" fmla="*/ 2147483647 w 192"/>
              <a:gd name="T71" fmla="*/ 2147483647 h 118"/>
              <a:gd name="T72" fmla="*/ 2147483647 w 192"/>
              <a:gd name="T73" fmla="*/ 2147483647 h 118"/>
              <a:gd name="T74" fmla="*/ 2147483647 w 192"/>
              <a:gd name="T75" fmla="*/ 2147483647 h 118"/>
              <a:gd name="T76" fmla="*/ 2147483647 w 192"/>
              <a:gd name="T77" fmla="*/ 2147483647 h 118"/>
              <a:gd name="T78" fmla="*/ 2147483647 w 192"/>
              <a:gd name="T79" fmla="*/ 2147483647 h 118"/>
              <a:gd name="T80" fmla="*/ 2147483647 w 192"/>
              <a:gd name="T81" fmla="*/ 2147483647 h 118"/>
              <a:gd name="T82" fmla="*/ 2147483647 w 192"/>
              <a:gd name="T83" fmla="*/ 2147483647 h 118"/>
              <a:gd name="T84" fmla="*/ 2147483647 w 192"/>
              <a:gd name="T85" fmla="*/ 2147483647 h 118"/>
              <a:gd name="T86" fmla="*/ 2147483647 w 192"/>
              <a:gd name="T87" fmla="*/ 2147483647 h 118"/>
              <a:gd name="T88" fmla="*/ 2147483647 w 192"/>
              <a:gd name="T89" fmla="*/ 2147483647 h 11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92"/>
              <a:gd name="T136" fmla="*/ 0 h 118"/>
              <a:gd name="T137" fmla="*/ 192 w 192"/>
              <a:gd name="T138" fmla="*/ 118 h 118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92" h="118">
                <a:moveTo>
                  <a:pt x="192" y="6"/>
                </a:moveTo>
                <a:lnTo>
                  <a:pt x="186" y="6"/>
                </a:lnTo>
                <a:lnTo>
                  <a:pt x="181" y="12"/>
                </a:lnTo>
                <a:lnTo>
                  <a:pt x="175" y="15"/>
                </a:lnTo>
                <a:lnTo>
                  <a:pt x="175" y="18"/>
                </a:lnTo>
                <a:lnTo>
                  <a:pt x="172" y="15"/>
                </a:lnTo>
                <a:lnTo>
                  <a:pt x="172" y="12"/>
                </a:lnTo>
                <a:lnTo>
                  <a:pt x="175" y="9"/>
                </a:lnTo>
                <a:lnTo>
                  <a:pt x="178" y="6"/>
                </a:lnTo>
                <a:lnTo>
                  <a:pt x="178" y="0"/>
                </a:lnTo>
                <a:lnTo>
                  <a:pt x="172" y="3"/>
                </a:lnTo>
                <a:lnTo>
                  <a:pt x="169" y="6"/>
                </a:lnTo>
                <a:lnTo>
                  <a:pt x="158" y="15"/>
                </a:lnTo>
                <a:lnTo>
                  <a:pt x="143" y="23"/>
                </a:lnTo>
                <a:lnTo>
                  <a:pt x="140" y="23"/>
                </a:lnTo>
                <a:lnTo>
                  <a:pt x="138" y="26"/>
                </a:lnTo>
                <a:lnTo>
                  <a:pt x="129" y="35"/>
                </a:lnTo>
                <a:lnTo>
                  <a:pt x="123" y="40"/>
                </a:lnTo>
                <a:lnTo>
                  <a:pt x="115" y="46"/>
                </a:lnTo>
                <a:lnTo>
                  <a:pt x="109" y="49"/>
                </a:lnTo>
                <a:lnTo>
                  <a:pt x="103" y="52"/>
                </a:lnTo>
                <a:lnTo>
                  <a:pt x="86" y="61"/>
                </a:lnTo>
                <a:lnTo>
                  <a:pt x="77" y="63"/>
                </a:lnTo>
                <a:lnTo>
                  <a:pt x="71" y="63"/>
                </a:lnTo>
                <a:lnTo>
                  <a:pt x="66" y="66"/>
                </a:lnTo>
                <a:lnTo>
                  <a:pt x="57" y="69"/>
                </a:lnTo>
                <a:lnTo>
                  <a:pt x="51" y="69"/>
                </a:lnTo>
                <a:lnTo>
                  <a:pt x="49" y="72"/>
                </a:lnTo>
                <a:lnTo>
                  <a:pt x="43" y="78"/>
                </a:lnTo>
                <a:lnTo>
                  <a:pt x="26" y="86"/>
                </a:lnTo>
                <a:lnTo>
                  <a:pt x="14" y="98"/>
                </a:lnTo>
                <a:lnTo>
                  <a:pt x="3" y="104"/>
                </a:lnTo>
                <a:lnTo>
                  <a:pt x="5" y="107"/>
                </a:lnTo>
                <a:lnTo>
                  <a:pt x="0" y="109"/>
                </a:lnTo>
                <a:lnTo>
                  <a:pt x="11" y="112"/>
                </a:lnTo>
                <a:lnTo>
                  <a:pt x="14" y="109"/>
                </a:lnTo>
                <a:lnTo>
                  <a:pt x="17" y="112"/>
                </a:lnTo>
                <a:lnTo>
                  <a:pt x="20" y="115"/>
                </a:lnTo>
                <a:lnTo>
                  <a:pt x="20" y="118"/>
                </a:lnTo>
                <a:lnTo>
                  <a:pt x="26" y="118"/>
                </a:lnTo>
                <a:lnTo>
                  <a:pt x="37" y="118"/>
                </a:lnTo>
                <a:lnTo>
                  <a:pt x="46" y="115"/>
                </a:lnTo>
                <a:lnTo>
                  <a:pt x="54" y="112"/>
                </a:lnTo>
                <a:lnTo>
                  <a:pt x="60" y="109"/>
                </a:lnTo>
                <a:lnTo>
                  <a:pt x="63" y="107"/>
                </a:lnTo>
                <a:lnTo>
                  <a:pt x="69" y="104"/>
                </a:lnTo>
                <a:lnTo>
                  <a:pt x="66" y="101"/>
                </a:lnTo>
                <a:lnTo>
                  <a:pt x="74" y="98"/>
                </a:lnTo>
                <a:lnTo>
                  <a:pt x="80" y="92"/>
                </a:lnTo>
                <a:lnTo>
                  <a:pt x="86" y="89"/>
                </a:lnTo>
                <a:lnTo>
                  <a:pt x="92" y="84"/>
                </a:lnTo>
                <a:lnTo>
                  <a:pt x="97" y="78"/>
                </a:lnTo>
                <a:lnTo>
                  <a:pt x="106" y="72"/>
                </a:lnTo>
                <a:lnTo>
                  <a:pt x="112" y="69"/>
                </a:lnTo>
                <a:lnTo>
                  <a:pt x="123" y="66"/>
                </a:lnTo>
                <a:lnTo>
                  <a:pt x="135" y="63"/>
                </a:lnTo>
                <a:lnTo>
                  <a:pt x="138" y="61"/>
                </a:lnTo>
                <a:lnTo>
                  <a:pt x="135" y="61"/>
                </a:lnTo>
                <a:lnTo>
                  <a:pt x="140" y="55"/>
                </a:lnTo>
                <a:lnTo>
                  <a:pt x="160" y="40"/>
                </a:lnTo>
                <a:lnTo>
                  <a:pt x="181" y="29"/>
                </a:lnTo>
                <a:lnTo>
                  <a:pt x="186" y="20"/>
                </a:lnTo>
                <a:lnTo>
                  <a:pt x="192" y="18"/>
                </a:lnTo>
                <a:lnTo>
                  <a:pt x="192" y="15"/>
                </a:lnTo>
                <a:lnTo>
                  <a:pt x="189" y="9"/>
                </a:lnTo>
                <a:lnTo>
                  <a:pt x="192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393" name="Freeform 499"/>
          <p:cNvSpPr>
            <a:spLocks/>
          </p:cNvSpPr>
          <p:nvPr/>
        </p:nvSpPr>
        <p:spPr bwMode="gray">
          <a:xfrm>
            <a:off x="10523896" y="4608124"/>
            <a:ext cx="6000" cy="13501"/>
          </a:xfrm>
          <a:custGeom>
            <a:avLst/>
            <a:gdLst>
              <a:gd name="T0" fmla="*/ 2147483647 w 3"/>
              <a:gd name="T1" fmla="*/ 0 h 9"/>
              <a:gd name="T2" fmla="*/ 0 w 3"/>
              <a:gd name="T3" fmla="*/ 2147483647 h 9"/>
              <a:gd name="T4" fmla="*/ 0 w 3"/>
              <a:gd name="T5" fmla="*/ 2147483647 h 9"/>
              <a:gd name="T6" fmla="*/ 2147483647 w 3"/>
              <a:gd name="T7" fmla="*/ 2147483647 h 9"/>
              <a:gd name="T8" fmla="*/ 2147483647 w 3"/>
              <a:gd name="T9" fmla="*/ 0 h 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9"/>
              <a:gd name="T17" fmla="*/ 3 w 3"/>
              <a:gd name="T18" fmla="*/ 9 h 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9">
                <a:moveTo>
                  <a:pt x="3" y="0"/>
                </a:moveTo>
                <a:lnTo>
                  <a:pt x="0" y="3"/>
                </a:lnTo>
                <a:lnTo>
                  <a:pt x="0" y="9"/>
                </a:lnTo>
                <a:lnTo>
                  <a:pt x="3" y="6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394" name="Freeform 500"/>
          <p:cNvSpPr>
            <a:spLocks/>
          </p:cNvSpPr>
          <p:nvPr/>
        </p:nvSpPr>
        <p:spPr bwMode="gray">
          <a:xfrm>
            <a:off x="10065813" y="4267616"/>
            <a:ext cx="6002" cy="9000"/>
          </a:xfrm>
          <a:custGeom>
            <a:avLst/>
            <a:gdLst>
              <a:gd name="T0" fmla="*/ 2147483647 w 3"/>
              <a:gd name="T1" fmla="*/ 0 h 6"/>
              <a:gd name="T2" fmla="*/ 0 w 3"/>
              <a:gd name="T3" fmla="*/ 0 h 6"/>
              <a:gd name="T4" fmla="*/ 2147483647 w 3"/>
              <a:gd name="T5" fmla="*/ 2147483647 h 6"/>
              <a:gd name="T6" fmla="*/ 2147483647 w 3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6"/>
              <a:gd name="T14" fmla="*/ 3 w 3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6">
                <a:moveTo>
                  <a:pt x="3" y="0"/>
                </a:moveTo>
                <a:lnTo>
                  <a:pt x="0" y="0"/>
                </a:lnTo>
                <a:lnTo>
                  <a:pt x="3" y="6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395" name="Freeform 501"/>
          <p:cNvSpPr>
            <a:spLocks/>
          </p:cNvSpPr>
          <p:nvPr/>
        </p:nvSpPr>
        <p:spPr bwMode="gray">
          <a:xfrm>
            <a:off x="10947972" y="4825631"/>
            <a:ext cx="214038" cy="207006"/>
          </a:xfrm>
          <a:custGeom>
            <a:avLst/>
            <a:gdLst>
              <a:gd name="T0" fmla="*/ 2147483647 w 106"/>
              <a:gd name="T1" fmla="*/ 2147483647 h 137"/>
              <a:gd name="T2" fmla="*/ 2147483647 w 106"/>
              <a:gd name="T3" fmla="*/ 2147483647 h 137"/>
              <a:gd name="T4" fmla="*/ 2147483647 w 106"/>
              <a:gd name="T5" fmla="*/ 2147483647 h 137"/>
              <a:gd name="T6" fmla="*/ 2147483647 w 106"/>
              <a:gd name="T7" fmla="*/ 2147483647 h 137"/>
              <a:gd name="T8" fmla="*/ 2147483647 w 106"/>
              <a:gd name="T9" fmla="*/ 2147483647 h 137"/>
              <a:gd name="T10" fmla="*/ 2147483647 w 106"/>
              <a:gd name="T11" fmla="*/ 2147483647 h 137"/>
              <a:gd name="T12" fmla="*/ 2147483647 w 106"/>
              <a:gd name="T13" fmla="*/ 2147483647 h 137"/>
              <a:gd name="T14" fmla="*/ 2147483647 w 106"/>
              <a:gd name="T15" fmla="*/ 2147483647 h 137"/>
              <a:gd name="T16" fmla="*/ 2147483647 w 106"/>
              <a:gd name="T17" fmla="*/ 2147483647 h 137"/>
              <a:gd name="T18" fmla="*/ 2147483647 w 106"/>
              <a:gd name="T19" fmla="*/ 2147483647 h 137"/>
              <a:gd name="T20" fmla="*/ 2147483647 w 106"/>
              <a:gd name="T21" fmla="*/ 2147483647 h 137"/>
              <a:gd name="T22" fmla="*/ 2147483647 w 106"/>
              <a:gd name="T23" fmla="*/ 0 h 137"/>
              <a:gd name="T24" fmla="*/ 2147483647 w 106"/>
              <a:gd name="T25" fmla="*/ 2147483647 h 137"/>
              <a:gd name="T26" fmla="*/ 2147483647 w 106"/>
              <a:gd name="T27" fmla="*/ 2147483647 h 137"/>
              <a:gd name="T28" fmla="*/ 2147483647 w 106"/>
              <a:gd name="T29" fmla="*/ 2147483647 h 137"/>
              <a:gd name="T30" fmla="*/ 2147483647 w 106"/>
              <a:gd name="T31" fmla="*/ 2147483647 h 137"/>
              <a:gd name="T32" fmla="*/ 2147483647 w 106"/>
              <a:gd name="T33" fmla="*/ 2147483647 h 137"/>
              <a:gd name="T34" fmla="*/ 2147483647 w 106"/>
              <a:gd name="T35" fmla="*/ 2147483647 h 137"/>
              <a:gd name="T36" fmla="*/ 2147483647 w 106"/>
              <a:gd name="T37" fmla="*/ 2147483647 h 137"/>
              <a:gd name="T38" fmla="*/ 2147483647 w 106"/>
              <a:gd name="T39" fmla="*/ 2147483647 h 137"/>
              <a:gd name="T40" fmla="*/ 2147483647 w 106"/>
              <a:gd name="T41" fmla="*/ 2147483647 h 137"/>
              <a:gd name="T42" fmla="*/ 2147483647 w 106"/>
              <a:gd name="T43" fmla="*/ 2147483647 h 137"/>
              <a:gd name="T44" fmla="*/ 2147483647 w 106"/>
              <a:gd name="T45" fmla="*/ 2147483647 h 137"/>
              <a:gd name="T46" fmla="*/ 2147483647 w 106"/>
              <a:gd name="T47" fmla="*/ 2147483647 h 137"/>
              <a:gd name="T48" fmla="*/ 0 w 106"/>
              <a:gd name="T49" fmla="*/ 2147483647 h 137"/>
              <a:gd name="T50" fmla="*/ 2147483647 w 106"/>
              <a:gd name="T51" fmla="*/ 2147483647 h 137"/>
              <a:gd name="T52" fmla="*/ 2147483647 w 106"/>
              <a:gd name="T53" fmla="*/ 2147483647 h 137"/>
              <a:gd name="T54" fmla="*/ 2147483647 w 106"/>
              <a:gd name="T55" fmla="*/ 2147483647 h 137"/>
              <a:gd name="T56" fmla="*/ 2147483647 w 106"/>
              <a:gd name="T57" fmla="*/ 2147483647 h 137"/>
              <a:gd name="T58" fmla="*/ 2147483647 w 106"/>
              <a:gd name="T59" fmla="*/ 2147483647 h 137"/>
              <a:gd name="T60" fmla="*/ 2147483647 w 106"/>
              <a:gd name="T61" fmla="*/ 2147483647 h 137"/>
              <a:gd name="T62" fmla="*/ 2147483647 w 106"/>
              <a:gd name="T63" fmla="*/ 2147483647 h 137"/>
              <a:gd name="T64" fmla="*/ 2147483647 w 106"/>
              <a:gd name="T65" fmla="*/ 2147483647 h 137"/>
              <a:gd name="T66" fmla="*/ 2147483647 w 106"/>
              <a:gd name="T67" fmla="*/ 2147483647 h 137"/>
              <a:gd name="T68" fmla="*/ 2147483647 w 106"/>
              <a:gd name="T69" fmla="*/ 2147483647 h 137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06"/>
              <a:gd name="T106" fmla="*/ 0 h 137"/>
              <a:gd name="T107" fmla="*/ 106 w 106"/>
              <a:gd name="T108" fmla="*/ 137 h 137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06" h="137">
                <a:moveTo>
                  <a:pt x="95" y="63"/>
                </a:moveTo>
                <a:lnTo>
                  <a:pt x="95" y="63"/>
                </a:lnTo>
                <a:lnTo>
                  <a:pt x="89" y="68"/>
                </a:lnTo>
                <a:lnTo>
                  <a:pt x="80" y="68"/>
                </a:lnTo>
                <a:lnTo>
                  <a:pt x="72" y="66"/>
                </a:lnTo>
                <a:lnTo>
                  <a:pt x="69" y="60"/>
                </a:lnTo>
                <a:lnTo>
                  <a:pt x="72" y="51"/>
                </a:lnTo>
                <a:lnTo>
                  <a:pt x="74" y="46"/>
                </a:lnTo>
                <a:lnTo>
                  <a:pt x="69" y="40"/>
                </a:lnTo>
                <a:lnTo>
                  <a:pt x="63" y="48"/>
                </a:lnTo>
                <a:lnTo>
                  <a:pt x="63" y="46"/>
                </a:lnTo>
                <a:lnTo>
                  <a:pt x="60" y="46"/>
                </a:lnTo>
                <a:lnTo>
                  <a:pt x="63" y="40"/>
                </a:lnTo>
                <a:lnTo>
                  <a:pt x="60" y="31"/>
                </a:lnTo>
                <a:lnTo>
                  <a:pt x="66" y="23"/>
                </a:lnTo>
                <a:lnTo>
                  <a:pt x="66" y="14"/>
                </a:lnTo>
                <a:lnTo>
                  <a:pt x="60" y="11"/>
                </a:lnTo>
                <a:lnTo>
                  <a:pt x="51" y="5"/>
                </a:lnTo>
                <a:lnTo>
                  <a:pt x="54" y="0"/>
                </a:lnTo>
                <a:lnTo>
                  <a:pt x="49" y="0"/>
                </a:lnTo>
                <a:lnTo>
                  <a:pt x="49" y="11"/>
                </a:lnTo>
                <a:lnTo>
                  <a:pt x="46" y="17"/>
                </a:lnTo>
                <a:lnTo>
                  <a:pt x="49" y="23"/>
                </a:lnTo>
                <a:lnTo>
                  <a:pt x="51" y="31"/>
                </a:lnTo>
                <a:lnTo>
                  <a:pt x="49" y="51"/>
                </a:lnTo>
                <a:lnTo>
                  <a:pt x="49" y="63"/>
                </a:lnTo>
                <a:lnTo>
                  <a:pt x="43" y="71"/>
                </a:lnTo>
                <a:lnTo>
                  <a:pt x="37" y="80"/>
                </a:lnTo>
                <a:lnTo>
                  <a:pt x="28" y="86"/>
                </a:lnTo>
                <a:lnTo>
                  <a:pt x="17" y="91"/>
                </a:lnTo>
                <a:lnTo>
                  <a:pt x="11" y="94"/>
                </a:lnTo>
                <a:lnTo>
                  <a:pt x="11" y="100"/>
                </a:lnTo>
                <a:lnTo>
                  <a:pt x="14" y="103"/>
                </a:lnTo>
                <a:lnTo>
                  <a:pt x="20" y="106"/>
                </a:lnTo>
                <a:lnTo>
                  <a:pt x="23" y="106"/>
                </a:lnTo>
                <a:lnTo>
                  <a:pt x="23" y="112"/>
                </a:lnTo>
                <a:lnTo>
                  <a:pt x="14" y="120"/>
                </a:lnTo>
                <a:lnTo>
                  <a:pt x="0" y="132"/>
                </a:lnTo>
                <a:lnTo>
                  <a:pt x="3" y="137"/>
                </a:lnTo>
                <a:lnTo>
                  <a:pt x="14" y="132"/>
                </a:lnTo>
                <a:lnTo>
                  <a:pt x="28" y="123"/>
                </a:lnTo>
                <a:lnTo>
                  <a:pt x="51" y="109"/>
                </a:lnTo>
                <a:lnTo>
                  <a:pt x="60" y="100"/>
                </a:lnTo>
                <a:lnTo>
                  <a:pt x="57" y="97"/>
                </a:lnTo>
                <a:lnTo>
                  <a:pt x="69" y="91"/>
                </a:lnTo>
                <a:lnTo>
                  <a:pt x="77" y="94"/>
                </a:lnTo>
                <a:lnTo>
                  <a:pt x="80" y="89"/>
                </a:lnTo>
                <a:lnTo>
                  <a:pt x="86" y="83"/>
                </a:lnTo>
                <a:lnTo>
                  <a:pt x="95" y="80"/>
                </a:lnTo>
                <a:lnTo>
                  <a:pt x="100" y="71"/>
                </a:lnTo>
                <a:lnTo>
                  <a:pt x="106" y="66"/>
                </a:lnTo>
                <a:lnTo>
                  <a:pt x="106" y="60"/>
                </a:lnTo>
                <a:lnTo>
                  <a:pt x="100" y="60"/>
                </a:lnTo>
                <a:lnTo>
                  <a:pt x="97" y="60"/>
                </a:lnTo>
                <a:lnTo>
                  <a:pt x="95" y="6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396" name="Freeform 502"/>
          <p:cNvSpPr>
            <a:spLocks/>
          </p:cNvSpPr>
          <p:nvPr/>
        </p:nvSpPr>
        <p:spPr bwMode="gray">
          <a:xfrm>
            <a:off x="9183655" y="4542123"/>
            <a:ext cx="12002" cy="13501"/>
          </a:xfrm>
          <a:custGeom>
            <a:avLst/>
            <a:gdLst>
              <a:gd name="T0" fmla="*/ 2147483647 w 6"/>
              <a:gd name="T1" fmla="*/ 2147483647 h 9"/>
              <a:gd name="T2" fmla="*/ 2147483647 w 6"/>
              <a:gd name="T3" fmla="*/ 2147483647 h 9"/>
              <a:gd name="T4" fmla="*/ 2147483647 w 6"/>
              <a:gd name="T5" fmla="*/ 0 h 9"/>
              <a:gd name="T6" fmla="*/ 0 w 6"/>
              <a:gd name="T7" fmla="*/ 2147483647 h 9"/>
              <a:gd name="T8" fmla="*/ 2147483647 w 6"/>
              <a:gd name="T9" fmla="*/ 2147483647 h 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9"/>
              <a:gd name="T17" fmla="*/ 6 w 6"/>
              <a:gd name="T18" fmla="*/ 9 h 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9">
                <a:moveTo>
                  <a:pt x="3" y="9"/>
                </a:moveTo>
                <a:lnTo>
                  <a:pt x="6" y="3"/>
                </a:lnTo>
                <a:lnTo>
                  <a:pt x="3" y="0"/>
                </a:lnTo>
                <a:lnTo>
                  <a:pt x="0" y="9"/>
                </a:lnTo>
                <a:lnTo>
                  <a:pt x="3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397" name="Freeform 503"/>
          <p:cNvSpPr>
            <a:spLocks/>
          </p:cNvSpPr>
          <p:nvPr/>
        </p:nvSpPr>
        <p:spPr bwMode="gray">
          <a:xfrm>
            <a:off x="8997621" y="3981108"/>
            <a:ext cx="332060" cy="87002"/>
          </a:xfrm>
          <a:custGeom>
            <a:avLst/>
            <a:gdLst>
              <a:gd name="T0" fmla="*/ 2147483647 w 164"/>
              <a:gd name="T1" fmla="*/ 2147483647 h 57"/>
              <a:gd name="T2" fmla="*/ 2147483647 w 164"/>
              <a:gd name="T3" fmla="*/ 2147483647 h 57"/>
              <a:gd name="T4" fmla="*/ 2147483647 w 164"/>
              <a:gd name="T5" fmla="*/ 2147483647 h 57"/>
              <a:gd name="T6" fmla="*/ 2147483647 w 164"/>
              <a:gd name="T7" fmla="*/ 2147483647 h 57"/>
              <a:gd name="T8" fmla="*/ 2147483647 w 164"/>
              <a:gd name="T9" fmla="*/ 2147483647 h 57"/>
              <a:gd name="T10" fmla="*/ 2147483647 w 164"/>
              <a:gd name="T11" fmla="*/ 2147483647 h 57"/>
              <a:gd name="T12" fmla="*/ 2147483647 w 164"/>
              <a:gd name="T13" fmla="*/ 2147483647 h 57"/>
              <a:gd name="T14" fmla="*/ 2147483647 w 164"/>
              <a:gd name="T15" fmla="*/ 2147483647 h 57"/>
              <a:gd name="T16" fmla="*/ 2147483647 w 164"/>
              <a:gd name="T17" fmla="*/ 2147483647 h 57"/>
              <a:gd name="T18" fmla="*/ 2147483647 w 164"/>
              <a:gd name="T19" fmla="*/ 2147483647 h 57"/>
              <a:gd name="T20" fmla="*/ 2147483647 w 164"/>
              <a:gd name="T21" fmla="*/ 2147483647 h 57"/>
              <a:gd name="T22" fmla="*/ 2147483647 w 164"/>
              <a:gd name="T23" fmla="*/ 2147483647 h 57"/>
              <a:gd name="T24" fmla="*/ 2147483647 w 164"/>
              <a:gd name="T25" fmla="*/ 2147483647 h 57"/>
              <a:gd name="T26" fmla="*/ 2147483647 w 164"/>
              <a:gd name="T27" fmla="*/ 2147483647 h 57"/>
              <a:gd name="T28" fmla="*/ 2147483647 w 164"/>
              <a:gd name="T29" fmla="*/ 2147483647 h 57"/>
              <a:gd name="T30" fmla="*/ 2147483647 w 164"/>
              <a:gd name="T31" fmla="*/ 2147483647 h 57"/>
              <a:gd name="T32" fmla="*/ 2147483647 w 164"/>
              <a:gd name="T33" fmla="*/ 2147483647 h 57"/>
              <a:gd name="T34" fmla="*/ 2147483647 w 164"/>
              <a:gd name="T35" fmla="*/ 2147483647 h 57"/>
              <a:gd name="T36" fmla="*/ 2147483647 w 164"/>
              <a:gd name="T37" fmla="*/ 2147483647 h 57"/>
              <a:gd name="T38" fmla="*/ 2147483647 w 164"/>
              <a:gd name="T39" fmla="*/ 2147483647 h 57"/>
              <a:gd name="T40" fmla="*/ 2147483647 w 164"/>
              <a:gd name="T41" fmla="*/ 2147483647 h 57"/>
              <a:gd name="T42" fmla="*/ 2147483647 w 164"/>
              <a:gd name="T43" fmla="*/ 2147483647 h 57"/>
              <a:gd name="T44" fmla="*/ 2147483647 w 164"/>
              <a:gd name="T45" fmla="*/ 2147483647 h 57"/>
              <a:gd name="T46" fmla="*/ 2147483647 w 164"/>
              <a:gd name="T47" fmla="*/ 2147483647 h 57"/>
              <a:gd name="T48" fmla="*/ 2147483647 w 164"/>
              <a:gd name="T49" fmla="*/ 2147483647 h 57"/>
              <a:gd name="T50" fmla="*/ 2147483647 w 164"/>
              <a:gd name="T51" fmla="*/ 2147483647 h 57"/>
              <a:gd name="T52" fmla="*/ 2147483647 w 164"/>
              <a:gd name="T53" fmla="*/ 2147483647 h 57"/>
              <a:gd name="T54" fmla="*/ 2147483647 w 164"/>
              <a:gd name="T55" fmla="*/ 2147483647 h 57"/>
              <a:gd name="T56" fmla="*/ 2147483647 w 164"/>
              <a:gd name="T57" fmla="*/ 2147483647 h 57"/>
              <a:gd name="T58" fmla="*/ 2147483647 w 164"/>
              <a:gd name="T59" fmla="*/ 2147483647 h 57"/>
              <a:gd name="T60" fmla="*/ 2147483647 w 164"/>
              <a:gd name="T61" fmla="*/ 2147483647 h 57"/>
              <a:gd name="T62" fmla="*/ 2147483647 w 164"/>
              <a:gd name="T63" fmla="*/ 2147483647 h 57"/>
              <a:gd name="T64" fmla="*/ 0 w 164"/>
              <a:gd name="T65" fmla="*/ 2147483647 h 57"/>
              <a:gd name="T66" fmla="*/ 2147483647 w 164"/>
              <a:gd name="T67" fmla="*/ 2147483647 h 57"/>
              <a:gd name="T68" fmla="*/ 2147483647 w 164"/>
              <a:gd name="T69" fmla="*/ 2147483647 h 57"/>
              <a:gd name="T70" fmla="*/ 2147483647 w 164"/>
              <a:gd name="T71" fmla="*/ 2147483647 h 57"/>
              <a:gd name="T72" fmla="*/ 2147483647 w 164"/>
              <a:gd name="T73" fmla="*/ 2147483647 h 57"/>
              <a:gd name="T74" fmla="*/ 2147483647 w 164"/>
              <a:gd name="T75" fmla="*/ 2147483647 h 57"/>
              <a:gd name="T76" fmla="*/ 2147483647 w 164"/>
              <a:gd name="T77" fmla="*/ 2147483647 h 57"/>
              <a:gd name="T78" fmla="*/ 2147483647 w 164"/>
              <a:gd name="T79" fmla="*/ 2147483647 h 57"/>
              <a:gd name="T80" fmla="*/ 2147483647 w 164"/>
              <a:gd name="T81" fmla="*/ 2147483647 h 57"/>
              <a:gd name="T82" fmla="*/ 2147483647 w 164"/>
              <a:gd name="T83" fmla="*/ 2147483647 h 57"/>
              <a:gd name="T84" fmla="*/ 2147483647 w 164"/>
              <a:gd name="T85" fmla="*/ 2147483647 h 5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164"/>
              <a:gd name="T130" fmla="*/ 0 h 57"/>
              <a:gd name="T131" fmla="*/ 164 w 164"/>
              <a:gd name="T132" fmla="*/ 57 h 5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164" h="57">
                <a:moveTo>
                  <a:pt x="101" y="48"/>
                </a:moveTo>
                <a:lnTo>
                  <a:pt x="101" y="48"/>
                </a:lnTo>
                <a:lnTo>
                  <a:pt x="121" y="51"/>
                </a:lnTo>
                <a:lnTo>
                  <a:pt x="127" y="51"/>
                </a:lnTo>
                <a:lnTo>
                  <a:pt x="132" y="48"/>
                </a:lnTo>
                <a:lnTo>
                  <a:pt x="135" y="48"/>
                </a:lnTo>
                <a:lnTo>
                  <a:pt x="141" y="48"/>
                </a:lnTo>
                <a:lnTo>
                  <a:pt x="155" y="54"/>
                </a:lnTo>
                <a:lnTo>
                  <a:pt x="158" y="57"/>
                </a:lnTo>
                <a:lnTo>
                  <a:pt x="164" y="57"/>
                </a:lnTo>
                <a:lnTo>
                  <a:pt x="158" y="54"/>
                </a:lnTo>
                <a:lnTo>
                  <a:pt x="155" y="51"/>
                </a:lnTo>
                <a:lnTo>
                  <a:pt x="158" y="48"/>
                </a:lnTo>
                <a:lnTo>
                  <a:pt x="158" y="43"/>
                </a:lnTo>
                <a:lnTo>
                  <a:pt x="158" y="34"/>
                </a:lnTo>
                <a:lnTo>
                  <a:pt x="155" y="31"/>
                </a:lnTo>
                <a:lnTo>
                  <a:pt x="150" y="34"/>
                </a:lnTo>
                <a:lnTo>
                  <a:pt x="144" y="34"/>
                </a:lnTo>
                <a:lnTo>
                  <a:pt x="141" y="31"/>
                </a:lnTo>
                <a:lnTo>
                  <a:pt x="144" y="28"/>
                </a:lnTo>
                <a:lnTo>
                  <a:pt x="150" y="25"/>
                </a:lnTo>
                <a:lnTo>
                  <a:pt x="155" y="23"/>
                </a:lnTo>
                <a:lnTo>
                  <a:pt x="155" y="20"/>
                </a:lnTo>
                <a:lnTo>
                  <a:pt x="150" y="20"/>
                </a:lnTo>
                <a:lnTo>
                  <a:pt x="141" y="20"/>
                </a:lnTo>
                <a:lnTo>
                  <a:pt x="127" y="20"/>
                </a:lnTo>
                <a:lnTo>
                  <a:pt x="118" y="17"/>
                </a:lnTo>
                <a:lnTo>
                  <a:pt x="112" y="17"/>
                </a:lnTo>
                <a:lnTo>
                  <a:pt x="106" y="17"/>
                </a:lnTo>
                <a:lnTo>
                  <a:pt x="106" y="14"/>
                </a:lnTo>
                <a:lnTo>
                  <a:pt x="104" y="11"/>
                </a:lnTo>
                <a:lnTo>
                  <a:pt x="98" y="11"/>
                </a:lnTo>
                <a:lnTo>
                  <a:pt x="95" y="11"/>
                </a:lnTo>
                <a:lnTo>
                  <a:pt x="95" y="14"/>
                </a:lnTo>
                <a:lnTo>
                  <a:pt x="95" y="17"/>
                </a:lnTo>
                <a:lnTo>
                  <a:pt x="92" y="20"/>
                </a:lnTo>
                <a:lnTo>
                  <a:pt x="86" y="20"/>
                </a:lnTo>
                <a:lnTo>
                  <a:pt x="84" y="20"/>
                </a:lnTo>
                <a:lnTo>
                  <a:pt x="75" y="20"/>
                </a:lnTo>
                <a:lnTo>
                  <a:pt x="63" y="20"/>
                </a:lnTo>
                <a:lnTo>
                  <a:pt x="61" y="17"/>
                </a:lnTo>
                <a:lnTo>
                  <a:pt x="58" y="11"/>
                </a:lnTo>
                <a:lnTo>
                  <a:pt x="55" y="8"/>
                </a:lnTo>
                <a:lnTo>
                  <a:pt x="49" y="8"/>
                </a:lnTo>
                <a:lnTo>
                  <a:pt x="43" y="5"/>
                </a:lnTo>
                <a:lnTo>
                  <a:pt x="40" y="2"/>
                </a:lnTo>
                <a:lnTo>
                  <a:pt x="38" y="0"/>
                </a:lnTo>
                <a:lnTo>
                  <a:pt x="35" y="2"/>
                </a:lnTo>
                <a:lnTo>
                  <a:pt x="32" y="5"/>
                </a:lnTo>
                <a:lnTo>
                  <a:pt x="29" y="5"/>
                </a:lnTo>
                <a:lnTo>
                  <a:pt x="26" y="2"/>
                </a:lnTo>
                <a:lnTo>
                  <a:pt x="20" y="2"/>
                </a:lnTo>
                <a:lnTo>
                  <a:pt x="18" y="2"/>
                </a:lnTo>
                <a:lnTo>
                  <a:pt x="15" y="2"/>
                </a:lnTo>
                <a:lnTo>
                  <a:pt x="12" y="11"/>
                </a:lnTo>
                <a:lnTo>
                  <a:pt x="9" y="11"/>
                </a:lnTo>
                <a:lnTo>
                  <a:pt x="9" y="14"/>
                </a:lnTo>
                <a:lnTo>
                  <a:pt x="6" y="17"/>
                </a:lnTo>
                <a:lnTo>
                  <a:pt x="0" y="17"/>
                </a:lnTo>
                <a:lnTo>
                  <a:pt x="0" y="20"/>
                </a:lnTo>
                <a:lnTo>
                  <a:pt x="3" y="20"/>
                </a:lnTo>
                <a:lnTo>
                  <a:pt x="12" y="20"/>
                </a:lnTo>
                <a:lnTo>
                  <a:pt x="15" y="20"/>
                </a:lnTo>
                <a:lnTo>
                  <a:pt x="18" y="23"/>
                </a:lnTo>
                <a:lnTo>
                  <a:pt x="26" y="23"/>
                </a:lnTo>
                <a:lnTo>
                  <a:pt x="23" y="25"/>
                </a:lnTo>
                <a:lnTo>
                  <a:pt x="20" y="28"/>
                </a:lnTo>
                <a:lnTo>
                  <a:pt x="23" y="31"/>
                </a:lnTo>
                <a:lnTo>
                  <a:pt x="32" y="31"/>
                </a:lnTo>
                <a:lnTo>
                  <a:pt x="43" y="34"/>
                </a:lnTo>
                <a:lnTo>
                  <a:pt x="40" y="37"/>
                </a:lnTo>
                <a:lnTo>
                  <a:pt x="43" y="40"/>
                </a:lnTo>
                <a:lnTo>
                  <a:pt x="52" y="40"/>
                </a:lnTo>
                <a:lnTo>
                  <a:pt x="58" y="37"/>
                </a:lnTo>
                <a:lnTo>
                  <a:pt x="61" y="37"/>
                </a:lnTo>
                <a:lnTo>
                  <a:pt x="66" y="37"/>
                </a:lnTo>
                <a:lnTo>
                  <a:pt x="84" y="43"/>
                </a:lnTo>
                <a:lnTo>
                  <a:pt x="92" y="46"/>
                </a:lnTo>
                <a:lnTo>
                  <a:pt x="101" y="4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398" name="Freeform 504"/>
          <p:cNvSpPr>
            <a:spLocks/>
          </p:cNvSpPr>
          <p:nvPr/>
        </p:nvSpPr>
        <p:spPr bwMode="gray">
          <a:xfrm>
            <a:off x="8655559" y="3642099"/>
            <a:ext cx="382068" cy="339009"/>
          </a:xfrm>
          <a:custGeom>
            <a:avLst/>
            <a:gdLst>
              <a:gd name="T0" fmla="*/ 2147483647 w 189"/>
              <a:gd name="T1" fmla="*/ 2147483647 h 224"/>
              <a:gd name="T2" fmla="*/ 2147483647 w 189"/>
              <a:gd name="T3" fmla="*/ 2147483647 h 224"/>
              <a:gd name="T4" fmla="*/ 2147483647 w 189"/>
              <a:gd name="T5" fmla="*/ 2147483647 h 224"/>
              <a:gd name="T6" fmla="*/ 2147483647 w 189"/>
              <a:gd name="T7" fmla="*/ 2147483647 h 224"/>
              <a:gd name="T8" fmla="*/ 2147483647 w 189"/>
              <a:gd name="T9" fmla="*/ 2147483647 h 224"/>
              <a:gd name="T10" fmla="*/ 2147483647 w 189"/>
              <a:gd name="T11" fmla="*/ 2147483647 h 224"/>
              <a:gd name="T12" fmla="*/ 2147483647 w 189"/>
              <a:gd name="T13" fmla="*/ 2147483647 h 224"/>
              <a:gd name="T14" fmla="*/ 2147483647 w 189"/>
              <a:gd name="T15" fmla="*/ 2147483647 h 224"/>
              <a:gd name="T16" fmla="*/ 2147483647 w 189"/>
              <a:gd name="T17" fmla="*/ 2147483647 h 224"/>
              <a:gd name="T18" fmla="*/ 2147483647 w 189"/>
              <a:gd name="T19" fmla="*/ 2147483647 h 224"/>
              <a:gd name="T20" fmla="*/ 2147483647 w 189"/>
              <a:gd name="T21" fmla="*/ 2147483647 h 224"/>
              <a:gd name="T22" fmla="*/ 2147483647 w 189"/>
              <a:gd name="T23" fmla="*/ 2147483647 h 224"/>
              <a:gd name="T24" fmla="*/ 2147483647 w 189"/>
              <a:gd name="T25" fmla="*/ 2147483647 h 224"/>
              <a:gd name="T26" fmla="*/ 2147483647 w 189"/>
              <a:gd name="T27" fmla="*/ 2147483647 h 224"/>
              <a:gd name="T28" fmla="*/ 2147483647 w 189"/>
              <a:gd name="T29" fmla="*/ 2147483647 h 224"/>
              <a:gd name="T30" fmla="*/ 2147483647 w 189"/>
              <a:gd name="T31" fmla="*/ 2147483647 h 224"/>
              <a:gd name="T32" fmla="*/ 2147483647 w 189"/>
              <a:gd name="T33" fmla="*/ 2147483647 h 224"/>
              <a:gd name="T34" fmla="*/ 2147483647 w 189"/>
              <a:gd name="T35" fmla="*/ 2147483647 h 224"/>
              <a:gd name="T36" fmla="*/ 2147483647 w 189"/>
              <a:gd name="T37" fmla="*/ 2147483647 h 224"/>
              <a:gd name="T38" fmla="*/ 2147483647 w 189"/>
              <a:gd name="T39" fmla="*/ 2147483647 h 224"/>
              <a:gd name="T40" fmla="*/ 2147483647 w 189"/>
              <a:gd name="T41" fmla="*/ 2147483647 h 224"/>
              <a:gd name="T42" fmla="*/ 2147483647 w 189"/>
              <a:gd name="T43" fmla="*/ 2147483647 h 224"/>
              <a:gd name="T44" fmla="*/ 2147483647 w 189"/>
              <a:gd name="T45" fmla="*/ 2147483647 h 224"/>
              <a:gd name="T46" fmla="*/ 2147483647 w 189"/>
              <a:gd name="T47" fmla="*/ 2147483647 h 224"/>
              <a:gd name="T48" fmla="*/ 2147483647 w 189"/>
              <a:gd name="T49" fmla="*/ 2147483647 h 224"/>
              <a:gd name="T50" fmla="*/ 2147483647 w 189"/>
              <a:gd name="T51" fmla="*/ 2147483647 h 224"/>
              <a:gd name="T52" fmla="*/ 2147483647 w 189"/>
              <a:gd name="T53" fmla="*/ 2147483647 h 224"/>
              <a:gd name="T54" fmla="*/ 2147483647 w 189"/>
              <a:gd name="T55" fmla="*/ 2147483647 h 224"/>
              <a:gd name="T56" fmla="*/ 2147483647 w 189"/>
              <a:gd name="T57" fmla="*/ 2147483647 h 224"/>
              <a:gd name="T58" fmla="*/ 2147483647 w 189"/>
              <a:gd name="T59" fmla="*/ 2147483647 h 224"/>
              <a:gd name="T60" fmla="*/ 2147483647 w 189"/>
              <a:gd name="T61" fmla="*/ 2147483647 h 224"/>
              <a:gd name="T62" fmla="*/ 2147483647 w 189"/>
              <a:gd name="T63" fmla="*/ 2147483647 h 224"/>
              <a:gd name="T64" fmla="*/ 2147483647 w 189"/>
              <a:gd name="T65" fmla="*/ 2147483647 h 224"/>
              <a:gd name="T66" fmla="*/ 2147483647 w 189"/>
              <a:gd name="T67" fmla="*/ 2147483647 h 224"/>
              <a:gd name="T68" fmla="*/ 2147483647 w 189"/>
              <a:gd name="T69" fmla="*/ 0 h 224"/>
              <a:gd name="T70" fmla="*/ 0 w 189"/>
              <a:gd name="T71" fmla="*/ 0 h 224"/>
              <a:gd name="T72" fmla="*/ 2147483647 w 189"/>
              <a:gd name="T73" fmla="*/ 2147483647 h 224"/>
              <a:gd name="T74" fmla="*/ 2147483647 w 189"/>
              <a:gd name="T75" fmla="*/ 2147483647 h 224"/>
              <a:gd name="T76" fmla="*/ 2147483647 w 189"/>
              <a:gd name="T77" fmla="*/ 2147483647 h 224"/>
              <a:gd name="T78" fmla="*/ 2147483647 w 189"/>
              <a:gd name="T79" fmla="*/ 2147483647 h 224"/>
              <a:gd name="T80" fmla="*/ 2147483647 w 189"/>
              <a:gd name="T81" fmla="*/ 2147483647 h 224"/>
              <a:gd name="T82" fmla="*/ 2147483647 w 189"/>
              <a:gd name="T83" fmla="*/ 2147483647 h 224"/>
              <a:gd name="T84" fmla="*/ 2147483647 w 189"/>
              <a:gd name="T85" fmla="*/ 2147483647 h 224"/>
              <a:gd name="T86" fmla="*/ 2147483647 w 189"/>
              <a:gd name="T87" fmla="*/ 2147483647 h 224"/>
              <a:gd name="T88" fmla="*/ 2147483647 w 189"/>
              <a:gd name="T89" fmla="*/ 2147483647 h 224"/>
              <a:gd name="T90" fmla="*/ 2147483647 w 189"/>
              <a:gd name="T91" fmla="*/ 2147483647 h 224"/>
              <a:gd name="T92" fmla="*/ 2147483647 w 189"/>
              <a:gd name="T93" fmla="*/ 2147483647 h 224"/>
              <a:gd name="T94" fmla="*/ 2147483647 w 189"/>
              <a:gd name="T95" fmla="*/ 2147483647 h 224"/>
              <a:gd name="T96" fmla="*/ 2147483647 w 189"/>
              <a:gd name="T97" fmla="*/ 2147483647 h 224"/>
              <a:gd name="T98" fmla="*/ 2147483647 w 189"/>
              <a:gd name="T99" fmla="*/ 2147483647 h 224"/>
              <a:gd name="T100" fmla="*/ 2147483647 w 189"/>
              <a:gd name="T101" fmla="*/ 2147483647 h 224"/>
              <a:gd name="T102" fmla="*/ 2147483647 w 189"/>
              <a:gd name="T103" fmla="*/ 2147483647 h 224"/>
              <a:gd name="T104" fmla="*/ 2147483647 w 189"/>
              <a:gd name="T105" fmla="*/ 2147483647 h 224"/>
              <a:gd name="T106" fmla="*/ 2147483647 w 189"/>
              <a:gd name="T107" fmla="*/ 2147483647 h 224"/>
              <a:gd name="T108" fmla="*/ 2147483647 w 189"/>
              <a:gd name="T109" fmla="*/ 2147483647 h 224"/>
              <a:gd name="T110" fmla="*/ 2147483647 w 189"/>
              <a:gd name="T111" fmla="*/ 2147483647 h 224"/>
              <a:gd name="T112" fmla="*/ 2147483647 w 189"/>
              <a:gd name="T113" fmla="*/ 2147483647 h 224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89"/>
              <a:gd name="T172" fmla="*/ 0 h 224"/>
              <a:gd name="T173" fmla="*/ 189 w 189"/>
              <a:gd name="T174" fmla="*/ 224 h 224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89" h="224">
                <a:moveTo>
                  <a:pt x="175" y="221"/>
                </a:moveTo>
                <a:lnTo>
                  <a:pt x="175" y="221"/>
                </a:lnTo>
                <a:lnTo>
                  <a:pt x="181" y="224"/>
                </a:lnTo>
                <a:lnTo>
                  <a:pt x="184" y="209"/>
                </a:lnTo>
                <a:lnTo>
                  <a:pt x="184" y="198"/>
                </a:lnTo>
                <a:lnTo>
                  <a:pt x="184" y="192"/>
                </a:lnTo>
                <a:lnTo>
                  <a:pt x="184" y="189"/>
                </a:lnTo>
                <a:lnTo>
                  <a:pt x="187" y="186"/>
                </a:lnTo>
                <a:lnTo>
                  <a:pt x="184" y="183"/>
                </a:lnTo>
                <a:lnTo>
                  <a:pt x="187" y="178"/>
                </a:lnTo>
                <a:lnTo>
                  <a:pt x="189" y="172"/>
                </a:lnTo>
                <a:lnTo>
                  <a:pt x="187" y="166"/>
                </a:lnTo>
                <a:lnTo>
                  <a:pt x="184" y="160"/>
                </a:lnTo>
                <a:lnTo>
                  <a:pt x="181" y="158"/>
                </a:lnTo>
                <a:lnTo>
                  <a:pt x="169" y="158"/>
                </a:lnTo>
                <a:lnTo>
                  <a:pt x="169" y="155"/>
                </a:lnTo>
                <a:lnTo>
                  <a:pt x="169" y="152"/>
                </a:lnTo>
                <a:lnTo>
                  <a:pt x="166" y="149"/>
                </a:lnTo>
                <a:lnTo>
                  <a:pt x="166" y="146"/>
                </a:lnTo>
                <a:lnTo>
                  <a:pt x="164" y="140"/>
                </a:lnTo>
                <a:lnTo>
                  <a:pt x="161" y="132"/>
                </a:lnTo>
                <a:lnTo>
                  <a:pt x="152" y="129"/>
                </a:lnTo>
                <a:lnTo>
                  <a:pt x="146" y="126"/>
                </a:lnTo>
                <a:lnTo>
                  <a:pt x="143" y="120"/>
                </a:lnTo>
                <a:lnTo>
                  <a:pt x="149" y="115"/>
                </a:lnTo>
                <a:lnTo>
                  <a:pt x="146" y="112"/>
                </a:lnTo>
                <a:lnTo>
                  <a:pt x="149" y="109"/>
                </a:lnTo>
                <a:lnTo>
                  <a:pt x="146" y="100"/>
                </a:lnTo>
                <a:lnTo>
                  <a:pt x="143" y="94"/>
                </a:lnTo>
                <a:lnTo>
                  <a:pt x="138" y="97"/>
                </a:lnTo>
                <a:lnTo>
                  <a:pt x="141" y="92"/>
                </a:lnTo>
                <a:lnTo>
                  <a:pt x="132" y="86"/>
                </a:lnTo>
                <a:lnTo>
                  <a:pt x="126" y="92"/>
                </a:lnTo>
                <a:lnTo>
                  <a:pt x="126" y="80"/>
                </a:lnTo>
                <a:lnTo>
                  <a:pt x="123" y="80"/>
                </a:lnTo>
                <a:lnTo>
                  <a:pt x="120" y="77"/>
                </a:lnTo>
                <a:lnTo>
                  <a:pt x="112" y="77"/>
                </a:lnTo>
                <a:lnTo>
                  <a:pt x="115" y="74"/>
                </a:lnTo>
                <a:lnTo>
                  <a:pt x="115" y="71"/>
                </a:lnTo>
                <a:lnTo>
                  <a:pt x="109" y="71"/>
                </a:lnTo>
                <a:lnTo>
                  <a:pt x="106" y="71"/>
                </a:lnTo>
                <a:lnTo>
                  <a:pt x="103" y="66"/>
                </a:lnTo>
                <a:lnTo>
                  <a:pt x="100" y="66"/>
                </a:lnTo>
                <a:lnTo>
                  <a:pt x="98" y="66"/>
                </a:lnTo>
                <a:lnTo>
                  <a:pt x="98" y="69"/>
                </a:lnTo>
                <a:lnTo>
                  <a:pt x="95" y="69"/>
                </a:lnTo>
                <a:lnTo>
                  <a:pt x="92" y="66"/>
                </a:lnTo>
                <a:lnTo>
                  <a:pt x="89" y="60"/>
                </a:lnTo>
                <a:lnTo>
                  <a:pt x="83" y="54"/>
                </a:lnTo>
                <a:lnTo>
                  <a:pt x="77" y="48"/>
                </a:lnTo>
                <a:lnTo>
                  <a:pt x="72" y="43"/>
                </a:lnTo>
                <a:lnTo>
                  <a:pt x="69" y="40"/>
                </a:lnTo>
                <a:lnTo>
                  <a:pt x="60" y="34"/>
                </a:lnTo>
                <a:lnTo>
                  <a:pt x="52" y="28"/>
                </a:lnTo>
                <a:lnTo>
                  <a:pt x="54" y="26"/>
                </a:lnTo>
                <a:lnTo>
                  <a:pt x="54" y="23"/>
                </a:lnTo>
                <a:lnTo>
                  <a:pt x="49" y="20"/>
                </a:lnTo>
                <a:lnTo>
                  <a:pt x="49" y="17"/>
                </a:lnTo>
                <a:lnTo>
                  <a:pt x="49" y="14"/>
                </a:lnTo>
                <a:lnTo>
                  <a:pt x="43" y="8"/>
                </a:lnTo>
                <a:lnTo>
                  <a:pt x="37" y="8"/>
                </a:lnTo>
                <a:lnTo>
                  <a:pt x="34" y="8"/>
                </a:lnTo>
                <a:lnTo>
                  <a:pt x="31" y="8"/>
                </a:lnTo>
                <a:lnTo>
                  <a:pt x="26" y="5"/>
                </a:lnTo>
                <a:lnTo>
                  <a:pt x="20" y="8"/>
                </a:lnTo>
                <a:lnTo>
                  <a:pt x="14" y="8"/>
                </a:lnTo>
                <a:lnTo>
                  <a:pt x="11" y="3"/>
                </a:lnTo>
                <a:lnTo>
                  <a:pt x="6" y="0"/>
                </a:lnTo>
                <a:lnTo>
                  <a:pt x="3" y="0"/>
                </a:lnTo>
                <a:lnTo>
                  <a:pt x="0" y="0"/>
                </a:lnTo>
                <a:lnTo>
                  <a:pt x="0" y="8"/>
                </a:lnTo>
                <a:lnTo>
                  <a:pt x="3" y="14"/>
                </a:lnTo>
                <a:lnTo>
                  <a:pt x="6" y="17"/>
                </a:lnTo>
                <a:lnTo>
                  <a:pt x="14" y="26"/>
                </a:lnTo>
                <a:lnTo>
                  <a:pt x="20" y="31"/>
                </a:lnTo>
                <a:lnTo>
                  <a:pt x="20" y="34"/>
                </a:lnTo>
                <a:lnTo>
                  <a:pt x="23" y="37"/>
                </a:lnTo>
                <a:lnTo>
                  <a:pt x="29" y="37"/>
                </a:lnTo>
                <a:lnTo>
                  <a:pt x="31" y="37"/>
                </a:lnTo>
                <a:lnTo>
                  <a:pt x="31" y="40"/>
                </a:lnTo>
                <a:lnTo>
                  <a:pt x="37" y="51"/>
                </a:lnTo>
                <a:lnTo>
                  <a:pt x="40" y="54"/>
                </a:lnTo>
                <a:lnTo>
                  <a:pt x="43" y="57"/>
                </a:lnTo>
                <a:lnTo>
                  <a:pt x="43" y="60"/>
                </a:lnTo>
                <a:lnTo>
                  <a:pt x="43" y="66"/>
                </a:lnTo>
                <a:lnTo>
                  <a:pt x="46" y="66"/>
                </a:lnTo>
                <a:lnTo>
                  <a:pt x="52" y="69"/>
                </a:lnTo>
                <a:lnTo>
                  <a:pt x="57" y="71"/>
                </a:lnTo>
                <a:lnTo>
                  <a:pt x="60" y="74"/>
                </a:lnTo>
                <a:lnTo>
                  <a:pt x="69" y="94"/>
                </a:lnTo>
                <a:lnTo>
                  <a:pt x="69" y="100"/>
                </a:lnTo>
                <a:lnTo>
                  <a:pt x="72" y="103"/>
                </a:lnTo>
                <a:lnTo>
                  <a:pt x="75" y="106"/>
                </a:lnTo>
                <a:lnTo>
                  <a:pt x="83" y="117"/>
                </a:lnTo>
                <a:lnTo>
                  <a:pt x="89" y="126"/>
                </a:lnTo>
                <a:lnTo>
                  <a:pt x="95" y="137"/>
                </a:lnTo>
                <a:lnTo>
                  <a:pt x="100" y="158"/>
                </a:lnTo>
                <a:lnTo>
                  <a:pt x="112" y="175"/>
                </a:lnTo>
                <a:lnTo>
                  <a:pt x="118" y="178"/>
                </a:lnTo>
                <a:lnTo>
                  <a:pt x="123" y="183"/>
                </a:lnTo>
                <a:lnTo>
                  <a:pt x="123" y="186"/>
                </a:lnTo>
                <a:lnTo>
                  <a:pt x="126" y="192"/>
                </a:lnTo>
                <a:lnTo>
                  <a:pt x="138" y="201"/>
                </a:lnTo>
                <a:lnTo>
                  <a:pt x="143" y="206"/>
                </a:lnTo>
                <a:lnTo>
                  <a:pt x="152" y="218"/>
                </a:lnTo>
                <a:lnTo>
                  <a:pt x="158" y="224"/>
                </a:lnTo>
                <a:lnTo>
                  <a:pt x="161" y="224"/>
                </a:lnTo>
                <a:lnTo>
                  <a:pt x="164" y="221"/>
                </a:lnTo>
                <a:lnTo>
                  <a:pt x="166" y="221"/>
                </a:lnTo>
                <a:lnTo>
                  <a:pt x="172" y="224"/>
                </a:lnTo>
                <a:lnTo>
                  <a:pt x="172" y="221"/>
                </a:lnTo>
                <a:lnTo>
                  <a:pt x="175" y="218"/>
                </a:lnTo>
                <a:lnTo>
                  <a:pt x="175" y="22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399" name="Freeform 505"/>
          <p:cNvSpPr>
            <a:spLocks/>
          </p:cNvSpPr>
          <p:nvPr/>
        </p:nvSpPr>
        <p:spPr bwMode="gray">
          <a:xfrm>
            <a:off x="9973796" y="5002636"/>
            <a:ext cx="138025" cy="93003"/>
          </a:xfrm>
          <a:custGeom>
            <a:avLst/>
            <a:gdLst>
              <a:gd name="T0" fmla="*/ 2147483647 w 68"/>
              <a:gd name="T1" fmla="*/ 2147483647 h 61"/>
              <a:gd name="T2" fmla="*/ 2147483647 w 68"/>
              <a:gd name="T3" fmla="*/ 2147483647 h 61"/>
              <a:gd name="T4" fmla="*/ 2147483647 w 68"/>
              <a:gd name="T5" fmla="*/ 2147483647 h 61"/>
              <a:gd name="T6" fmla="*/ 2147483647 w 68"/>
              <a:gd name="T7" fmla="*/ 2147483647 h 61"/>
              <a:gd name="T8" fmla="*/ 2147483647 w 68"/>
              <a:gd name="T9" fmla="*/ 2147483647 h 61"/>
              <a:gd name="T10" fmla="*/ 2147483647 w 68"/>
              <a:gd name="T11" fmla="*/ 2147483647 h 61"/>
              <a:gd name="T12" fmla="*/ 2147483647 w 68"/>
              <a:gd name="T13" fmla="*/ 2147483647 h 61"/>
              <a:gd name="T14" fmla="*/ 2147483647 w 68"/>
              <a:gd name="T15" fmla="*/ 2147483647 h 61"/>
              <a:gd name="T16" fmla="*/ 2147483647 w 68"/>
              <a:gd name="T17" fmla="*/ 0 h 61"/>
              <a:gd name="T18" fmla="*/ 2147483647 w 68"/>
              <a:gd name="T19" fmla="*/ 0 h 61"/>
              <a:gd name="T20" fmla="*/ 2147483647 w 68"/>
              <a:gd name="T21" fmla="*/ 0 h 61"/>
              <a:gd name="T22" fmla="*/ 2147483647 w 68"/>
              <a:gd name="T23" fmla="*/ 2147483647 h 61"/>
              <a:gd name="T24" fmla="*/ 2147483647 w 68"/>
              <a:gd name="T25" fmla="*/ 2147483647 h 61"/>
              <a:gd name="T26" fmla="*/ 2147483647 w 68"/>
              <a:gd name="T27" fmla="*/ 2147483647 h 61"/>
              <a:gd name="T28" fmla="*/ 2147483647 w 68"/>
              <a:gd name="T29" fmla="*/ 2147483647 h 61"/>
              <a:gd name="T30" fmla="*/ 2147483647 w 68"/>
              <a:gd name="T31" fmla="*/ 2147483647 h 61"/>
              <a:gd name="T32" fmla="*/ 2147483647 w 68"/>
              <a:gd name="T33" fmla="*/ 2147483647 h 61"/>
              <a:gd name="T34" fmla="*/ 2147483647 w 68"/>
              <a:gd name="T35" fmla="*/ 2147483647 h 61"/>
              <a:gd name="T36" fmla="*/ 2147483647 w 68"/>
              <a:gd name="T37" fmla="*/ 2147483647 h 61"/>
              <a:gd name="T38" fmla="*/ 2147483647 w 68"/>
              <a:gd name="T39" fmla="*/ 2147483647 h 61"/>
              <a:gd name="T40" fmla="*/ 2147483647 w 68"/>
              <a:gd name="T41" fmla="*/ 2147483647 h 61"/>
              <a:gd name="T42" fmla="*/ 2147483647 w 68"/>
              <a:gd name="T43" fmla="*/ 2147483647 h 61"/>
              <a:gd name="T44" fmla="*/ 2147483647 w 68"/>
              <a:gd name="T45" fmla="*/ 2147483647 h 61"/>
              <a:gd name="T46" fmla="*/ 2147483647 w 68"/>
              <a:gd name="T47" fmla="*/ 2147483647 h 61"/>
              <a:gd name="T48" fmla="*/ 2147483647 w 68"/>
              <a:gd name="T49" fmla="*/ 2147483647 h 61"/>
              <a:gd name="T50" fmla="*/ 0 w 68"/>
              <a:gd name="T51" fmla="*/ 2147483647 h 61"/>
              <a:gd name="T52" fmla="*/ 0 w 68"/>
              <a:gd name="T53" fmla="*/ 2147483647 h 61"/>
              <a:gd name="T54" fmla="*/ 2147483647 w 68"/>
              <a:gd name="T55" fmla="*/ 2147483647 h 61"/>
              <a:gd name="T56" fmla="*/ 2147483647 w 68"/>
              <a:gd name="T57" fmla="*/ 2147483647 h 61"/>
              <a:gd name="T58" fmla="*/ 2147483647 w 68"/>
              <a:gd name="T59" fmla="*/ 2147483647 h 61"/>
              <a:gd name="T60" fmla="*/ 2147483647 w 68"/>
              <a:gd name="T61" fmla="*/ 2147483647 h 61"/>
              <a:gd name="T62" fmla="*/ 2147483647 w 68"/>
              <a:gd name="T63" fmla="*/ 2147483647 h 61"/>
              <a:gd name="T64" fmla="*/ 2147483647 w 68"/>
              <a:gd name="T65" fmla="*/ 2147483647 h 61"/>
              <a:gd name="T66" fmla="*/ 2147483647 w 68"/>
              <a:gd name="T67" fmla="*/ 2147483647 h 61"/>
              <a:gd name="T68" fmla="*/ 2147483647 w 68"/>
              <a:gd name="T69" fmla="*/ 2147483647 h 61"/>
              <a:gd name="T70" fmla="*/ 2147483647 w 68"/>
              <a:gd name="T71" fmla="*/ 2147483647 h 61"/>
              <a:gd name="T72" fmla="*/ 2147483647 w 68"/>
              <a:gd name="T73" fmla="*/ 2147483647 h 61"/>
              <a:gd name="T74" fmla="*/ 2147483647 w 68"/>
              <a:gd name="T75" fmla="*/ 2147483647 h 61"/>
              <a:gd name="T76" fmla="*/ 2147483647 w 68"/>
              <a:gd name="T77" fmla="*/ 2147483647 h 61"/>
              <a:gd name="T78" fmla="*/ 2147483647 w 68"/>
              <a:gd name="T79" fmla="*/ 2147483647 h 61"/>
              <a:gd name="T80" fmla="*/ 2147483647 w 68"/>
              <a:gd name="T81" fmla="*/ 2147483647 h 61"/>
              <a:gd name="T82" fmla="*/ 2147483647 w 68"/>
              <a:gd name="T83" fmla="*/ 2147483647 h 61"/>
              <a:gd name="T84" fmla="*/ 2147483647 w 68"/>
              <a:gd name="T85" fmla="*/ 2147483647 h 61"/>
              <a:gd name="T86" fmla="*/ 2147483647 w 68"/>
              <a:gd name="T87" fmla="*/ 2147483647 h 61"/>
              <a:gd name="T88" fmla="*/ 2147483647 w 68"/>
              <a:gd name="T89" fmla="*/ 2147483647 h 61"/>
              <a:gd name="T90" fmla="*/ 2147483647 w 68"/>
              <a:gd name="T91" fmla="*/ 2147483647 h 61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68"/>
              <a:gd name="T139" fmla="*/ 0 h 61"/>
              <a:gd name="T140" fmla="*/ 68 w 68"/>
              <a:gd name="T141" fmla="*/ 61 h 61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68" h="61">
                <a:moveTo>
                  <a:pt x="57" y="9"/>
                </a:moveTo>
                <a:lnTo>
                  <a:pt x="57" y="9"/>
                </a:lnTo>
                <a:lnTo>
                  <a:pt x="51" y="12"/>
                </a:lnTo>
                <a:lnTo>
                  <a:pt x="48" y="12"/>
                </a:lnTo>
                <a:lnTo>
                  <a:pt x="40" y="15"/>
                </a:lnTo>
                <a:lnTo>
                  <a:pt x="28" y="12"/>
                </a:lnTo>
                <a:lnTo>
                  <a:pt x="20" y="3"/>
                </a:lnTo>
                <a:lnTo>
                  <a:pt x="20" y="0"/>
                </a:lnTo>
                <a:lnTo>
                  <a:pt x="17" y="0"/>
                </a:lnTo>
                <a:lnTo>
                  <a:pt x="14" y="6"/>
                </a:lnTo>
                <a:lnTo>
                  <a:pt x="11" y="9"/>
                </a:lnTo>
                <a:lnTo>
                  <a:pt x="8" y="9"/>
                </a:lnTo>
                <a:lnTo>
                  <a:pt x="8" y="12"/>
                </a:lnTo>
                <a:lnTo>
                  <a:pt x="5" y="20"/>
                </a:lnTo>
                <a:lnTo>
                  <a:pt x="5" y="26"/>
                </a:lnTo>
                <a:lnTo>
                  <a:pt x="8" y="32"/>
                </a:lnTo>
                <a:lnTo>
                  <a:pt x="5" y="35"/>
                </a:lnTo>
                <a:lnTo>
                  <a:pt x="2" y="40"/>
                </a:lnTo>
                <a:lnTo>
                  <a:pt x="0" y="52"/>
                </a:lnTo>
                <a:lnTo>
                  <a:pt x="5" y="61"/>
                </a:lnTo>
                <a:lnTo>
                  <a:pt x="8" y="61"/>
                </a:lnTo>
                <a:lnTo>
                  <a:pt x="14" y="61"/>
                </a:lnTo>
                <a:lnTo>
                  <a:pt x="20" y="58"/>
                </a:lnTo>
                <a:lnTo>
                  <a:pt x="28" y="52"/>
                </a:lnTo>
                <a:lnTo>
                  <a:pt x="37" y="55"/>
                </a:lnTo>
                <a:lnTo>
                  <a:pt x="40" y="49"/>
                </a:lnTo>
                <a:lnTo>
                  <a:pt x="43" y="46"/>
                </a:lnTo>
                <a:lnTo>
                  <a:pt x="48" y="38"/>
                </a:lnTo>
                <a:lnTo>
                  <a:pt x="54" y="32"/>
                </a:lnTo>
                <a:lnTo>
                  <a:pt x="54" y="35"/>
                </a:lnTo>
                <a:lnTo>
                  <a:pt x="60" y="29"/>
                </a:lnTo>
                <a:lnTo>
                  <a:pt x="66" y="18"/>
                </a:lnTo>
                <a:lnTo>
                  <a:pt x="68" y="9"/>
                </a:lnTo>
                <a:lnTo>
                  <a:pt x="63" y="6"/>
                </a:lnTo>
                <a:lnTo>
                  <a:pt x="57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00" name="Freeform 506"/>
          <p:cNvSpPr>
            <a:spLocks/>
          </p:cNvSpPr>
          <p:nvPr/>
        </p:nvSpPr>
        <p:spPr bwMode="gray">
          <a:xfrm>
            <a:off x="10117822" y="4981636"/>
            <a:ext cx="18004" cy="25500"/>
          </a:xfrm>
          <a:custGeom>
            <a:avLst/>
            <a:gdLst>
              <a:gd name="T0" fmla="*/ 0 w 9"/>
              <a:gd name="T1" fmla="*/ 2147483647 h 17"/>
              <a:gd name="T2" fmla="*/ 0 w 9"/>
              <a:gd name="T3" fmla="*/ 2147483647 h 17"/>
              <a:gd name="T4" fmla="*/ 0 w 9"/>
              <a:gd name="T5" fmla="*/ 2147483647 h 17"/>
              <a:gd name="T6" fmla="*/ 0 w 9"/>
              <a:gd name="T7" fmla="*/ 2147483647 h 17"/>
              <a:gd name="T8" fmla="*/ 0 w 9"/>
              <a:gd name="T9" fmla="*/ 2147483647 h 17"/>
              <a:gd name="T10" fmla="*/ 2147483647 w 9"/>
              <a:gd name="T11" fmla="*/ 2147483647 h 17"/>
              <a:gd name="T12" fmla="*/ 2147483647 w 9"/>
              <a:gd name="T13" fmla="*/ 2147483647 h 17"/>
              <a:gd name="T14" fmla="*/ 2147483647 w 9"/>
              <a:gd name="T15" fmla="*/ 2147483647 h 17"/>
              <a:gd name="T16" fmla="*/ 2147483647 w 9"/>
              <a:gd name="T17" fmla="*/ 0 h 17"/>
              <a:gd name="T18" fmla="*/ 2147483647 w 9"/>
              <a:gd name="T19" fmla="*/ 0 h 17"/>
              <a:gd name="T20" fmla="*/ 2147483647 w 9"/>
              <a:gd name="T21" fmla="*/ 0 h 17"/>
              <a:gd name="T22" fmla="*/ 0 w 9"/>
              <a:gd name="T23" fmla="*/ 2147483647 h 17"/>
              <a:gd name="T24" fmla="*/ 0 w 9"/>
              <a:gd name="T25" fmla="*/ 2147483647 h 17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9"/>
              <a:gd name="T40" fmla="*/ 0 h 17"/>
              <a:gd name="T41" fmla="*/ 9 w 9"/>
              <a:gd name="T42" fmla="*/ 17 h 17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9" h="17">
                <a:moveTo>
                  <a:pt x="0" y="3"/>
                </a:moveTo>
                <a:lnTo>
                  <a:pt x="0" y="3"/>
                </a:lnTo>
                <a:lnTo>
                  <a:pt x="0" y="9"/>
                </a:lnTo>
                <a:lnTo>
                  <a:pt x="0" y="17"/>
                </a:lnTo>
                <a:lnTo>
                  <a:pt x="3" y="14"/>
                </a:lnTo>
                <a:lnTo>
                  <a:pt x="6" y="11"/>
                </a:lnTo>
                <a:lnTo>
                  <a:pt x="9" y="6"/>
                </a:ln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01" name="Freeform 507"/>
          <p:cNvSpPr>
            <a:spLocks/>
          </p:cNvSpPr>
          <p:nvPr/>
        </p:nvSpPr>
        <p:spPr bwMode="gray">
          <a:xfrm>
            <a:off x="10077815" y="4956134"/>
            <a:ext cx="6002" cy="4501"/>
          </a:xfrm>
          <a:custGeom>
            <a:avLst/>
            <a:gdLst>
              <a:gd name="T0" fmla="*/ 2147483647 w 3"/>
              <a:gd name="T1" fmla="*/ 0 h 3"/>
              <a:gd name="T2" fmla="*/ 0 w 3"/>
              <a:gd name="T3" fmla="*/ 0 h 3"/>
              <a:gd name="T4" fmla="*/ 2147483647 w 3"/>
              <a:gd name="T5" fmla="*/ 2147483647 h 3"/>
              <a:gd name="T6" fmla="*/ 2147483647 w 3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3" y="0"/>
                </a:moveTo>
                <a:lnTo>
                  <a:pt x="0" y="0"/>
                </a:lnTo>
                <a:lnTo>
                  <a:pt x="3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02" name="Freeform 508"/>
          <p:cNvSpPr>
            <a:spLocks/>
          </p:cNvSpPr>
          <p:nvPr/>
        </p:nvSpPr>
        <p:spPr bwMode="gray">
          <a:xfrm>
            <a:off x="9833772" y="4860132"/>
            <a:ext cx="52009" cy="16501"/>
          </a:xfrm>
          <a:custGeom>
            <a:avLst/>
            <a:gdLst>
              <a:gd name="T0" fmla="*/ 2147483647 w 25"/>
              <a:gd name="T1" fmla="*/ 0 h 11"/>
              <a:gd name="T2" fmla="*/ 2147483647 w 25"/>
              <a:gd name="T3" fmla="*/ 0 h 11"/>
              <a:gd name="T4" fmla="*/ 0 w 25"/>
              <a:gd name="T5" fmla="*/ 2147483647 h 11"/>
              <a:gd name="T6" fmla="*/ 0 w 25"/>
              <a:gd name="T7" fmla="*/ 2147483647 h 11"/>
              <a:gd name="T8" fmla="*/ 2147483647 w 25"/>
              <a:gd name="T9" fmla="*/ 2147483647 h 11"/>
              <a:gd name="T10" fmla="*/ 2147483647 w 25"/>
              <a:gd name="T11" fmla="*/ 2147483647 h 11"/>
              <a:gd name="T12" fmla="*/ 2147483647 w 25"/>
              <a:gd name="T13" fmla="*/ 2147483647 h 11"/>
              <a:gd name="T14" fmla="*/ 2147483647 w 25"/>
              <a:gd name="T15" fmla="*/ 2147483647 h 11"/>
              <a:gd name="T16" fmla="*/ 2147483647 w 25"/>
              <a:gd name="T17" fmla="*/ 2147483647 h 11"/>
              <a:gd name="T18" fmla="*/ 2147483647 w 25"/>
              <a:gd name="T19" fmla="*/ 0 h 11"/>
              <a:gd name="T20" fmla="*/ 2147483647 w 25"/>
              <a:gd name="T21" fmla="*/ 0 h 1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25"/>
              <a:gd name="T34" fmla="*/ 0 h 11"/>
              <a:gd name="T35" fmla="*/ 25 w 25"/>
              <a:gd name="T36" fmla="*/ 11 h 11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25" h="11">
                <a:moveTo>
                  <a:pt x="17" y="0"/>
                </a:moveTo>
                <a:lnTo>
                  <a:pt x="5" y="0"/>
                </a:lnTo>
                <a:lnTo>
                  <a:pt x="0" y="5"/>
                </a:lnTo>
                <a:lnTo>
                  <a:pt x="0" y="8"/>
                </a:lnTo>
                <a:lnTo>
                  <a:pt x="3" y="11"/>
                </a:lnTo>
                <a:lnTo>
                  <a:pt x="8" y="11"/>
                </a:lnTo>
                <a:lnTo>
                  <a:pt x="14" y="11"/>
                </a:lnTo>
                <a:lnTo>
                  <a:pt x="17" y="5"/>
                </a:lnTo>
                <a:lnTo>
                  <a:pt x="25" y="5"/>
                </a:lnTo>
                <a:lnTo>
                  <a:pt x="20" y="0"/>
                </a:lnTo>
                <a:lnTo>
                  <a:pt x="17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03" name="Freeform 509"/>
          <p:cNvSpPr>
            <a:spLocks/>
          </p:cNvSpPr>
          <p:nvPr/>
        </p:nvSpPr>
        <p:spPr bwMode="gray">
          <a:xfrm>
            <a:off x="9989800" y="4977135"/>
            <a:ext cx="12002" cy="18000"/>
          </a:xfrm>
          <a:custGeom>
            <a:avLst/>
            <a:gdLst>
              <a:gd name="T0" fmla="*/ 2147483647 w 6"/>
              <a:gd name="T1" fmla="*/ 2147483647 h 12"/>
              <a:gd name="T2" fmla="*/ 2147483647 w 6"/>
              <a:gd name="T3" fmla="*/ 0 h 12"/>
              <a:gd name="T4" fmla="*/ 2147483647 w 6"/>
              <a:gd name="T5" fmla="*/ 0 h 12"/>
              <a:gd name="T6" fmla="*/ 0 w 6"/>
              <a:gd name="T7" fmla="*/ 2147483647 h 12"/>
              <a:gd name="T8" fmla="*/ 0 w 6"/>
              <a:gd name="T9" fmla="*/ 2147483647 h 12"/>
              <a:gd name="T10" fmla="*/ 0 w 6"/>
              <a:gd name="T11" fmla="*/ 2147483647 h 12"/>
              <a:gd name="T12" fmla="*/ 0 w 6"/>
              <a:gd name="T13" fmla="*/ 2147483647 h 12"/>
              <a:gd name="T14" fmla="*/ 2147483647 w 6"/>
              <a:gd name="T15" fmla="*/ 2147483647 h 1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"/>
              <a:gd name="T25" fmla="*/ 0 h 12"/>
              <a:gd name="T26" fmla="*/ 6 w 6"/>
              <a:gd name="T27" fmla="*/ 12 h 1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" h="12">
                <a:moveTo>
                  <a:pt x="6" y="9"/>
                </a:moveTo>
                <a:lnTo>
                  <a:pt x="6" y="0"/>
                </a:lnTo>
                <a:lnTo>
                  <a:pt x="0" y="6"/>
                </a:lnTo>
                <a:lnTo>
                  <a:pt x="0" y="12"/>
                </a:lnTo>
                <a:lnTo>
                  <a:pt x="6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04" name="Freeform 510"/>
          <p:cNvSpPr>
            <a:spLocks/>
          </p:cNvSpPr>
          <p:nvPr/>
        </p:nvSpPr>
        <p:spPr bwMode="gray">
          <a:xfrm>
            <a:off x="9827771" y="4833130"/>
            <a:ext cx="12002" cy="13501"/>
          </a:xfrm>
          <a:custGeom>
            <a:avLst/>
            <a:gdLst>
              <a:gd name="T0" fmla="*/ 2147483647 w 6"/>
              <a:gd name="T1" fmla="*/ 2147483647 h 9"/>
              <a:gd name="T2" fmla="*/ 2147483647 w 6"/>
              <a:gd name="T3" fmla="*/ 2147483647 h 9"/>
              <a:gd name="T4" fmla="*/ 2147483647 w 6"/>
              <a:gd name="T5" fmla="*/ 0 h 9"/>
              <a:gd name="T6" fmla="*/ 0 w 6"/>
              <a:gd name="T7" fmla="*/ 2147483647 h 9"/>
              <a:gd name="T8" fmla="*/ 2147483647 w 6"/>
              <a:gd name="T9" fmla="*/ 2147483647 h 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9"/>
              <a:gd name="T17" fmla="*/ 6 w 6"/>
              <a:gd name="T18" fmla="*/ 9 h 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9">
                <a:moveTo>
                  <a:pt x="3" y="9"/>
                </a:moveTo>
                <a:lnTo>
                  <a:pt x="6" y="3"/>
                </a:lnTo>
                <a:lnTo>
                  <a:pt x="3" y="0"/>
                </a:lnTo>
                <a:lnTo>
                  <a:pt x="0" y="9"/>
                </a:lnTo>
                <a:lnTo>
                  <a:pt x="3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323" name="Freeform 511"/>
          <p:cNvSpPr>
            <a:spLocks/>
          </p:cNvSpPr>
          <p:nvPr/>
        </p:nvSpPr>
        <p:spPr bwMode="gray">
          <a:xfrm>
            <a:off x="3134566" y="5272643"/>
            <a:ext cx="12002" cy="9000"/>
          </a:xfrm>
          <a:custGeom>
            <a:avLst/>
            <a:gdLst>
              <a:gd name="T0" fmla="*/ 2147483647 w 6"/>
              <a:gd name="T1" fmla="*/ 0 h 6"/>
              <a:gd name="T2" fmla="*/ 0 w 6"/>
              <a:gd name="T3" fmla="*/ 0 h 6"/>
              <a:gd name="T4" fmla="*/ 2147483647 w 6"/>
              <a:gd name="T5" fmla="*/ 2147483647 h 6"/>
              <a:gd name="T6" fmla="*/ 2147483647 w 6"/>
              <a:gd name="T7" fmla="*/ 2147483647 h 6"/>
              <a:gd name="T8" fmla="*/ 2147483647 w 6"/>
              <a:gd name="T9" fmla="*/ 2147483647 h 6"/>
              <a:gd name="T10" fmla="*/ 2147483647 w 6"/>
              <a:gd name="T11" fmla="*/ 2147483647 h 6"/>
              <a:gd name="T12" fmla="*/ 2147483647 w 6"/>
              <a:gd name="T13" fmla="*/ 0 h 6"/>
              <a:gd name="T14" fmla="*/ 2147483647 w 6"/>
              <a:gd name="T15" fmla="*/ 0 h 6"/>
              <a:gd name="T16" fmla="*/ 2147483647 w 6"/>
              <a:gd name="T17" fmla="*/ 0 h 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6"/>
              <a:gd name="T28" fmla="*/ 0 h 6"/>
              <a:gd name="T29" fmla="*/ 6 w 6"/>
              <a:gd name="T30" fmla="*/ 6 h 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6" h="6">
                <a:moveTo>
                  <a:pt x="3" y="0"/>
                </a:moveTo>
                <a:lnTo>
                  <a:pt x="0" y="0"/>
                </a:lnTo>
                <a:lnTo>
                  <a:pt x="3" y="3"/>
                </a:lnTo>
                <a:lnTo>
                  <a:pt x="3" y="6"/>
                </a:lnTo>
                <a:lnTo>
                  <a:pt x="6" y="3"/>
                </a:lnTo>
                <a:lnTo>
                  <a:pt x="6" y="0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406" name="Freeform 512"/>
          <p:cNvSpPr>
            <a:spLocks/>
          </p:cNvSpPr>
          <p:nvPr/>
        </p:nvSpPr>
        <p:spPr bwMode="gray">
          <a:xfrm>
            <a:off x="6829231" y="4164113"/>
            <a:ext cx="268048" cy="399011"/>
          </a:xfrm>
          <a:custGeom>
            <a:avLst/>
            <a:gdLst>
              <a:gd name="T0" fmla="*/ 2147483647 w 132"/>
              <a:gd name="T1" fmla="*/ 2147483647 h 264"/>
              <a:gd name="T2" fmla="*/ 2147483647 w 132"/>
              <a:gd name="T3" fmla="*/ 2147483647 h 264"/>
              <a:gd name="T4" fmla="*/ 2147483647 w 132"/>
              <a:gd name="T5" fmla="*/ 0 h 264"/>
              <a:gd name="T6" fmla="*/ 2147483647 w 132"/>
              <a:gd name="T7" fmla="*/ 2147483647 h 264"/>
              <a:gd name="T8" fmla="*/ 2147483647 w 132"/>
              <a:gd name="T9" fmla="*/ 2147483647 h 264"/>
              <a:gd name="T10" fmla="*/ 2147483647 w 132"/>
              <a:gd name="T11" fmla="*/ 2147483647 h 264"/>
              <a:gd name="T12" fmla="*/ 2147483647 w 132"/>
              <a:gd name="T13" fmla="*/ 2147483647 h 264"/>
              <a:gd name="T14" fmla="*/ 2147483647 w 132"/>
              <a:gd name="T15" fmla="*/ 2147483647 h 264"/>
              <a:gd name="T16" fmla="*/ 2147483647 w 132"/>
              <a:gd name="T17" fmla="*/ 2147483647 h 264"/>
              <a:gd name="T18" fmla="*/ 2147483647 w 132"/>
              <a:gd name="T19" fmla="*/ 2147483647 h 264"/>
              <a:gd name="T20" fmla="*/ 2147483647 w 132"/>
              <a:gd name="T21" fmla="*/ 2147483647 h 264"/>
              <a:gd name="T22" fmla="*/ 2147483647 w 132"/>
              <a:gd name="T23" fmla="*/ 2147483647 h 264"/>
              <a:gd name="T24" fmla="*/ 2147483647 w 132"/>
              <a:gd name="T25" fmla="*/ 2147483647 h 264"/>
              <a:gd name="T26" fmla="*/ 2147483647 w 132"/>
              <a:gd name="T27" fmla="*/ 2147483647 h 264"/>
              <a:gd name="T28" fmla="*/ 2147483647 w 132"/>
              <a:gd name="T29" fmla="*/ 2147483647 h 264"/>
              <a:gd name="T30" fmla="*/ 2147483647 w 132"/>
              <a:gd name="T31" fmla="*/ 2147483647 h 264"/>
              <a:gd name="T32" fmla="*/ 2147483647 w 132"/>
              <a:gd name="T33" fmla="*/ 2147483647 h 264"/>
              <a:gd name="T34" fmla="*/ 2147483647 w 132"/>
              <a:gd name="T35" fmla="*/ 2147483647 h 264"/>
              <a:gd name="T36" fmla="*/ 2147483647 w 132"/>
              <a:gd name="T37" fmla="*/ 2147483647 h 264"/>
              <a:gd name="T38" fmla="*/ 2147483647 w 132"/>
              <a:gd name="T39" fmla="*/ 2147483647 h 264"/>
              <a:gd name="T40" fmla="*/ 2147483647 w 132"/>
              <a:gd name="T41" fmla="*/ 2147483647 h 264"/>
              <a:gd name="T42" fmla="*/ 2147483647 w 132"/>
              <a:gd name="T43" fmla="*/ 2147483647 h 264"/>
              <a:gd name="T44" fmla="*/ 2147483647 w 132"/>
              <a:gd name="T45" fmla="*/ 2147483647 h 264"/>
              <a:gd name="T46" fmla="*/ 2147483647 w 132"/>
              <a:gd name="T47" fmla="*/ 2147483647 h 264"/>
              <a:gd name="T48" fmla="*/ 2147483647 w 132"/>
              <a:gd name="T49" fmla="*/ 2147483647 h 264"/>
              <a:gd name="T50" fmla="*/ 2147483647 w 132"/>
              <a:gd name="T51" fmla="*/ 2147483647 h 264"/>
              <a:gd name="T52" fmla="*/ 2147483647 w 132"/>
              <a:gd name="T53" fmla="*/ 2147483647 h 264"/>
              <a:gd name="T54" fmla="*/ 2147483647 w 132"/>
              <a:gd name="T55" fmla="*/ 2147483647 h 264"/>
              <a:gd name="T56" fmla="*/ 2147483647 w 132"/>
              <a:gd name="T57" fmla="*/ 2147483647 h 264"/>
              <a:gd name="T58" fmla="*/ 2147483647 w 132"/>
              <a:gd name="T59" fmla="*/ 2147483647 h 264"/>
              <a:gd name="T60" fmla="*/ 2147483647 w 132"/>
              <a:gd name="T61" fmla="*/ 2147483647 h 264"/>
              <a:gd name="T62" fmla="*/ 2147483647 w 132"/>
              <a:gd name="T63" fmla="*/ 2147483647 h 264"/>
              <a:gd name="T64" fmla="*/ 2147483647 w 132"/>
              <a:gd name="T65" fmla="*/ 2147483647 h 264"/>
              <a:gd name="T66" fmla="*/ 2147483647 w 132"/>
              <a:gd name="T67" fmla="*/ 2147483647 h 264"/>
              <a:gd name="T68" fmla="*/ 2147483647 w 132"/>
              <a:gd name="T69" fmla="*/ 2147483647 h 264"/>
              <a:gd name="T70" fmla="*/ 2147483647 w 132"/>
              <a:gd name="T71" fmla="*/ 2147483647 h 264"/>
              <a:gd name="T72" fmla="*/ 2147483647 w 132"/>
              <a:gd name="T73" fmla="*/ 2147483647 h 264"/>
              <a:gd name="T74" fmla="*/ 2147483647 w 132"/>
              <a:gd name="T75" fmla="*/ 2147483647 h 264"/>
              <a:gd name="T76" fmla="*/ 2147483647 w 132"/>
              <a:gd name="T77" fmla="*/ 2147483647 h 264"/>
              <a:gd name="T78" fmla="*/ 2147483647 w 132"/>
              <a:gd name="T79" fmla="*/ 2147483647 h 264"/>
              <a:gd name="T80" fmla="*/ 2147483647 w 132"/>
              <a:gd name="T81" fmla="*/ 2147483647 h 264"/>
              <a:gd name="T82" fmla="*/ 2147483647 w 132"/>
              <a:gd name="T83" fmla="*/ 2147483647 h 264"/>
              <a:gd name="T84" fmla="*/ 2147483647 w 132"/>
              <a:gd name="T85" fmla="*/ 2147483647 h 264"/>
              <a:gd name="T86" fmla="*/ 2147483647 w 132"/>
              <a:gd name="T87" fmla="*/ 2147483647 h 264"/>
              <a:gd name="T88" fmla="*/ 2147483647 w 132"/>
              <a:gd name="T89" fmla="*/ 2147483647 h 264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32"/>
              <a:gd name="T136" fmla="*/ 0 h 264"/>
              <a:gd name="T137" fmla="*/ 132 w 132"/>
              <a:gd name="T138" fmla="*/ 264 h 264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32" h="264">
                <a:moveTo>
                  <a:pt x="126" y="23"/>
                </a:moveTo>
                <a:lnTo>
                  <a:pt x="126" y="23"/>
                </a:lnTo>
                <a:lnTo>
                  <a:pt x="120" y="15"/>
                </a:lnTo>
                <a:lnTo>
                  <a:pt x="117" y="12"/>
                </a:lnTo>
                <a:lnTo>
                  <a:pt x="115" y="9"/>
                </a:lnTo>
                <a:lnTo>
                  <a:pt x="115" y="6"/>
                </a:lnTo>
                <a:lnTo>
                  <a:pt x="112" y="0"/>
                </a:lnTo>
                <a:lnTo>
                  <a:pt x="112" y="6"/>
                </a:lnTo>
                <a:lnTo>
                  <a:pt x="109" y="6"/>
                </a:lnTo>
                <a:lnTo>
                  <a:pt x="106" y="12"/>
                </a:lnTo>
                <a:lnTo>
                  <a:pt x="106" y="20"/>
                </a:lnTo>
                <a:lnTo>
                  <a:pt x="103" y="29"/>
                </a:lnTo>
                <a:lnTo>
                  <a:pt x="100" y="29"/>
                </a:lnTo>
                <a:lnTo>
                  <a:pt x="97" y="32"/>
                </a:lnTo>
                <a:lnTo>
                  <a:pt x="94" y="35"/>
                </a:lnTo>
                <a:lnTo>
                  <a:pt x="89" y="32"/>
                </a:lnTo>
                <a:lnTo>
                  <a:pt x="89" y="40"/>
                </a:lnTo>
                <a:lnTo>
                  <a:pt x="86" y="43"/>
                </a:lnTo>
                <a:lnTo>
                  <a:pt x="86" y="46"/>
                </a:lnTo>
                <a:lnTo>
                  <a:pt x="80" y="58"/>
                </a:lnTo>
                <a:lnTo>
                  <a:pt x="80" y="52"/>
                </a:lnTo>
                <a:lnTo>
                  <a:pt x="71" y="63"/>
                </a:lnTo>
                <a:lnTo>
                  <a:pt x="71" y="66"/>
                </a:lnTo>
                <a:lnTo>
                  <a:pt x="71" y="69"/>
                </a:lnTo>
                <a:lnTo>
                  <a:pt x="71" y="66"/>
                </a:lnTo>
                <a:lnTo>
                  <a:pt x="66" y="66"/>
                </a:lnTo>
                <a:lnTo>
                  <a:pt x="60" y="72"/>
                </a:lnTo>
                <a:lnTo>
                  <a:pt x="60" y="75"/>
                </a:lnTo>
                <a:lnTo>
                  <a:pt x="57" y="75"/>
                </a:lnTo>
                <a:lnTo>
                  <a:pt x="48" y="75"/>
                </a:lnTo>
                <a:lnTo>
                  <a:pt x="40" y="81"/>
                </a:lnTo>
                <a:lnTo>
                  <a:pt x="31" y="81"/>
                </a:lnTo>
                <a:lnTo>
                  <a:pt x="28" y="78"/>
                </a:lnTo>
                <a:lnTo>
                  <a:pt x="26" y="83"/>
                </a:lnTo>
                <a:lnTo>
                  <a:pt x="28" y="86"/>
                </a:lnTo>
                <a:lnTo>
                  <a:pt x="26" y="95"/>
                </a:lnTo>
                <a:lnTo>
                  <a:pt x="20" y="104"/>
                </a:lnTo>
                <a:lnTo>
                  <a:pt x="20" y="115"/>
                </a:lnTo>
                <a:lnTo>
                  <a:pt x="20" y="129"/>
                </a:lnTo>
                <a:lnTo>
                  <a:pt x="20" y="138"/>
                </a:lnTo>
                <a:lnTo>
                  <a:pt x="23" y="144"/>
                </a:lnTo>
                <a:lnTo>
                  <a:pt x="23" y="149"/>
                </a:lnTo>
                <a:lnTo>
                  <a:pt x="23" y="158"/>
                </a:lnTo>
                <a:lnTo>
                  <a:pt x="20" y="164"/>
                </a:lnTo>
                <a:lnTo>
                  <a:pt x="17" y="172"/>
                </a:lnTo>
                <a:lnTo>
                  <a:pt x="14" y="178"/>
                </a:lnTo>
                <a:lnTo>
                  <a:pt x="11" y="181"/>
                </a:lnTo>
                <a:lnTo>
                  <a:pt x="8" y="184"/>
                </a:lnTo>
                <a:lnTo>
                  <a:pt x="3" y="195"/>
                </a:lnTo>
                <a:lnTo>
                  <a:pt x="0" y="204"/>
                </a:lnTo>
                <a:lnTo>
                  <a:pt x="5" y="218"/>
                </a:lnTo>
                <a:lnTo>
                  <a:pt x="8" y="221"/>
                </a:lnTo>
                <a:lnTo>
                  <a:pt x="8" y="227"/>
                </a:lnTo>
                <a:lnTo>
                  <a:pt x="8" y="236"/>
                </a:lnTo>
                <a:lnTo>
                  <a:pt x="8" y="238"/>
                </a:lnTo>
                <a:lnTo>
                  <a:pt x="8" y="250"/>
                </a:lnTo>
                <a:lnTo>
                  <a:pt x="14" y="259"/>
                </a:lnTo>
                <a:lnTo>
                  <a:pt x="23" y="264"/>
                </a:lnTo>
                <a:lnTo>
                  <a:pt x="31" y="264"/>
                </a:lnTo>
                <a:lnTo>
                  <a:pt x="40" y="261"/>
                </a:lnTo>
                <a:lnTo>
                  <a:pt x="46" y="259"/>
                </a:lnTo>
                <a:lnTo>
                  <a:pt x="48" y="259"/>
                </a:lnTo>
                <a:lnTo>
                  <a:pt x="51" y="259"/>
                </a:lnTo>
                <a:lnTo>
                  <a:pt x="57" y="259"/>
                </a:lnTo>
                <a:lnTo>
                  <a:pt x="60" y="253"/>
                </a:lnTo>
                <a:lnTo>
                  <a:pt x="66" y="247"/>
                </a:lnTo>
                <a:lnTo>
                  <a:pt x="71" y="230"/>
                </a:lnTo>
                <a:lnTo>
                  <a:pt x="83" y="198"/>
                </a:lnTo>
                <a:lnTo>
                  <a:pt x="94" y="164"/>
                </a:lnTo>
                <a:lnTo>
                  <a:pt x="109" y="121"/>
                </a:lnTo>
                <a:lnTo>
                  <a:pt x="112" y="112"/>
                </a:lnTo>
                <a:lnTo>
                  <a:pt x="112" y="106"/>
                </a:lnTo>
                <a:lnTo>
                  <a:pt x="115" y="95"/>
                </a:lnTo>
                <a:lnTo>
                  <a:pt x="117" y="92"/>
                </a:lnTo>
                <a:lnTo>
                  <a:pt x="117" y="86"/>
                </a:lnTo>
                <a:lnTo>
                  <a:pt x="115" y="69"/>
                </a:lnTo>
                <a:lnTo>
                  <a:pt x="117" y="69"/>
                </a:lnTo>
                <a:lnTo>
                  <a:pt x="120" y="72"/>
                </a:lnTo>
                <a:lnTo>
                  <a:pt x="123" y="78"/>
                </a:lnTo>
                <a:lnTo>
                  <a:pt x="126" y="78"/>
                </a:lnTo>
                <a:lnTo>
                  <a:pt x="129" y="75"/>
                </a:lnTo>
                <a:lnTo>
                  <a:pt x="132" y="69"/>
                </a:lnTo>
                <a:lnTo>
                  <a:pt x="132" y="66"/>
                </a:lnTo>
                <a:lnTo>
                  <a:pt x="132" y="60"/>
                </a:lnTo>
                <a:lnTo>
                  <a:pt x="129" y="55"/>
                </a:lnTo>
                <a:lnTo>
                  <a:pt x="126" y="2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07" name="Freeform 513"/>
          <p:cNvSpPr>
            <a:spLocks/>
          </p:cNvSpPr>
          <p:nvPr/>
        </p:nvSpPr>
        <p:spPr bwMode="gray">
          <a:xfrm>
            <a:off x="6823229" y="3250589"/>
            <a:ext cx="360065" cy="183005"/>
          </a:xfrm>
          <a:custGeom>
            <a:avLst/>
            <a:gdLst>
              <a:gd name="T0" fmla="*/ 2147483647 w 178"/>
              <a:gd name="T1" fmla="*/ 2147483647 h 121"/>
              <a:gd name="T2" fmla="*/ 2147483647 w 178"/>
              <a:gd name="T3" fmla="*/ 0 h 121"/>
              <a:gd name="T4" fmla="*/ 2147483647 w 178"/>
              <a:gd name="T5" fmla="*/ 0 h 121"/>
              <a:gd name="T6" fmla="*/ 2147483647 w 178"/>
              <a:gd name="T7" fmla="*/ 2147483647 h 121"/>
              <a:gd name="T8" fmla="*/ 2147483647 w 178"/>
              <a:gd name="T9" fmla="*/ 2147483647 h 121"/>
              <a:gd name="T10" fmla="*/ 2147483647 w 178"/>
              <a:gd name="T11" fmla="*/ 2147483647 h 121"/>
              <a:gd name="T12" fmla="*/ 2147483647 w 178"/>
              <a:gd name="T13" fmla="*/ 2147483647 h 121"/>
              <a:gd name="T14" fmla="*/ 2147483647 w 178"/>
              <a:gd name="T15" fmla="*/ 2147483647 h 121"/>
              <a:gd name="T16" fmla="*/ 2147483647 w 178"/>
              <a:gd name="T17" fmla="*/ 2147483647 h 121"/>
              <a:gd name="T18" fmla="*/ 2147483647 w 178"/>
              <a:gd name="T19" fmla="*/ 2147483647 h 121"/>
              <a:gd name="T20" fmla="*/ 2147483647 w 178"/>
              <a:gd name="T21" fmla="*/ 2147483647 h 121"/>
              <a:gd name="T22" fmla="*/ 2147483647 w 178"/>
              <a:gd name="T23" fmla="*/ 2147483647 h 121"/>
              <a:gd name="T24" fmla="*/ 2147483647 w 178"/>
              <a:gd name="T25" fmla="*/ 2147483647 h 121"/>
              <a:gd name="T26" fmla="*/ 2147483647 w 178"/>
              <a:gd name="T27" fmla="*/ 2147483647 h 121"/>
              <a:gd name="T28" fmla="*/ 2147483647 w 178"/>
              <a:gd name="T29" fmla="*/ 2147483647 h 121"/>
              <a:gd name="T30" fmla="*/ 2147483647 w 178"/>
              <a:gd name="T31" fmla="*/ 2147483647 h 121"/>
              <a:gd name="T32" fmla="*/ 2147483647 w 178"/>
              <a:gd name="T33" fmla="*/ 2147483647 h 121"/>
              <a:gd name="T34" fmla="*/ 2147483647 w 178"/>
              <a:gd name="T35" fmla="*/ 2147483647 h 121"/>
              <a:gd name="T36" fmla="*/ 2147483647 w 178"/>
              <a:gd name="T37" fmla="*/ 2147483647 h 121"/>
              <a:gd name="T38" fmla="*/ 0 w 178"/>
              <a:gd name="T39" fmla="*/ 2147483647 h 121"/>
              <a:gd name="T40" fmla="*/ 0 w 178"/>
              <a:gd name="T41" fmla="*/ 2147483647 h 121"/>
              <a:gd name="T42" fmla="*/ 2147483647 w 178"/>
              <a:gd name="T43" fmla="*/ 2147483647 h 121"/>
              <a:gd name="T44" fmla="*/ 2147483647 w 178"/>
              <a:gd name="T45" fmla="*/ 2147483647 h 121"/>
              <a:gd name="T46" fmla="*/ 2147483647 w 178"/>
              <a:gd name="T47" fmla="*/ 2147483647 h 121"/>
              <a:gd name="T48" fmla="*/ 2147483647 w 178"/>
              <a:gd name="T49" fmla="*/ 2147483647 h 121"/>
              <a:gd name="T50" fmla="*/ 2147483647 w 178"/>
              <a:gd name="T51" fmla="*/ 2147483647 h 121"/>
              <a:gd name="T52" fmla="*/ 2147483647 w 178"/>
              <a:gd name="T53" fmla="*/ 2147483647 h 121"/>
              <a:gd name="T54" fmla="*/ 2147483647 w 178"/>
              <a:gd name="T55" fmla="*/ 2147483647 h 121"/>
              <a:gd name="T56" fmla="*/ 2147483647 w 178"/>
              <a:gd name="T57" fmla="*/ 2147483647 h 121"/>
              <a:gd name="T58" fmla="*/ 2147483647 w 178"/>
              <a:gd name="T59" fmla="*/ 2147483647 h 121"/>
              <a:gd name="T60" fmla="*/ 2147483647 w 178"/>
              <a:gd name="T61" fmla="*/ 2147483647 h 121"/>
              <a:gd name="T62" fmla="*/ 2147483647 w 178"/>
              <a:gd name="T63" fmla="*/ 2147483647 h 121"/>
              <a:gd name="T64" fmla="*/ 2147483647 w 178"/>
              <a:gd name="T65" fmla="*/ 2147483647 h 121"/>
              <a:gd name="T66" fmla="*/ 2147483647 w 178"/>
              <a:gd name="T67" fmla="*/ 2147483647 h 121"/>
              <a:gd name="T68" fmla="*/ 2147483647 w 178"/>
              <a:gd name="T69" fmla="*/ 2147483647 h 121"/>
              <a:gd name="T70" fmla="*/ 2147483647 w 178"/>
              <a:gd name="T71" fmla="*/ 2147483647 h 121"/>
              <a:gd name="T72" fmla="*/ 2147483647 w 178"/>
              <a:gd name="T73" fmla="*/ 2147483647 h 121"/>
              <a:gd name="T74" fmla="*/ 2147483647 w 178"/>
              <a:gd name="T75" fmla="*/ 2147483647 h 121"/>
              <a:gd name="T76" fmla="*/ 2147483647 w 178"/>
              <a:gd name="T77" fmla="*/ 2147483647 h 121"/>
              <a:gd name="T78" fmla="*/ 2147483647 w 178"/>
              <a:gd name="T79" fmla="*/ 2147483647 h 121"/>
              <a:gd name="T80" fmla="*/ 2147483647 w 178"/>
              <a:gd name="T81" fmla="*/ 2147483647 h 121"/>
              <a:gd name="T82" fmla="*/ 2147483647 w 178"/>
              <a:gd name="T83" fmla="*/ 2147483647 h 121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78"/>
              <a:gd name="T127" fmla="*/ 0 h 121"/>
              <a:gd name="T128" fmla="*/ 178 w 178"/>
              <a:gd name="T129" fmla="*/ 121 h 121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78" h="121">
                <a:moveTo>
                  <a:pt x="166" y="52"/>
                </a:moveTo>
                <a:lnTo>
                  <a:pt x="166" y="52"/>
                </a:lnTo>
                <a:lnTo>
                  <a:pt x="178" y="46"/>
                </a:lnTo>
                <a:lnTo>
                  <a:pt x="155" y="0"/>
                </a:lnTo>
                <a:lnTo>
                  <a:pt x="149" y="0"/>
                </a:lnTo>
                <a:lnTo>
                  <a:pt x="129" y="6"/>
                </a:lnTo>
                <a:lnTo>
                  <a:pt x="112" y="9"/>
                </a:lnTo>
                <a:lnTo>
                  <a:pt x="103" y="12"/>
                </a:lnTo>
                <a:lnTo>
                  <a:pt x="95" y="17"/>
                </a:lnTo>
                <a:lnTo>
                  <a:pt x="86" y="29"/>
                </a:lnTo>
                <a:lnTo>
                  <a:pt x="80" y="35"/>
                </a:lnTo>
                <a:lnTo>
                  <a:pt x="74" y="40"/>
                </a:lnTo>
                <a:lnTo>
                  <a:pt x="69" y="35"/>
                </a:lnTo>
                <a:lnTo>
                  <a:pt x="49" y="32"/>
                </a:lnTo>
                <a:lnTo>
                  <a:pt x="37" y="29"/>
                </a:lnTo>
                <a:lnTo>
                  <a:pt x="26" y="32"/>
                </a:lnTo>
                <a:lnTo>
                  <a:pt x="17" y="35"/>
                </a:lnTo>
                <a:lnTo>
                  <a:pt x="17" y="32"/>
                </a:lnTo>
                <a:lnTo>
                  <a:pt x="14" y="29"/>
                </a:lnTo>
                <a:lnTo>
                  <a:pt x="11" y="32"/>
                </a:lnTo>
                <a:lnTo>
                  <a:pt x="8" y="46"/>
                </a:lnTo>
                <a:lnTo>
                  <a:pt x="3" y="52"/>
                </a:lnTo>
                <a:lnTo>
                  <a:pt x="3" y="55"/>
                </a:lnTo>
                <a:lnTo>
                  <a:pt x="3" y="58"/>
                </a:lnTo>
                <a:lnTo>
                  <a:pt x="0" y="58"/>
                </a:lnTo>
                <a:lnTo>
                  <a:pt x="0" y="63"/>
                </a:lnTo>
                <a:lnTo>
                  <a:pt x="0" y="69"/>
                </a:lnTo>
                <a:lnTo>
                  <a:pt x="3" y="72"/>
                </a:lnTo>
                <a:lnTo>
                  <a:pt x="6" y="78"/>
                </a:lnTo>
                <a:lnTo>
                  <a:pt x="8" y="86"/>
                </a:lnTo>
                <a:lnTo>
                  <a:pt x="11" y="95"/>
                </a:lnTo>
                <a:lnTo>
                  <a:pt x="11" y="106"/>
                </a:lnTo>
                <a:lnTo>
                  <a:pt x="14" y="115"/>
                </a:lnTo>
                <a:lnTo>
                  <a:pt x="17" y="121"/>
                </a:lnTo>
                <a:lnTo>
                  <a:pt x="29" y="121"/>
                </a:lnTo>
                <a:lnTo>
                  <a:pt x="40" y="121"/>
                </a:lnTo>
                <a:lnTo>
                  <a:pt x="51" y="109"/>
                </a:lnTo>
                <a:lnTo>
                  <a:pt x="63" y="109"/>
                </a:lnTo>
                <a:lnTo>
                  <a:pt x="80" y="104"/>
                </a:lnTo>
                <a:lnTo>
                  <a:pt x="89" y="101"/>
                </a:lnTo>
                <a:lnTo>
                  <a:pt x="95" y="98"/>
                </a:lnTo>
                <a:lnTo>
                  <a:pt x="100" y="98"/>
                </a:lnTo>
                <a:lnTo>
                  <a:pt x="106" y="95"/>
                </a:lnTo>
                <a:lnTo>
                  <a:pt x="109" y="89"/>
                </a:lnTo>
                <a:lnTo>
                  <a:pt x="109" y="86"/>
                </a:lnTo>
                <a:lnTo>
                  <a:pt x="112" y="84"/>
                </a:lnTo>
                <a:lnTo>
                  <a:pt x="120" y="81"/>
                </a:lnTo>
                <a:lnTo>
                  <a:pt x="123" y="78"/>
                </a:lnTo>
                <a:lnTo>
                  <a:pt x="129" y="78"/>
                </a:lnTo>
                <a:lnTo>
                  <a:pt x="138" y="78"/>
                </a:lnTo>
                <a:lnTo>
                  <a:pt x="149" y="72"/>
                </a:lnTo>
                <a:lnTo>
                  <a:pt x="161" y="63"/>
                </a:lnTo>
                <a:lnTo>
                  <a:pt x="161" y="61"/>
                </a:lnTo>
                <a:lnTo>
                  <a:pt x="163" y="55"/>
                </a:lnTo>
                <a:lnTo>
                  <a:pt x="166" y="5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08" name="Freeform 514"/>
          <p:cNvSpPr>
            <a:spLocks/>
          </p:cNvSpPr>
          <p:nvPr/>
        </p:nvSpPr>
        <p:spPr bwMode="gray">
          <a:xfrm>
            <a:off x="6783222" y="3454594"/>
            <a:ext cx="342061" cy="396011"/>
          </a:xfrm>
          <a:custGeom>
            <a:avLst/>
            <a:gdLst>
              <a:gd name="T0" fmla="*/ 2147483647 w 169"/>
              <a:gd name="T1" fmla="*/ 2147483647 h 261"/>
              <a:gd name="T2" fmla="*/ 2147483647 w 169"/>
              <a:gd name="T3" fmla="*/ 2147483647 h 261"/>
              <a:gd name="T4" fmla="*/ 2147483647 w 169"/>
              <a:gd name="T5" fmla="*/ 2147483647 h 261"/>
              <a:gd name="T6" fmla="*/ 2147483647 w 169"/>
              <a:gd name="T7" fmla="*/ 2147483647 h 261"/>
              <a:gd name="T8" fmla="*/ 2147483647 w 169"/>
              <a:gd name="T9" fmla="*/ 2147483647 h 261"/>
              <a:gd name="T10" fmla="*/ 2147483647 w 169"/>
              <a:gd name="T11" fmla="*/ 2147483647 h 261"/>
              <a:gd name="T12" fmla="*/ 2147483647 w 169"/>
              <a:gd name="T13" fmla="*/ 2147483647 h 261"/>
              <a:gd name="T14" fmla="*/ 2147483647 w 169"/>
              <a:gd name="T15" fmla="*/ 2147483647 h 261"/>
              <a:gd name="T16" fmla="*/ 2147483647 w 169"/>
              <a:gd name="T17" fmla="*/ 2147483647 h 261"/>
              <a:gd name="T18" fmla="*/ 2147483647 w 169"/>
              <a:gd name="T19" fmla="*/ 2147483647 h 261"/>
              <a:gd name="T20" fmla="*/ 2147483647 w 169"/>
              <a:gd name="T21" fmla="*/ 2147483647 h 261"/>
              <a:gd name="T22" fmla="*/ 2147483647 w 169"/>
              <a:gd name="T23" fmla="*/ 2147483647 h 261"/>
              <a:gd name="T24" fmla="*/ 2147483647 w 169"/>
              <a:gd name="T25" fmla="*/ 2147483647 h 261"/>
              <a:gd name="T26" fmla="*/ 2147483647 w 169"/>
              <a:gd name="T27" fmla="*/ 2147483647 h 261"/>
              <a:gd name="T28" fmla="*/ 2147483647 w 169"/>
              <a:gd name="T29" fmla="*/ 2147483647 h 261"/>
              <a:gd name="T30" fmla="*/ 2147483647 w 169"/>
              <a:gd name="T31" fmla="*/ 2147483647 h 261"/>
              <a:gd name="T32" fmla="*/ 2147483647 w 169"/>
              <a:gd name="T33" fmla="*/ 2147483647 h 261"/>
              <a:gd name="T34" fmla="*/ 2147483647 w 169"/>
              <a:gd name="T35" fmla="*/ 2147483647 h 261"/>
              <a:gd name="T36" fmla="*/ 2147483647 w 169"/>
              <a:gd name="T37" fmla="*/ 2147483647 h 261"/>
              <a:gd name="T38" fmla="*/ 2147483647 w 169"/>
              <a:gd name="T39" fmla="*/ 2147483647 h 261"/>
              <a:gd name="T40" fmla="*/ 2147483647 w 169"/>
              <a:gd name="T41" fmla="*/ 2147483647 h 261"/>
              <a:gd name="T42" fmla="*/ 2147483647 w 169"/>
              <a:gd name="T43" fmla="*/ 2147483647 h 261"/>
              <a:gd name="T44" fmla="*/ 2147483647 w 169"/>
              <a:gd name="T45" fmla="*/ 2147483647 h 261"/>
              <a:gd name="T46" fmla="*/ 2147483647 w 169"/>
              <a:gd name="T47" fmla="*/ 2147483647 h 261"/>
              <a:gd name="T48" fmla="*/ 2147483647 w 169"/>
              <a:gd name="T49" fmla="*/ 2147483647 h 261"/>
              <a:gd name="T50" fmla="*/ 2147483647 w 169"/>
              <a:gd name="T51" fmla="*/ 2147483647 h 261"/>
              <a:gd name="T52" fmla="*/ 2147483647 w 169"/>
              <a:gd name="T53" fmla="*/ 2147483647 h 261"/>
              <a:gd name="T54" fmla="*/ 2147483647 w 169"/>
              <a:gd name="T55" fmla="*/ 2147483647 h 261"/>
              <a:gd name="T56" fmla="*/ 2147483647 w 169"/>
              <a:gd name="T57" fmla="*/ 2147483647 h 261"/>
              <a:gd name="T58" fmla="*/ 2147483647 w 169"/>
              <a:gd name="T59" fmla="*/ 2147483647 h 261"/>
              <a:gd name="T60" fmla="*/ 2147483647 w 169"/>
              <a:gd name="T61" fmla="*/ 2147483647 h 261"/>
              <a:gd name="T62" fmla="*/ 2147483647 w 169"/>
              <a:gd name="T63" fmla="*/ 2147483647 h 261"/>
              <a:gd name="T64" fmla="*/ 2147483647 w 169"/>
              <a:gd name="T65" fmla="*/ 2147483647 h 261"/>
              <a:gd name="T66" fmla="*/ 2147483647 w 169"/>
              <a:gd name="T67" fmla="*/ 2147483647 h 261"/>
              <a:gd name="T68" fmla="*/ 2147483647 w 169"/>
              <a:gd name="T69" fmla="*/ 2147483647 h 261"/>
              <a:gd name="T70" fmla="*/ 0 w 169"/>
              <a:gd name="T71" fmla="*/ 2147483647 h 261"/>
              <a:gd name="T72" fmla="*/ 2147483647 w 169"/>
              <a:gd name="T73" fmla="*/ 2147483647 h 261"/>
              <a:gd name="T74" fmla="*/ 2147483647 w 169"/>
              <a:gd name="T75" fmla="*/ 2147483647 h 261"/>
              <a:gd name="T76" fmla="*/ 2147483647 w 169"/>
              <a:gd name="T77" fmla="*/ 2147483647 h 261"/>
              <a:gd name="T78" fmla="*/ 2147483647 w 169"/>
              <a:gd name="T79" fmla="*/ 2147483647 h 261"/>
              <a:gd name="T80" fmla="*/ 2147483647 w 169"/>
              <a:gd name="T81" fmla="*/ 2147483647 h 261"/>
              <a:gd name="T82" fmla="*/ 2147483647 w 169"/>
              <a:gd name="T83" fmla="*/ 2147483647 h 261"/>
              <a:gd name="T84" fmla="*/ 2147483647 w 169"/>
              <a:gd name="T85" fmla="*/ 2147483647 h 261"/>
              <a:gd name="T86" fmla="*/ 2147483647 w 169"/>
              <a:gd name="T87" fmla="*/ 2147483647 h 261"/>
              <a:gd name="T88" fmla="*/ 2147483647 w 169"/>
              <a:gd name="T89" fmla="*/ 2147483647 h 261"/>
              <a:gd name="T90" fmla="*/ 2147483647 w 169"/>
              <a:gd name="T91" fmla="*/ 2147483647 h 261"/>
              <a:gd name="T92" fmla="*/ 2147483647 w 169"/>
              <a:gd name="T93" fmla="*/ 2147483647 h 261"/>
              <a:gd name="T94" fmla="*/ 2147483647 w 169"/>
              <a:gd name="T95" fmla="*/ 2147483647 h 261"/>
              <a:gd name="T96" fmla="*/ 2147483647 w 169"/>
              <a:gd name="T97" fmla="*/ 2147483647 h 26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169"/>
              <a:gd name="T148" fmla="*/ 0 h 261"/>
              <a:gd name="T149" fmla="*/ 169 w 169"/>
              <a:gd name="T150" fmla="*/ 261 h 261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169" h="261">
                <a:moveTo>
                  <a:pt x="166" y="17"/>
                </a:moveTo>
                <a:lnTo>
                  <a:pt x="166" y="17"/>
                </a:lnTo>
                <a:lnTo>
                  <a:pt x="169" y="6"/>
                </a:lnTo>
                <a:lnTo>
                  <a:pt x="163" y="3"/>
                </a:lnTo>
                <a:lnTo>
                  <a:pt x="160" y="0"/>
                </a:lnTo>
                <a:lnTo>
                  <a:pt x="158" y="6"/>
                </a:lnTo>
                <a:lnTo>
                  <a:pt x="155" y="9"/>
                </a:lnTo>
                <a:lnTo>
                  <a:pt x="146" y="12"/>
                </a:lnTo>
                <a:lnTo>
                  <a:pt x="138" y="15"/>
                </a:lnTo>
                <a:lnTo>
                  <a:pt x="135" y="15"/>
                </a:lnTo>
                <a:lnTo>
                  <a:pt x="129" y="15"/>
                </a:lnTo>
                <a:lnTo>
                  <a:pt x="123" y="15"/>
                </a:lnTo>
                <a:lnTo>
                  <a:pt x="115" y="17"/>
                </a:lnTo>
                <a:lnTo>
                  <a:pt x="103" y="17"/>
                </a:lnTo>
                <a:lnTo>
                  <a:pt x="92" y="26"/>
                </a:lnTo>
                <a:lnTo>
                  <a:pt x="89" y="26"/>
                </a:lnTo>
                <a:lnTo>
                  <a:pt x="83" y="23"/>
                </a:lnTo>
                <a:lnTo>
                  <a:pt x="80" y="23"/>
                </a:lnTo>
                <a:lnTo>
                  <a:pt x="74" y="23"/>
                </a:lnTo>
                <a:lnTo>
                  <a:pt x="71" y="29"/>
                </a:lnTo>
                <a:lnTo>
                  <a:pt x="69" y="29"/>
                </a:lnTo>
                <a:lnTo>
                  <a:pt x="63" y="32"/>
                </a:lnTo>
                <a:lnTo>
                  <a:pt x="51" y="29"/>
                </a:lnTo>
                <a:lnTo>
                  <a:pt x="49" y="29"/>
                </a:lnTo>
                <a:lnTo>
                  <a:pt x="46" y="26"/>
                </a:lnTo>
                <a:lnTo>
                  <a:pt x="37" y="15"/>
                </a:lnTo>
                <a:lnTo>
                  <a:pt x="28" y="20"/>
                </a:lnTo>
                <a:lnTo>
                  <a:pt x="26" y="26"/>
                </a:lnTo>
                <a:lnTo>
                  <a:pt x="28" y="35"/>
                </a:lnTo>
                <a:lnTo>
                  <a:pt x="37" y="43"/>
                </a:lnTo>
                <a:lnTo>
                  <a:pt x="46" y="55"/>
                </a:lnTo>
                <a:lnTo>
                  <a:pt x="69" y="66"/>
                </a:lnTo>
                <a:lnTo>
                  <a:pt x="100" y="78"/>
                </a:lnTo>
                <a:lnTo>
                  <a:pt x="120" y="78"/>
                </a:lnTo>
                <a:lnTo>
                  <a:pt x="66" y="141"/>
                </a:lnTo>
                <a:lnTo>
                  <a:pt x="66" y="138"/>
                </a:lnTo>
                <a:lnTo>
                  <a:pt x="57" y="138"/>
                </a:lnTo>
                <a:lnTo>
                  <a:pt x="40" y="141"/>
                </a:lnTo>
                <a:lnTo>
                  <a:pt x="37" y="144"/>
                </a:lnTo>
                <a:lnTo>
                  <a:pt x="34" y="147"/>
                </a:lnTo>
                <a:lnTo>
                  <a:pt x="28" y="150"/>
                </a:lnTo>
                <a:lnTo>
                  <a:pt x="28" y="152"/>
                </a:lnTo>
                <a:lnTo>
                  <a:pt x="20" y="152"/>
                </a:lnTo>
                <a:lnTo>
                  <a:pt x="14" y="155"/>
                </a:lnTo>
                <a:lnTo>
                  <a:pt x="8" y="167"/>
                </a:lnTo>
                <a:lnTo>
                  <a:pt x="0" y="181"/>
                </a:lnTo>
                <a:lnTo>
                  <a:pt x="0" y="250"/>
                </a:lnTo>
                <a:lnTo>
                  <a:pt x="11" y="261"/>
                </a:lnTo>
                <a:lnTo>
                  <a:pt x="23" y="241"/>
                </a:lnTo>
                <a:lnTo>
                  <a:pt x="37" y="224"/>
                </a:lnTo>
                <a:lnTo>
                  <a:pt x="49" y="213"/>
                </a:lnTo>
                <a:lnTo>
                  <a:pt x="63" y="201"/>
                </a:lnTo>
                <a:lnTo>
                  <a:pt x="86" y="181"/>
                </a:lnTo>
                <a:lnTo>
                  <a:pt x="112" y="155"/>
                </a:lnTo>
                <a:lnTo>
                  <a:pt x="123" y="135"/>
                </a:lnTo>
                <a:lnTo>
                  <a:pt x="132" y="121"/>
                </a:lnTo>
                <a:lnTo>
                  <a:pt x="138" y="106"/>
                </a:lnTo>
                <a:lnTo>
                  <a:pt x="146" y="83"/>
                </a:lnTo>
                <a:lnTo>
                  <a:pt x="158" y="66"/>
                </a:lnTo>
                <a:lnTo>
                  <a:pt x="163" y="52"/>
                </a:lnTo>
                <a:lnTo>
                  <a:pt x="163" y="40"/>
                </a:lnTo>
                <a:lnTo>
                  <a:pt x="166" y="32"/>
                </a:lnTo>
                <a:lnTo>
                  <a:pt x="166" y="26"/>
                </a:lnTo>
                <a:lnTo>
                  <a:pt x="166" y="1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09" name="Freeform 515"/>
          <p:cNvSpPr>
            <a:spLocks/>
          </p:cNvSpPr>
          <p:nvPr/>
        </p:nvSpPr>
        <p:spPr bwMode="gray">
          <a:xfrm>
            <a:off x="5356965" y="3484594"/>
            <a:ext cx="56010" cy="148504"/>
          </a:xfrm>
          <a:custGeom>
            <a:avLst/>
            <a:gdLst>
              <a:gd name="T0" fmla="*/ 2147483647 w 28"/>
              <a:gd name="T1" fmla="*/ 2147483647 h 98"/>
              <a:gd name="T2" fmla="*/ 2147483647 w 28"/>
              <a:gd name="T3" fmla="*/ 2147483647 h 98"/>
              <a:gd name="T4" fmla="*/ 2147483647 w 28"/>
              <a:gd name="T5" fmla="*/ 2147483647 h 98"/>
              <a:gd name="T6" fmla="*/ 2147483647 w 28"/>
              <a:gd name="T7" fmla="*/ 2147483647 h 98"/>
              <a:gd name="T8" fmla="*/ 2147483647 w 28"/>
              <a:gd name="T9" fmla="*/ 2147483647 h 98"/>
              <a:gd name="T10" fmla="*/ 2147483647 w 28"/>
              <a:gd name="T11" fmla="*/ 2147483647 h 98"/>
              <a:gd name="T12" fmla="*/ 2147483647 w 28"/>
              <a:gd name="T13" fmla="*/ 0 h 98"/>
              <a:gd name="T14" fmla="*/ 0 w 28"/>
              <a:gd name="T15" fmla="*/ 0 h 98"/>
              <a:gd name="T16" fmla="*/ 0 w 28"/>
              <a:gd name="T17" fmla="*/ 0 h 98"/>
              <a:gd name="T18" fmla="*/ 0 w 28"/>
              <a:gd name="T19" fmla="*/ 2147483647 h 98"/>
              <a:gd name="T20" fmla="*/ 2147483647 w 28"/>
              <a:gd name="T21" fmla="*/ 2147483647 h 98"/>
              <a:gd name="T22" fmla="*/ 2147483647 w 28"/>
              <a:gd name="T23" fmla="*/ 2147483647 h 98"/>
              <a:gd name="T24" fmla="*/ 2147483647 w 28"/>
              <a:gd name="T25" fmla="*/ 2147483647 h 98"/>
              <a:gd name="T26" fmla="*/ 2147483647 w 28"/>
              <a:gd name="T27" fmla="*/ 2147483647 h 98"/>
              <a:gd name="T28" fmla="*/ 2147483647 w 28"/>
              <a:gd name="T29" fmla="*/ 2147483647 h 98"/>
              <a:gd name="T30" fmla="*/ 2147483647 w 28"/>
              <a:gd name="T31" fmla="*/ 2147483647 h 98"/>
              <a:gd name="T32" fmla="*/ 2147483647 w 28"/>
              <a:gd name="T33" fmla="*/ 2147483647 h 98"/>
              <a:gd name="T34" fmla="*/ 2147483647 w 28"/>
              <a:gd name="T35" fmla="*/ 2147483647 h 98"/>
              <a:gd name="T36" fmla="*/ 2147483647 w 28"/>
              <a:gd name="T37" fmla="*/ 2147483647 h 98"/>
              <a:gd name="T38" fmla="*/ 2147483647 w 28"/>
              <a:gd name="T39" fmla="*/ 2147483647 h 98"/>
              <a:gd name="T40" fmla="*/ 2147483647 w 28"/>
              <a:gd name="T41" fmla="*/ 2147483647 h 98"/>
              <a:gd name="T42" fmla="*/ 2147483647 w 28"/>
              <a:gd name="T43" fmla="*/ 2147483647 h 98"/>
              <a:gd name="T44" fmla="*/ 2147483647 w 28"/>
              <a:gd name="T45" fmla="*/ 2147483647 h 98"/>
              <a:gd name="T46" fmla="*/ 2147483647 w 28"/>
              <a:gd name="T47" fmla="*/ 2147483647 h 98"/>
              <a:gd name="T48" fmla="*/ 2147483647 w 28"/>
              <a:gd name="T49" fmla="*/ 2147483647 h 98"/>
              <a:gd name="T50" fmla="*/ 2147483647 w 28"/>
              <a:gd name="T51" fmla="*/ 2147483647 h 98"/>
              <a:gd name="T52" fmla="*/ 2147483647 w 28"/>
              <a:gd name="T53" fmla="*/ 2147483647 h 98"/>
              <a:gd name="T54" fmla="*/ 2147483647 w 28"/>
              <a:gd name="T55" fmla="*/ 2147483647 h 98"/>
              <a:gd name="T56" fmla="*/ 2147483647 w 28"/>
              <a:gd name="T57" fmla="*/ 2147483647 h 98"/>
              <a:gd name="T58" fmla="*/ 2147483647 w 28"/>
              <a:gd name="T59" fmla="*/ 2147483647 h 98"/>
              <a:gd name="T60" fmla="*/ 2147483647 w 28"/>
              <a:gd name="T61" fmla="*/ 2147483647 h 98"/>
              <a:gd name="T62" fmla="*/ 2147483647 w 28"/>
              <a:gd name="T63" fmla="*/ 2147483647 h 98"/>
              <a:gd name="T64" fmla="*/ 2147483647 w 28"/>
              <a:gd name="T65" fmla="*/ 2147483647 h 98"/>
              <a:gd name="T66" fmla="*/ 2147483647 w 28"/>
              <a:gd name="T67" fmla="*/ 2147483647 h 98"/>
              <a:gd name="T68" fmla="*/ 2147483647 w 28"/>
              <a:gd name="T69" fmla="*/ 2147483647 h 98"/>
              <a:gd name="T70" fmla="*/ 2147483647 w 28"/>
              <a:gd name="T71" fmla="*/ 2147483647 h 98"/>
              <a:gd name="T72" fmla="*/ 2147483647 w 28"/>
              <a:gd name="T73" fmla="*/ 2147483647 h 98"/>
              <a:gd name="T74" fmla="*/ 2147483647 w 28"/>
              <a:gd name="T75" fmla="*/ 2147483647 h 98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28"/>
              <a:gd name="T115" fmla="*/ 0 h 98"/>
              <a:gd name="T116" fmla="*/ 28 w 28"/>
              <a:gd name="T117" fmla="*/ 98 h 98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28" h="98">
                <a:moveTo>
                  <a:pt x="23" y="81"/>
                </a:moveTo>
                <a:lnTo>
                  <a:pt x="25" y="66"/>
                </a:lnTo>
                <a:lnTo>
                  <a:pt x="25" y="41"/>
                </a:lnTo>
                <a:lnTo>
                  <a:pt x="20" y="32"/>
                </a:lnTo>
                <a:lnTo>
                  <a:pt x="20" y="20"/>
                </a:lnTo>
                <a:lnTo>
                  <a:pt x="8" y="12"/>
                </a:lnTo>
                <a:lnTo>
                  <a:pt x="11" y="0"/>
                </a:lnTo>
                <a:lnTo>
                  <a:pt x="0" y="0"/>
                </a:lnTo>
                <a:lnTo>
                  <a:pt x="0" y="6"/>
                </a:lnTo>
                <a:lnTo>
                  <a:pt x="5" y="12"/>
                </a:lnTo>
                <a:lnTo>
                  <a:pt x="5" y="18"/>
                </a:lnTo>
                <a:lnTo>
                  <a:pt x="5" y="20"/>
                </a:lnTo>
                <a:lnTo>
                  <a:pt x="5" y="29"/>
                </a:lnTo>
                <a:lnTo>
                  <a:pt x="8" y="32"/>
                </a:lnTo>
                <a:lnTo>
                  <a:pt x="8" y="35"/>
                </a:lnTo>
                <a:lnTo>
                  <a:pt x="5" y="41"/>
                </a:lnTo>
                <a:lnTo>
                  <a:pt x="8" y="46"/>
                </a:lnTo>
                <a:lnTo>
                  <a:pt x="11" y="52"/>
                </a:lnTo>
                <a:lnTo>
                  <a:pt x="8" y="66"/>
                </a:lnTo>
                <a:lnTo>
                  <a:pt x="8" y="81"/>
                </a:lnTo>
                <a:lnTo>
                  <a:pt x="17" y="95"/>
                </a:lnTo>
                <a:lnTo>
                  <a:pt x="20" y="98"/>
                </a:lnTo>
                <a:lnTo>
                  <a:pt x="28" y="95"/>
                </a:lnTo>
                <a:lnTo>
                  <a:pt x="25" y="89"/>
                </a:lnTo>
                <a:lnTo>
                  <a:pt x="23" y="8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10" name="Freeform 516"/>
          <p:cNvSpPr>
            <a:spLocks/>
          </p:cNvSpPr>
          <p:nvPr/>
        </p:nvSpPr>
        <p:spPr bwMode="gray">
          <a:xfrm>
            <a:off x="5244945" y="3480094"/>
            <a:ext cx="146027" cy="192005"/>
          </a:xfrm>
          <a:custGeom>
            <a:avLst/>
            <a:gdLst>
              <a:gd name="T0" fmla="*/ 2147483647 w 72"/>
              <a:gd name="T1" fmla="*/ 2147483647 h 127"/>
              <a:gd name="T2" fmla="*/ 2147483647 w 72"/>
              <a:gd name="T3" fmla="*/ 2147483647 h 127"/>
              <a:gd name="T4" fmla="*/ 2147483647 w 72"/>
              <a:gd name="T5" fmla="*/ 2147483647 h 127"/>
              <a:gd name="T6" fmla="*/ 2147483647 w 72"/>
              <a:gd name="T7" fmla="*/ 2147483647 h 127"/>
              <a:gd name="T8" fmla="*/ 2147483647 w 72"/>
              <a:gd name="T9" fmla="*/ 2147483647 h 127"/>
              <a:gd name="T10" fmla="*/ 2147483647 w 72"/>
              <a:gd name="T11" fmla="*/ 2147483647 h 127"/>
              <a:gd name="T12" fmla="*/ 2147483647 w 72"/>
              <a:gd name="T13" fmla="*/ 2147483647 h 127"/>
              <a:gd name="T14" fmla="*/ 2147483647 w 72"/>
              <a:gd name="T15" fmla="*/ 2147483647 h 127"/>
              <a:gd name="T16" fmla="*/ 2147483647 w 72"/>
              <a:gd name="T17" fmla="*/ 2147483647 h 127"/>
              <a:gd name="T18" fmla="*/ 2147483647 w 72"/>
              <a:gd name="T19" fmla="*/ 2147483647 h 127"/>
              <a:gd name="T20" fmla="*/ 2147483647 w 72"/>
              <a:gd name="T21" fmla="*/ 2147483647 h 127"/>
              <a:gd name="T22" fmla="*/ 2147483647 w 72"/>
              <a:gd name="T23" fmla="*/ 2147483647 h 127"/>
              <a:gd name="T24" fmla="*/ 2147483647 w 72"/>
              <a:gd name="T25" fmla="*/ 2147483647 h 127"/>
              <a:gd name="T26" fmla="*/ 2147483647 w 72"/>
              <a:gd name="T27" fmla="*/ 2147483647 h 127"/>
              <a:gd name="T28" fmla="*/ 2147483647 w 72"/>
              <a:gd name="T29" fmla="*/ 2147483647 h 127"/>
              <a:gd name="T30" fmla="*/ 2147483647 w 72"/>
              <a:gd name="T31" fmla="*/ 2147483647 h 127"/>
              <a:gd name="T32" fmla="*/ 2147483647 w 72"/>
              <a:gd name="T33" fmla="*/ 2147483647 h 127"/>
              <a:gd name="T34" fmla="*/ 2147483647 w 72"/>
              <a:gd name="T35" fmla="*/ 0 h 127"/>
              <a:gd name="T36" fmla="*/ 2147483647 w 72"/>
              <a:gd name="T37" fmla="*/ 0 h 127"/>
              <a:gd name="T38" fmla="*/ 2147483647 w 72"/>
              <a:gd name="T39" fmla="*/ 2147483647 h 127"/>
              <a:gd name="T40" fmla="*/ 2147483647 w 72"/>
              <a:gd name="T41" fmla="*/ 2147483647 h 127"/>
              <a:gd name="T42" fmla="*/ 2147483647 w 72"/>
              <a:gd name="T43" fmla="*/ 2147483647 h 127"/>
              <a:gd name="T44" fmla="*/ 2147483647 w 72"/>
              <a:gd name="T45" fmla="*/ 2147483647 h 127"/>
              <a:gd name="T46" fmla="*/ 2147483647 w 72"/>
              <a:gd name="T47" fmla="*/ 2147483647 h 127"/>
              <a:gd name="T48" fmla="*/ 2147483647 w 72"/>
              <a:gd name="T49" fmla="*/ 2147483647 h 127"/>
              <a:gd name="T50" fmla="*/ 2147483647 w 72"/>
              <a:gd name="T51" fmla="*/ 2147483647 h 127"/>
              <a:gd name="T52" fmla="*/ 2147483647 w 72"/>
              <a:gd name="T53" fmla="*/ 2147483647 h 127"/>
              <a:gd name="T54" fmla="*/ 2147483647 w 72"/>
              <a:gd name="T55" fmla="*/ 2147483647 h 127"/>
              <a:gd name="T56" fmla="*/ 2147483647 w 72"/>
              <a:gd name="T57" fmla="*/ 2147483647 h 127"/>
              <a:gd name="T58" fmla="*/ 2147483647 w 72"/>
              <a:gd name="T59" fmla="*/ 2147483647 h 127"/>
              <a:gd name="T60" fmla="*/ 2147483647 w 72"/>
              <a:gd name="T61" fmla="*/ 2147483647 h 127"/>
              <a:gd name="T62" fmla="*/ 2147483647 w 72"/>
              <a:gd name="T63" fmla="*/ 2147483647 h 127"/>
              <a:gd name="T64" fmla="*/ 2147483647 w 72"/>
              <a:gd name="T65" fmla="*/ 2147483647 h 127"/>
              <a:gd name="T66" fmla="*/ 2147483647 w 72"/>
              <a:gd name="T67" fmla="*/ 2147483647 h 127"/>
              <a:gd name="T68" fmla="*/ 2147483647 w 72"/>
              <a:gd name="T69" fmla="*/ 2147483647 h 127"/>
              <a:gd name="T70" fmla="*/ 2147483647 w 72"/>
              <a:gd name="T71" fmla="*/ 2147483647 h 127"/>
              <a:gd name="T72" fmla="*/ 2147483647 w 72"/>
              <a:gd name="T73" fmla="*/ 2147483647 h 127"/>
              <a:gd name="T74" fmla="*/ 2147483647 w 72"/>
              <a:gd name="T75" fmla="*/ 2147483647 h 127"/>
              <a:gd name="T76" fmla="*/ 2147483647 w 72"/>
              <a:gd name="T77" fmla="*/ 2147483647 h 127"/>
              <a:gd name="T78" fmla="*/ 0 w 72"/>
              <a:gd name="T79" fmla="*/ 2147483647 h 127"/>
              <a:gd name="T80" fmla="*/ 0 w 72"/>
              <a:gd name="T81" fmla="*/ 2147483647 h 127"/>
              <a:gd name="T82" fmla="*/ 0 w 72"/>
              <a:gd name="T83" fmla="*/ 2147483647 h 127"/>
              <a:gd name="T84" fmla="*/ 2147483647 w 72"/>
              <a:gd name="T85" fmla="*/ 2147483647 h 127"/>
              <a:gd name="T86" fmla="*/ 2147483647 w 72"/>
              <a:gd name="T87" fmla="*/ 2147483647 h 127"/>
              <a:gd name="T88" fmla="*/ 2147483647 w 72"/>
              <a:gd name="T89" fmla="*/ 2147483647 h 127"/>
              <a:gd name="T90" fmla="*/ 2147483647 w 72"/>
              <a:gd name="T91" fmla="*/ 2147483647 h 127"/>
              <a:gd name="T92" fmla="*/ 2147483647 w 72"/>
              <a:gd name="T93" fmla="*/ 2147483647 h 127"/>
              <a:gd name="T94" fmla="*/ 2147483647 w 72"/>
              <a:gd name="T95" fmla="*/ 2147483647 h 127"/>
              <a:gd name="T96" fmla="*/ 2147483647 w 72"/>
              <a:gd name="T97" fmla="*/ 2147483647 h 127"/>
              <a:gd name="T98" fmla="*/ 2147483647 w 72"/>
              <a:gd name="T99" fmla="*/ 2147483647 h 127"/>
              <a:gd name="T100" fmla="*/ 2147483647 w 72"/>
              <a:gd name="T101" fmla="*/ 2147483647 h 127"/>
              <a:gd name="T102" fmla="*/ 2147483647 w 72"/>
              <a:gd name="T103" fmla="*/ 2147483647 h 127"/>
              <a:gd name="T104" fmla="*/ 2147483647 w 72"/>
              <a:gd name="T105" fmla="*/ 2147483647 h 127"/>
              <a:gd name="T106" fmla="*/ 2147483647 w 72"/>
              <a:gd name="T107" fmla="*/ 2147483647 h 127"/>
              <a:gd name="T108" fmla="*/ 2147483647 w 72"/>
              <a:gd name="T109" fmla="*/ 2147483647 h 127"/>
              <a:gd name="T110" fmla="*/ 2147483647 w 72"/>
              <a:gd name="T111" fmla="*/ 2147483647 h 127"/>
              <a:gd name="T112" fmla="*/ 2147483647 w 72"/>
              <a:gd name="T113" fmla="*/ 2147483647 h 127"/>
              <a:gd name="T114" fmla="*/ 2147483647 w 72"/>
              <a:gd name="T115" fmla="*/ 2147483647 h 127"/>
              <a:gd name="T116" fmla="*/ 2147483647 w 72"/>
              <a:gd name="T117" fmla="*/ 2147483647 h 127"/>
              <a:gd name="T118" fmla="*/ 2147483647 w 72"/>
              <a:gd name="T119" fmla="*/ 2147483647 h 127"/>
              <a:gd name="T120" fmla="*/ 2147483647 w 72"/>
              <a:gd name="T121" fmla="*/ 2147483647 h 12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72"/>
              <a:gd name="T184" fmla="*/ 0 h 127"/>
              <a:gd name="T185" fmla="*/ 72 w 72"/>
              <a:gd name="T186" fmla="*/ 127 h 127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72" h="127">
                <a:moveTo>
                  <a:pt x="60" y="87"/>
                </a:moveTo>
                <a:lnTo>
                  <a:pt x="60" y="69"/>
                </a:lnTo>
                <a:lnTo>
                  <a:pt x="63" y="58"/>
                </a:lnTo>
                <a:lnTo>
                  <a:pt x="60" y="49"/>
                </a:lnTo>
                <a:lnTo>
                  <a:pt x="57" y="44"/>
                </a:lnTo>
                <a:lnTo>
                  <a:pt x="60" y="38"/>
                </a:lnTo>
                <a:lnTo>
                  <a:pt x="57" y="32"/>
                </a:lnTo>
                <a:lnTo>
                  <a:pt x="57" y="23"/>
                </a:lnTo>
                <a:lnTo>
                  <a:pt x="57" y="15"/>
                </a:lnTo>
                <a:lnTo>
                  <a:pt x="52" y="9"/>
                </a:lnTo>
                <a:lnTo>
                  <a:pt x="52" y="3"/>
                </a:lnTo>
                <a:lnTo>
                  <a:pt x="52" y="0"/>
                </a:lnTo>
                <a:lnTo>
                  <a:pt x="49" y="0"/>
                </a:lnTo>
                <a:lnTo>
                  <a:pt x="43" y="6"/>
                </a:lnTo>
                <a:lnTo>
                  <a:pt x="37" y="6"/>
                </a:lnTo>
                <a:lnTo>
                  <a:pt x="23" y="3"/>
                </a:lnTo>
                <a:lnTo>
                  <a:pt x="9" y="6"/>
                </a:lnTo>
                <a:lnTo>
                  <a:pt x="6" y="12"/>
                </a:lnTo>
                <a:lnTo>
                  <a:pt x="9" y="35"/>
                </a:lnTo>
                <a:lnTo>
                  <a:pt x="9" y="38"/>
                </a:lnTo>
                <a:lnTo>
                  <a:pt x="14" y="55"/>
                </a:lnTo>
                <a:lnTo>
                  <a:pt x="14" y="58"/>
                </a:lnTo>
                <a:lnTo>
                  <a:pt x="9" y="64"/>
                </a:lnTo>
                <a:lnTo>
                  <a:pt x="6" y="72"/>
                </a:lnTo>
                <a:lnTo>
                  <a:pt x="0" y="81"/>
                </a:lnTo>
                <a:lnTo>
                  <a:pt x="0" y="89"/>
                </a:lnTo>
                <a:lnTo>
                  <a:pt x="3" y="101"/>
                </a:lnTo>
                <a:lnTo>
                  <a:pt x="9" y="110"/>
                </a:lnTo>
                <a:lnTo>
                  <a:pt x="6" y="121"/>
                </a:lnTo>
                <a:lnTo>
                  <a:pt x="14" y="127"/>
                </a:lnTo>
                <a:lnTo>
                  <a:pt x="20" y="121"/>
                </a:lnTo>
                <a:lnTo>
                  <a:pt x="23" y="118"/>
                </a:lnTo>
                <a:lnTo>
                  <a:pt x="32" y="118"/>
                </a:lnTo>
                <a:lnTo>
                  <a:pt x="43" y="115"/>
                </a:lnTo>
                <a:lnTo>
                  <a:pt x="46" y="112"/>
                </a:lnTo>
                <a:lnTo>
                  <a:pt x="57" y="107"/>
                </a:lnTo>
                <a:lnTo>
                  <a:pt x="63" y="104"/>
                </a:lnTo>
                <a:lnTo>
                  <a:pt x="72" y="104"/>
                </a:lnTo>
                <a:lnTo>
                  <a:pt x="69" y="98"/>
                </a:lnTo>
                <a:lnTo>
                  <a:pt x="60" y="8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11" name="Freeform 517"/>
          <p:cNvSpPr>
            <a:spLocks/>
          </p:cNvSpPr>
          <p:nvPr/>
        </p:nvSpPr>
        <p:spPr bwMode="gray">
          <a:xfrm>
            <a:off x="5384970" y="3445594"/>
            <a:ext cx="100018" cy="178504"/>
          </a:xfrm>
          <a:custGeom>
            <a:avLst/>
            <a:gdLst>
              <a:gd name="T0" fmla="*/ 2147483647 w 49"/>
              <a:gd name="T1" fmla="*/ 2147483647 h 118"/>
              <a:gd name="T2" fmla="*/ 2147483647 w 49"/>
              <a:gd name="T3" fmla="*/ 2147483647 h 118"/>
              <a:gd name="T4" fmla="*/ 2147483647 w 49"/>
              <a:gd name="T5" fmla="*/ 2147483647 h 118"/>
              <a:gd name="T6" fmla="*/ 2147483647 w 49"/>
              <a:gd name="T7" fmla="*/ 2147483647 h 118"/>
              <a:gd name="T8" fmla="*/ 2147483647 w 49"/>
              <a:gd name="T9" fmla="*/ 2147483647 h 118"/>
              <a:gd name="T10" fmla="*/ 2147483647 w 49"/>
              <a:gd name="T11" fmla="*/ 2147483647 h 118"/>
              <a:gd name="T12" fmla="*/ 2147483647 w 49"/>
              <a:gd name="T13" fmla="*/ 2147483647 h 118"/>
              <a:gd name="T14" fmla="*/ 2147483647 w 49"/>
              <a:gd name="T15" fmla="*/ 2147483647 h 118"/>
              <a:gd name="T16" fmla="*/ 2147483647 w 49"/>
              <a:gd name="T17" fmla="*/ 2147483647 h 118"/>
              <a:gd name="T18" fmla="*/ 2147483647 w 49"/>
              <a:gd name="T19" fmla="*/ 2147483647 h 118"/>
              <a:gd name="T20" fmla="*/ 2147483647 w 49"/>
              <a:gd name="T21" fmla="*/ 2147483647 h 118"/>
              <a:gd name="T22" fmla="*/ 2147483647 w 49"/>
              <a:gd name="T23" fmla="*/ 0 h 118"/>
              <a:gd name="T24" fmla="*/ 2147483647 w 49"/>
              <a:gd name="T25" fmla="*/ 2147483647 h 118"/>
              <a:gd name="T26" fmla="*/ 2147483647 w 49"/>
              <a:gd name="T27" fmla="*/ 2147483647 h 118"/>
              <a:gd name="T28" fmla="*/ 2147483647 w 49"/>
              <a:gd name="T29" fmla="*/ 2147483647 h 118"/>
              <a:gd name="T30" fmla="*/ 2147483647 w 49"/>
              <a:gd name="T31" fmla="*/ 2147483647 h 118"/>
              <a:gd name="T32" fmla="*/ 0 w 49"/>
              <a:gd name="T33" fmla="*/ 2147483647 h 118"/>
              <a:gd name="T34" fmla="*/ 0 w 49"/>
              <a:gd name="T35" fmla="*/ 2147483647 h 118"/>
              <a:gd name="T36" fmla="*/ 2147483647 w 49"/>
              <a:gd name="T37" fmla="*/ 2147483647 h 118"/>
              <a:gd name="T38" fmla="*/ 2147483647 w 49"/>
              <a:gd name="T39" fmla="*/ 2147483647 h 118"/>
              <a:gd name="T40" fmla="*/ 2147483647 w 49"/>
              <a:gd name="T41" fmla="*/ 2147483647 h 118"/>
              <a:gd name="T42" fmla="*/ 2147483647 w 49"/>
              <a:gd name="T43" fmla="*/ 2147483647 h 118"/>
              <a:gd name="T44" fmla="*/ 2147483647 w 49"/>
              <a:gd name="T45" fmla="*/ 2147483647 h 118"/>
              <a:gd name="T46" fmla="*/ 2147483647 w 49"/>
              <a:gd name="T47" fmla="*/ 2147483647 h 118"/>
              <a:gd name="T48" fmla="*/ 2147483647 w 49"/>
              <a:gd name="T49" fmla="*/ 2147483647 h 118"/>
              <a:gd name="T50" fmla="*/ 2147483647 w 49"/>
              <a:gd name="T51" fmla="*/ 2147483647 h 118"/>
              <a:gd name="T52" fmla="*/ 2147483647 w 49"/>
              <a:gd name="T53" fmla="*/ 2147483647 h 118"/>
              <a:gd name="T54" fmla="*/ 2147483647 w 49"/>
              <a:gd name="T55" fmla="*/ 2147483647 h 118"/>
              <a:gd name="T56" fmla="*/ 2147483647 w 49"/>
              <a:gd name="T57" fmla="*/ 2147483647 h 118"/>
              <a:gd name="T58" fmla="*/ 2147483647 w 49"/>
              <a:gd name="T59" fmla="*/ 2147483647 h 118"/>
              <a:gd name="T60" fmla="*/ 2147483647 w 49"/>
              <a:gd name="T61" fmla="*/ 2147483647 h 118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49"/>
              <a:gd name="T94" fmla="*/ 0 h 118"/>
              <a:gd name="T95" fmla="*/ 49 w 49"/>
              <a:gd name="T96" fmla="*/ 118 h 118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49" h="118">
                <a:moveTo>
                  <a:pt x="32" y="84"/>
                </a:moveTo>
                <a:lnTo>
                  <a:pt x="29" y="67"/>
                </a:lnTo>
                <a:lnTo>
                  <a:pt x="34" y="64"/>
                </a:lnTo>
                <a:lnTo>
                  <a:pt x="40" y="52"/>
                </a:lnTo>
                <a:lnTo>
                  <a:pt x="46" y="44"/>
                </a:lnTo>
                <a:lnTo>
                  <a:pt x="46" y="38"/>
                </a:lnTo>
                <a:lnTo>
                  <a:pt x="49" y="32"/>
                </a:lnTo>
                <a:lnTo>
                  <a:pt x="43" y="18"/>
                </a:lnTo>
                <a:lnTo>
                  <a:pt x="43" y="12"/>
                </a:lnTo>
                <a:lnTo>
                  <a:pt x="40" y="6"/>
                </a:lnTo>
                <a:lnTo>
                  <a:pt x="34" y="0"/>
                </a:lnTo>
                <a:lnTo>
                  <a:pt x="29" y="3"/>
                </a:lnTo>
                <a:lnTo>
                  <a:pt x="29" y="9"/>
                </a:lnTo>
                <a:lnTo>
                  <a:pt x="20" y="18"/>
                </a:lnTo>
                <a:lnTo>
                  <a:pt x="9" y="21"/>
                </a:lnTo>
                <a:lnTo>
                  <a:pt x="0" y="29"/>
                </a:lnTo>
                <a:lnTo>
                  <a:pt x="0" y="38"/>
                </a:lnTo>
                <a:lnTo>
                  <a:pt x="9" y="46"/>
                </a:lnTo>
                <a:lnTo>
                  <a:pt x="9" y="55"/>
                </a:lnTo>
                <a:lnTo>
                  <a:pt x="14" y="67"/>
                </a:lnTo>
                <a:lnTo>
                  <a:pt x="14" y="92"/>
                </a:lnTo>
                <a:lnTo>
                  <a:pt x="11" y="107"/>
                </a:lnTo>
                <a:lnTo>
                  <a:pt x="14" y="112"/>
                </a:lnTo>
                <a:lnTo>
                  <a:pt x="17" y="118"/>
                </a:lnTo>
                <a:lnTo>
                  <a:pt x="20" y="118"/>
                </a:lnTo>
                <a:lnTo>
                  <a:pt x="32" y="118"/>
                </a:lnTo>
                <a:lnTo>
                  <a:pt x="29" y="107"/>
                </a:lnTo>
                <a:lnTo>
                  <a:pt x="32" y="84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12" name="Freeform 518"/>
          <p:cNvSpPr>
            <a:spLocks/>
          </p:cNvSpPr>
          <p:nvPr/>
        </p:nvSpPr>
        <p:spPr bwMode="gray">
          <a:xfrm>
            <a:off x="4838872" y="3438093"/>
            <a:ext cx="246044" cy="156004"/>
          </a:xfrm>
          <a:custGeom>
            <a:avLst/>
            <a:gdLst>
              <a:gd name="T0" fmla="*/ 2147483647 w 121"/>
              <a:gd name="T1" fmla="*/ 2147483647 h 103"/>
              <a:gd name="T2" fmla="*/ 2147483647 w 121"/>
              <a:gd name="T3" fmla="*/ 2147483647 h 103"/>
              <a:gd name="T4" fmla="*/ 2147483647 w 121"/>
              <a:gd name="T5" fmla="*/ 2147483647 h 103"/>
              <a:gd name="T6" fmla="*/ 2147483647 w 121"/>
              <a:gd name="T7" fmla="*/ 2147483647 h 103"/>
              <a:gd name="T8" fmla="*/ 2147483647 w 121"/>
              <a:gd name="T9" fmla="*/ 2147483647 h 103"/>
              <a:gd name="T10" fmla="*/ 2147483647 w 121"/>
              <a:gd name="T11" fmla="*/ 2147483647 h 103"/>
              <a:gd name="T12" fmla="*/ 2147483647 w 121"/>
              <a:gd name="T13" fmla="*/ 2147483647 h 103"/>
              <a:gd name="T14" fmla="*/ 2147483647 w 121"/>
              <a:gd name="T15" fmla="*/ 2147483647 h 103"/>
              <a:gd name="T16" fmla="*/ 2147483647 w 121"/>
              <a:gd name="T17" fmla="*/ 2147483647 h 103"/>
              <a:gd name="T18" fmla="*/ 2147483647 w 121"/>
              <a:gd name="T19" fmla="*/ 2147483647 h 103"/>
              <a:gd name="T20" fmla="*/ 2147483647 w 121"/>
              <a:gd name="T21" fmla="*/ 2147483647 h 103"/>
              <a:gd name="T22" fmla="*/ 2147483647 w 121"/>
              <a:gd name="T23" fmla="*/ 2147483647 h 103"/>
              <a:gd name="T24" fmla="*/ 2147483647 w 121"/>
              <a:gd name="T25" fmla="*/ 2147483647 h 103"/>
              <a:gd name="T26" fmla="*/ 2147483647 w 121"/>
              <a:gd name="T27" fmla="*/ 2147483647 h 103"/>
              <a:gd name="T28" fmla="*/ 2147483647 w 121"/>
              <a:gd name="T29" fmla="*/ 2147483647 h 103"/>
              <a:gd name="T30" fmla="*/ 2147483647 w 121"/>
              <a:gd name="T31" fmla="*/ 2147483647 h 103"/>
              <a:gd name="T32" fmla="*/ 2147483647 w 121"/>
              <a:gd name="T33" fmla="*/ 2147483647 h 103"/>
              <a:gd name="T34" fmla="*/ 2147483647 w 121"/>
              <a:gd name="T35" fmla="*/ 2147483647 h 103"/>
              <a:gd name="T36" fmla="*/ 2147483647 w 121"/>
              <a:gd name="T37" fmla="*/ 2147483647 h 103"/>
              <a:gd name="T38" fmla="*/ 2147483647 w 121"/>
              <a:gd name="T39" fmla="*/ 2147483647 h 103"/>
              <a:gd name="T40" fmla="*/ 2147483647 w 121"/>
              <a:gd name="T41" fmla="*/ 2147483647 h 103"/>
              <a:gd name="T42" fmla="*/ 2147483647 w 121"/>
              <a:gd name="T43" fmla="*/ 2147483647 h 103"/>
              <a:gd name="T44" fmla="*/ 2147483647 w 121"/>
              <a:gd name="T45" fmla="*/ 2147483647 h 103"/>
              <a:gd name="T46" fmla="*/ 2147483647 w 121"/>
              <a:gd name="T47" fmla="*/ 2147483647 h 103"/>
              <a:gd name="T48" fmla="*/ 2147483647 w 121"/>
              <a:gd name="T49" fmla="*/ 2147483647 h 103"/>
              <a:gd name="T50" fmla="*/ 2147483647 w 121"/>
              <a:gd name="T51" fmla="*/ 2147483647 h 103"/>
              <a:gd name="T52" fmla="*/ 2147483647 w 121"/>
              <a:gd name="T53" fmla="*/ 2147483647 h 103"/>
              <a:gd name="T54" fmla="*/ 2147483647 w 121"/>
              <a:gd name="T55" fmla="*/ 2147483647 h 103"/>
              <a:gd name="T56" fmla="*/ 2147483647 w 121"/>
              <a:gd name="T57" fmla="*/ 2147483647 h 103"/>
              <a:gd name="T58" fmla="*/ 2147483647 w 121"/>
              <a:gd name="T59" fmla="*/ 2147483647 h 103"/>
              <a:gd name="T60" fmla="*/ 2147483647 w 121"/>
              <a:gd name="T61" fmla="*/ 2147483647 h 103"/>
              <a:gd name="T62" fmla="*/ 2147483647 w 121"/>
              <a:gd name="T63" fmla="*/ 2147483647 h 103"/>
              <a:gd name="T64" fmla="*/ 2147483647 w 121"/>
              <a:gd name="T65" fmla="*/ 2147483647 h 103"/>
              <a:gd name="T66" fmla="*/ 2147483647 w 121"/>
              <a:gd name="T67" fmla="*/ 2147483647 h 103"/>
              <a:gd name="T68" fmla="*/ 2147483647 w 121"/>
              <a:gd name="T69" fmla="*/ 2147483647 h 103"/>
              <a:gd name="T70" fmla="*/ 2147483647 w 121"/>
              <a:gd name="T71" fmla="*/ 2147483647 h 103"/>
              <a:gd name="T72" fmla="*/ 2147483647 w 121"/>
              <a:gd name="T73" fmla="*/ 2147483647 h 103"/>
              <a:gd name="T74" fmla="*/ 2147483647 w 121"/>
              <a:gd name="T75" fmla="*/ 2147483647 h 103"/>
              <a:gd name="T76" fmla="*/ 2147483647 w 121"/>
              <a:gd name="T77" fmla="*/ 0 h 103"/>
              <a:gd name="T78" fmla="*/ 2147483647 w 121"/>
              <a:gd name="T79" fmla="*/ 2147483647 h 103"/>
              <a:gd name="T80" fmla="*/ 2147483647 w 121"/>
              <a:gd name="T81" fmla="*/ 2147483647 h 103"/>
              <a:gd name="T82" fmla="*/ 2147483647 w 121"/>
              <a:gd name="T83" fmla="*/ 2147483647 h 103"/>
              <a:gd name="T84" fmla="*/ 2147483647 w 121"/>
              <a:gd name="T85" fmla="*/ 2147483647 h 103"/>
              <a:gd name="T86" fmla="*/ 2147483647 w 121"/>
              <a:gd name="T87" fmla="*/ 2147483647 h 103"/>
              <a:gd name="T88" fmla="*/ 0 w 121"/>
              <a:gd name="T89" fmla="*/ 2147483647 h 103"/>
              <a:gd name="T90" fmla="*/ 0 w 121"/>
              <a:gd name="T91" fmla="*/ 2147483647 h 103"/>
              <a:gd name="T92" fmla="*/ 2147483647 w 121"/>
              <a:gd name="T93" fmla="*/ 2147483647 h 103"/>
              <a:gd name="T94" fmla="*/ 2147483647 w 121"/>
              <a:gd name="T95" fmla="*/ 2147483647 h 103"/>
              <a:gd name="T96" fmla="*/ 2147483647 w 121"/>
              <a:gd name="T97" fmla="*/ 2147483647 h 103"/>
              <a:gd name="T98" fmla="*/ 2147483647 w 121"/>
              <a:gd name="T99" fmla="*/ 2147483647 h 103"/>
              <a:gd name="T100" fmla="*/ 2147483647 w 121"/>
              <a:gd name="T101" fmla="*/ 2147483647 h 103"/>
              <a:gd name="T102" fmla="*/ 2147483647 w 121"/>
              <a:gd name="T103" fmla="*/ 2147483647 h 103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121"/>
              <a:gd name="T157" fmla="*/ 0 h 103"/>
              <a:gd name="T158" fmla="*/ 121 w 121"/>
              <a:gd name="T159" fmla="*/ 103 h 103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121" h="103">
                <a:moveTo>
                  <a:pt x="26" y="69"/>
                </a:moveTo>
                <a:lnTo>
                  <a:pt x="32" y="66"/>
                </a:lnTo>
                <a:lnTo>
                  <a:pt x="37" y="54"/>
                </a:lnTo>
                <a:lnTo>
                  <a:pt x="46" y="49"/>
                </a:lnTo>
                <a:lnTo>
                  <a:pt x="52" y="49"/>
                </a:lnTo>
                <a:lnTo>
                  <a:pt x="63" y="51"/>
                </a:lnTo>
                <a:lnTo>
                  <a:pt x="72" y="63"/>
                </a:lnTo>
                <a:lnTo>
                  <a:pt x="78" y="74"/>
                </a:lnTo>
                <a:lnTo>
                  <a:pt x="75" y="80"/>
                </a:lnTo>
                <a:lnTo>
                  <a:pt x="78" y="77"/>
                </a:lnTo>
                <a:lnTo>
                  <a:pt x="83" y="77"/>
                </a:lnTo>
                <a:lnTo>
                  <a:pt x="89" y="77"/>
                </a:lnTo>
                <a:lnTo>
                  <a:pt x="92" y="86"/>
                </a:lnTo>
                <a:lnTo>
                  <a:pt x="92" y="89"/>
                </a:lnTo>
                <a:lnTo>
                  <a:pt x="95" y="100"/>
                </a:lnTo>
                <a:lnTo>
                  <a:pt x="101" y="103"/>
                </a:lnTo>
                <a:lnTo>
                  <a:pt x="106" y="92"/>
                </a:lnTo>
                <a:lnTo>
                  <a:pt x="112" y="97"/>
                </a:lnTo>
                <a:lnTo>
                  <a:pt x="115" y="92"/>
                </a:lnTo>
                <a:lnTo>
                  <a:pt x="112" y="89"/>
                </a:lnTo>
                <a:lnTo>
                  <a:pt x="112" y="83"/>
                </a:lnTo>
                <a:lnTo>
                  <a:pt x="112" y="80"/>
                </a:lnTo>
                <a:lnTo>
                  <a:pt x="115" y="80"/>
                </a:lnTo>
                <a:lnTo>
                  <a:pt x="121" y="80"/>
                </a:lnTo>
                <a:lnTo>
                  <a:pt x="121" y="77"/>
                </a:lnTo>
                <a:lnTo>
                  <a:pt x="118" y="74"/>
                </a:lnTo>
                <a:lnTo>
                  <a:pt x="118" y="72"/>
                </a:lnTo>
                <a:lnTo>
                  <a:pt x="118" y="66"/>
                </a:lnTo>
                <a:lnTo>
                  <a:pt x="115" y="66"/>
                </a:lnTo>
                <a:lnTo>
                  <a:pt x="112" y="51"/>
                </a:lnTo>
                <a:lnTo>
                  <a:pt x="115" y="46"/>
                </a:lnTo>
                <a:lnTo>
                  <a:pt x="112" y="43"/>
                </a:lnTo>
                <a:lnTo>
                  <a:pt x="112" y="34"/>
                </a:lnTo>
                <a:lnTo>
                  <a:pt x="106" y="34"/>
                </a:lnTo>
                <a:lnTo>
                  <a:pt x="106" y="31"/>
                </a:lnTo>
                <a:lnTo>
                  <a:pt x="109" y="26"/>
                </a:lnTo>
                <a:lnTo>
                  <a:pt x="103" y="20"/>
                </a:lnTo>
                <a:lnTo>
                  <a:pt x="103" y="14"/>
                </a:lnTo>
                <a:lnTo>
                  <a:pt x="101" y="5"/>
                </a:lnTo>
                <a:lnTo>
                  <a:pt x="98" y="3"/>
                </a:lnTo>
                <a:lnTo>
                  <a:pt x="98" y="5"/>
                </a:lnTo>
                <a:lnTo>
                  <a:pt x="92" y="14"/>
                </a:lnTo>
                <a:lnTo>
                  <a:pt x="83" y="8"/>
                </a:lnTo>
                <a:lnTo>
                  <a:pt x="72" y="14"/>
                </a:lnTo>
                <a:lnTo>
                  <a:pt x="69" y="14"/>
                </a:lnTo>
                <a:lnTo>
                  <a:pt x="66" y="11"/>
                </a:lnTo>
                <a:lnTo>
                  <a:pt x="63" y="14"/>
                </a:lnTo>
                <a:lnTo>
                  <a:pt x="60" y="14"/>
                </a:lnTo>
                <a:lnTo>
                  <a:pt x="58" y="8"/>
                </a:lnTo>
                <a:lnTo>
                  <a:pt x="58" y="5"/>
                </a:lnTo>
                <a:lnTo>
                  <a:pt x="49" y="3"/>
                </a:lnTo>
                <a:lnTo>
                  <a:pt x="46" y="5"/>
                </a:lnTo>
                <a:lnTo>
                  <a:pt x="35" y="3"/>
                </a:lnTo>
                <a:lnTo>
                  <a:pt x="29" y="0"/>
                </a:lnTo>
                <a:lnTo>
                  <a:pt x="23" y="0"/>
                </a:lnTo>
                <a:lnTo>
                  <a:pt x="23" y="8"/>
                </a:lnTo>
                <a:lnTo>
                  <a:pt x="20" y="8"/>
                </a:lnTo>
                <a:lnTo>
                  <a:pt x="23" y="11"/>
                </a:lnTo>
                <a:lnTo>
                  <a:pt x="23" y="17"/>
                </a:lnTo>
                <a:lnTo>
                  <a:pt x="20" y="17"/>
                </a:lnTo>
                <a:lnTo>
                  <a:pt x="14" y="20"/>
                </a:lnTo>
                <a:lnTo>
                  <a:pt x="9" y="23"/>
                </a:lnTo>
                <a:lnTo>
                  <a:pt x="0" y="26"/>
                </a:lnTo>
                <a:lnTo>
                  <a:pt x="0" y="31"/>
                </a:lnTo>
                <a:lnTo>
                  <a:pt x="3" y="34"/>
                </a:lnTo>
                <a:lnTo>
                  <a:pt x="6" y="46"/>
                </a:lnTo>
                <a:lnTo>
                  <a:pt x="9" y="49"/>
                </a:lnTo>
                <a:lnTo>
                  <a:pt x="17" y="54"/>
                </a:lnTo>
                <a:lnTo>
                  <a:pt x="23" y="60"/>
                </a:lnTo>
                <a:lnTo>
                  <a:pt x="26" y="66"/>
                </a:lnTo>
                <a:lnTo>
                  <a:pt x="26" y="6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13" name="Freeform 519"/>
          <p:cNvSpPr>
            <a:spLocks/>
          </p:cNvSpPr>
          <p:nvPr/>
        </p:nvSpPr>
        <p:spPr bwMode="gray">
          <a:xfrm>
            <a:off x="5058912" y="3498095"/>
            <a:ext cx="204037" cy="183005"/>
          </a:xfrm>
          <a:custGeom>
            <a:avLst/>
            <a:gdLst>
              <a:gd name="T0" fmla="*/ 2147483647 w 101"/>
              <a:gd name="T1" fmla="*/ 2147483647 h 121"/>
              <a:gd name="T2" fmla="*/ 2147483647 w 101"/>
              <a:gd name="T3" fmla="*/ 2147483647 h 121"/>
              <a:gd name="T4" fmla="*/ 2147483647 w 101"/>
              <a:gd name="T5" fmla="*/ 2147483647 h 121"/>
              <a:gd name="T6" fmla="*/ 2147483647 w 101"/>
              <a:gd name="T7" fmla="*/ 2147483647 h 121"/>
              <a:gd name="T8" fmla="*/ 2147483647 w 101"/>
              <a:gd name="T9" fmla="*/ 2147483647 h 121"/>
              <a:gd name="T10" fmla="*/ 2147483647 w 101"/>
              <a:gd name="T11" fmla="*/ 2147483647 h 121"/>
              <a:gd name="T12" fmla="*/ 2147483647 w 101"/>
              <a:gd name="T13" fmla="*/ 2147483647 h 121"/>
              <a:gd name="T14" fmla="*/ 2147483647 w 101"/>
              <a:gd name="T15" fmla="*/ 2147483647 h 121"/>
              <a:gd name="T16" fmla="*/ 2147483647 w 101"/>
              <a:gd name="T17" fmla="*/ 2147483647 h 121"/>
              <a:gd name="T18" fmla="*/ 2147483647 w 101"/>
              <a:gd name="T19" fmla="*/ 2147483647 h 121"/>
              <a:gd name="T20" fmla="*/ 2147483647 w 101"/>
              <a:gd name="T21" fmla="*/ 2147483647 h 121"/>
              <a:gd name="T22" fmla="*/ 2147483647 w 101"/>
              <a:gd name="T23" fmla="*/ 2147483647 h 121"/>
              <a:gd name="T24" fmla="*/ 2147483647 w 101"/>
              <a:gd name="T25" fmla="*/ 2147483647 h 121"/>
              <a:gd name="T26" fmla="*/ 2147483647 w 101"/>
              <a:gd name="T27" fmla="*/ 0 h 121"/>
              <a:gd name="T28" fmla="*/ 2147483647 w 101"/>
              <a:gd name="T29" fmla="*/ 2147483647 h 121"/>
              <a:gd name="T30" fmla="*/ 2147483647 w 101"/>
              <a:gd name="T31" fmla="*/ 2147483647 h 121"/>
              <a:gd name="T32" fmla="*/ 2147483647 w 101"/>
              <a:gd name="T33" fmla="*/ 2147483647 h 121"/>
              <a:gd name="T34" fmla="*/ 2147483647 w 101"/>
              <a:gd name="T35" fmla="*/ 2147483647 h 121"/>
              <a:gd name="T36" fmla="*/ 2147483647 w 101"/>
              <a:gd name="T37" fmla="*/ 2147483647 h 121"/>
              <a:gd name="T38" fmla="*/ 2147483647 w 101"/>
              <a:gd name="T39" fmla="*/ 2147483647 h 121"/>
              <a:gd name="T40" fmla="*/ 2147483647 w 101"/>
              <a:gd name="T41" fmla="*/ 2147483647 h 121"/>
              <a:gd name="T42" fmla="*/ 2147483647 w 101"/>
              <a:gd name="T43" fmla="*/ 2147483647 h 121"/>
              <a:gd name="T44" fmla="*/ 2147483647 w 101"/>
              <a:gd name="T45" fmla="*/ 2147483647 h 121"/>
              <a:gd name="T46" fmla="*/ 2147483647 w 101"/>
              <a:gd name="T47" fmla="*/ 2147483647 h 121"/>
              <a:gd name="T48" fmla="*/ 2147483647 w 101"/>
              <a:gd name="T49" fmla="*/ 2147483647 h 121"/>
              <a:gd name="T50" fmla="*/ 2147483647 w 101"/>
              <a:gd name="T51" fmla="*/ 2147483647 h 121"/>
              <a:gd name="T52" fmla="*/ 2147483647 w 101"/>
              <a:gd name="T53" fmla="*/ 2147483647 h 121"/>
              <a:gd name="T54" fmla="*/ 2147483647 w 101"/>
              <a:gd name="T55" fmla="*/ 2147483647 h 121"/>
              <a:gd name="T56" fmla="*/ 0 w 101"/>
              <a:gd name="T57" fmla="*/ 2147483647 h 121"/>
              <a:gd name="T58" fmla="*/ 2147483647 w 101"/>
              <a:gd name="T59" fmla="*/ 2147483647 h 121"/>
              <a:gd name="T60" fmla="*/ 2147483647 w 101"/>
              <a:gd name="T61" fmla="*/ 2147483647 h 121"/>
              <a:gd name="T62" fmla="*/ 2147483647 w 101"/>
              <a:gd name="T63" fmla="*/ 2147483647 h 121"/>
              <a:gd name="T64" fmla="*/ 2147483647 w 101"/>
              <a:gd name="T65" fmla="*/ 2147483647 h 121"/>
              <a:gd name="T66" fmla="*/ 2147483647 w 101"/>
              <a:gd name="T67" fmla="*/ 2147483647 h 121"/>
              <a:gd name="T68" fmla="*/ 2147483647 w 101"/>
              <a:gd name="T69" fmla="*/ 2147483647 h 121"/>
              <a:gd name="T70" fmla="*/ 2147483647 w 101"/>
              <a:gd name="T71" fmla="*/ 2147483647 h 121"/>
              <a:gd name="T72" fmla="*/ 2147483647 w 101"/>
              <a:gd name="T73" fmla="*/ 2147483647 h 121"/>
              <a:gd name="T74" fmla="*/ 2147483647 w 101"/>
              <a:gd name="T75" fmla="*/ 2147483647 h 121"/>
              <a:gd name="T76" fmla="*/ 2147483647 w 101"/>
              <a:gd name="T77" fmla="*/ 2147483647 h 121"/>
              <a:gd name="T78" fmla="*/ 2147483647 w 101"/>
              <a:gd name="T79" fmla="*/ 2147483647 h 121"/>
              <a:gd name="T80" fmla="*/ 2147483647 w 101"/>
              <a:gd name="T81" fmla="*/ 2147483647 h 121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101"/>
              <a:gd name="T124" fmla="*/ 0 h 121"/>
              <a:gd name="T125" fmla="*/ 101 w 101"/>
              <a:gd name="T126" fmla="*/ 121 h 121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101" h="121">
                <a:moveTo>
                  <a:pt x="89" y="77"/>
                </a:moveTo>
                <a:lnTo>
                  <a:pt x="89" y="77"/>
                </a:lnTo>
                <a:lnTo>
                  <a:pt x="89" y="72"/>
                </a:lnTo>
                <a:lnTo>
                  <a:pt x="92" y="69"/>
                </a:lnTo>
                <a:lnTo>
                  <a:pt x="95" y="60"/>
                </a:lnTo>
                <a:lnTo>
                  <a:pt x="98" y="52"/>
                </a:lnTo>
                <a:lnTo>
                  <a:pt x="101" y="43"/>
                </a:lnTo>
                <a:lnTo>
                  <a:pt x="98" y="26"/>
                </a:lnTo>
                <a:lnTo>
                  <a:pt x="89" y="14"/>
                </a:lnTo>
                <a:lnTo>
                  <a:pt x="81" y="14"/>
                </a:lnTo>
                <a:lnTo>
                  <a:pt x="69" y="20"/>
                </a:lnTo>
                <a:lnTo>
                  <a:pt x="60" y="14"/>
                </a:lnTo>
                <a:lnTo>
                  <a:pt x="55" y="9"/>
                </a:lnTo>
                <a:lnTo>
                  <a:pt x="52" y="3"/>
                </a:lnTo>
                <a:lnTo>
                  <a:pt x="46" y="6"/>
                </a:lnTo>
                <a:lnTo>
                  <a:pt x="43" y="9"/>
                </a:lnTo>
                <a:lnTo>
                  <a:pt x="40" y="9"/>
                </a:lnTo>
                <a:lnTo>
                  <a:pt x="37" y="6"/>
                </a:lnTo>
                <a:lnTo>
                  <a:pt x="37" y="0"/>
                </a:lnTo>
                <a:lnTo>
                  <a:pt x="35" y="3"/>
                </a:lnTo>
                <a:lnTo>
                  <a:pt x="32" y="0"/>
                </a:lnTo>
                <a:lnTo>
                  <a:pt x="32" y="6"/>
                </a:lnTo>
                <a:lnTo>
                  <a:pt x="29" y="9"/>
                </a:lnTo>
                <a:lnTo>
                  <a:pt x="26" y="9"/>
                </a:lnTo>
                <a:lnTo>
                  <a:pt x="20" y="6"/>
                </a:lnTo>
                <a:lnTo>
                  <a:pt x="15" y="3"/>
                </a:lnTo>
                <a:lnTo>
                  <a:pt x="12" y="9"/>
                </a:lnTo>
                <a:lnTo>
                  <a:pt x="6" y="11"/>
                </a:lnTo>
                <a:lnTo>
                  <a:pt x="9" y="23"/>
                </a:lnTo>
                <a:lnTo>
                  <a:pt x="17" y="20"/>
                </a:lnTo>
                <a:lnTo>
                  <a:pt x="15" y="23"/>
                </a:lnTo>
                <a:lnTo>
                  <a:pt x="12" y="29"/>
                </a:lnTo>
                <a:lnTo>
                  <a:pt x="12" y="32"/>
                </a:lnTo>
                <a:lnTo>
                  <a:pt x="17" y="37"/>
                </a:lnTo>
                <a:lnTo>
                  <a:pt x="15" y="46"/>
                </a:lnTo>
                <a:lnTo>
                  <a:pt x="6" y="43"/>
                </a:lnTo>
                <a:lnTo>
                  <a:pt x="6" y="46"/>
                </a:lnTo>
                <a:lnTo>
                  <a:pt x="9" y="52"/>
                </a:lnTo>
                <a:lnTo>
                  <a:pt x="3" y="60"/>
                </a:lnTo>
                <a:lnTo>
                  <a:pt x="3" y="72"/>
                </a:lnTo>
                <a:lnTo>
                  <a:pt x="0" y="77"/>
                </a:lnTo>
                <a:lnTo>
                  <a:pt x="3" y="80"/>
                </a:lnTo>
                <a:lnTo>
                  <a:pt x="9" y="80"/>
                </a:lnTo>
                <a:lnTo>
                  <a:pt x="9" y="83"/>
                </a:lnTo>
                <a:lnTo>
                  <a:pt x="17" y="89"/>
                </a:lnTo>
                <a:lnTo>
                  <a:pt x="20" y="100"/>
                </a:lnTo>
                <a:lnTo>
                  <a:pt x="17" y="112"/>
                </a:lnTo>
                <a:lnTo>
                  <a:pt x="17" y="121"/>
                </a:lnTo>
                <a:lnTo>
                  <a:pt x="26" y="115"/>
                </a:lnTo>
                <a:lnTo>
                  <a:pt x="35" y="115"/>
                </a:lnTo>
                <a:lnTo>
                  <a:pt x="49" y="109"/>
                </a:lnTo>
                <a:lnTo>
                  <a:pt x="60" y="106"/>
                </a:lnTo>
                <a:lnTo>
                  <a:pt x="69" y="103"/>
                </a:lnTo>
                <a:lnTo>
                  <a:pt x="75" y="103"/>
                </a:lnTo>
                <a:lnTo>
                  <a:pt x="81" y="106"/>
                </a:lnTo>
                <a:lnTo>
                  <a:pt x="89" y="106"/>
                </a:lnTo>
                <a:lnTo>
                  <a:pt x="95" y="106"/>
                </a:lnTo>
                <a:lnTo>
                  <a:pt x="98" y="100"/>
                </a:lnTo>
                <a:lnTo>
                  <a:pt x="92" y="92"/>
                </a:lnTo>
                <a:lnTo>
                  <a:pt x="89" y="7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14" name="Freeform 520"/>
          <p:cNvSpPr>
            <a:spLocks/>
          </p:cNvSpPr>
          <p:nvPr/>
        </p:nvSpPr>
        <p:spPr bwMode="gray">
          <a:xfrm>
            <a:off x="4892881" y="3514596"/>
            <a:ext cx="98018" cy="93003"/>
          </a:xfrm>
          <a:custGeom>
            <a:avLst/>
            <a:gdLst>
              <a:gd name="T0" fmla="*/ 2147483647 w 49"/>
              <a:gd name="T1" fmla="*/ 2147483647 h 61"/>
              <a:gd name="T2" fmla="*/ 2147483647 w 49"/>
              <a:gd name="T3" fmla="*/ 2147483647 h 61"/>
              <a:gd name="T4" fmla="*/ 2147483647 w 49"/>
              <a:gd name="T5" fmla="*/ 2147483647 h 61"/>
              <a:gd name="T6" fmla="*/ 2147483647 w 49"/>
              <a:gd name="T7" fmla="*/ 2147483647 h 61"/>
              <a:gd name="T8" fmla="*/ 2147483647 w 49"/>
              <a:gd name="T9" fmla="*/ 2147483647 h 61"/>
              <a:gd name="T10" fmla="*/ 2147483647 w 49"/>
              <a:gd name="T11" fmla="*/ 2147483647 h 61"/>
              <a:gd name="T12" fmla="*/ 2147483647 w 49"/>
              <a:gd name="T13" fmla="*/ 2147483647 h 61"/>
              <a:gd name="T14" fmla="*/ 2147483647 w 49"/>
              <a:gd name="T15" fmla="*/ 2147483647 h 61"/>
              <a:gd name="T16" fmla="*/ 2147483647 w 49"/>
              <a:gd name="T17" fmla="*/ 0 h 61"/>
              <a:gd name="T18" fmla="*/ 2147483647 w 49"/>
              <a:gd name="T19" fmla="*/ 0 h 61"/>
              <a:gd name="T20" fmla="*/ 2147483647 w 49"/>
              <a:gd name="T21" fmla="*/ 2147483647 h 61"/>
              <a:gd name="T22" fmla="*/ 2147483647 w 49"/>
              <a:gd name="T23" fmla="*/ 2147483647 h 61"/>
              <a:gd name="T24" fmla="*/ 0 w 49"/>
              <a:gd name="T25" fmla="*/ 2147483647 h 61"/>
              <a:gd name="T26" fmla="*/ 0 w 49"/>
              <a:gd name="T27" fmla="*/ 2147483647 h 61"/>
              <a:gd name="T28" fmla="*/ 0 w 49"/>
              <a:gd name="T29" fmla="*/ 2147483647 h 61"/>
              <a:gd name="T30" fmla="*/ 0 w 49"/>
              <a:gd name="T31" fmla="*/ 2147483647 h 61"/>
              <a:gd name="T32" fmla="*/ 0 w 49"/>
              <a:gd name="T33" fmla="*/ 2147483647 h 61"/>
              <a:gd name="T34" fmla="*/ 2147483647 w 49"/>
              <a:gd name="T35" fmla="*/ 2147483647 h 61"/>
              <a:gd name="T36" fmla="*/ 2147483647 w 49"/>
              <a:gd name="T37" fmla="*/ 2147483647 h 61"/>
              <a:gd name="T38" fmla="*/ 2147483647 w 49"/>
              <a:gd name="T39" fmla="*/ 2147483647 h 61"/>
              <a:gd name="T40" fmla="*/ 2147483647 w 49"/>
              <a:gd name="T41" fmla="*/ 2147483647 h 61"/>
              <a:gd name="T42" fmla="*/ 2147483647 w 49"/>
              <a:gd name="T43" fmla="*/ 2147483647 h 61"/>
              <a:gd name="T44" fmla="*/ 2147483647 w 49"/>
              <a:gd name="T45" fmla="*/ 2147483647 h 61"/>
              <a:gd name="T46" fmla="*/ 2147483647 w 49"/>
              <a:gd name="T47" fmla="*/ 2147483647 h 61"/>
              <a:gd name="T48" fmla="*/ 2147483647 w 49"/>
              <a:gd name="T49" fmla="*/ 2147483647 h 61"/>
              <a:gd name="T50" fmla="*/ 2147483647 w 49"/>
              <a:gd name="T51" fmla="*/ 2147483647 h 61"/>
              <a:gd name="T52" fmla="*/ 2147483647 w 49"/>
              <a:gd name="T53" fmla="*/ 2147483647 h 61"/>
              <a:gd name="T54" fmla="*/ 2147483647 w 49"/>
              <a:gd name="T55" fmla="*/ 2147483647 h 61"/>
              <a:gd name="T56" fmla="*/ 2147483647 w 49"/>
              <a:gd name="T57" fmla="*/ 2147483647 h 61"/>
              <a:gd name="T58" fmla="*/ 2147483647 w 49"/>
              <a:gd name="T59" fmla="*/ 2147483647 h 61"/>
              <a:gd name="T60" fmla="*/ 2147483647 w 49"/>
              <a:gd name="T61" fmla="*/ 2147483647 h 61"/>
              <a:gd name="T62" fmla="*/ 2147483647 w 49"/>
              <a:gd name="T63" fmla="*/ 2147483647 h 61"/>
              <a:gd name="T64" fmla="*/ 2147483647 w 49"/>
              <a:gd name="T65" fmla="*/ 2147483647 h 6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49"/>
              <a:gd name="T100" fmla="*/ 0 h 61"/>
              <a:gd name="T101" fmla="*/ 49 w 49"/>
              <a:gd name="T102" fmla="*/ 61 h 61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49" h="61">
                <a:moveTo>
                  <a:pt x="46" y="38"/>
                </a:moveTo>
                <a:lnTo>
                  <a:pt x="46" y="38"/>
                </a:lnTo>
                <a:lnTo>
                  <a:pt x="49" y="35"/>
                </a:lnTo>
                <a:lnTo>
                  <a:pt x="49" y="32"/>
                </a:lnTo>
                <a:lnTo>
                  <a:pt x="43" y="38"/>
                </a:lnTo>
                <a:lnTo>
                  <a:pt x="49" y="23"/>
                </a:lnTo>
                <a:lnTo>
                  <a:pt x="43" y="15"/>
                </a:lnTo>
                <a:lnTo>
                  <a:pt x="34" y="3"/>
                </a:lnTo>
                <a:lnTo>
                  <a:pt x="26" y="0"/>
                </a:lnTo>
                <a:lnTo>
                  <a:pt x="23" y="0"/>
                </a:lnTo>
                <a:lnTo>
                  <a:pt x="14" y="6"/>
                </a:lnTo>
                <a:lnTo>
                  <a:pt x="9" y="18"/>
                </a:lnTo>
                <a:lnTo>
                  <a:pt x="0" y="23"/>
                </a:lnTo>
                <a:lnTo>
                  <a:pt x="0" y="26"/>
                </a:lnTo>
                <a:lnTo>
                  <a:pt x="0" y="29"/>
                </a:lnTo>
                <a:lnTo>
                  <a:pt x="3" y="32"/>
                </a:lnTo>
                <a:lnTo>
                  <a:pt x="6" y="35"/>
                </a:lnTo>
                <a:lnTo>
                  <a:pt x="9" y="38"/>
                </a:lnTo>
                <a:lnTo>
                  <a:pt x="9" y="46"/>
                </a:lnTo>
                <a:lnTo>
                  <a:pt x="17" y="55"/>
                </a:lnTo>
                <a:lnTo>
                  <a:pt x="20" y="52"/>
                </a:lnTo>
                <a:lnTo>
                  <a:pt x="23" y="52"/>
                </a:lnTo>
                <a:lnTo>
                  <a:pt x="26" y="55"/>
                </a:lnTo>
                <a:lnTo>
                  <a:pt x="29" y="61"/>
                </a:lnTo>
                <a:lnTo>
                  <a:pt x="43" y="43"/>
                </a:lnTo>
                <a:lnTo>
                  <a:pt x="46" y="3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15" name="Freeform 521"/>
          <p:cNvSpPr>
            <a:spLocks/>
          </p:cNvSpPr>
          <p:nvPr/>
        </p:nvSpPr>
        <p:spPr bwMode="gray">
          <a:xfrm>
            <a:off x="4956893" y="3559597"/>
            <a:ext cx="138025" cy="121503"/>
          </a:xfrm>
          <a:custGeom>
            <a:avLst/>
            <a:gdLst>
              <a:gd name="T0" fmla="*/ 2147483647 w 68"/>
              <a:gd name="T1" fmla="*/ 2147483647 h 81"/>
              <a:gd name="T2" fmla="*/ 2147483647 w 68"/>
              <a:gd name="T3" fmla="*/ 2147483647 h 81"/>
              <a:gd name="T4" fmla="*/ 2147483647 w 68"/>
              <a:gd name="T5" fmla="*/ 2147483647 h 81"/>
              <a:gd name="T6" fmla="*/ 2147483647 w 68"/>
              <a:gd name="T7" fmla="*/ 2147483647 h 81"/>
              <a:gd name="T8" fmla="*/ 2147483647 w 68"/>
              <a:gd name="T9" fmla="*/ 2147483647 h 81"/>
              <a:gd name="T10" fmla="*/ 2147483647 w 68"/>
              <a:gd name="T11" fmla="*/ 2147483647 h 81"/>
              <a:gd name="T12" fmla="*/ 2147483647 w 68"/>
              <a:gd name="T13" fmla="*/ 2147483647 h 81"/>
              <a:gd name="T14" fmla="*/ 2147483647 w 68"/>
              <a:gd name="T15" fmla="*/ 2147483647 h 81"/>
              <a:gd name="T16" fmla="*/ 2147483647 w 68"/>
              <a:gd name="T17" fmla="*/ 2147483647 h 81"/>
              <a:gd name="T18" fmla="*/ 2147483647 w 68"/>
              <a:gd name="T19" fmla="*/ 2147483647 h 81"/>
              <a:gd name="T20" fmla="*/ 2147483647 w 68"/>
              <a:gd name="T21" fmla="*/ 2147483647 h 81"/>
              <a:gd name="T22" fmla="*/ 2147483647 w 68"/>
              <a:gd name="T23" fmla="*/ 2147483647 h 81"/>
              <a:gd name="T24" fmla="*/ 2147483647 w 68"/>
              <a:gd name="T25" fmla="*/ 2147483647 h 81"/>
              <a:gd name="T26" fmla="*/ 2147483647 w 68"/>
              <a:gd name="T27" fmla="*/ 2147483647 h 81"/>
              <a:gd name="T28" fmla="*/ 2147483647 w 68"/>
              <a:gd name="T29" fmla="*/ 2147483647 h 81"/>
              <a:gd name="T30" fmla="*/ 2147483647 w 68"/>
              <a:gd name="T31" fmla="*/ 2147483647 h 81"/>
              <a:gd name="T32" fmla="*/ 2147483647 w 68"/>
              <a:gd name="T33" fmla="*/ 2147483647 h 81"/>
              <a:gd name="T34" fmla="*/ 2147483647 w 68"/>
              <a:gd name="T35" fmla="*/ 2147483647 h 81"/>
              <a:gd name="T36" fmla="*/ 2147483647 w 68"/>
              <a:gd name="T37" fmla="*/ 2147483647 h 81"/>
              <a:gd name="T38" fmla="*/ 2147483647 w 68"/>
              <a:gd name="T39" fmla="*/ 2147483647 h 81"/>
              <a:gd name="T40" fmla="*/ 2147483647 w 68"/>
              <a:gd name="T41" fmla="*/ 2147483647 h 81"/>
              <a:gd name="T42" fmla="*/ 2147483647 w 68"/>
              <a:gd name="T43" fmla="*/ 2147483647 h 81"/>
              <a:gd name="T44" fmla="*/ 2147483647 w 68"/>
              <a:gd name="T45" fmla="*/ 0 h 81"/>
              <a:gd name="T46" fmla="*/ 2147483647 w 68"/>
              <a:gd name="T47" fmla="*/ 0 h 81"/>
              <a:gd name="T48" fmla="*/ 2147483647 w 68"/>
              <a:gd name="T49" fmla="*/ 2147483647 h 81"/>
              <a:gd name="T50" fmla="*/ 2147483647 w 68"/>
              <a:gd name="T51" fmla="*/ 2147483647 h 81"/>
              <a:gd name="T52" fmla="*/ 2147483647 w 68"/>
              <a:gd name="T53" fmla="*/ 2147483647 h 81"/>
              <a:gd name="T54" fmla="*/ 2147483647 w 68"/>
              <a:gd name="T55" fmla="*/ 2147483647 h 81"/>
              <a:gd name="T56" fmla="*/ 2147483647 w 68"/>
              <a:gd name="T57" fmla="*/ 2147483647 h 81"/>
              <a:gd name="T58" fmla="*/ 0 w 68"/>
              <a:gd name="T59" fmla="*/ 2147483647 h 81"/>
              <a:gd name="T60" fmla="*/ 0 w 68"/>
              <a:gd name="T61" fmla="*/ 2147483647 h 81"/>
              <a:gd name="T62" fmla="*/ 2147483647 w 68"/>
              <a:gd name="T63" fmla="*/ 2147483647 h 81"/>
              <a:gd name="T64" fmla="*/ 2147483647 w 68"/>
              <a:gd name="T65" fmla="*/ 2147483647 h 81"/>
              <a:gd name="T66" fmla="*/ 2147483647 w 68"/>
              <a:gd name="T67" fmla="*/ 2147483647 h 81"/>
              <a:gd name="T68" fmla="*/ 2147483647 w 68"/>
              <a:gd name="T69" fmla="*/ 2147483647 h 81"/>
              <a:gd name="T70" fmla="*/ 2147483647 w 68"/>
              <a:gd name="T71" fmla="*/ 2147483647 h 81"/>
              <a:gd name="T72" fmla="*/ 2147483647 w 68"/>
              <a:gd name="T73" fmla="*/ 2147483647 h 81"/>
              <a:gd name="T74" fmla="*/ 2147483647 w 68"/>
              <a:gd name="T75" fmla="*/ 2147483647 h 81"/>
              <a:gd name="T76" fmla="*/ 2147483647 w 68"/>
              <a:gd name="T77" fmla="*/ 2147483647 h 81"/>
              <a:gd name="T78" fmla="*/ 2147483647 w 68"/>
              <a:gd name="T79" fmla="*/ 2147483647 h 81"/>
              <a:gd name="T80" fmla="*/ 2147483647 w 68"/>
              <a:gd name="T81" fmla="*/ 2147483647 h 81"/>
              <a:gd name="T82" fmla="*/ 2147483647 w 68"/>
              <a:gd name="T83" fmla="*/ 2147483647 h 81"/>
              <a:gd name="T84" fmla="*/ 2147483647 w 68"/>
              <a:gd name="T85" fmla="*/ 2147483647 h 81"/>
              <a:gd name="T86" fmla="*/ 2147483647 w 68"/>
              <a:gd name="T87" fmla="*/ 2147483647 h 81"/>
              <a:gd name="T88" fmla="*/ 2147483647 w 68"/>
              <a:gd name="T89" fmla="*/ 2147483647 h 81"/>
              <a:gd name="T90" fmla="*/ 2147483647 w 68"/>
              <a:gd name="T91" fmla="*/ 2147483647 h 81"/>
              <a:gd name="T92" fmla="*/ 2147483647 w 68"/>
              <a:gd name="T93" fmla="*/ 2147483647 h 81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68"/>
              <a:gd name="T142" fmla="*/ 0 h 81"/>
              <a:gd name="T143" fmla="*/ 68 w 68"/>
              <a:gd name="T144" fmla="*/ 81 h 81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68" h="81">
                <a:moveTo>
                  <a:pt x="57" y="46"/>
                </a:moveTo>
                <a:lnTo>
                  <a:pt x="57" y="46"/>
                </a:lnTo>
                <a:lnTo>
                  <a:pt x="51" y="40"/>
                </a:lnTo>
                <a:lnTo>
                  <a:pt x="48" y="40"/>
                </a:lnTo>
                <a:lnTo>
                  <a:pt x="45" y="40"/>
                </a:lnTo>
                <a:lnTo>
                  <a:pt x="51" y="32"/>
                </a:lnTo>
                <a:lnTo>
                  <a:pt x="51" y="20"/>
                </a:lnTo>
                <a:lnTo>
                  <a:pt x="48" y="17"/>
                </a:lnTo>
                <a:lnTo>
                  <a:pt x="43" y="26"/>
                </a:lnTo>
                <a:lnTo>
                  <a:pt x="37" y="26"/>
                </a:lnTo>
                <a:lnTo>
                  <a:pt x="34" y="23"/>
                </a:lnTo>
                <a:lnTo>
                  <a:pt x="31" y="20"/>
                </a:lnTo>
                <a:lnTo>
                  <a:pt x="31" y="17"/>
                </a:lnTo>
                <a:lnTo>
                  <a:pt x="31" y="9"/>
                </a:lnTo>
                <a:lnTo>
                  <a:pt x="31" y="6"/>
                </a:lnTo>
                <a:lnTo>
                  <a:pt x="28" y="0"/>
                </a:lnTo>
                <a:lnTo>
                  <a:pt x="25" y="0"/>
                </a:lnTo>
                <a:lnTo>
                  <a:pt x="20" y="3"/>
                </a:lnTo>
                <a:lnTo>
                  <a:pt x="22" y="9"/>
                </a:lnTo>
                <a:lnTo>
                  <a:pt x="20" y="9"/>
                </a:lnTo>
                <a:lnTo>
                  <a:pt x="17" y="12"/>
                </a:lnTo>
                <a:lnTo>
                  <a:pt x="14" y="14"/>
                </a:lnTo>
                <a:lnTo>
                  <a:pt x="0" y="35"/>
                </a:lnTo>
                <a:lnTo>
                  <a:pt x="5" y="37"/>
                </a:lnTo>
                <a:lnTo>
                  <a:pt x="17" y="46"/>
                </a:lnTo>
                <a:lnTo>
                  <a:pt x="25" y="55"/>
                </a:lnTo>
                <a:lnTo>
                  <a:pt x="43" y="69"/>
                </a:lnTo>
                <a:lnTo>
                  <a:pt x="54" y="75"/>
                </a:lnTo>
                <a:lnTo>
                  <a:pt x="66" y="81"/>
                </a:lnTo>
                <a:lnTo>
                  <a:pt x="66" y="69"/>
                </a:lnTo>
                <a:lnTo>
                  <a:pt x="68" y="60"/>
                </a:lnTo>
                <a:lnTo>
                  <a:pt x="66" y="52"/>
                </a:lnTo>
                <a:lnTo>
                  <a:pt x="57" y="4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16" name="Freeform 522"/>
          <p:cNvSpPr>
            <a:spLocks/>
          </p:cNvSpPr>
          <p:nvPr/>
        </p:nvSpPr>
        <p:spPr bwMode="gray">
          <a:xfrm>
            <a:off x="6399153" y="4572124"/>
            <a:ext cx="46008" cy="45001"/>
          </a:xfrm>
          <a:custGeom>
            <a:avLst/>
            <a:gdLst>
              <a:gd name="T0" fmla="*/ 2147483647 w 23"/>
              <a:gd name="T1" fmla="*/ 2147483647 h 29"/>
              <a:gd name="T2" fmla="*/ 2147483647 w 23"/>
              <a:gd name="T3" fmla="*/ 2147483647 h 29"/>
              <a:gd name="T4" fmla="*/ 2147483647 w 23"/>
              <a:gd name="T5" fmla="*/ 2147483647 h 29"/>
              <a:gd name="T6" fmla="*/ 2147483647 w 23"/>
              <a:gd name="T7" fmla="*/ 2147483647 h 29"/>
              <a:gd name="T8" fmla="*/ 2147483647 w 23"/>
              <a:gd name="T9" fmla="*/ 2147483647 h 29"/>
              <a:gd name="T10" fmla="*/ 2147483647 w 23"/>
              <a:gd name="T11" fmla="*/ 0 h 29"/>
              <a:gd name="T12" fmla="*/ 2147483647 w 23"/>
              <a:gd name="T13" fmla="*/ 2147483647 h 29"/>
              <a:gd name="T14" fmla="*/ 0 w 23"/>
              <a:gd name="T15" fmla="*/ 2147483647 h 29"/>
              <a:gd name="T16" fmla="*/ 0 w 23"/>
              <a:gd name="T17" fmla="*/ 2147483647 h 29"/>
              <a:gd name="T18" fmla="*/ 0 w 23"/>
              <a:gd name="T19" fmla="*/ 2147483647 h 29"/>
              <a:gd name="T20" fmla="*/ 0 w 23"/>
              <a:gd name="T21" fmla="*/ 2147483647 h 29"/>
              <a:gd name="T22" fmla="*/ 2147483647 w 23"/>
              <a:gd name="T23" fmla="*/ 2147483647 h 29"/>
              <a:gd name="T24" fmla="*/ 2147483647 w 23"/>
              <a:gd name="T25" fmla="*/ 2147483647 h 29"/>
              <a:gd name="T26" fmla="*/ 2147483647 w 23"/>
              <a:gd name="T27" fmla="*/ 2147483647 h 29"/>
              <a:gd name="T28" fmla="*/ 2147483647 w 23"/>
              <a:gd name="T29" fmla="*/ 2147483647 h 29"/>
              <a:gd name="T30" fmla="*/ 2147483647 w 23"/>
              <a:gd name="T31" fmla="*/ 2147483647 h 29"/>
              <a:gd name="T32" fmla="*/ 2147483647 w 23"/>
              <a:gd name="T33" fmla="*/ 2147483647 h 29"/>
              <a:gd name="T34" fmla="*/ 2147483647 w 23"/>
              <a:gd name="T35" fmla="*/ 2147483647 h 29"/>
              <a:gd name="T36" fmla="*/ 2147483647 w 23"/>
              <a:gd name="T37" fmla="*/ 2147483647 h 29"/>
              <a:gd name="T38" fmla="*/ 2147483647 w 23"/>
              <a:gd name="T39" fmla="*/ 2147483647 h 29"/>
              <a:gd name="T40" fmla="*/ 2147483647 w 23"/>
              <a:gd name="T41" fmla="*/ 2147483647 h 29"/>
              <a:gd name="T42" fmla="*/ 2147483647 w 23"/>
              <a:gd name="T43" fmla="*/ 2147483647 h 29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23"/>
              <a:gd name="T67" fmla="*/ 0 h 29"/>
              <a:gd name="T68" fmla="*/ 23 w 23"/>
              <a:gd name="T69" fmla="*/ 29 h 29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23" h="29">
                <a:moveTo>
                  <a:pt x="18" y="26"/>
                </a:moveTo>
                <a:lnTo>
                  <a:pt x="23" y="23"/>
                </a:lnTo>
                <a:lnTo>
                  <a:pt x="23" y="12"/>
                </a:lnTo>
                <a:lnTo>
                  <a:pt x="23" y="3"/>
                </a:lnTo>
                <a:lnTo>
                  <a:pt x="18" y="3"/>
                </a:lnTo>
                <a:lnTo>
                  <a:pt x="12" y="0"/>
                </a:lnTo>
                <a:lnTo>
                  <a:pt x="6" y="9"/>
                </a:lnTo>
                <a:lnTo>
                  <a:pt x="0" y="12"/>
                </a:lnTo>
                <a:lnTo>
                  <a:pt x="0" y="17"/>
                </a:lnTo>
                <a:lnTo>
                  <a:pt x="3" y="23"/>
                </a:lnTo>
                <a:lnTo>
                  <a:pt x="6" y="26"/>
                </a:lnTo>
                <a:lnTo>
                  <a:pt x="9" y="29"/>
                </a:lnTo>
                <a:lnTo>
                  <a:pt x="18" y="2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17" name="Freeform 523"/>
          <p:cNvSpPr>
            <a:spLocks/>
          </p:cNvSpPr>
          <p:nvPr/>
        </p:nvSpPr>
        <p:spPr bwMode="gray">
          <a:xfrm>
            <a:off x="6279132" y="4656126"/>
            <a:ext cx="68012" cy="55502"/>
          </a:xfrm>
          <a:custGeom>
            <a:avLst/>
            <a:gdLst>
              <a:gd name="T0" fmla="*/ 2147483647 w 34"/>
              <a:gd name="T1" fmla="*/ 2147483647 h 37"/>
              <a:gd name="T2" fmla="*/ 2147483647 w 34"/>
              <a:gd name="T3" fmla="*/ 0 h 37"/>
              <a:gd name="T4" fmla="*/ 2147483647 w 34"/>
              <a:gd name="T5" fmla="*/ 2147483647 h 37"/>
              <a:gd name="T6" fmla="*/ 2147483647 w 34"/>
              <a:gd name="T7" fmla="*/ 2147483647 h 37"/>
              <a:gd name="T8" fmla="*/ 2147483647 w 34"/>
              <a:gd name="T9" fmla="*/ 2147483647 h 37"/>
              <a:gd name="T10" fmla="*/ 2147483647 w 34"/>
              <a:gd name="T11" fmla="*/ 2147483647 h 37"/>
              <a:gd name="T12" fmla="*/ 0 w 34"/>
              <a:gd name="T13" fmla="*/ 2147483647 h 37"/>
              <a:gd name="T14" fmla="*/ 0 w 34"/>
              <a:gd name="T15" fmla="*/ 2147483647 h 37"/>
              <a:gd name="T16" fmla="*/ 2147483647 w 34"/>
              <a:gd name="T17" fmla="*/ 2147483647 h 37"/>
              <a:gd name="T18" fmla="*/ 2147483647 w 34"/>
              <a:gd name="T19" fmla="*/ 2147483647 h 37"/>
              <a:gd name="T20" fmla="*/ 2147483647 w 34"/>
              <a:gd name="T21" fmla="*/ 2147483647 h 37"/>
              <a:gd name="T22" fmla="*/ 2147483647 w 34"/>
              <a:gd name="T23" fmla="*/ 2147483647 h 37"/>
              <a:gd name="T24" fmla="*/ 2147483647 w 34"/>
              <a:gd name="T25" fmla="*/ 2147483647 h 37"/>
              <a:gd name="T26" fmla="*/ 2147483647 w 34"/>
              <a:gd name="T27" fmla="*/ 2147483647 h 37"/>
              <a:gd name="T28" fmla="*/ 2147483647 w 34"/>
              <a:gd name="T29" fmla="*/ 2147483647 h 37"/>
              <a:gd name="T30" fmla="*/ 2147483647 w 34"/>
              <a:gd name="T31" fmla="*/ 2147483647 h 37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34"/>
              <a:gd name="T49" fmla="*/ 0 h 37"/>
              <a:gd name="T50" fmla="*/ 34 w 34"/>
              <a:gd name="T51" fmla="*/ 37 h 37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34" h="37">
                <a:moveTo>
                  <a:pt x="34" y="8"/>
                </a:moveTo>
                <a:lnTo>
                  <a:pt x="23" y="0"/>
                </a:lnTo>
                <a:lnTo>
                  <a:pt x="11" y="5"/>
                </a:lnTo>
                <a:lnTo>
                  <a:pt x="6" y="8"/>
                </a:lnTo>
                <a:lnTo>
                  <a:pt x="6" y="17"/>
                </a:lnTo>
                <a:lnTo>
                  <a:pt x="3" y="17"/>
                </a:lnTo>
                <a:lnTo>
                  <a:pt x="0" y="20"/>
                </a:lnTo>
                <a:lnTo>
                  <a:pt x="0" y="28"/>
                </a:lnTo>
                <a:lnTo>
                  <a:pt x="9" y="34"/>
                </a:lnTo>
                <a:lnTo>
                  <a:pt x="11" y="37"/>
                </a:lnTo>
                <a:lnTo>
                  <a:pt x="17" y="25"/>
                </a:lnTo>
                <a:lnTo>
                  <a:pt x="26" y="28"/>
                </a:lnTo>
                <a:lnTo>
                  <a:pt x="34" y="20"/>
                </a:lnTo>
                <a:lnTo>
                  <a:pt x="32" y="11"/>
                </a:lnTo>
                <a:lnTo>
                  <a:pt x="34" y="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336" name="Freeform 524"/>
          <p:cNvSpPr>
            <a:spLocks noEditPoints="1"/>
          </p:cNvSpPr>
          <p:nvPr/>
        </p:nvSpPr>
        <p:spPr bwMode="gray">
          <a:xfrm>
            <a:off x="5919067" y="4464120"/>
            <a:ext cx="558100" cy="373511"/>
          </a:xfrm>
          <a:custGeom>
            <a:avLst/>
            <a:gdLst>
              <a:gd name="T0" fmla="*/ 2147483647 w 276"/>
              <a:gd name="T1" fmla="*/ 2147483647 h 247"/>
              <a:gd name="T2" fmla="*/ 2147483647 w 276"/>
              <a:gd name="T3" fmla="*/ 2147483647 h 247"/>
              <a:gd name="T4" fmla="*/ 2147483647 w 276"/>
              <a:gd name="T5" fmla="*/ 2147483647 h 247"/>
              <a:gd name="T6" fmla="*/ 2147483647 w 276"/>
              <a:gd name="T7" fmla="*/ 2147483647 h 247"/>
              <a:gd name="T8" fmla="*/ 2147483647 w 276"/>
              <a:gd name="T9" fmla="*/ 2147483647 h 247"/>
              <a:gd name="T10" fmla="*/ 2147483647 w 276"/>
              <a:gd name="T11" fmla="*/ 2147483647 h 247"/>
              <a:gd name="T12" fmla="*/ 2147483647 w 276"/>
              <a:gd name="T13" fmla="*/ 2147483647 h 247"/>
              <a:gd name="T14" fmla="*/ 2147483647 w 276"/>
              <a:gd name="T15" fmla="*/ 2147483647 h 247"/>
              <a:gd name="T16" fmla="*/ 2147483647 w 276"/>
              <a:gd name="T17" fmla="*/ 2147483647 h 247"/>
              <a:gd name="T18" fmla="*/ 2147483647 w 276"/>
              <a:gd name="T19" fmla="*/ 2147483647 h 247"/>
              <a:gd name="T20" fmla="*/ 2147483647 w 276"/>
              <a:gd name="T21" fmla="*/ 2147483647 h 247"/>
              <a:gd name="T22" fmla="*/ 2147483647 w 276"/>
              <a:gd name="T23" fmla="*/ 2147483647 h 247"/>
              <a:gd name="T24" fmla="*/ 2147483647 w 276"/>
              <a:gd name="T25" fmla="*/ 2147483647 h 247"/>
              <a:gd name="T26" fmla="*/ 2147483647 w 276"/>
              <a:gd name="T27" fmla="*/ 2147483647 h 247"/>
              <a:gd name="T28" fmla="*/ 2147483647 w 276"/>
              <a:gd name="T29" fmla="*/ 2147483647 h 247"/>
              <a:gd name="T30" fmla="*/ 2147483647 w 276"/>
              <a:gd name="T31" fmla="*/ 2147483647 h 247"/>
              <a:gd name="T32" fmla="*/ 2147483647 w 276"/>
              <a:gd name="T33" fmla="*/ 2147483647 h 247"/>
              <a:gd name="T34" fmla="*/ 2147483647 w 276"/>
              <a:gd name="T35" fmla="*/ 2147483647 h 247"/>
              <a:gd name="T36" fmla="*/ 2147483647 w 276"/>
              <a:gd name="T37" fmla="*/ 2147483647 h 247"/>
              <a:gd name="T38" fmla="*/ 2147483647 w 276"/>
              <a:gd name="T39" fmla="*/ 2147483647 h 247"/>
              <a:gd name="T40" fmla="*/ 2147483647 w 276"/>
              <a:gd name="T41" fmla="*/ 2147483647 h 247"/>
              <a:gd name="T42" fmla="*/ 2147483647 w 276"/>
              <a:gd name="T43" fmla="*/ 2147483647 h 247"/>
              <a:gd name="T44" fmla="*/ 2147483647 w 276"/>
              <a:gd name="T45" fmla="*/ 2147483647 h 247"/>
              <a:gd name="T46" fmla="*/ 2147483647 w 276"/>
              <a:gd name="T47" fmla="*/ 2147483647 h 247"/>
              <a:gd name="T48" fmla="*/ 0 w 276"/>
              <a:gd name="T49" fmla="*/ 2147483647 h 247"/>
              <a:gd name="T50" fmla="*/ 2147483647 w 276"/>
              <a:gd name="T51" fmla="*/ 2147483647 h 247"/>
              <a:gd name="T52" fmla="*/ 2147483647 w 276"/>
              <a:gd name="T53" fmla="*/ 2147483647 h 247"/>
              <a:gd name="T54" fmla="*/ 2147483647 w 276"/>
              <a:gd name="T55" fmla="*/ 2147483647 h 247"/>
              <a:gd name="T56" fmla="*/ 2147483647 w 276"/>
              <a:gd name="T57" fmla="*/ 2147483647 h 247"/>
              <a:gd name="T58" fmla="*/ 2147483647 w 276"/>
              <a:gd name="T59" fmla="*/ 2147483647 h 247"/>
              <a:gd name="T60" fmla="*/ 2147483647 w 276"/>
              <a:gd name="T61" fmla="*/ 2147483647 h 247"/>
              <a:gd name="T62" fmla="*/ 2147483647 w 276"/>
              <a:gd name="T63" fmla="*/ 2147483647 h 247"/>
              <a:gd name="T64" fmla="*/ 2147483647 w 276"/>
              <a:gd name="T65" fmla="*/ 2147483647 h 247"/>
              <a:gd name="T66" fmla="*/ 2147483647 w 276"/>
              <a:gd name="T67" fmla="*/ 2147483647 h 247"/>
              <a:gd name="T68" fmla="*/ 2147483647 w 276"/>
              <a:gd name="T69" fmla="*/ 2147483647 h 247"/>
              <a:gd name="T70" fmla="*/ 2147483647 w 276"/>
              <a:gd name="T71" fmla="*/ 2147483647 h 247"/>
              <a:gd name="T72" fmla="*/ 2147483647 w 276"/>
              <a:gd name="T73" fmla="*/ 2147483647 h 247"/>
              <a:gd name="T74" fmla="*/ 2147483647 w 276"/>
              <a:gd name="T75" fmla="*/ 2147483647 h 247"/>
              <a:gd name="T76" fmla="*/ 2147483647 w 276"/>
              <a:gd name="T77" fmla="*/ 2147483647 h 247"/>
              <a:gd name="T78" fmla="*/ 2147483647 w 276"/>
              <a:gd name="T79" fmla="*/ 2147483647 h 247"/>
              <a:gd name="T80" fmla="*/ 2147483647 w 276"/>
              <a:gd name="T81" fmla="*/ 2147483647 h 247"/>
              <a:gd name="T82" fmla="*/ 2147483647 w 276"/>
              <a:gd name="T83" fmla="*/ 2147483647 h 247"/>
              <a:gd name="T84" fmla="*/ 2147483647 w 276"/>
              <a:gd name="T85" fmla="*/ 2147483647 h 247"/>
              <a:gd name="T86" fmla="*/ 2147483647 w 276"/>
              <a:gd name="T87" fmla="*/ 2147483647 h 247"/>
              <a:gd name="T88" fmla="*/ 2147483647 w 276"/>
              <a:gd name="T89" fmla="*/ 2147483647 h 247"/>
              <a:gd name="T90" fmla="*/ 2147483647 w 276"/>
              <a:gd name="T91" fmla="*/ 2147483647 h 247"/>
              <a:gd name="T92" fmla="*/ 2147483647 w 276"/>
              <a:gd name="T93" fmla="*/ 2147483647 h 247"/>
              <a:gd name="T94" fmla="*/ 2147483647 w 276"/>
              <a:gd name="T95" fmla="*/ 2147483647 h 247"/>
              <a:gd name="T96" fmla="*/ 2147483647 w 276"/>
              <a:gd name="T97" fmla="*/ 2147483647 h 247"/>
              <a:gd name="T98" fmla="*/ 2147483647 w 276"/>
              <a:gd name="T99" fmla="*/ 2147483647 h 247"/>
              <a:gd name="T100" fmla="*/ 2147483647 w 276"/>
              <a:gd name="T101" fmla="*/ 2147483647 h 247"/>
              <a:gd name="T102" fmla="*/ 2147483647 w 276"/>
              <a:gd name="T103" fmla="*/ 2147483647 h 247"/>
              <a:gd name="T104" fmla="*/ 2147483647 w 276"/>
              <a:gd name="T105" fmla="*/ 2147483647 h 247"/>
              <a:gd name="T106" fmla="*/ 2147483647 w 276"/>
              <a:gd name="T107" fmla="*/ 2147483647 h 247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276"/>
              <a:gd name="T163" fmla="*/ 0 h 247"/>
              <a:gd name="T164" fmla="*/ 276 w 276"/>
              <a:gd name="T165" fmla="*/ 247 h 247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276" h="247">
                <a:moveTo>
                  <a:pt x="270" y="75"/>
                </a:moveTo>
                <a:lnTo>
                  <a:pt x="264" y="75"/>
                </a:lnTo>
                <a:lnTo>
                  <a:pt x="264" y="84"/>
                </a:lnTo>
                <a:lnTo>
                  <a:pt x="264" y="95"/>
                </a:lnTo>
                <a:lnTo>
                  <a:pt x="258" y="101"/>
                </a:lnTo>
                <a:lnTo>
                  <a:pt x="256" y="101"/>
                </a:lnTo>
                <a:lnTo>
                  <a:pt x="247" y="104"/>
                </a:lnTo>
                <a:lnTo>
                  <a:pt x="241" y="101"/>
                </a:lnTo>
                <a:lnTo>
                  <a:pt x="238" y="95"/>
                </a:lnTo>
                <a:lnTo>
                  <a:pt x="235" y="84"/>
                </a:lnTo>
                <a:lnTo>
                  <a:pt x="241" y="78"/>
                </a:lnTo>
                <a:lnTo>
                  <a:pt x="247" y="66"/>
                </a:lnTo>
                <a:lnTo>
                  <a:pt x="258" y="72"/>
                </a:lnTo>
                <a:lnTo>
                  <a:pt x="261" y="72"/>
                </a:lnTo>
                <a:lnTo>
                  <a:pt x="258" y="61"/>
                </a:lnTo>
                <a:lnTo>
                  <a:pt x="261" y="49"/>
                </a:lnTo>
                <a:lnTo>
                  <a:pt x="258" y="38"/>
                </a:lnTo>
                <a:lnTo>
                  <a:pt x="253" y="23"/>
                </a:lnTo>
                <a:lnTo>
                  <a:pt x="250" y="9"/>
                </a:lnTo>
                <a:lnTo>
                  <a:pt x="250" y="6"/>
                </a:lnTo>
                <a:lnTo>
                  <a:pt x="247" y="6"/>
                </a:lnTo>
                <a:lnTo>
                  <a:pt x="238" y="6"/>
                </a:lnTo>
                <a:lnTo>
                  <a:pt x="238" y="9"/>
                </a:lnTo>
                <a:lnTo>
                  <a:pt x="227" y="3"/>
                </a:lnTo>
                <a:lnTo>
                  <a:pt x="218" y="3"/>
                </a:lnTo>
                <a:lnTo>
                  <a:pt x="215" y="3"/>
                </a:lnTo>
                <a:lnTo>
                  <a:pt x="215" y="0"/>
                </a:lnTo>
                <a:lnTo>
                  <a:pt x="212" y="9"/>
                </a:lnTo>
                <a:lnTo>
                  <a:pt x="198" y="12"/>
                </a:lnTo>
                <a:lnTo>
                  <a:pt x="189" y="26"/>
                </a:lnTo>
                <a:lnTo>
                  <a:pt x="178" y="35"/>
                </a:lnTo>
                <a:lnTo>
                  <a:pt x="172" y="46"/>
                </a:lnTo>
                <a:lnTo>
                  <a:pt x="158" y="55"/>
                </a:lnTo>
                <a:lnTo>
                  <a:pt x="155" y="72"/>
                </a:lnTo>
                <a:lnTo>
                  <a:pt x="144" y="75"/>
                </a:lnTo>
                <a:lnTo>
                  <a:pt x="141" y="75"/>
                </a:lnTo>
                <a:lnTo>
                  <a:pt x="132" y="72"/>
                </a:lnTo>
                <a:lnTo>
                  <a:pt x="129" y="69"/>
                </a:lnTo>
                <a:lnTo>
                  <a:pt x="118" y="63"/>
                </a:lnTo>
                <a:lnTo>
                  <a:pt x="115" y="63"/>
                </a:lnTo>
                <a:lnTo>
                  <a:pt x="109" y="66"/>
                </a:lnTo>
                <a:lnTo>
                  <a:pt x="109" y="69"/>
                </a:lnTo>
                <a:lnTo>
                  <a:pt x="106" y="75"/>
                </a:lnTo>
                <a:lnTo>
                  <a:pt x="103" y="81"/>
                </a:lnTo>
                <a:lnTo>
                  <a:pt x="100" y="81"/>
                </a:lnTo>
                <a:lnTo>
                  <a:pt x="98" y="84"/>
                </a:lnTo>
                <a:lnTo>
                  <a:pt x="95" y="86"/>
                </a:lnTo>
                <a:lnTo>
                  <a:pt x="89" y="95"/>
                </a:lnTo>
                <a:lnTo>
                  <a:pt x="75" y="95"/>
                </a:lnTo>
                <a:lnTo>
                  <a:pt x="66" y="92"/>
                </a:lnTo>
                <a:lnTo>
                  <a:pt x="69" y="78"/>
                </a:lnTo>
                <a:lnTo>
                  <a:pt x="69" y="66"/>
                </a:lnTo>
                <a:lnTo>
                  <a:pt x="66" y="61"/>
                </a:lnTo>
                <a:lnTo>
                  <a:pt x="60" y="58"/>
                </a:lnTo>
                <a:lnTo>
                  <a:pt x="60" y="124"/>
                </a:lnTo>
                <a:lnTo>
                  <a:pt x="49" y="129"/>
                </a:lnTo>
                <a:lnTo>
                  <a:pt x="43" y="132"/>
                </a:lnTo>
                <a:lnTo>
                  <a:pt x="34" y="132"/>
                </a:lnTo>
                <a:lnTo>
                  <a:pt x="23" y="132"/>
                </a:lnTo>
                <a:lnTo>
                  <a:pt x="14" y="129"/>
                </a:lnTo>
                <a:lnTo>
                  <a:pt x="12" y="124"/>
                </a:lnTo>
                <a:lnTo>
                  <a:pt x="12" y="121"/>
                </a:lnTo>
                <a:lnTo>
                  <a:pt x="9" y="118"/>
                </a:lnTo>
                <a:lnTo>
                  <a:pt x="6" y="121"/>
                </a:lnTo>
                <a:lnTo>
                  <a:pt x="3" y="127"/>
                </a:lnTo>
                <a:lnTo>
                  <a:pt x="0" y="127"/>
                </a:lnTo>
                <a:lnTo>
                  <a:pt x="3" y="132"/>
                </a:lnTo>
                <a:lnTo>
                  <a:pt x="6" y="138"/>
                </a:lnTo>
                <a:lnTo>
                  <a:pt x="12" y="161"/>
                </a:lnTo>
                <a:lnTo>
                  <a:pt x="20" y="181"/>
                </a:lnTo>
                <a:lnTo>
                  <a:pt x="26" y="193"/>
                </a:lnTo>
                <a:lnTo>
                  <a:pt x="29" y="198"/>
                </a:lnTo>
                <a:lnTo>
                  <a:pt x="29" y="204"/>
                </a:lnTo>
                <a:lnTo>
                  <a:pt x="26" y="207"/>
                </a:lnTo>
                <a:lnTo>
                  <a:pt x="23" y="207"/>
                </a:lnTo>
                <a:lnTo>
                  <a:pt x="20" y="210"/>
                </a:lnTo>
                <a:lnTo>
                  <a:pt x="20" y="213"/>
                </a:lnTo>
                <a:lnTo>
                  <a:pt x="23" y="216"/>
                </a:lnTo>
                <a:lnTo>
                  <a:pt x="26" y="218"/>
                </a:lnTo>
                <a:lnTo>
                  <a:pt x="29" y="224"/>
                </a:lnTo>
                <a:lnTo>
                  <a:pt x="29" y="227"/>
                </a:lnTo>
                <a:lnTo>
                  <a:pt x="26" y="236"/>
                </a:lnTo>
                <a:lnTo>
                  <a:pt x="29" y="239"/>
                </a:lnTo>
                <a:lnTo>
                  <a:pt x="34" y="236"/>
                </a:lnTo>
                <a:lnTo>
                  <a:pt x="37" y="239"/>
                </a:lnTo>
                <a:lnTo>
                  <a:pt x="40" y="241"/>
                </a:lnTo>
                <a:lnTo>
                  <a:pt x="43" y="241"/>
                </a:lnTo>
                <a:lnTo>
                  <a:pt x="52" y="247"/>
                </a:lnTo>
                <a:lnTo>
                  <a:pt x="55" y="247"/>
                </a:lnTo>
                <a:lnTo>
                  <a:pt x="60" y="241"/>
                </a:lnTo>
                <a:lnTo>
                  <a:pt x="66" y="241"/>
                </a:lnTo>
                <a:lnTo>
                  <a:pt x="72" y="239"/>
                </a:lnTo>
                <a:lnTo>
                  <a:pt x="80" y="241"/>
                </a:lnTo>
                <a:lnTo>
                  <a:pt x="83" y="241"/>
                </a:lnTo>
                <a:lnTo>
                  <a:pt x="89" y="236"/>
                </a:lnTo>
                <a:lnTo>
                  <a:pt x="95" y="233"/>
                </a:lnTo>
                <a:lnTo>
                  <a:pt x="100" y="233"/>
                </a:lnTo>
                <a:lnTo>
                  <a:pt x="109" y="233"/>
                </a:lnTo>
                <a:lnTo>
                  <a:pt x="112" y="233"/>
                </a:lnTo>
                <a:lnTo>
                  <a:pt x="115" y="230"/>
                </a:lnTo>
                <a:lnTo>
                  <a:pt x="118" y="233"/>
                </a:lnTo>
                <a:lnTo>
                  <a:pt x="123" y="236"/>
                </a:lnTo>
                <a:lnTo>
                  <a:pt x="129" y="236"/>
                </a:lnTo>
                <a:lnTo>
                  <a:pt x="132" y="236"/>
                </a:lnTo>
                <a:lnTo>
                  <a:pt x="135" y="233"/>
                </a:lnTo>
                <a:lnTo>
                  <a:pt x="138" y="230"/>
                </a:lnTo>
                <a:lnTo>
                  <a:pt x="146" y="233"/>
                </a:lnTo>
                <a:lnTo>
                  <a:pt x="146" y="230"/>
                </a:lnTo>
                <a:lnTo>
                  <a:pt x="149" y="227"/>
                </a:lnTo>
                <a:lnTo>
                  <a:pt x="158" y="227"/>
                </a:lnTo>
                <a:lnTo>
                  <a:pt x="164" y="227"/>
                </a:lnTo>
                <a:lnTo>
                  <a:pt x="178" y="218"/>
                </a:lnTo>
                <a:lnTo>
                  <a:pt x="187" y="213"/>
                </a:lnTo>
                <a:lnTo>
                  <a:pt x="195" y="204"/>
                </a:lnTo>
                <a:lnTo>
                  <a:pt x="207" y="193"/>
                </a:lnTo>
                <a:lnTo>
                  <a:pt x="215" y="184"/>
                </a:lnTo>
                <a:lnTo>
                  <a:pt x="224" y="175"/>
                </a:lnTo>
                <a:lnTo>
                  <a:pt x="230" y="170"/>
                </a:lnTo>
                <a:lnTo>
                  <a:pt x="235" y="155"/>
                </a:lnTo>
                <a:lnTo>
                  <a:pt x="241" y="147"/>
                </a:lnTo>
                <a:lnTo>
                  <a:pt x="247" y="141"/>
                </a:lnTo>
                <a:lnTo>
                  <a:pt x="256" y="132"/>
                </a:lnTo>
                <a:lnTo>
                  <a:pt x="261" y="127"/>
                </a:lnTo>
                <a:lnTo>
                  <a:pt x="264" y="121"/>
                </a:lnTo>
                <a:lnTo>
                  <a:pt x="276" y="92"/>
                </a:lnTo>
                <a:lnTo>
                  <a:pt x="276" y="84"/>
                </a:lnTo>
                <a:lnTo>
                  <a:pt x="276" y="78"/>
                </a:lnTo>
                <a:lnTo>
                  <a:pt x="273" y="78"/>
                </a:lnTo>
                <a:lnTo>
                  <a:pt x="270" y="75"/>
                </a:lnTo>
                <a:close/>
                <a:moveTo>
                  <a:pt x="215" y="135"/>
                </a:moveTo>
                <a:lnTo>
                  <a:pt x="212" y="138"/>
                </a:lnTo>
                <a:lnTo>
                  <a:pt x="215" y="147"/>
                </a:lnTo>
                <a:lnTo>
                  <a:pt x="207" y="158"/>
                </a:lnTo>
                <a:lnTo>
                  <a:pt x="198" y="155"/>
                </a:lnTo>
                <a:lnTo>
                  <a:pt x="192" y="167"/>
                </a:lnTo>
                <a:lnTo>
                  <a:pt x="189" y="167"/>
                </a:lnTo>
                <a:lnTo>
                  <a:pt x="187" y="164"/>
                </a:lnTo>
                <a:lnTo>
                  <a:pt x="175" y="155"/>
                </a:lnTo>
                <a:lnTo>
                  <a:pt x="172" y="147"/>
                </a:lnTo>
                <a:lnTo>
                  <a:pt x="181" y="141"/>
                </a:lnTo>
                <a:lnTo>
                  <a:pt x="181" y="132"/>
                </a:lnTo>
                <a:lnTo>
                  <a:pt x="189" y="129"/>
                </a:lnTo>
                <a:lnTo>
                  <a:pt x="201" y="124"/>
                </a:lnTo>
                <a:lnTo>
                  <a:pt x="215" y="135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419" name="Freeform 525"/>
          <p:cNvSpPr>
            <a:spLocks/>
          </p:cNvSpPr>
          <p:nvPr/>
        </p:nvSpPr>
        <p:spPr bwMode="gray">
          <a:xfrm>
            <a:off x="6399153" y="4119112"/>
            <a:ext cx="366065" cy="453012"/>
          </a:xfrm>
          <a:custGeom>
            <a:avLst/>
            <a:gdLst>
              <a:gd name="T0" fmla="*/ 2147483647 w 181"/>
              <a:gd name="T1" fmla="*/ 2147483647 h 299"/>
              <a:gd name="T2" fmla="*/ 2147483647 w 181"/>
              <a:gd name="T3" fmla="*/ 2147483647 h 299"/>
              <a:gd name="T4" fmla="*/ 2147483647 w 181"/>
              <a:gd name="T5" fmla="*/ 2147483647 h 299"/>
              <a:gd name="T6" fmla="*/ 2147483647 w 181"/>
              <a:gd name="T7" fmla="*/ 2147483647 h 299"/>
              <a:gd name="T8" fmla="*/ 2147483647 w 181"/>
              <a:gd name="T9" fmla="*/ 2147483647 h 299"/>
              <a:gd name="T10" fmla="*/ 2147483647 w 181"/>
              <a:gd name="T11" fmla="*/ 2147483647 h 299"/>
              <a:gd name="T12" fmla="*/ 2147483647 w 181"/>
              <a:gd name="T13" fmla="*/ 2147483647 h 299"/>
              <a:gd name="T14" fmla="*/ 2147483647 w 181"/>
              <a:gd name="T15" fmla="*/ 2147483647 h 299"/>
              <a:gd name="T16" fmla="*/ 2147483647 w 181"/>
              <a:gd name="T17" fmla="*/ 2147483647 h 299"/>
              <a:gd name="T18" fmla="*/ 2147483647 w 181"/>
              <a:gd name="T19" fmla="*/ 2147483647 h 299"/>
              <a:gd name="T20" fmla="*/ 2147483647 w 181"/>
              <a:gd name="T21" fmla="*/ 2147483647 h 299"/>
              <a:gd name="T22" fmla="*/ 2147483647 w 181"/>
              <a:gd name="T23" fmla="*/ 2147483647 h 299"/>
              <a:gd name="T24" fmla="*/ 2147483647 w 181"/>
              <a:gd name="T25" fmla="*/ 2147483647 h 299"/>
              <a:gd name="T26" fmla="*/ 2147483647 w 181"/>
              <a:gd name="T27" fmla="*/ 2147483647 h 299"/>
              <a:gd name="T28" fmla="*/ 2147483647 w 181"/>
              <a:gd name="T29" fmla="*/ 2147483647 h 299"/>
              <a:gd name="T30" fmla="*/ 2147483647 w 181"/>
              <a:gd name="T31" fmla="*/ 2147483647 h 299"/>
              <a:gd name="T32" fmla="*/ 2147483647 w 181"/>
              <a:gd name="T33" fmla="*/ 2147483647 h 299"/>
              <a:gd name="T34" fmla="*/ 2147483647 w 181"/>
              <a:gd name="T35" fmla="*/ 2147483647 h 299"/>
              <a:gd name="T36" fmla="*/ 2147483647 w 181"/>
              <a:gd name="T37" fmla="*/ 2147483647 h 299"/>
              <a:gd name="T38" fmla="*/ 2147483647 w 181"/>
              <a:gd name="T39" fmla="*/ 2147483647 h 299"/>
              <a:gd name="T40" fmla="*/ 2147483647 w 181"/>
              <a:gd name="T41" fmla="*/ 2147483647 h 299"/>
              <a:gd name="T42" fmla="*/ 2147483647 w 181"/>
              <a:gd name="T43" fmla="*/ 2147483647 h 299"/>
              <a:gd name="T44" fmla="*/ 2147483647 w 181"/>
              <a:gd name="T45" fmla="*/ 2147483647 h 299"/>
              <a:gd name="T46" fmla="*/ 2147483647 w 181"/>
              <a:gd name="T47" fmla="*/ 2147483647 h 299"/>
              <a:gd name="T48" fmla="*/ 2147483647 w 181"/>
              <a:gd name="T49" fmla="*/ 2147483647 h 299"/>
              <a:gd name="T50" fmla="*/ 2147483647 w 181"/>
              <a:gd name="T51" fmla="*/ 2147483647 h 299"/>
              <a:gd name="T52" fmla="*/ 2147483647 w 181"/>
              <a:gd name="T53" fmla="*/ 2147483647 h 299"/>
              <a:gd name="T54" fmla="*/ 2147483647 w 181"/>
              <a:gd name="T55" fmla="*/ 2147483647 h 299"/>
              <a:gd name="T56" fmla="*/ 2147483647 w 181"/>
              <a:gd name="T57" fmla="*/ 2147483647 h 299"/>
              <a:gd name="T58" fmla="*/ 2147483647 w 181"/>
              <a:gd name="T59" fmla="*/ 2147483647 h 299"/>
              <a:gd name="T60" fmla="*/ 2147483647 w 181"/>
              <a:gd name="T61" fmla="*/ 2147483647 h 299"/>
              <a:gd name="T62" fmla="*/ 2147483647 w 181"/>
              <a:gd name="T63" fmla="*/ 2147483647 h 299"/>
              <a:gd name="T64" fmla="*/ 2147483647 w 181"/>
              <a:gd name="T65" fmla="*/ 2147483647 h 299"/>
              <a:gd name="T66" fmla="*/ 2147483647 w 181"/>
              <a:gd name="T67" fmla="*/ 2147483647 h 299"/>
              <a:gd name="T68" fmla="*/ 2147483647 w 181"/>
              <a:gd name="T69" fmla="*/ 2147483647 h 299"/>
              <a:gd name="T70" fmla="*/ 2147483647 w 181"/>
              <a:gd name="T71" fmla="*/ 2147483647 h 299"/>
              <a:gd name="T72" fmla="*/ 2147483647 w 181"/>
              <a:gd name="T73" fmla="*/ 2147483647 h 299"/>
              <a:gd name="T74" fmla="*/ 2147483647 w 181"/>
              <a:gd name="T75" fmla="*/ 2147483647 h 299"/>
              <a:gd name="T76" fmla="*/ 2147483647 w 181"/>
              <a:gd name="T77" fmla="*/ 2147483647 h 299"/>
              <a:gd name="T78" fmla="*/ 2147483647 w 181"/>
              <a:gd name="T79" fmla="*/ 2147483647 h 299"/>
              <a:gd name="T80" fmla="*/ 2147483647 w 181"/>
              <a:gd name="T81" fmla="*/ 2147483647 h 299"/>
              <a:gd name="T82" fmla="*/ 2147483647 w 181"/>
              <a:gd name="T83" fmla="*/ 2147483647 h 299"/>
              <a:gd name="T84" fmla="*/ 2147483647 w 181"/>
              <a:gd name="T85" fmla="*/ 2147483647 h 299"/>
              <a:gd name="T86" fmla="*/ 2147483647 w 181"/>
              <a:gd name="T87" fmla="*/ 2147483647 h 299"/>
              <a:gd name="T88" fmla="*/ 2147483647 w 181"/>
              <a:gd name="T89" fmla="*/ 2147483647 h 299"/>
              <a:gd name="T90" fmla="*/ 2147483647 w 181"/>
              <a:gd name="T91" fmla="*/ 2147483647 h 299"/>
              <a:gd name="T92" fmla="*/ 2147483647 w 181"/>
              <a:gd name="T93" fmla="*/ 2147483647 h 299"/>
              <a:gd name="T94" fmla="*/ 2147483647 w 181"/>
              <a:gd name="T95" fmla="*/ 2147483647 h 299"/>
              <a:gd name="T96" fmla="*/ 2147483647 w 181"/>
              <a:gd name="T97" fmla="*/ 2147483647 h 299"/>
              <a:gd name="T98" fmla="*/ 2147483647 w 181"/>
              <a:gd name="T99" fmla="*/ 2147483647 h 299"/>
              <a:gd name="T100" fmla="*/ 2147483647 w 181"/>
              <a:gd name="T101" fmla="*/ 2147483647 h 299"/>
              <a:gd name="T102" fmla="*/ 2147483647 w 181"/>
              <a:gd name="T103" fmla="*/ 2147483647 h 299"/>
              <a:gd name="T104" fmla="*/ 2147483647 w 181"/>
              <a:gd name="T105" fmla="*/ 2147483647 h 299"/>
              <a:gd name="T106" fmla="*/ 2147483647 w 181"/>
              <a:gd name="T107" fmla="*/ 2147483647 h 299"/>
              <a:gd name="T108" fmla="*/ 2147483647 w 181"/>
              <a:gd name="T109" fmla="*/ 2147483647 h 299"/>
              <a:gd name="T110" fmla="*/ 2147483647 w 181"/>
              <a:gd name="T111" fmla="*/ 2147483647 h 299"/>
              <a:gd name="T112" fmla="*/ 2147483647 w 181"/>
              <a:gd name="T113" fmla="*/ 2147483647 h 299"/>
              <a:gd name="T114" fmla="*/ 2147483647 w 181"/>
              <a:gd name="T115" fmla="*/ 2147483647 h 299"/>
              <a:gd name="T116" fmla="*/ 2147483647 w 181"/>
              <a:gd name="T117" fmla="*/ 2147483647 h 299"/>
              <a:gd name="T118" fmla="*/ 2147483647 w 181"/>
              <a:gd name="T119" fmla="*/ 2147483647 h 29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81"/>
              <a:gd name="T181" fmla="*/ 0 h 299"/>
              <a:gd name="T182" fmla="*/ 181 w 181"/>
              <a:gd name="T183" fmla="*/ 299 h 299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81" h="299">
                <a:moveTo>
                  <a:pt x="175" y="46"/>
                </a:moveTo>
                <a:lnTo>
                  <a:pt x="175" y="46"/>
                </a:lnTo>
                <a:lnTo>
                  <a:pt x="175" y="26"/>
                </a:lnTo>
                <a:lnTo>
                  <a:pt x="175" y="12"/>
                </a:lnTo>
                <a:lnTo>
                  <a:pt x="178" y="0"/>
                </a:lnTo>
                <a:lnTo>
                  <a:pt x="161" y="12"/>
                </a:lnTo>
                <a:lnTo>
                  <a:pt x="147" y="15"/>
                </a:lnTo>
                <a:lnTo>
                  <a:pt x="141" y="21"/>
                </a:lnTo>
                <a:lnTo>
                  <a:pt x="135" y="18"/>
                </a:lnTo>
                <a:lnTo>
                  <a:pt x="129" y="26"/>
                </a:lnTo>
                <a:lnTo>
                  <a:pt x="115" y="23"/>
                </a:lnTo>
                <a:lnTo>
                  <a:pt x="109" y="26"/>
                </a:lnTo>
                <a:lnTo>
                  <a:pt x="98" y="21"/>
                </a:lnTo>
                <a:lnTo>
                  <a:pt x="89" y="23"/>
                </a:lnTo>
                <a:lnTo>
                  <a:pt x="81" y="21"/>
                </a:lnTo>
                <a:lnTo>
                  <a:pt x="72" y="32"/>
                </a:lnTo>
                <a:lnTo>
                  <a:pt x="75" y="38"/>
                </a:lnTo>
                <a:lnTo>
                  <a:pt x="75" y="55"/>
                </a:lnTo>
                <a:lnTo>
                  <a:pt x="92" y="75"/>
                </a:lnTo>
                <a:lnTo>
                  <a:pt x="95" y="78"/>
                </a:lnTo>
                <a:lnTo>
                  <a:pt x="95" y="107"/>
                </a:lnTo>
                <a:lnTo>
                  <a:pt x="86" y="110"/>
                </a:lnTo>
                <a:lnTo>
                  <a:pt x="84" y="118"/>
                </a:lnTo>
                <a:lnTo>
                  <a:pt x="89" y="133"/>
                </a:lnTo>
                <a:lnTo>
                  <a:pt x="78" y="133"/>
                </a:lnTo>
                <a:lnTo>
                  <a:pt x="78" y="130"/>
                </a:lnTo>
                <a:lnTo>
                  <a:pt x="78" y="127"/>
                </a:lnTo>
                <a:lnTo>
                  <a:pt x="75" y="121"/>
                </a:lnTo>
                <a:lnTo>
                  <a:pt x="66" y="107"/>
                </a:lnTo>
                <a:lnTo>
                  <a:pt x="69" y="98"/>
                </a:lnTo>
                <a:lnTo>
                  <a:pt x="72" y="87"/>
                </a:lnTo>
                <a:lnTo>
                  <a:pt x="69" y="78"/>
                </a:lnTo>
                <a:lnTo>
                  <a:pt x="58" y="81"/>
                </a:lnTo>
                <a:lnTo>
                  <a:pt x="49" y="69"/>
                </a:lnTo>
                <a:lnTo>
                  <a:pt x="0" y="92"/>
                </a:lnTo>
                <a:lnTo>
                  <a:pt x="3" y="104"/>
                </a:lnTo>
                <a:lnTo>
                  <a:pt x="6" y="107"/>
                </a:lnTo>
                <a:lnTo>
                  <a:pt x="15" y="107"/>
                </a:lnTo>
                <a:lnTo>
                  <a:pt x="20" y="107"/>
                </a:lnTo>
                <a:lnTo>
                  <a:pt x="29" y="112"/>
                </a:lnTo>
                <a:lnTo>
                  <a:pt x="40" y="118"/>
                </a:lnTo>
                <a:lnTo>
                  <a:pt x="49" y="121"/>
                </a:lnTo>
                <a:lnTo>
                  <a:pt x="46" y="127"/>
                </a:lnTo>
                <a:lnTo>
                  <a:pt x="46" y="135"/>
                </a:lnTo>
                <a:lnTo>
                  <a:pt x="49" y="153"/>
                </a:lnTo>
                <a:lnTo>
                  <a:pt x="46" y="158"/>
                </a:lnTo>
                <a:lnTo>
                  <a:pt x="40" y="164"/>
                </a:lnTo>
                <a:lnTo>
                  <a:pt x="43" y="170"/>
                </a:lnTo>
                <a:lnTo>
                  <a:pt x="43" y="176"/>
                </a:lnTo>
                <a:lnTo>
                  <a:pt x="46" y="178"/>
                </a:lnTo>
                <a:lnTo>
                  <a:pt x="46" y="187"/>
                </a:lnTo>
                <a:lnTo>
                  <a:pt x="38" y="199"/>
                </a:lnTo>
                <a:lnTo>
                  <a:pt x="38" y="213"/>
                </a:lnTo>
                <a:lnTo>
                  <a:pt x="15" y="233"/>
                </a:lnTo>
                <a:lnTo>
                  <a:pt x="18" y="250"/>
                </a:lnTo>
                <a:lnTo>
                  <a:pt x="23" y="262"/>
                </a:lnTo>
                <a:lnTo>
                  <a:pt x="26" y="276"/>
                </a:lnTo>
                <a:lnTo>
                  <a:pt x="23" y="288"/>
                </a:lnTo>
                <a:lnTo>
                  <a:pt x="26" y="299"/>
                </a:lnTo>
                <a:lnTo>
                  <a:pt x="29" y="299"/>
                </a:lnTo>
                <a:lnTo>
                  <a:pt x="35" y="299"/>
                </a:lnTo>
                <a:lnTo>
                  <a:pt x="38" y="293"/>
                </a:lnTo>
                <a:lnTo>
                  <a:pt x="46" y="288"/>
                </a:lnTo>
                <a:lnTo>
                  <a:pt x="61" y="282"/>
                </a:lnTo>
                <a:lnTo>
                  <a:pt x="66" y="279"/>
                </a:lnTo>
                <a:lnTo>
                  <a:pt x="72" y="276"/>
                </a:lnTo>
                <a:lnTo>
                  <a:pt x="81" y="267"/>
                </a:lnTo>
                <a:lnTo>
                  <a:pt x="84" y="262"/>
                </a:lnTo>
                <a:lnTo>
                  <a:pt x="81" y="259"/>
                </a:lnTo>
                <a:lnTo>
                  <a:pt x="78" y="259"/>
                </a:lnTo>
                <a:lnTo>
                  <a:pt x="81" y="259"/>
                </a:lnTo>
                <a:lnTo>
                  <a:pt x="84" y="245"/>
                </a:lnTo>
                <a:lnTo>
                  <a:pt x="84" y="227"/>
                </a:lnTo>
                <a:lnTo>
                  <a:pt x="84" y="224"/>
                </a:lnTo>
                <a:lnTo>
                  <a:pt x="81" y="222"/>
                </a:lnTo>
                <a:lnTo>
                  <a:pt x="78" y="207"/>
                </a:lnTo>
                <a:lnTo>
                  <a:pt x="72" y="199"/>
                </a:lnTo>
                <a:lnTo>
                  <a:pt x="72" y="190"/>
                </a:lnTo>
                <a:lnTo>
                  <a:pt x="72" y="184"/>
                </a:lnTo>
                <a:lnTo>
                  <a:pt x="78" y="181"/>
                </a:lnTo>
                <a:lnTo>
                  <a:pt x="84" y="173"/>
                </a:lnTo>
                <a:lnTo>
                  <a:pt x="92" y="164"/>
                </a:lnTo>
                <a:lnTo>
                  <a:pt x="101" y="164"/>
                </a:lnTo>
                <a:lnTo>
                  <a:pt x="104" y="158"/>
                </a:lnTo>
                <a:lnTo>
                  <a:pt x="112" y="147"/>
                </a:lnTo>
                <a:lnTo>
                  <a:pt x="118" y="141"/>
                </a:lnTo>
                <a:lnTo>
                  <a:pt x="129" y="135"/>
                </a:lnTo>
                <a:lnTo>
                  <a:pt x="138" y="130"/>
                </a:lnTo>
                <a:lnTo>
                  <a:pt x="144" y="127"/>
                </a:lnTo>
                <a:lnTo>
                  <a:pt x="155" y="121"/>
                </a:lnTo>
                <a:lnTo>
                  <a:pt x="173" y="101"/>
                </a:lnTo>
                <a:lnTo>
                  <a:pt x="175" y="92"/>
                </a:lnTo>
                <a:lnTo>
                  <a:pt x="178" y="87"/>
                </a:lnTo>
                <a:lnTo>
                  <a:pt x="181" y="78"/>
                </a:lnTo>
                <a:lnTo>
                  <a:pt x="175" y="69"/>
                </a:lnTo>
                <a:lnTo>
                  <a:pt x="175" y="4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20" name="Freeform 526"/>
          <p:cNvSpPr>
            <a:spLocks/>
          </p:cNvSpPr>
          <p:nvPr/>
        </p:nvSpPr>
        <p:spPr bwMode="gray">
          <a:xfrm>
            <a:off x="5657020" y="3747102"/>
            <a:ext cx="196035" cy="177005"/>
          </a:xfrm>
          <a:custGeom>
            <a:avLst/>
            <a:gdLst>
              <a:gd name="T0" fmla="*/ 2147483647 w 97"/>
              <a:gd name="T1" fmla="*/ 2147483647 h 117"/>
              <a:gd name="T2" fmla="*/ 2147483647 w 97"/>
              <a:gd name="T3" fmla="*/ 2147483647 h 117"/>
              <a:gd name="T4" fmla="*/ 2147483647 w 97"/>
              <a:gd name="T5" fmla="*/ 2147483647 h 117"/>
              <a:gd name="T6" fmla="*/ 2147483647 w 97"/>
              <a:gd name="T7" fmla="*/ 2147483647 h 117"/>
              <a:gd name="T8" fmla="*/ 2147483647 w 97"/>
              <a:gd name="T9" fmla="*/ 2147483647 h 117"/>
              <a:gd name="T10" fmla="*/ 2147483647 w 97"/>
              <a:gd name="T11" fmla="*/ 2147483647 h 117"/>
              <a:gd name="T12" fmla="*/ 2147483647 w 97"/>
              <a:gd name="T13" fmla="*/ 2147483647 h 117"/>
              <a:gd name="T14" fmla="*/ 2147483647 w 97"/>
              <a:gd name="T15" fmla="*/ 2147483647 h 117"/>
              <a:gd name="T16" fmla="*/ 2147483647 w 97"/>
              <a:gd name="T17" fmla="*/ 2147483647 h 117"/>
              <a:gd name="T18" fmla="*/ 2147483647 w 97"/>
              <a:gd name="T19" fmla="*/ 2147483647 h 117"/>
              <a:gd name="T20" fmla="*/ 2147483647 w 97"/>
              <a:gd name="T21" fmla="*/ 2147483647 h 117"/>
              <a:gd name="T22" fmla="*/ 2147483647 w 97"/>
              <a:gd name="T23" fmla="*/ 2147483647 h 117"/>
              <a:gd name="T24" fmla="*/ 2147483647 w 97"/>
              <a:gd name="T25" fmla="*/ 2147483647 h 117"/>
              <a:gd name="T26" fmla="*/ 2147483647 w 97"/>
              <a:gd name="T27" fmla="*/ 2147483647 h 117"/>
              <a:gd name="T28" fmla="*/ 2147483647 w 97"/>
              <a:gd name="T29" fmla="*/ 2147483647 h 117"/>
              <a:gd name="T30" fmla="*/ 2147483647 w 97"/>
              <a:gd name="T31" fmla="*/ 2147483647 h 117"/>
              <a:gd name="T32" fmla="*/ 2147483647 w 97"/>
              <a:gd name="T33" fmla="*/ 2147483647 h 117"/>
              <a:gd name="T34" fmla="*/ 2147483647 w 97"/>
              <a:gd name="T35" fmla="*/ 2147483647 h 117"/>
              <a:gd name="T36" fmla="*/ 2147483647 w 97"/>
              <a:gd name="T37" fmla="*/ 2147483647 h 117"/>
              <a:gd name="T38" fmla="*/ 2147483647 w 97"/>
              <a:gd name="T39" fmla="*/ 2147483647 h 117"/>
              <a:gd name="T40" fmla="*/ 2147483647 w 97"/>
              <a:gd name="T41" fmla="*/ 2147483647 h 117"/>
              <a:gd name="T42" fmla="*/ 2147483647 w 97"/>
              <a:gd name="T43" fmla="*/ 2147483647 h 117"/>
              <a:gd name="T44" fmla="*/ 2147483647 w 97"/>
              <a:gd name="T45" fmla="*/ 2147483647 h 117"/>
              <a:gd name="T46" fmla="*/ 2147483647 w 97"/>
              <a:gd name="T47" fmla="*/ 2147483647 h 117"/>
              <a:gd name="T48" fmla="*/ 2147483647 w 97"/>
              <a:gd name="T49" fmla="*/ 2147483647 h 117"/>
              <a:gd name="T50" fmla="*/ 2147483647 w 97"/>
              <a:gd name="T51" fmla="*/ 2147483647 h 117"/>
              <a:gd name="T52" fmla="*/ 2147483647 w 97"/>
              <a:gd name="T53" fmla="*/ 2147483647 h 117"/>
              <a:gd name="T54" fmla="*/ 2147483647 w 97"/>
              <a:gd name="T55" fmla="*/ 2147483647 h 117"/>
              <a:gd name="T56" fmla="*/ 2147483647 w 97"/>
              <a:gd name="T57" fmla="*/ 0 h 117"/>
              <a:gd name="T58" fmla="*/ 2147483647 w 97"/>
              <a:gd name="T59" fmla="*/ 0 h 117"/>
              <a:gd name="T60" fmla="*/ 2147483647 w 97"/>
              <a:gd name="T61" fmla="*/ 0 h 117"/>
              <a:gd name="T62" fmla="*/ 2147483647 w 97"/>
              <a:gd name="T63" fmla="*/ 0 h 117"/>
              <a:gd name="T64" fmla="*/ 2147483647 w 97"/>
              <a:gd name="T65" fmla="*/ 2147483647 h 117"/>
              <a:gd name="T66" fmla="*/ 2147483647 w 97"/>
              <a:gd name="T67" fmla="*/ 2147483647 h 117"/>
              <a:gd name="T68" fmla="*/ 2147483647 w 97"/>
              <a:gd name="T69" fmla="*/ 2147483647 h 117"/>
              <a:gd name="T70" fmla="*/ 2147483647 w 97"/>
              <a:gd name="T71" fmla="*/ 2147483647 h 117"/>
              <a:gd name="T72" fmla="*/ 2147483647 w 97"/>
              <a:gd name="T73" fmla="*/ 2147483647 h 117"/>
              <a:gd name="T74" fmla="*/ 2147483647 w 97"/>
              <a:gd name="T75" fmla="*/ 2147483647 h 117"/>
              <a:gd name="T76" fmla="*/ 2147483647 w 97"/>
              <a:gd name="T77" fmla="*/ 2147483647 h 117"/>
              <a:gd name="T78" fmla="*/ 2147483647 w 97"/>
              <a:gd name="T79" fmla="*/ 2147483647 h 117"/>
              <a:gd name="T80" fmla="*/ 2147483647 w 97"/>
              <a:gd name="T81" fmla="*/ 2147483647 h 117"/>
              <a:gd name="T82" fmla="*/ 2147483647 w 97"/>
              <a:gd name="T83" fmla="*/ 2147483647 h 117"/>
              <a:gd name="T84" fmla="*/ 2147483647 w 97"/>
              <a:gd name="T85" fmla="*/ 2147483647 h 117"/>
              <a:gd name="T86" fmla="*/ 2147483647 w 97"/>
              <a:gd name="T87" fmla="*/ 2147483647 h 117"/>
              <a:gd name="T88" fmla="*/ 2147483647 w 97"/>
              <a:gd name="T89" fmla="*/ 2147483647 h 117"/>
              <a:gd name="T90" fmla="*/ 2147483647 w 97"/>
              <a:gd name="T91" fmla="*/ 2147483647 h 117"/>
              <a:gd name="T92" fmla="*/ 0 w 97"/>
              <a:gd name="T93" fmla="*/ 2147483647 h 117"/>
              <a:gd name="T94" fmla="*/ 0 w 97"/>
              <a:gd name="T95" fmla="*/ 2147483647 h 117"/>
              <a:gd name="T96" fmla="*/ 0 w 97"/>
              <a:gd name="T97" fmla="*/ 2147483647 h 117"/>
              <a:gd name="T98" fmla="*/ 2147483647 w 97"/>
              <a:gd name="T99" fmla="*/ 2147483647 h 117"/>
              <a:gd name="T100" fmla="*/ 2147483647 w 97"/>
              <a:gd name="T101" fmla="*/ 2147483647 h 117"/>
              <a:gd name="T102" fmla="*/ 2147483647 w 97"/>
              <a:gd name="T103" fmla="*/ 2147483647 h 117"/>
              <a:gd name="T104" fmla="*/ 2147483647 w 97"/>
              <a:gd name="T105" fmla="*/ 2147483647 h 117"/>
              <a:gd name="T106" fmla="*/ 2147483647 w 97"/>
              <a:gd name="T107" fmla="*/ 2147483647 h 117"/>
              <a:gd name="T108" fmla="*/ 2147483647 w 97"/>
              <a:gd name="T109" fmla="*/ 2147483647 h 117"/>
              <a:gd name="T110" fmla="*/ 2147483647 w 97"/>
              <a:gd name="T111" fmla="*/ 2147483647 h 117"/>
              <a:gd name="T112" fmla="*/ 2147483647 w 97"/>
              <a:gd name="T113" fmla="*/ 2147483647 h 117"/>
              <a:gd name="T114" fmla="*/ 2147483647 w 97"/>
              <a:gd name="T115" fmla="*/ 2147483647 h 117"/>
              <a:gd name="T116" fmla="*/ 2147483647 w 97"/>
              <a:gd name="T117" fmla="*/ 2147483647 h 117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97"/>
              <a:gd name="T178" fmla="*/ 0 h 117"/>
              <a:gd name="T179" fmla="*/ 97 w 97"/>
              <a:gd name="T180" fmla="*/ 117 h 117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97" h="117">
                <a:moveTo>
                  <a:pt x="46" y="112"/>
                </a:moveTo>
                <a:lnTo>
                  <a:pt x="49" y="112"/>
                </a:lnTo>
                <a:lnTo>
                  <a:pt x="52" y="106"/>
                </a:lnTo>
                <a:lnTo>
                  <a:pt x="46" y="103"/>
                </a:lnTo>
                <a:lnTo>
                  <a:pt x="49" y="103"/>
                </a:lnTo>
                <a:lnTo>
                  <a:pt x="49" y="100"/>
                </a:lnTo>
                <a:lnTo>
                  <a:pt x="46" y="97"/>
                </a:lnTo>
                <a:lnTo>
                  <a:pt x="46" y="86"/>
                </a:lnTo>
                <a:lnTo>
                  <a:pt x="54" y="86"/>
                </a:lnTo>
                <a:lnTo>
                  <a:pt x="60" y="86"/>
                </a:lnTo>
                <a:lnTo>
                  <a:pt x="63" y="83"/>
                </a:lnTo>
                <a:lnTo>
                  <a:pt x="63" y="77"/>
                </a:lnTo>
                <a:lnTo>
                  <a:pt x="69" y="77"/>
                </a:lnTo>
                <a:lnTo>
                  <a:pt x="74" y="83"/>
                </a:lnTo>
                <a:lnTo>
                  <a:pt x="77" y="86"/>
                </a:lnTo>
                <a:lnTo>
                  <a:pt x="80" y="86"/>
                </a:lnTo>
                <a:lnTo>
                  <a:pt x="86" y="77"/>
                </a:lnTo>
                <a:lnTo>
                  <a:pt x="89" y="86"/>
                </a:lnTo>
                <a:lnTo>
                  <a:pt x="95" y="77"/>
                </a:lnTo>
                <a:lnTo>
                  <a:pt x="97" y="54"/>
                </a:lnTo>
                <a:lnTo>
                  <a:pt x="86" y="43"/>
                </a:lnTo>
                <a:lnTo>
                  <a:pt x="89" y="31"/>
                </a:lnTo>
                <a:lnTo>
                  <a:pt x="95" y="25"/>
                </a:lnTo>
                <a:lnTo>
                  <a:pt x="92" y="17"/>
                </a:lnTo>
                <a:lnTo>
                  <a:pt x="83" y="17"/>
                </a:lnTo>
                <a:lnTo>
                  <a:pt x="74" y="17"/>
                </a:lnTo>
                <a:lnTo>
                  <a:pt x="77" y="0"/>
                </a:lnTo>
                <a:lnTo>
                  <a:pt x="69" y="0"/>
                </a:lnTo>
                <a:lnTo>
                  <a:pt x="54" y="0"/>
                </a:lnTo>
                <a:lnTo>
                  <a:pt x="46" y="0"/>
                </a:lnTo>
                <a:lnTo>
                  <a:pt x="46" y="25"/>
                </a:lnTo>
                <a:lnTo>
                  <a:pt x="14" y="25"/>
                </a:lnTo>
                <a:lnTo>
                  <a:pt x="14" y="31"/>
                </a:lnTo>
                <a:lnTo>
                  <a:pt x="14" y="37"/>
                </a:lnTo>
                <a:lnTo>
                  <a:pt x="11" y="34"/>
                </a:lnTo>
                <a:lnTo>
                  <a:pt x="11" y="31"/>
                </a:lnTo>
                <a:lnTo>
                  <a:pt x="8" y="43"/>
                </a:lnTo>
                <a:lnTo>
                  <a:pt x="6" y="51"/>
                </a:lnTo>
                <a:lnTo>
                  <a:pt x="0" y="54"/>
                </a:lnTo>
                <a:lnTo>
                  <a:pt x="0" y="57"/>
                </a:lnTo>
                <a:lnTo>
                  <a:pt x="6" y="68"/>
                </a:lnTo>
                <a:lnTo>
                  <a:pt x="8" y="80"/>
                </a:lnTo>
                <a:lnTo>
                  <a:pt x="17" y="91"/>
                </a:lnTo>
                <a:lnTo>
                  <a:pt x="29" y="106"/>
                </a:lnTo>
                <a:lnTo>
                  <a:pt x="34" y="112"/>
                </a:lnTo>
                <a:lnTo>
                  <a:pt x="40" y="117"/>
                </a:lnTo>
                <a:lnTo>
                  <a:pt x="43" y="112"/>
                </a:lnTo>
                <a:lnTo>
                  <a:pt x="46" y="11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21" name="Freeform 527"/>
          <p:cNvSpPr>
            <a:spLocks/>
          </p:cNvSpPr>
          <p:nvPr/>
        </p:nvSpPr>
        <p:spPr bwMode="gray">
          <a:xfrm>
            <a:off x="5763039" y="4317117"/>
            <a:ext cx="450080" cy="342009"/>
          </a:xfrm>
          <a:custGeom>
            <a:avLst/>
            <a:gdLst>
              <a:gd name="T0" fmla="*/ 2147483647 w 223"/>
              <a:gd name="T1" fmla="*/ 2147483647 h 226"/>
              <a:gd name="T2" fmla="*/ 2147483647 w 223"/>
              <a:gd name="T3" fmla="*/ 2147483647 h 226"/>
              <a:gd name="T4" fmla="*/ 2147483647 w 223"/>
              <a:gd name="T5" fmla="*/ 2147483647 h 226"/>
              <a:gd name="T6" fmla="*/ 2147483647 w 223"/>
              <a:gd name="T7" fmla="*/ 2147483647 h 226"/>
              <a:gd name="T8" fmla="*/ 2147483647 w 223"/>
              <a:gd name="T9" fmla="*/ 2147483647 h 226"/>
              <a:gd name="T10" fmla="*/ 2147483647 w 223"/>
              <a:gd name="T11" fmla="*/ 2147483647 h 226"/>
              <a:gd name="T12" fmla="*/ 2147483647 w 223"/>
              <a:gd name="T13" fmla="*/ 2147483647 h 226"/>
              <a:gd name="T14" fmla="*/ 2147483647 w 223"/>
              <a:gd name="T15" fmla="*/ 2147483647 h 226"/>
              <a:gd name="T16" fmla="*/ 2147483647 w 223"/>
              <a:gd name="T17" fmla="*/ 2147483647 h 226"/>
              <a:gd name="T18" fmla="*/ 2147483647 w 223"/>
              <a:gd name="T19" fmla="*/ 2147483647 h 226"/>
              <a:gd name="T20" fmla="*/ 2147483647 w 223"/>
              <a:gd name="T21" fmla="*/ 2147483647 h 226"/>
              <a:gd name="T22" fmla="*/ 2147483647 w 223"/>
              <a:gd name="T23" fmla="*/ 2147483647 h 226"/>
              <a:gd name="T24" fmla="*/ 2147483647 w 223"/>
              <a:gd name="T25" fmla="*/ 2147483647 h 226"/>
              <a:gd name="T26" fmla="*/ 2147483647 w 223"/>
              <a:gd name="T27" fmla="*/ 2147483647 h 226"/>
              <a:gd name="T28" fmla="*/ 2147483647 w 223"/>
              <a:gd name="T29" fmla="*/ 2147483647 h 226"/>
              <a:gd name="T30" fmla="*/ 2147483647 w 223"/>
              <a:gd name="T31" fmla="*/ 2147483647 h 226"/>
              <a:gd name="T32" fmla="*/ 2147483647 w 223"/>
              <a:gd name="T33" fmla="*/ 2147483647 h 226"/>
              <a:gd name="T34" fmla="*/ 2147483647 w 223"/>
              <a:gd name="T35" fmla="*/ 2147483647 h 226"/>
              <a:gd name="T36" fmla="*/ 2147483647 w 223"/>
              <a:gd name="T37" fmla="*/ 2147483647 h 226"/>
              <a:gd name="T38" fmla="*/ 2147483647 w 223"/>
              <a:gd name="T39" fmla="*/ 2147483647 h 226"/>
              <a:gd name="T40" fmla="*/ 2147483647 w 223"/>
              <a:gd name="T41" fmla="*/ 2147483647 h 226"/>
              <a:gd name="T42" fmla="*/ 2147483647 w 223"/>
              <a:gd name="T43" fmla="*/ 2147483647 h 226"/>
              <a:gd name="T44" fmla="*/ 2147483647 w 223"/>
              <a:gd name="T45" fmla="*/ 2147483647 h 226"/>
              <a:gd name="T46" fmla="*/ 0 w 223"/>
              <a:gd name="T47" fmla="*/ 2147483647 h 226"/>
              <a:gd name="T48" fmla="*/ 0 w 223"/>
              <a:gd name="T49" fmla="*/ 2147483647 h 226"/>
              <a:gd name="T50" fmla="*/ 2147483647 w 223"/>
              <a:gd name="T51" fmla="*/ 2147483647 h 226"/>
              <a:gd name="T52" fmla="*/ 2147483647 w 223"/>
              <a:gd name="T53" fmla="*/ 2147483647 h 226"/>
              <a:gd name="T54" fmla="*/ 2147483647 w 223"/>
              <a:gd name="T55" fmla="*/ 2147483647 h 226"/>
              <a:gd name="T56" fmla="*/ 2147483647 w 223"/>
              <a:gd name="T57" fmla="*/ 2147483647 h 226"/>
              <a:gd name="T58" fmla="*/ 2147483647 w 223"/>
              <a:gd name="T59" fmla="*/ 2147483647 h 226"/>
              <a:gd name="T60" fmla="*/ 2147483647 w 223"/>
              <a:gd name="T61" fmla="*/ 2147483647 h 226"/>
              <a:gd name="T62" fmla="*/ 2147483647 w 223"/>
              <a:gd name="T63" fmla="*/ 2147483647 h 226"/>
              <a:gd name="T64" fmla="*/ 2147483647 w 223"/>
              <a:gd name="T65" fmla="*/ 2147483647 h 226"/>
              <a:gd name="T66" fmla="*/ 2147483647 w 223"/>
              <a:gd name="T67" fmla="*/ 2147483647 h 226"/>
              <a:gd name="T68" fmla="*/ 2147483647 w 223"/>
              <a:gd name="T69" fmla="*/ 2147483647 h 226"/>
              <a:gd name="T70" fmla="*/ 2147483647 w 223"/>
              <a:gd name="T71" fmla="*/ 2147483647 h 226"/>
              <a:gd name="T72" fmla="*/ 2147483647 w 223"/>
              <a:gd name="T73" fmla="*/ 2147483647 h 226"/>
              <a:gd name="T74" fmla="*/ 2147483647 w 223"/>
              <a:gd name="T75" fmla="*/ 2147483647 h 22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223"/>
              <a:gd name="T115" fmla="*/ 0 h 226"/>
              <a:gd name="T116" fmla="*/ 223 w 223"/>
              <a:gd name="T117" fmla="*/ 226 h 22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223" h="226">
                <a:moveTo>
                  <a:pt x="80" y="218"/>
                </a:moveTo>
                <a:lnTo>
                  <a:pt x="80" y="218"/>
                </a:lnTo>
                <a:lnTo>
                  <a:pt x="83" y="212"/>
                </a:lnTo>
                <a:lnTo>
                  <a:pt x="86" y="209"/>
                </a:lnTo>
                <a:lnTo>
                  <a:pt x="89" y="212"/>
                </a:lnTo>
                <a:lnTo>
                  <a:pt x="89" y="215"/>
                </a:lnTo>
                <a:lnTo>
                  <a:pt x="91" y="218"/>
                </a:lnTo>
                <a:lnTo>
                  <a:pt x="94" y="224"/>
                </a:lnTo>
                <a:lnTo>
                  <a:pt x="100" y="226"/>
                </a:lnTo>
                <a:lnTo>
                  <a:pt x="111" y="226"/>
                </a:lnTo>
                <a:lnTo>
                  <a:pt x="120" y="226"/>
                </a:lnTo>
                <a:lnTo>
                  <a:pt x="123" y="224"/>
                </a:lnTo>
                <a:lnTo>
                  <a:pt x="132" y="218"/>
                </a:lnTo>
                <a:lnTo>
                  <a:pt x="137" y="94"/>
                </a:lnTo>
                <a:lnTo>
                  <a:pt x="152" y="94"/>
                </a:lnTo>
                <a:lnTo>
                  <a:pt x="155" y="26"/>
                </a:lnTo>
                <a:lnTo>
                  <a:pt x="195" y="14"/>
                </a:lnTo>
                <a:lnTo>
                  <a:pt x="200" y="26"/>
                </a:lnTo>
                <a:lnTo>
                  <a:pt x="206" y="20"/>
                </a:lnTo>
                <a:lnTo>
                  <a:pt x="215" y="17"/>
                </a:lnTo>
                <a:lnTo>
                  <a:pt x="223" y="11"/>
                </a:lnTo>
                <a:lnTo>
                  <a:pt x="221" y="8"/>
                </a:lnTo>
                <a:lnTo>
                  <a:pt x="212" y="5"/>
                </a:lnTo>
                <a:lnTo>
                  <a:pt x="195" y="11"/>
                </a:lnTo>
                <a:lnTo>
                  <a:pt x="192" y="11"/>
                </a:lnTo>
                <a:lnTo>
                  <a:pt x="166" y="17"/>
                </a:lnTo>
                <a:lnTo>
                  <a:pt x="163" y="17"/>
                </a:lnTo>
                <a:lnTo>
                  <a:pt x="160" y="17"/>
                </a:lnTo>
                <a:lnTo>
                  <a:pt x="152" y="23"/>
                </a:lnTo>
                <a:lnTo>
                  <a:pt x="143" y="17"/>
                </a:lnTo>
                <a:lnTo>
                  <a:pt x="137" y="17"/>
                </a:lnTo>
                <a:lnTo>
                  <a:pt x="126" y="17"/>
                </a:lnTo>
                <a:lnTo>
                  <a:pt x="114" y="8"/>
                </a:lnTo>
                <a:lnTo>
                  <a:pt x="40" y="8"/>
                </a:lnTo>
                <a:lnTo>
                  <a:pt x="31" y="3"/>
                </a:lnTo>
                <a:lnTo>
                  <a:pt x="22" y="0"/>
                </a:lnTo>
                <a:lnTo>
                  <a:pt x="14" y="3"/>
                </a:lnTo>
                <a:lnTo>
                  <a:pt x="5" y="3"/>
                </a:lnTo>
                <a:lnTo>
                  <a:pt x="0" y="3"/>
                </a:lnTo>
                <a:lnTo>
                  <a:pt x="0" y="5"/>
                </a:lnTo>
                <a:lnTo>
                  <a:pt x="0" y="17"/>
                </a:lnTo>
                <a:lnTo>
                  <a:pt x="2" y="26"/>
                </a:lnTo>
                <a:lnTo>
                  <a:pt x="8" y="31"/>
                </a:lnTo>
                <a:lnTo>
                  <a:pt x="17" y="48"/>
                </a:lnTo>
                <a:lnTo>
                  <a:pt x="25" y="66"/>
                </a:lnTo>
                <a:lnTo>
                  <a:pt x="34" y="86"/>
                </a:lnTo>
                <a:lnTo>
                  <a:pt x="43" y="103"/>
                </a:lnTo>
                <a:lnTo>
                  <a:pt x="45" y="112"/>
                </a:lnTo>
                <a:lnTo>
                  <a:pt x="43" y="123"/>
                </a:lnTo>
                <a:lnTo>
                  <a:pt x="43" y="135"/>
                </a:lnTo>
                <a:lnTo>
                  <a:pt x="45" y="140"/>
                </a:lnTo>
                <a:lnTo>
                  <a:pt x="48" y="149"/>
                </a:lnTo>
                <a:lnTo>
                  <a:pt x="51" y="166"/>
                </a:lnTo>
                <a:lnTo>
                  <a:pt x="54" y="181"/>
                </a:lnTo>
                <a:lnTo>
                  <a:pt x="57" y="198"/>
                </a:lnTo>
                <a:lnTo>
                  <a:pt x="63" y="209"/>
                </a:lnTo>
                <a:lnTo>
                  <a:pt x="71" y="221"/>
                </a:lnTo>
                <a:lnTo>
                  <a:pt x="74" y="221"/>
                </a:lnTo>
                <a:lnTo>
                  <a:pt x="77" y="221"/>
                </a:lnTo>
                <a:lnTo>
                  <a:pt x="80" y="21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22" name="Freeform 528"/>
          <p:cNvSpPr>
            <a:spLocks/>
          </p:cNvSpPr>
          <p:nvPr/>
        </p:nvSpPr>
        <p:spPr bwMode="gray">
          <a:xfrm>
            <a:off x="5448982" y="3403592"/>
            <a:ext cx="404073" cy="280507"/>
          </a:xfrm>
          <a:custGeom>
            <a:avLst/>
            <a:gdLst>
              <a:gd name="T0" fmla="*/ 2147483647 w 200"/>
              <a:gd name="T1" fmla="*/ 2147483647 h 186"/>
              <a:gd name="T2" fmla="*/ 2147483647 w 200"/>
              <a:gd name="T3" fmla="*/ 2147483647 h 186"/>
              <a:gd name="T4" fmla="*/ 2147483647 w 200"/>
              <a:gd name="T5" fmla="*/ 2147483647 h 186"/>
              <a:gd name="T6" fmla="*/ 2147483647 w 200"/>
              <a:gd name="T7" fmla="*/ 2147483647 h 186"/>
              <a:gd name="T8" fmla="*/ 2147483647 w 200"/>
              <a:gd name="T9" fmla="*/ 2147483647 h 186"/>
              <a:gd name="T10" fmla="*/ 2147483647 w 200"/>
              <a:gd name="T11" fmla="*/ 2147483647 h 186"/>
              <a:gd name="T12" fmla="*/ 2147483647 w 200"/>
              <a:gd name="T13" fmla="*/ 2147483647 h 186"/>
              <a:gd name="T14" fmla="*/ 2147483647 w 200"/>
              <a:gd name="T15" fmla="*/ 2147483647 h 186"/>
              <a:gd name="T16" fmla="*/ 2147483647 w 200"/>
              <a:gd name="T17" fmla="*/ 2147483647 h 186"/>
              <a:gd name="T18" fmla="*/ 2147483647 w 200"/>
              <a:gd name="T19" fmla="*/ 2147483647 h 186"/>
              <a:gd name="T20" fmla="*/ 2147483647 w 200"/>
              <a:gd name="T21" fmla="*/ 2147483647 h 186"/>
              <a:gd name="T22" fmla="*/ 2147483647 w 200"/>
              <a:gd name="T23" fmla="*/ 2147483647 h 186"/>
              <a:gd name="T24" fmla="*/ 2147483647 w 200"/>
              <a:gd name="T25" fmla="*/ 2147483647 h 186"/>
              <a:gd name="T26" fmla="*/ 2147483647 w 200"/>
              <a:gd name="T27" fmla="*/ 2147483647 h 186"/>
              <a:gd name="T28" fmla="*/ 2147483647 w 200"/>
              <a:gd name="T29" fmla="*/ 2147483647 h 186"/>
              <a:gd name="T30" fmla="*/ 2147483647 w 200"/>
              <a:gd name="T31" fmla="*/ 2147483647 h 186"/>
              <a:gd name="T32" fmla="*/ 2147483647 w 200"/>
              <a:gd name="T33" fmla="*/ 2147483647 h 186"/>
              <a:gd name="T34" fmla="*/ 2147483647 w 200"/>
              <a:gd name="T35" fmla="*/ 2147483647 h 186"/>
              <a:gd name="T36" fmla="*/ 2147483647 w 200"/>
              <a:gd name="T37" fmla="*/ 2147483647 h 186"/>
              <a:gd name="T38" fmla="*/ 2147483647 w 200"/>
              <a:gd name="T39" fmla="*/ 2147483647 h 186"/>
              <a:gd name="T40" fmla="*/ 2147483647 w 200"/>
              <a:gd name="T41" fmla="*/ 2147483647 h 186"/>
              <a:gd name="T42" fmla="*/ 2147483647 w 200"/>
              <a:gd name="T43" fmla="*/ 2147483647 h 186"/>
              <a:gd name="T44" fmla="*/ 2147483647 w 200"/>
              <a:gd name="T45" fmla="*/ 2147483647 h 186"/>
              <a:gd name="T46" fmla="*/ 2147483647 w 200"/>
              <a:gd name="T47" fmla="*/ 2147483647 h 186"/>
              <a:gd name="T48" fmla="*/ 2147483647 w 200"/>
              <a:gd name="T49" fmla="*/ 2147483647 h 186"/>
              <a:gd name="T50" fmla="*/ 2147483647 w 200"/>
              <a:gd name="T51" fmla="*/ 2147483647 h 186"/>
              <a:gd name="T52" fmla="*/ 0 w 200"/>
              <a:gd name="T53" fmla="*/ 2147483647 h 186"/>
              <a:gd name="T54" fmla="*/ 2147483647 w 200"/>
              <a:gd name="T55" fmla="*/ 2147483647 h 186"/>
              <a:gd name="T56" fmla="*/ 2147483647 w 200"/>
              <a:gd name="T57" fmla="*/ 2147483647 h 186"/>
              <a:gd name="T58" fmla="*/ 2147483647 w 200"/>
              <a:gd name="T59" fmla="*/ 2147483647 h 186"/>
              <a:gd name="T60" fmla="*/ 2147483647 w 200"/>
              <a:gd name="T61" fmla="*/ 2147483647 h 186"/>
              <a:gd name="T62" fmla="*/ 2147483647 w 200"/>
              <a:gd name="T63" fmla="*/ 2147483647 h 186"/>
              <a:gd name="T64" fmla="*/ 2147483647 w 200"/>
              <a:gd name="T65" fmla="*/ 2147483647 h 186"/>
              <a:gd name="T66" fmla="*/ 2147483647 w 200"/>
              <a:gd name="T67" fmla="*/ 2147483647 h 186"/>
              <a:gd name="T68" fmla="*/ 2147483647 w 200"/>
              <a:gd name="T69" fmla="*/ 2147483647 h 186"/>
              <a:gd name="T70" fmla="*/ 2147483647 w 200"/>
              <a:gd name="T71" fmla="*/ 2147483647 h 186"/>
              <a:gd name="T72" fmla="*/ 2147483647 w 200"/>
              <a:gd name="T73" fmla="*/ 2147483647 h 18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200"/>
              <a:gd name="T112" fmla="*/ 0 h 186"/>
              <a:gd name="T113" fmla="*/ 200 w 200"/>
              <a:gd name="T114" fmla="*/ 186 h 18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200" h="186">
                <a:moveTo>
                  <a:pt x="103" y="169"/>
                </a:moveTo>
                <a:lnTo>
                  <a:pt x="103" y="152"/>
                </a:lnTo>
                <a:lnTo>
                  <a:pt x="114" y="143"/>
                </a:lnTo>
                <a:lnTo>
                  <a:pt x="126" y="132"/>
                </a:lnTo>
                <a:lnTo>
                  <a:pt x="132" y="132"/>
                </a:lnTo>
                <a:lnTo>
                  <a:pt x="134" y="126"/>
                </a:lnTo>
                <a:lnTo>
                  <a:pt x="143" y="140"/>
                </a:lnTo>
                <a:lnTo>
                  <a:pt x="149" y="135"/>
                </a:lnTo>
                <a:lnTo>
                  <a:pt x="155" y="129"/>
                </a:lnTo>
                <a:lnTo>
                  <a:pt x="155" y="123"/>
                </a:lnTo>
                <a:lnTo>
                  <a:pt x="160" y="112"/>
                </a:lnTo>
                <a:lnTo>
                  <a:pt x="163" y="100"/>
                </a:lnTo>
                <a:lnTo>
                  <a:pt x="172" y="97"/>
                </a:lnTo>
                <a:lnTo>
                  <a:pt x="172" y="86"/>
                </a:lnTo>
                <a:lnTo>
                  <a:pt x="177" y="80"/>
                </a:lnTo>
                <a:lnTo>
                  <a:pt x="177" y="72"/>
                </a:lnTo>
                <a:lnTo>
                  <a:pt x="183" y="69"/>
                </a:lnTo>
                <a:lnTo>
                  <a:pt x="183" y="54"/>
                </a:lnTo>
                <a:lnTo>
                  <a:pt x="192" y="49"/>
                </a:lnTo>
                <a:lnTo>
                  <a:pt x="200" y="43"/>
                </a:lnTo>
                <a:lnTo>
                  <a:pt x="200" y="31"/>
                </a:lnTo>
                <a:lnTo>
                  <a:pt x="192" y="28"/>
                </a:lnTo>
                <a:lnTo>
                  <a:pt x="189" y="14"/>
                </a:lnTo>
                <a:lnTo>
                  <a:pt x="192" y="14"/>
                </a:lnTo>
                <a:lnTo>
                  <a:pt x="186" y="3"/>
                </a:lnTo>
                <a:lnTo>
                  <a:pt x="180" y="5"/>
                </a:lnTo>
                <a:lnTo>
                  <a:pt x="175" y="8"/>
                </a:lnTo>
                <a:lnTo>
                  <a:pt x="166" y="17"/>
                </a:lnTo>
                <a:lnTo>
                  <a:pt x="157" y="11"/>
                </a:lnTo>
                <a:lnTo>
                  <a:pt x="143" y="8"/>
                </a:lnTo>
                <a:lnTo>
                  <a:pt x="129" y="14"/>
                </a:lnTo>
                <a:lnTo>
                  <a:pt x="117" y="17"/>
                </a:lnTo>
                <a:lnTo>
                  <a:pt x="111" y="20"/>
                </a:lnTo>
                <a:lnTo>
                  <a:pt x="100" y="17"/>
                </a:lnTo>
                <a:lnTo>
                  <a:pt x="91" y="11"/>
                </a:lnTo>
                <a:lnTo>
                  <a:pt x="83" y="14"/>
                </a:lnTo>
                <a:lnTo>
                  <a:pt x="71" y="17"/>
                </a:lnTo>
                <a:lnTo>
                  <a:pt x="63" y="3"/>
                </a:lnTo>
                <a:lnTo>
                  <a:pt x="57" y="5"/>
                </a:lnTo>
                <a:lnTo>
                  <a:pt x="45" y="0"/>
                </a:lnTo>
                <a:lnTo>
                  <a:pt x="40" y="3"/>
                </a:lnTo>
                <a:lnTo>
                  <a:pt x="28" y="5"/>
                </a:lnTo>
                <a:lnTo>
                  <a:pt x="25" y="17"/>
                </a:lnTo>
                <a:lnTo>
                  <a:pt x="17" y="26"/>
                </a:lnTo>
                <a:lnTo>
                  <a:pt x="14" y="46"/>
                </a:lnTo>
                <a:lnTo>
                  <a:pt x="22" y="63"/>
                </a:lnTo>
                <a:lnTo>
                  <a:pt x="20" y="66"/>
                </a:lnTo>
                <a:lnTo>
                  <a:pt x="17" y="74"/>
                </a:lnTo>
                <a:lnTo>
                  <a:pt x="11" y="83"/>
                </a:lnTo>
                <a:lnTo>
                  <a:pt x="5" y="95"/>
                </a:lnTo>
                <a:lnTo>
                  <a:pt x="0" y="95"/>
                </a:lnTo>
                <a:lnTo>
                  <a:pt x="2" y="112"/>
                </a:lnTo>
                <a:lnTo>
                  <a:pt x="2" y="135"/>
                </a:lnTo>
                <a:lnTo>
                  <a:pt x="2" y="143"/>
                </a:lnTo>
                <a:lnTo>
                  <a:pt x="11" y="143"/>
                </a:lnTo>
                <a:lnTo>
                  <a:pt x="22" y="143"/>
                </a:lnTo>
                <a:lnTo>
                  <a:pt x="25" y="143"/>
                </a:lnTo>
                <a:lnTo>
                  <a:pt x="34" y="149"/>
                </a:lnTo>
                <a:lnTo>
                  <a:pt x="43" y="158"/>
                </a:lnTo>
                <a:lnTo>
                  <a:pt x="45" y="172"/>
                </a:lnTo>
                <a:lnTo>
                  <a:pt x="51" y="184"/>
                </a:lnTo>
                <a:lnTo>
                  <a:pt x="54" y="186"/>
                </a:lnTo>
                <a:lnTo>
                  <a:pt x="63" y="186"/>
                </a:lnTo>
                <a:lnTo>
                  <a:pt x="88" y="181"/>
                </a:lnTo>
                <a:lnTo>
                  <a:pt x="97" y="181"/>
                </a:lnTo>
                <a:lnTo>
                  <a:pt x="103" y="16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23" name="Freeform 529"/>
          <p:cNvSpPr>
            <a:spLocks/>
          </p:cNvSpPr>
          <p:nvPr/>
        </p:nvSpPr>
        <p:spPr bwMode="gray">
          <a:xfrm>
            <a:off x="5745035" y="3703601"/>
            <a:ext cx="254046" cy="247506"/>
          </a:xfrm>
          <a:custGeom>
            <a:avLst/>
            <a:gdLst>
              <a:gd name="T0" fmla="*/ 2147483647 w 126"/>
              <a:gd name="T1" fmla="*/ 2147483647 h 164"/>
              <a:gd name="T2" fmla="*/ 2147483647 w 126"/>
              <a:gd name="T3" fmla="*/ 2147483647 h 164"/>
              <a:gd name="T4" fmla="*/ 2147483647 w 126"/>
              <a:gd name="T5" fmla="*/ 2147483647 h 164"/>
              <a:gd name="T6" fmla="*/ 2147483647 w 126"/>
              <a:gd name="T7" fmla="*/ 2147483647 h 164"/>
              <a:gd name="T8" fmla="*/ 2147483647 w 126"/>
              <a:gd name="T9" fmla="*/ 2147483647 h 164"/>
              <a:gd name="T10" fmla="*/ 2147483647 w 126"/>
              <a:gd name="T11" fmla="*/ 2147483647 h 164"/>
              <a:gd name="T12" fmla="*/ 2147483647 w 126"/>
              <a:gd name="T13" fmla="*/ 2147483647 h 164"/>
              <a:gd name="T14" fmla="*/ 2147483647 w 126"/>
              <a:gd name="T15" fmla="*/ 2147483647 h 164"/>
              <a:gd name="T16" fmla="*/ 2147483647 w 126"/>
              <a:gd name="T17" fmla="*/ 2147483647 h 164"/>
              <a:gd name="T18" fmla="*/ 2147483647 w 126"/>
              <a:gd name="T19" fmla="*/ 2147483647 h 164"/>
              <a:gd name="T20" fmla="*/ 2147483647 w 126"/>
              <a:gd name="T21" fmla="*/ 2147483647 h 164"/>
              <a:gd name="T22" fmla="*/ 2147483647 w 126"/>
              <a:gd name="T23" fmla="*/ 2147483647 h 164"/>
              <a:gd name="T24" fmla="*/ 2147483647 w 126"/>
              <a:gd name="T25" fmla="*/ 2147483647 h 164"/>
              <a:gd name="T26" fmla="*/ 2147483647 w 126"/>
              <a:gd name="T27" fmla="*/ 2147483647 h 164"/>
              <a:gd name="T28" fmla="*/ 2147483647 w 126"/>
              <a:gd name="T29" fmla="*/ 2147483647 h 164"/>
              <a:gd name="T30" fmla="*/ 2147483647 w 126"/>
              <a:gd name="T31" fmla="*/ 2147483647 h 164"/>
              <a:gd name="T32" fmla="*/ 2147483647 w 126"/>
              <a:gd name="T33" fmla="*/ 2147483647 h 164"/>
              <a:gd name="T34" fmla="*/ 2147483647 w 126"/>
              <a:gd name="T35" fmla="*/ 2147483647 h 164"/>
              <a:gd name="T36" fmla="*/ 2147483647 w 126"/>
              <a:gd name="T37" fmla="*/ 2147483647 h 164"/>
              <a:gd name="T38" fmla="*/ 2147483647 w 126"/>
              <a:gd name="T39" fmla="*/ 2147483647 h 164"/>
              <a:gd name="T40" fmla="*/ 2147483647 w 126"/>
              <a:gd name="T41" fmla="*/ 2147483647 h 164"/>
              <a:gd name="T42" fmla="*/ 2147483647 w 126"/>
              <a:gd name="T43" fmla="*/ 2147483647 h 164"/>
              <a:gd name="T44" fmla="*/ 2147483647 w 126"/>
              <a:gd name="T45" fmla="*/ 2147483647 h 164"/>
              <a:gd name="T46" fmla="*/ 2147483647 w 126"/>
              <a:gd name="T47" fmla="*/ 2147483647 h 164"/>
              <a:gd name="T48" fmla="*/ 2147483647 w 126"/>
              <a:gd name="T49" fmla="*/ 2147483647 h 164"/>
              <a:gd name="T50" fmla="*/ 2147483647 w 126"/>
              <a:gd name="T51" fmla="*/ 2147483647 h 164"/>
              <a:gd name="T52" fmla="*/ 2147483647 w 126"/>
              <a:gd name="T53" fmla="*/ 0 h 164"/>
              <a:gd name="T54" fmla="*/ 2147483647 w 126"/>
              <a:gd name="T55" fmla="*/ 2147483647 h 164"/>
              <a:gd name="T56" fmla="*/ 2147483647 w 126"/>
              <a:gd name="T57" fmla="*/ 0 h 164"/>
              <a:gd name="T58" fmla="*/ 2147483647 w 126"/>
              <a:gd name="T59" fmla="*/ 2147483647 h 164"/>
              <a:gd name="T60" fmla="*/ 2147483647 w 126"/>
              <a:gd name="T61" fmla="*/ 2147483647 h 164"/>
              <a:gd name="T62" fmla="*/ 2147483647 w 126"/>
              <a:gd name="T63" fmla="*/ 2147483647 h 164"/>
              <a:gd name="T64" fmla="*/ 2147483647 w 126"/>
              <a:gd name="T65" fmla="*/ 2147483647 h 164"/>
              <a:gd name="T66" fmla="*/ 2147483647 w 126"/>
              <a:gd name="T67" fmla="*/ 2147483647 h 164"/>
              <a:gd name="T68" fmla="*/ 2147483647 w 126"/>
              <a:gd name="T69" fmla="*/ 2147483647 h 164"/>
              <a:gd name="T70" fmla="*/ 2147483647 w 126"/>
              <a:gd name="T71" fmla="*/ 2147483647 h 164"/>
              <a:gd name="T72" fmla="*/ 2147483647 w 126"/>
              <a:gd name="T73" fmla="*/ 2147483647 h 164"/>
              <a:gd name="T74" fmla="*/ 2147483647 w 126"/>
              <a:gd name="T75" fmla="*/ 2147483647 h 164"/>
              <a:gd name="T76" fmla="*/ 2147483647 w 126"/>
              <a:gd name="T77" fmla="*/ 2147483647 h 164"/>
              <a:gd name="T78" fmla="*/ 2147483647 w 126"/>
              <a:gd name="T79" fmla="*/ 2147483647 h 164"/>
              <a:gd name="T80" fmla="*/ 2147483647 w 126"/>
              <a:gd name="T81" fmla="*/ 2147483647 h 164"/>
              <a:gd name="T82" fmla="*/ 2147483647 w 126"/>
              <a:gd name="T83" fmla="*/ 2147483647 h 164"/>
              <a:gd name="T84" fmla="*/ 2147483647 w 126"/>
              <a:gd name="T85" fmla="*/ 2147483647 h 164"/>
              <a:gd name="T86" fmla="*/ 2147483647 w 126"/>
              <a:gd name="T87" fmla="*/ 2147483647 h 164"/>
              <a:gd name="T88" fmla="*/ 2147483647 w 126"/>
              <a:gd name="T89" fmla="*/ 2147483647 h 164"/>
              <a:gd name="T90" fmla="*/ 2147483647 w 126"/>
              <a:gd name="T91" fmla="*/ 2147483647 h 164"/>
              <a:gd name="T92" fmla="*/ 2147483647 w 126"/>
              <a:gd name="T93" fmla="*/ 2147483647 h 164"/>
              <a:gd name="T94" fmla="*/ 2147483647 w 126"/>
              <a:gd name="T95" fmla="*/ 2147483647 h 164"/>
              <a:gd name="T96" fmla="*/ 2147483647 w 126"/>
              <a:gd name="T97" fmla="*/ 2147483647 h 164"/>
              <a:gd name="T98" fmla="*/ 2147483647 w 126"/>
              <a:gd name="T99" fmla="*/ 2147483647 h 164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126"/>
              <a:gd name="T151" fmla="*/ 0 h 164"/>
              <a:gd name="T152" fmla="*/ 126 w 126"/>
              <a:gd name="T153" fmla="*/ 164 h 164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126" h="164">
                <a:moveTo>
                  <a:pt x="20" y="161"/>
                </a:moveTo>
                <a:lnTo>
                  <a:pt x="26" y="155"/>
                </a:lnTo>
                <a:lnTo>
                  <a:pt x="29" y="155"/>
                </a:lnTo>
                <a:lnTo>
                  <a:pt x="31" y="161"/>
                </a:lnTo>
                <a:lnTo>
                  <a:pt x="34" y="161"/>
                </a:lnTo>
                <a:lnTo>
                  <a:pt x="37" y="164"/>
                </a:lnTo>
                <a:lnTo>
                  <a:pt x="40" y="164"/>
                </a:lnTo>
                <a:lnTo>
                  <a:pt x="40" y="161"/>
                </a:lnTo>
                <a:lnTo>
                  <a:pt x="43" y="158"/>
                </a:lnTo>
                <a:lnTo>
                  <a:pt x="43" y="155"/>
                </a:lnTo>
                <a:lnTo>
                  <a:pt x="49" y="155"/>
                </a:lnTo>
                <a:lnTo>
                  <a:pt x="52" y="152"/>
                </a:lnTo>
                <a:lnTo>
                  <a:pt x="54" y="155"/>
                </a:lnTo>
                <a:lnTo>
                  <a:pt x="57" y="155"/>
                </a:lnTo>
                <a:lnTo>
                  <a:pt x="57" y="158"/>
                </a:lnTo>
                <a:lnTo>
                  <a:pt x="54" y="164"/>
                </a:lnTo>
                <a:lnTo>
                  <a:pt x="57" y="164"/>
                </a:lnTo>
                <a:lnTo>
                  <a:pt x="72" y="149"/>
                </a:lnTo>
                <a:lnTo>
                  <a:pt x="80" y="141"/>
                </a:lnTo>
                <a:lnTo>
                  <a:pt x="83" y="123"/>
                </a:lnTo>
                <a:lnTo>
                  <a:pt x="83" y="118"/>
                </a:lnTo>
                <a:lnTo>
                  <a:pt x="80" y="112"/>
                </a:lnTo>
                <a:lnTo>
                  <a:pt x="83" y="109"/>
                </a:lnTo>
                <a:lnTo>
                  <a:pt x="86" y="106"/>
                </a:lnTo>
                <a:lnTo>
                  <a:pt x="92" y="103"/>
                </a:lnTo>
                <a:lnTo>
                  <a:pt x="92" y="97"/>
                </a:lnTo>
                <a:lnTo>
                  <a:pt x="98" y="92"/>
                </a:lnTo>
                <a:lnTo>
                  <a:pt x="106" y="89"/>
                </a:lnTo>
                <a:lnTo>
                  <a:pt x="109" y="86"/>
                </a:lnTo>
                <a:lnTo>
                  <a:pt x="109" y="75"/>
                </a:lnTo>
                <a:lnTo>
                  <a:pt x="112" y="54"/>
                </a:lnTo>
                <a:lnTo>
                  <a:pt x="112" y="52"/>
                </a:lnTo>
                <a:lnTo>
                  <a:pt x="115" y="34"/>
                </a:lnTo>
                <a:lnTo>
                  <a:pt x="118" y="23"/>
                </a:lnTo>
                <a:lnTo>
                  <a:pt x="120" y="20"/>
                </a:lnTo>
                <a:lnTo>
                  <a:pt x="120" y="17"/>
                </a:lnTo>
                <a:lnTo>
                  <a:pt x="123" y="14"/>
                </a:lnTo>
                <a:lnTo>
                  <a:pt x="126" y="8"/>
                </a:lnTo>
                <a:lnTo>
                  <a:pt x="123" y="0"/>
                </a:lnTo>
                <a:lnTo>
                  <a:pt x="120" y="3"/>
                </a:lnTo>
                <a:lnTo>
                  <a:pt x="118" y="3"/>
                </a:lnTo>
                <a:lnTo>
                  <a:pt x="109" y="0"/>
                </a:lnTo>
                <a:lnTo>
                  <a:pt x="103" y="0"/>
                </a:lnTo>
                <a:lnTo>
                  <a:pt x="92" y="6"/>
                </a:lnTo>
                <a:lnTo>
                  <a:pt x="89" y="17"/>
                </a:lnTo>
                <a:lnTo>
                  <a:pt x="89" y="23"/>
                </a:lnTo>
                <a:lnTo>
                  <a:pt x="83" y="26"/>
                </a:lnTo>
                <a:lnTo>
                  <a:pt x="83" y="29"/>
                </a:lnTo>
                <a:lnTo>
                  <a:pt x="83" y="31"/>
                </a:lnTo>
                <a:lnTo>
                  <a:pt x="83" y="40"/>
                </a:lnTo>
                <a:lnTo>
                  <a:pt x="86" y="43"/>
                </a:lnTo>
                <a:lnTo>
                  <a:pt x="83" y="40"/>
                </a:lnTo>
                <a:lnTo>
                  <a:pt x="75" y="34"/>
                </a:lnTo>
                <a:lnTo>
                  <a:pt x="57" y="31"/>
                </a:lnTo>
                <a:lnTo>
                  <a:pt x="52" y="29"/>
                </a:lnTo>
                <a:lnTo>
                  <a:pt x="49" y="29"/>
                </a:lnTo>
                <a:lnTo>
                  <a:pt x="37" y="29"/>
                </a:lnTo>
                <a:lnTo>
                  <a:pt x="34" y="43"/>
                </a:lnTo>
                <a:lnTo>
                  <a:pt x="40" y="43"/>
                </a:lnTo>
                <a:lnTo>
                  <a:pt x="52" y="43"/>
                </a:lnTo>
                <a:lnTo>
                  <a:pt x="57" y="57"/>
                </a:lnTo>
                <a:lnTo>
                  <a:pt x="49" y="63"/>
                </a:lnTo>
                <a:lnTo>
                  <a:pt x="46" y="72"/>
                </a:lnTo>
                <a:lnTo>
                  <a:pt x="57" y="83"/>
                </a:lnTo>
                <a:lnTo>
                  <a:pt x="57" y="109"/>
                </a:lnTo>
                <a:lnTo>
                  <a:pt x="46" y="123"/>
                </a:lnTo>
                <a:lnTo>
                  <a:pt x="43" y="112"/>
                </a:lnTo>
                <a:lnTo>
                  <a:pt x="40" y="118"/>
                </a:lnTo>
                <a:lnTo>
                  <a:pt x="31" y="120"/>
                </a:lnTo>
                <a:lnTo>
                  <a:pt x="31" y="118"/>
                </a:lnTo>
                <a:lnTo>
                  <a:pt x="29" y="115"/>
                </a:lnTo>
                <a:lnTo>
                  <a:pt x="23" y="109"/>
                </a:lnTo>
                <a:lnTo>
                  <a:pt x="23" y="115"/>
                </a:lnTo>
                <a:lnTo>
                  <a:pt x="17" y="118"/>
                </a:lnTo>
                <a:lnTo>
                  <a:pt x="11" y="118"/>
                </a:lnTo>
                <a:lnTo>
                  <a:pt x="6" y="118"/>
                </a:lnTo>
                <a:lnTo>
                  <a:pt x="6" y="123"/>
                </a:lnTo>
                <a:lnTo>
                  <a:pt x="9" y="126"/>
                </a:lnTo>
                <a:lnTo>
                  <a:pt x="9" y="129"/>
                </a:lnTo>
                <a:lnTo>
                  <a:pt x="9" y="132"/>
                </a:lnTo>
                <a:lnTo>
                  <a:pt x="14" y="135"/>
                </a:lnTo>
                <a:lnTo>
                  <a:pt x="9" y="143"/>
                </a:lnTo>
                <a:lnTo>
                  <a:pt x="3" y="143"/>
                </a:lnTo>
                <a:lnTo>
                  <a:pt x="0" y="149"/>
                </a:lnTo>
                <a:lnTo>
                  <a:pt x="6" y="158"/>
                </a:lnTo>
                <a:lnTo>
                  <a:pt x="11" y="164"/>
                </a:lnTo>
                <a:lnTo>
                  <a:pt x="20" y="16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24" name="Freeform 530"/>
          <p:cNvSpPr>
            <a:spLocks/>
          </p:cNvSpPr>
          <p:nvPr/>
        </p:nvSpPr>
        <p:spPr bwMode="gray">
          <a:xfrm>
            <a:off x="6539179" y="3676600"/>
            <a:ext cx="260047" cy="270007"/>
          </a:xfrm>
          <a:custGeom>
            <a:avLst/>
            <a:gdLst>
              <a:gd name="T0" fmla="*/ 2147483647 w 129"/>
              <a:gd name="T1" fmla="*/ 2147483647 h 178"/>
              <a:gd name="T2" fmla="*/ 2147483647 w 129"/>
              <a:gd name="T3" fmla="*/ 2147483647 h 178"/>
              <a:gd name="T4" fmla="*/ 2147483647 w 129"/>
              <a:gd name="T5" fmla="*/ 2147483647 h 178"/>
              <a:gd name="T6" fmla="*/ 2147483647 w 129"/>
              <a:gd name="T7" fmla="*/ 2147483647 h 178"/>
              <a:gd name="T8" fmla="*/ 2147483647 w 129"/>
              <a:gd name="T9" fmla="*/ 2147483647 h 178"/>
              <a:gd name="T10" fmla="*/ 2147483647 w 129"/>
              <a:gd name="T11" fmla="*/ 2147483647 h 178"/>
              <a:gd name="T12" fmla="*/ 2147483647 w 129"/>
              <a:gd name="T13" fmla="*/ 2147483647 h 178"/>
              <a:gd name="T14" fmla="*/ 2147483647 w 129"/>
              <a:gd name="T15" fmla="*/ 2147483647 h 178"/>
              <a:gd name="T16" fmla="*/ 2147483647 w 129"/>
              <a:gd name="T17" fmla="*/ 2147483647 h 178"/>
              <a:gd name="T18" fmla="*/ 2147483647 w 129"/>
              <a:gd name="T19" fmla="*/ 2147483647 h 178"/>
              <a:gd name="T20" fmla="*/ 2147483647 w 129"/>
              <a:gd name="T21" fmla="*/ 2147483647 h 178"/>
              <a:gd name="T22" fmla="*/ 2147483647 w 129"/>
              <a:gd name="T23" fmla="*/ 2147483647 h 178"/>
              <a:gd name="T24" fmla="*/ 2147483647 w 129"/>
              <a:gd name="T25" fmla="*/ 2147483647 h 178"/>
              <a:gd name="T26" fmla="*/ 2147483647 w 129"/>
              <a:gd name="T27" fmla="*/ 2147483647 h 178"/>
              <a:gd name="T28" fmla="*/ 2147483647 w 129"/>
              <a:gd name="T29" fmla="*/ 2147483647 h 178"/>
              <a:gd name="T30" fmla="*/ 2147483647 w 129"/>
              <a:gd name="T31" fmla="*/ 2147483647 h 178"/>
              <a:gd name="T32" fmla="*/ 2147483647 w 129"/>
              <a:gd name="T33" fmla="*/ 2147483647 h 178"/>
              <a:gd name="T34" fmla="*/ 2147483647 w 129"/>
              <a:gd name="T35" fmla="*/ 2147483647 h 178"/>
              <a:gd name="T36" fmla="*/ 2147483647 w 129"/>
              <a:gd name="T37" fmla="*/ 0 h 178"/>
              <a:gd name="T38" fmla="*/ 2147483647 w 129"/>
              <a:gd name="T39" fmla="*/ 0 h 178"/>
              <a:gd name="T40" fmla="*/ 0 w 129"/>
              <a:gd name="T41" fmla="*/ 2147483647 h 178"/>
              <a:gd name="T42" fmla="*/ 2147483647 w 129"/>
              <a:gd name="T43" fmla="*/ 2147483647 h 178"/>
              <a:gd name="T44" fmla="*/ 2147483647 w 129"/>
              <a:gd name="T45" fmla="*/ 2147483647 h 178"/>
              <a:gd name="T46" fmla="*/ 2147483647 w 129"/>
              <a:gd name="T47" fmla="*/ 2147483647 h 178"/>
              <a:gd name="T48" fmla="*/ 2147483647 w 129"/>
              <a:gd name="T49" fmla="*/ 2147483647 h 178"/>
              <a:gd name="T50" fmla="*/ 2147483647 w 129"/>
              <a:gd name="T51" fmla="*/ 2147483647 h 178"/>
              <a:gd name="T52" fmla="*/ 2147483647 w 129"/>
              <a:gd name="T53" fmla="*/ 2147483647 h 178"/>
              <a:gd name="T54" fmla="*/ 0 w 129"/>
              <a:gd name="T55" fmla="*/ 2147483647 h 178"/>
              <a:gd name="T56" fmla="*/ 0 w 129"/>
              <a:gd name="T57" fmla="*/ 2147483647 h 178"/>
              <a:gd name="T58" fmla="*/ 0 w 129"/>
              <a:gd name="T59" fmla="*/ 2147483647 h 178"/>
              <a:gd name="T60" fmla="*/ 2147483647 w 129"/>
              <a:gd name="T61" fmla="*/ 2147483647 h 178"/>
              <a:gd name="T62" fmla="*/ 2147483647 w 129"/>
              <a:gd name="T63" fmla="*/ 2147483647 h 178"/>
              <a:gd name="T64" fmla="*/ 0 w 129"/>
              <a:gd name="T65" fmla="*/ 2147483647 h 178"/>
              <a:gd name="T66" fmla="*/ 2147483647 w 129"/>
              <a:gd name="T67" fmla="*/ 2147483647 h 178"/>
              <a:gd name="T68" fmla="*/ 2147483647 w 129"/>
              <a:gd name="T69" fmla="*/ 2147483647 h 178"/>
              <a:gd name="T70" fmla="*/ 2147483647 w 129"/>
              <a:gd name="T71" fmla="*/ 2147483647 h 178"/>
              <a:gd name="T72" fmla="*/ 2147483647 w 129"/>
              <a:gd name="T73" fmla="*/ 2147483647 h 178"/>
              <a:gd name="T74" fmla="*/ 2147483647 w 129"/>
              <a:gd name="T75" fmla="*/ 2147483647 h 178"/>
              <a:gd name="T76" fmla="*/ 2147483647 w 129"/>
              <a:gd name="T77" fmla="*/ 2147483647 h 178"/>
              <a:gd name="T78" fmla="*/ 2147483647 w 129"/>
              <a:gd name="T79" fmla="*/ 2147483647 h 178"/>
              <a:gd name="T80" fmla="*/ 2147483647 w 129"/>
              <a:gd name="T81" fmla="*/ 2147483647 h 178"/>
              <a:gd name="T82" fmla="*/ 2147483647 w 129"/>
              <a:gd name="T83" fmla="*/ 2147483647 h 178"/>
              <a:gd name="T84" fmla="*/ 2147483647 w 129"/>
              <a:gd name="T85" fmla="*/ 2147483647 h 178"/>
              <a:gd name="T86" fmla="*/ 2147483647 w 129"/>
              <a:gd name="T87" fmla="*/ 2147483647 h 178"/>
              <a:gd name="T88" fmla="*/ 2147483647 w 129"/>
              <a:gd name="T89" fmla="*/ 2147483647 h 178"/>
              <a:gd name="T90" fmla="*/ 2147483647 w 129"/>
              <a:gd name="T91" fmla="*/ 2147483647 h 178"/>
              <a:gd name="T92" fmla="*/ 2147483647 w 129"/>
              <a:gd name="T93" fmla="*/ 2147483647 h 178"/>
              <a:gd name="T94" fmla="*/ 2147483647 w 129"/>
              <a:gd name="T95" fmla="*/ 2147483647 h 178"/>
              <a:gd name="T96" fmla="*/ 2147483647 w 129"/>
              <a:gd name="T97" fmla="*/ 2147483647 h 178"/>
              <a:gd name="T98" fmla="*/ 2147483647 w 129"/>
              <a:gd name="T99" fmla="*/ 2147483647 h 178"/>
              <a:gd name="T100" fmla="*/ 2147483647 w 129"/>
              <a:gd name="T101" fmla="*/ 2147483647 h 178"/>
              <a:gd name="T102" fmla="*/ 2147483647 w 129"/>
              <a:gd name="T103" fmla="*/ 2147483647 h 178"/>
              <a:gd name="T104" fmla="*/ 2147483647 w 129"/>
              <a:gd name="T105" fmla="*/ 2147483647 h 178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129"/>
              <a:gd name="T160" fmla="*/ 0 h 178"/>
              <a:gd name="T161" fmla="*/ 129 w 129"/>
              <a:gd name="T162" fmla="*/ 178 h 178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129" h="178">
                <a:moveTo>
                  <a:pt x="118" y="31"/>
                </a:moveTo>
                <a:lnTo>
                  <a:pt x="118" y="31"/>
                </a:lnTo>
                <a:lnTo>
                  <a:pt x="126" y="20"/>
                </a:lnTo>
                <a:lnTo>
                  <a:pt x="129" y="11"/>
                </a:lnTo>
                <a:lnTo>
                  <a:pt x="118" y="11"/>
                </a:lnTo>
                <a:lnTo>
                  <a:pt x="112" y="5"/>
                </a:lnTo>
                <a:lnTo>
                  <a:pt x="106" y="8"/>
                </a:lnTo>
                <a:lnTo>
                  <a:pt x="101" y="14"/>
                </a:lnTo>
                <a:lnTo>
                  <a:pt x="92" y="23"/>
                </a:lnTo>
                <a:lnTo>
                  <a:pt x="66" y="17"/>
                </a:lnTo>
                <a:lnTo>
                  <a:pt x="49" y="3"/>
                </a:lnTo>
                <a:lnTo>
                  <a:pt x="35" y="3"/>
                </a:lnTo>
                <a:lnTo>
                  <a:pt x="29" y="0"/>
                </a:lnTo>
                <a:lnTo>
                  <a:pt x="3" y="0"/>
                </a:lnTo>
                <a:lnTo>
                  <a:pt x="0" y="5"/>
                </a:lnTo>
                <a:lnTo>
                  <a:pt x="9" y="14"/>
                </a:lnTo>
                <a:lnTo>
                  <a:pt x="9" y="25"/>
                </a:lnTo>
                <a:lnTo>
                  <a:pt x="15" y="37"/>
                </a:lnTo>
                <a:lnTo>
                  <a:pt x="17" y="48"/>
                </a:lnTo>
                <a:lnTo>
                  <a:pt x="15" y="66"/>
                </a:lnTo>
                <a:lnTo>
                  <a:pt x="9" y="69"/>
                </a:lnTo>
                <a:lnTo>
                  <a:pt x="0" y="83"/>
                </a:lnTo>
                <a:lnTo>
                  <a:pt x="0" y="92"/>
                </a:lnTo>
                <a:lnTo>
                  <a:pt x="12" y="92"/>
                </a:lnTo>
                <a:lnTo>
                  <a:pt x="3" y="94"/>
                </a:lnTo>
                <a:lnTo>
                  <a:pt x="0" y="106"/>
                </a:lnTo>
                <a:lnTo>
                  <a:pt x="49" y="137"/>
                </a:lnTo>
                <a:lnTo>
                  <a:pt x="63" y="149"/>
                </a:lnTo>
                <a:lnTo>
                  <a:pt x="60" y="155"/>
                </a:lnTo>
                <a:lnTo>
                  <a:pt x="89" y="178"/>
                </a:lnTo>
                <a:lnTo>
                  <a:pt x="92" y="169"/>
                </a:lnTo>
                <a:lnTo>
                  <a:pt x="101" y="160"/>
                </a:lnTo>
                <a:lnTo>
                  <a:pt x="104" y="152"/>
                </a:lnTo>
                <a:lnTo>
                  <a:pt x="106" y="140"/>
                </a:lnTo>
                <a:lnTo>
                  <a:pt x="112" y="135"/>
                </a:lnTo>
                <a:lnTo>
                  <a:pt x="118" y="132"/>
                </a:lnTo>
                <a:lnTo>
                  <a:pt x="126" y="123"/>
                </a:lnTo>
                <a:lnTo>
                  <a:pt x="129" y="117"/>
                </a:lnTo>
                <a:lnTo>
                  <a:pt x="115" y="106"/>
                </a:lnTo>
                <a:lnTo>
                  <a:pt x="118" y="3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343" name="Freeform 531"/>
          <p:cNvSpPr>
            <a:spLocks/>
          </p:cNvSpPr>
          <p:nvPr/>
        </p:nvSpPr>
        <p:spPr bwMode="gray">
          <a:xfrm>
            <a:off x="7677383" y="2767576"/>
            <a:ext cx="712128" cy="805521"/>
          </a:xfrm>
          <a:custGeom>
            <a:avLst/>
            <a:gdLst>
              <a:gd name="T0" fmla="*/ 2147483647 w 353"/>
              <a:gd name="T1" fmla="*/ 2147483647 h 531"/>
              <a:gd name="T2" fmla="*/ 2147483647 w 353"/>
              <a:gd name="T3" fmla="*/ 2147483647 h 531"/>
              <a:gd name="T4" fmla="*/ 2147483647 w 353"/>
              <a:gd name="T5" fmla="*/ 2147483647 h 531"/>
              <a:gd name="T6" fmla="*/ 2147483647 w 353"/>
              <a:gd name="T7" fmla="*/ 2147483647 h 531"/>
              <a:gd name="T8" fmla="*/ 2147483647 w 353"/>
              <a:gd name="T9" fmla="*/ 2147483647 h 531"/>
              <a:gd name="T10" fmla="*/ 2147483647 w 353"/>
              <a:gd name="T11" fmla="*/ 2147483647 h 531"/>
              <a:gd name="T12" fmla="*/ 2147483647 w 353"/>
              <a:gd name="T13" fmla="*/ 2147483647 h 531"/>
              <a:gd name="T14" fmla="*/ 2147483647 w 353"/>
              <a:gd name="T15" fmla="*/ 2147483647 h 531"/>
              <a:gd name="T16" fmla="*/ 2147483647 w 353"/>
              <a:gd name="T17" fmla="*/ 2147483647 h 531"/>
              <a:gd name="T18" fmla="*/ 2147483647 w 353"/>
              <a:gd name="T19" fmla="*/ 2147483647 h 531"/>
              <a:gd name="T20" fmla="*/ 2147483647 w 353"/>
              <a:gd name="T21" fmla="*/ 2147483647 h 531"/>
              <a:gd name="T22" fmla="*/ 2147483647 w 353"/>
              <a:gd name="T23" fmla="*/ 2147483647 h 531"/>
              <a:gd name="T24" fmla="*/ 2147483647 w 353"/>
              <a:gd name="T25" fmla="*/ 2147483647 h 531"/>
              <a:gd name="T26" fmla="*/ 2147483647 w 353"/>
              <a:gd name="T27" fmla="*/ 2147483647 h 531"/>
              <a:gd name="T28" fmla="*/ 2147483647 w 353"/>
              <a:gd name="T29" fmla="*/ 0 h 531"/>
              <a:gd name="T30" fmla="*/ 2147483647 w 353"/>
              <a:gd name="T31" fmla="*/ 2147483647 h 531"/>
              <a:gd name="T32" fmla="*/ 2147483647 w 353"/>
              <a:gd name="T33" fmla="*/ 2147483647 h 531"/>
              <a:gd name="T34" fmla="*/ 2147483647 w 353"/>
              <a:gd name="T35" fmla="*/ 2147483647 h 531"/>
              <a:gd name="T36" fmla="*/ 2147483647 w 353"/>
              <a:gd name="T37" fmla="*/ 2147483647 h 531"/>
              <a:gd name="T38" fmla="*/ 2147483647 w 353"/>
              <a:gd name="T39" fmla="*/ 2147483647 h 531"/>
              <a:gd name="T40" fmla="*/ 2147483647 w 353"/>
              <a:gd name="T41" fmla="*/ 2147483647 h 531"/>
              <a:gd name="T42" fmla="*/ 2147483647 w 353"/>
              <a:gd name="T43" fmla="*/ 2147483647 h 531"/>
              <a:gd name="T44" fmla="*/ 2147483647 w 353"/>
              <a:gd name="T45" fmla="*/ 2147483647 h 531"/>
              <a:gd name="T46" fmla="*/ 2147483647 w 353"/>
              <a:gd name="T47" fmla="*/ 2147483647 h 531"/>
              <a:gd name="T48" fmla="*/ 2147483647 w 353"/>
              <a:gd name="T49" fmla="*/ 2147483647 h 531"/>
              <a:gd name="T50" fmla="*/ 2147483647 w 353"/>
              <a:gd name="T51" fmla="*/ 2147483647 h 531"/>
              <a:gd name="T52" fmla="*/ 2147483647 w 353"/>
              <a:gd name="T53" fmla="*/ 2147483647 h 531"/>
              <a:gd name="T54" fmla="*/ 2147483647 w 353"/>
              <a:gd name="T55" fmla="*/ 2147483647 h 531"/>
              <a:gd name="T56" fmla="*/ 2147483647 w 353"/>
              <a:gd name="T57" fmla="*/ 2147483647 h 531"/>
              <a:gd name="T58" fmla="*/ 2147483647 w 353"/>
              <a:gd name="T59" fmla="*/ 2147483647 h 531"/>
              <a:gd name="T60" fmla="*/ 2147483647 w 353"/>
              <a:gd name="T61" fmla="*/ 2147483647 h 531"/>
              <a:gd name="T62" fmla="*/ 2147483647 w 353"/>
              <a:gd name="T63" fmla="*/ 2147483647 h 531"/>
              <a:gd name="T64" fmla="*/ 2147483647 w 353"/>
              <a:gd name="T65" fmla="*/ 2147483647 h 531"/>
              <a:gd name="T66" fmla="*/ 2147483647 w 353"/>
              <a:gd name="T67" fmla="*/ 2147483647 h 531"/>
              <a:gd name="T68" fmla="*/ 2147483647 w 353"/>
              <a:gd name="T69" fmla="*/ 2147483647 h 531"/>
              <a:gd name="T70" fmla="*/ 2147483647 w 353"/>
              <a:gd name="T71" fmla="*/ 2147483647 h 531"/>
              <a:gd name="T72" fmla="*/ 2147483647 w 353"/>
              <a:gd name="T73" fmla="*/ 2147483647 h 531"/>
              <a:gd name="T74" fmla="*/ 2147483647 w 353"/>
              <a:gd name="T75" fmla="*/ 2147483647 h 531"/>
              <a:gd name="T76" fmla="*/ 2147483647 w 353"/>
              <a:gd name="T77" fmla="*/ 2147483647 h 531"/>
              <a:gd name="T78" fmla="*/ 2147483647 w 353"/>
              <a:gd name="T79" fmla="*/ 2147483647 h 531"/>
              <a:gd name="T80" fmla="*/ 2147483647 w 353"/>
              <a:gd name="T81" fmla="*/ 2147483647 h 531"/>
              <a:gd name="T82" fmla="*/ 2147483647 w 353"/>
              <a:gd name="T83" fmla="*/ 2147483647 h 531"/>
              <a:gd name="T84" fmla="*/ 2147483647 w 353"/>
              <a:gd name="T85" fmla="*/ 2147483647 h 531"/>
              <a:gd name="T86" fmla="*/ 2147483647 w 353"/>
              <a:gd name="T87" fmla="*/ 2147483647 h 531"/>
              <a:gd name="T88" fmla="*/ 2147483647 w 353"/>
              <a:gd name="T89" fmla="*/ 2147483647 h 531"/>
              <a:gd name="T90" fmla="*/ 2147483647 w 353"/>
              <a:gd name="T91" fmla="*/ 2147483647 h 531"/>
              <a:gd name="T92" fmla="*/ 2147483647 w 353"/>
              <a:gd name="T93" fmla="*/ 2147483647 h 531"/>
              <a:gd name="T94" fmla="*/ 2147483647 w 353"/>
              <a:gd name="T95" fmla="*/ 2147483647 h 531"/>
              <a:gd name="T96" fmla="*/ 2147483647 w 353"/>
              <a:gd name="T97" fmla="*/ 2147483647 h 531"/>
              <a:gd name="T98" fmla="*/ 2147483647 w 353"/>
              <a:gd name="T99" fmla="*/ 2147483647 h 531"/>
              <a:gd name="T100" fmla="*/ 2147483647 w 353"/>
              <a:gd name="T101" fmla="*/ 2147483647 h 531"/>
              <a:gd name="T102" fmla="*/ 2147483647 w 353"/>
              <a:gd name="T103" fmla="*/ 2147483647 h 531"/>
              <a:gd name="T104" fmla="*/ 2147483647 w 353"/>
              <a:gd name="T105" fmla="*/ 2147483647 h 531"/>
              <a:gd name="T106" fmla="*/ 2147483647 w 353"/>
              <a:gd name="T107" fmla="*/ 2147483647 h 531"/>
              <a:gd name="T108" fmla="*/ 2147483647 w 353"/>
              <a:gd name="T109" fmla="*/ 2147483647 h 531"/>
              <a:gd name="T110" fmla="*/ 2147483647 w 353"/>
              <a:gd name="T111" fmla="*/ 2147483647 h 531"/>
              <a:gd name="T112" fmla="*/ 2147483647 w 353"/>
              <a:gd name="T113" fmla="*/ 2147483647 h 531"/>
              <a:gd name="T114" fmla="*/ 2147483647 w 353"/>
              <a:gd name="T115" fmla="*/ 2147483647 h 531"/>
              <a:gd name="T116" fmla="*/ 2147483647 w 353"/>
              <a:gd name="T117" fmla="*/ 2147483647 h 531"/>
              <a:gd name="T118" fmla="*/ 2147483647 w 353"/>
              <a:gd name="T119" fmla="*/ 2147483647 h 531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353"/>
              <a:gd name="T181" fmla="*/ 0 h 531"/>
              <a:gd name="T182" fmla="*/ 353 w 353"/>
              <a:gd name="T183" fmla="*/ 531 h 531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353" h="531">
                <a:moveTo>
                  <a:pt x="344" y="238"/>
                </a:moveTo>
                <a:lnTo>
                  <a:pt x="339" y="226"/>
                </a:lnTo>
                <a:lnTo>
                  <a:pt x="339" y="218"/>
                </a:lnTo>
                <a:lnTo>
                  <a:pt x="339" y="212"/>
                </a:lnTo>
                <a:lnTo>
                  <a:pt x="333" y="203"/>
                </a:lnTo>
                <a:lnTo>
                  <a:pt x="333" y="201"/>
                </a:lnTo>
                <a:lnTo>
                  <a:pt x="333" y="195"/>
                </a:lnTo>
                <a:lnTo>
                  <a:pt x="336" y="195"/>
                </a:lnTo>
                <a:lnTo>
                  <a:pt x="341" y="195"/>
                </a:lnTo>
                <a:lnTo>
                  <a:pt x="339" y="189"/>
                </a:lnTo>
                <a:lnTo>
                  <a:pt x="333" y="192"/>
                </a:lnTo>
                <a:lnTo>
                  <a:pt x="324" y="183"/>
                </a:lnTo>
                <a:lnTo>
                  <a:pt x="330" y="172"/>
                </a:lnTo>
                <a:lnTo>
                  <a:pt x="324" y="169"/>
                </a:lnTo>
                <a:lnTo>
                  <a:pt x="324" y="175"/>
                </a:lnTo>
                <a:lnTo>
                  <a:pt x="313" y="175"/>
                </a:lnTo>
                <a:lnTo>
                  <a:pt x="310" y="175"/>
                </a:lnTo>
                <a:lnTo>
                  <a:pt x="307" y="169"/>
                </a:lnTo>
                <a:lnTo>
                  <a:pt x="301" y="175"/>
                </a:lnTo>
                <a:lnTo>
                  <a:pt x="287" y="169"/>
                </a:lnTo>
                <a:lnTo>
                  <a:pt x="281" y="166"/>
                </a:lnTo>
                <a:lnTo>
                  <a:pt x="261" y="166"/>
                </a:lnTo>
                <a:lnTo>
                  <a:pt x="258" y="163"/>
                </a:lnTo>
                <a:lnTo>
                  <a:pt x="255" y="163"/>
                </a:lnTo>
                <a:lnTo>
                  <a:pt x="250" y="157"/>
                </a:lnTo>
                <a:lnTo>
                  <a:pt x="241" y="155"/>
                </a:lnTo>
                <a:lnTo>
                  <a:pt x="229" y="149"/>
                </a:lnTo>
                <a:lnTo>
                  <a:pt x="218" y="146"/>
                </a:lnTo>
                <a:lnTo>
                  <a:pt x="209" y="143"/>
                </a:lnTo>
                <a:lnTo>
                  <a:pt x="198" y="135"/>
                </a:lnTo>
                <a:lnTo>
                  <a:pt x="181" y="126"/>
                </a:lnTo>
                <a:lnTo>
                  <a:pt x="184" y="117"/>
                </a:lnTo>
                <a:lnTo>
                  <a:pt x="184" y="109"/>
                </a:lnTo>
                <a:lnTo>
                  <a:pt x="189" y="100"/>
                </a:lnTo>
                <a:lnTo>
                  <a:pt x="184" y="94"/>
                </a:lnTo>
                <a:lnTo>
                  <a:pt x="178" y="91"/>
                </a:lnTo>
                <a:lnTo>
                  <a:pt x="172" y="86"/>
                </a:lnTo>
                <a:lnTo>
                  <a:pt x="166" y="83"/>
                </a:lnTo>
                <a:lnTo>
                  <a:pt x="161" y="77"/>
                </a:lnTo>
                <a:lnTo>
                  <a:pt x="152" y="77"/>
                </a:lnTo>
                <a:lnTo>
                  <a:pt x="152" y="71"/>
                </a:lnTo>
                <a:lnTo>
                  <a:pt x="146" y="63"/>
                </a:lnTo>
                <a:lnTo>
                  <a:pt x="140" y="51"/>
                </a:lnTo>
                <a:lnTo>
                  <a:pt x="149" y="48"/>
                </a:lnTo>
                <a:lnTo>
                  <a:pt x="149" y="51"/>
                </a:lnTo>
                <a:lnTo>
                  <a:pt x="152" y="54"/>
                </a:lnTo>
                <a:lnTo>
                  <a:pt x="155" y="54"/>
                </a:lnTo>
                <a:lnTo>
                  <a:pt x="158" y="48"/>
                </a:lnTo>
                <a:lnTo>
                  <a:pt x="155" y="43"/>
                </a:lnTo>
                <a:lnTo>
                  <a:pt x="152" y="43"/>
                </a:lnTo>
                <a:lnTo>
                  <a:pt x="143" y="37"/>
                </a:lnTo>
                <a:lnTo>
                  <a:pt x="143" y="28"/>
                </a:lnTo>
                <a:lnTo>
                  <a:pt x="140" y="28"/>
                </a:lnTo>
                <a:lnTo>
                  <a:pt x="140" y="25"/>
                </a:lnTo>
                <a:lnTo>
                  <a:pt x="143" y="20"/>
                </a:lnTo>
                <a:lnTo>
                  <a:pt x="140" y="20"/>
                </a:lnTo>
                <a:lnTo>
                  <a:pt x="135" y="17"/>
                </a:lnTo>
                <a:lnTo>
                  <a:pt x="129" y="11"/>
                </a:lnTo>
                <a:lnTo>
                  <a:pt x="126" y="5"/>
                </a:lnTo>
                <a:lnTo>
                  <a:pt x="123" y="0"/>
                </a:lnTo>
                <a:lnTo>
                  <a:pt x="117" y="0"/>
                </a:lnTo>
                <a:lnTo>
                  <a:pt x="106" y="5"/>
                </a:lnTo>
                <a:lnTo>
                  <a:pt x="100" y="14"/>
                </a:lnTo>
                <a:lnTo>
                  <a:pt x="97" y="14"/>
                </a:lnTo>
                <a:lnTo>
                  <a:pt x="83" y="14"/>
                </a:lnTo>
                <a:lnTo>
                  <a:pt x="72" y="8"/>
                </a:lnTo>
                <a:lnTo>
                  <a:pt x="69" y="8"/>
                </a:lnTo>
                <a:lnTo>
                  <a:pt x="63" y="11"/>
                </a:lnTo>
                <a:lnTo>
                  <a:pt x="60" y="17"/>
                </a:lnTo>
                <a:lnTo>
                  <a:pt x="63" y="23"/>
                </a:lnTo>
                <a:lnTo>
                  <a:pt x="74" y="23"/>
                </a:lnTo>
                <a:lnTo>
                  <a:pt x="72" y="25"/>
                </a:lnTo>
                <a:lnTo>
                  <a:pt x="69" y="28"/>
                </a:lnTo>
                <a:lnTo>
                  <a:pt x="72" y="34"/>
                </a:lnTo>
                <a:lnTo>
                  <a:pt x="72" y="37"/>
                </a:lnTo>
                <a:lnTo>
                  <a:pt x="74" y="43"/>
                </a:lnTo>
                <a:lnTo>
                  <a:pt x="80" y="43"/>
                </a:lnTo>
                <a:lnTo>
                  <a:pt x="86" y="54"/>
                </a:lnTo>
                <a:lnTo>
                  <a:pt x="97" y="60"/>
                </a:lnTo>
                <a:lnTo>
                  <a:pt x="80" y="68"/>
                </a:lnTo>
                <a:lnTo>
                  <a:pt x="89" y="83"/>
                </a:lnTo>
                <a:lnTo>
                  <a:pt x="77" y="94"/>
                </a:lnTo>
                <a:lnTo>
                  <a:pt x="80" y="100"/>
                </a:lnTo>
                <a:lnTo>
                  <a:pt x="72" y="106"/>
                </a:lnTo>
                <a:lnTo>
                  <a:pt x="69" y="120"/>
                </a:lnTo>
                <a:lnTo>
                  <a:pt x="60" y="126"/>
                </a:lnTo>
                <a:lnTo>
                  <a:pt x="57" y="135"/>
                </a:lnTo>
                <a:lnTo>
                  <a:pt x="49" y="146"/>
                </a:lnTo>
                <a:lnTo>
                  <a:pt x="31" y="149"/>
                </a:lnTo>
                <a:lnTo>
                  <a:pt x="26" y="143"/>
                </a:lnTo>
                <a:lnTo>
                  <a:pt x="20" y="152"/>
                </a:lnTo>
                <a:lnTo>
                  <a:pt x="17" y="157"/>
                </a:lnTo>
                <a:lnTo>
                  <a:pt x="14" y="166"/>
                </a:lnTo>
                <a:lnTo>
                  <a:pt x="17" y="166"/>
                </a:lnTo>
                <a:lnTo>
                  <a:pt x="20" y="169"/>
                </a:lnTo>
                <a:lnTo>
                  <a:pt x="26" y="169"/>
                </a:lnTo>
                <a:lnTo>
                  <a:pt x="29" y="169"/>
                </a:lnTo>
                <a:lnTo>
                  <a:pt x="29" y="180"/>
                </a:lnTo>
                <a:lnTo>
                  <a:pt x="31" y="186"/>
                </a:lnTo>
                <a:lnTo>
                  <a:pt x="37" y="186"/>
                </a:lnTo>
                <a:lnTo>
                  <a:pt x="49" y="206"/>
                </a:lnTo>
                <a:lnTo>
                  <a:pt x="46" y="215"/>
                </a:lnTo>
                <a:lnTo>
                  <a:pt x="40" y="218"/>
                </a:lnTo>
                <a:lnTo>
                  <a:pt x="37" y="212"/>
                </a:lnTo>
                <a:lnTo>
                  <a:pt x="29" y="218"/>
                </a:lnTo>
                <a:lnTo>
                  <a:pt x="20" y="215"/>
                </a:lnTo>
                <a:lnTo>
                  <a:pt x="8" y="215"/>
                </a:lnTo>
                <a:lnTo>
                  <a:pt x="8" y="221"/>
                </a:lnTo>
                <a:lnTo>
                  <a:pt x="3" y="224"/>
                </a:lnTo>
                <a:lnTo>
                  <a:pt x="0" y="226"/>
                </a:lnTo>
                <a:lnTo>
                  <a:pt x="6" y="232"/>
                </a:lnTo>
                <a:lnTo>
                  <a:pt x="11" y="238"/>
                </a:lnTo>
                <a:lnTo>
                  <a:pt x="17" y="244"/>
                </a:lnTo>
                <a:lnTo>
                  <a:pt x="23" y="244"/>
                </a:lnTo>
                <a:lnTo>
                  <a:pt x="37" y="238"/>
                </a:lnTo>
                <a:lnTo>
                  <a:pt x="34" y="244"/>
                </a:lnTo>
                <a:lnTo>
                  <a:pt x="31" y="246"/>
                </a:lnTo>
                <a:lnTo>
                  <a:pt x="29" y="249"/>
                </a:lnTo>
                <a:lnTo>
                  <a:pt x="20" y="252"/>
                </a:lnTo>
                <a:lnTo>
                  <a:pt x="14" y="249"/>
                </a:lnTo>
                <a:lnTo>
                  <a:pt x="14" y="252"/>
                </a:lnTo>
                <a:lnTo>
                  <a:pt x="20" y="261"/>
                </a:lnTo>
                <a:lnTo>
                  <a:pt x="29" y="269"/>
                </a:lnTo>
                <a:lnTo>
                  <a:pt x="40" y="278"/>
                </a:lnTo>
                <a:lnTo>
                  <a:pt x="49" y="281"/>
                </a:lnTo>
                <a:lnTo>
                  <a:pt x="57" y="281"/>
                </a:lnTo>
                <a:lnTo>
                  <a:pt x="66" y="275"/>
                </a:lnTo>
                <a:lnTo>
                  <a:pt x="69" y="272"/>
                </a:lnTo>
                <a:lnTo>
                  <a:pt x="72" y="264"/>
                </a:lnTo>
                <a:lnTo>
                  <a:pt x="69" y="261"/>
                </a:lnTo>
                <a:lnTo>
                  <a:pt x="72" y="255"/>
                </a:lnTo>
                <a:lnTo>
                  <a:pt x="74" y="252"/>
                </a:lnTo>
                <a:lnTo>
                  <a:pt x="77" y="255"/>
                </a:lnTo>
                <a:lnTo>
                  <a:pt x="74" y="264"/>
                </a:lnTo>
                <a:lnTo>
                  <a:pt x="80" y="267"/>
                </a:lnTo>
                <a:lnTo>
                  <a:pt x="77" y="272"/>
                </a:lnTo>
                <a:lnTo>
                  <a:pt x="83" y="278"/>
                </a:lnTo>
                <a:lnTo>
                  <a:pt x="80" y="292"/>
                </a:lnTo>
                <a:lnTo>
                  <a:pt x="83" y="304"/>
                </a:lnTo>
                <a:lnTo>
                  <a:pt x="86" y="310"/>
                </a:lnTo>
                <a:lnTo>
                  <a:pt x="86" y="318"/>
                </a:lnTo>
                <a:lnTo>
                  <a:pt x="89" y="327"/>
                </a:lnTo>
                <a:lnTo>
                  <a:pt x="92" y="333"/>
                </a:lnTo>
                <a:lnTo>
                  <a:pt x="95" y="341"/>
                </a:lnTo>
                <a:lnTo>
                  <a:pt x="97" y="367"/>
                </a:lnTo>
                <a:lnTo>
                  <a:pt x="103" y="379"/>
                </a:lnTo>
                <a:lnTo>
                  <a:pt x="112" y="393"/>
                </a:lnTo>
                <a:lnTo>
                  <a:pt x="117" y="404"/>
                </a:lnTo>
                <a:lnTo>
                  <a:pt x="123" y="416"/>
                </a:lnTo>
                <a:lnTo>
                  <a:pt x="129" y="430"/>
                </a:lnTo>
                <a:lnTo>
                  <a:pt x="135" y="447"/>
                </a:lnTo>
                <a:lnTo>
                  <a:pt x="143" y="462"/>
                </a:lnTo>
                <a:lnTo>
                  <a:pt x="149" y="476"/>
                </a:lnTo>
                <a:lnTo>
                  <a:pt x="155" y="488"/>
                </a:lnTo>
                <a:lnTo>
                  <a:pt x="158" y="496"/>
                </a:lnTo>
                <a:lnTo>
                  <a:pt x="161" y="505"/>
                </a:lnTo>
                <a:lnTo>
                  <a:pt x="163" y="516"/>
                </a:lnTo>
                <a:lnTo>
                  <a:pt x="169" y="525"/>
                </a:lnTo>
                <a:lnTo>
                  <a:pt x="172" y="531"/>
                </a:lnTo>
                <a:lnTo>
                  <a:pt x="178" y="531"/>
                </a:lnTo>
                <a:lnTo>
                  <a:pt x="186" y="528"/>
                </a:lnTo>
                <a:lnTo>
                  <a:pt x="189" y="528"/>
                </a:lnTo>
                <a:lnTo>
                  <a:pt x="189" y="525"/>
                </a:lnTo>
                <a:lnTo>
                  <a:pt x="189" y="519"/>
                </a:lnTo>
                <a:lnTo>
                  <a:pt x="189" y="516"/>
                </a:lnTo>
                <a:lnTo>
                  <a:pt x="192" y="514"/>
                </a:lnTo>
                <a:lnTo>
                  <a:pt x="201" y="508"/>
                </a:lnTo>
                <a:lnTo>
                  <a:pt x="204" y="508"/>
                </a:lnTo>
                <a:lnTo>
                  <a:pt x="212" y="508"/>
                </a:lnTo>
                <a:lnTo>
                  <a:pt x="209" y="508"/>
                </a:lnTo>
                <a:lnTo>
                  <a:pt x="206" y="505"/>
                </a:lnTo>
                <a:lnTo>
                  <a:pt x="204" y="502"/>
                </a:lnTo>
                <a:lnTo>
                  <a:pt x="204" y="499"/>
                </a:lnTo>
                <a:lnTo>
                  <a:pt x="209" y="488"/>
                </a:lnTo>
                <a:lnTo>
                  <a:pt x="218" y="488"/>
                </a:lnTo>
                <a:lnTo>
                  <a:pt x="218" y="470"/>
                </a:lnTo>
                <a:lnTo>
                  <a:pt x="215" y="462"/>
                </a:lnTo>
                <a:lnTo>
                  <a:pt x="221" y="447"/>
                </a:lnTo>
                <a:lnTo>
                  <a:pt x="224" y="427"/>
                </a:lnTo>
                <a:lnTo>
                  <a:pt x="218" y="413"/>
                </a:lnTo>
                <a:lnTo>
                  <a:pt x="218" y="399"/>
                </a:lnTo>
                <a:lnTo>
                  <a:pt x="215" y="390"/>
                </a:lnTo>
                <a:lnTo>
                  <a:pt x="218" y="384"/>
                </a:lnTo>
                <a:lnTo>
                  <a:pt x="221" y="381"/>
                </a:lnTo>
                <a:lnTo>
                  <a:pt x="224" y="379"/>
                </a:lnTo>
                <a:lnTo>
                  <a:pt x="227" y="381"/>
                </a:lnTo>
                <a:lnTo>
                  <a:pt x="232" y="376"/>
                </a:lnTo>
                <a:lnTo>
                  <a:pt x="235" y="367"/>
                </a:lnTo>
                <a:lnTo>
                  <a:pt x="247" y="370"/>
                </a:lnTo>
                <a:lnTo>
                  <a:pt x="252" y="361"/>
                </a:lnTo>
                <a:lnTo>
                  <a:pt x="252" y="353"/>
                </a:lnTo>
                <a:lnTo>
                  <a:pt x="255" y="353"/>
                </a:lnTo>
                <a:lnTo>
                  <a:pt x="261" y="347"/>
                </a:lnTo>
                <a:lnTo>
                  <a:pt x="270" y="335"/>
                </a:lnTo>
                <a:lnTo>
                  <a:pt x="278" y="333"/>
                </a:lnTo>
                <a:lnTo>
                  <a:pt x="284" y="318"/>
                </a:lnTo>
                <a:lnTo>
                  <a:pt x="287" y="315"/>
                </a:lnTo>
                <a:lnTo>
                  <a:pt x="290" y="313"/>
                </a:lnTo>
                <a:lnTo>
                  <a:pt x="307" y="301"/>
                </a:lnTo>
                <a:lnTo>
                  <a:pt x="313" y="298"/>
                </a:lnTo>
                <a:lnTo>
                  <a:pt x="318" y="292"/>
                </a:lnTo>
                <a:lnTo>
                  <a:pt x="321" y="287"/>
                </a:lnTo>
                <a:lnTo>
                  <a:pt x="321" y="284"/>
                </a:lnTo>
                <a:lnTo>
                  <a:pt x="318" y="278"/>
                </a:lnTo>
                <a:lnTo>
                  <a:pt x="318" y="272"/>
                </a:lnTo>
                <a:lnTo>
                  <a:pt x="321" y="269"/>
                </a:lnTo>
                <a:lnTo>
                  <a:pt x="324" y="267"/>
                </a:lnTo>
                <a:lnTo>
                  <a:pt x="333" y="264"/>
                </a:lnTo>
                <a:lnTo>
                  <a:pt x="333" y="261"/>
                </a:lnTo>
                <a:lnTo>
                  <a:pt x="336" y="258"/>
                </a:lnTo>
                <a:lnTo>
                  <a:pt x="339" y="264"/>
                </a:lnTo>
                <a:lnTo>
                  <a:pt x="341" y="267"/>
                </a:lnTo>
                <a:lnTo>
                  <a:pt x="344" y="267"/>
                </a:lnTo>
                <a:lnTo>
                  <a:pt x="347" y="264"/>
                </a:lnTo>
                <a:lnTo>
                  <a:pt x="350" y="267"/>
                </a:lnTo>
                <a:lnTo>
                  <a:pt x="353" y="267"/>
                </a:lnTo>
                <a:lnTo>
                  <a:pt x="350" y="252"/>
                </a:lnTo>
                <a:lnTo>
                  <a:pt x="344" y="238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44" name="Freeform 532"/>
          <p:cNvSpPr>
            <a:spLocks/>
          </p:cNvSpPr>
          <p:nvPr/>
        </p:nvSpPr>
        <p:spPr bwMode="gray">
          <a:xfrm>
            <a:off x="8117462" y="3519095"/>
            <a:ext cx="74014" cy="114003"/>
          </a:xfrm>
          <a:custGeom>
            <a:avLst/>
            <a:gdLst>
              <a:gd name="T0" fmla="*/ 2147483647 w 37"/>
              <a:gd name="T1" fmla="*/ 2147483647 h 75"/>
              <a:gd name="T2" fmla="*/ 2147483647 w 37"/>
              <a:gd name="T3" fmla="*/ 2147483647 h 75"/>
              <a:gd name="T4" fmla="*/ 2147483647 w 37"/>
              <a:gd name="T5" fmla="*/ 2147483647 h 75"/>
              <a:gd name="T6" fmla="*/ 2147483647 w 37"/>
              <a:gd name="T7" fmla="*/ 2147483647 h 75"/>
              <a:gd name="T8" fmla="*/ 2147483647 w 37"/>
              <a:gd name="T9" fmla="*/ 2147483647 h 75"/>
              <a:gd name="T10" fmla="*/ 2147483647 w 37"/>
              <a:gd name="T11" fmla="*/ 2147483647 h 75"/>
              <a:gd name="T12" fmla="*/ 2147483647 w 37"/>
              <a:gd name="T13" fmla="*/ 2147483647 h 75"/>
              <a:gd name="T14" fmla="*/ 2147483647 w 37"/>
              <a:gd name="T15" fmla="*/ 2147483647 h 75"/>
              <a:gd name="T16" fmla="*/ 2147483647 w 37"/>
              <a:gd name="T17" fmla="*/ 2147483647 h 75"/>
              <a:gd name="T18" fmla="*/ 2147483647 w 37"/>
              <a:gd name="T19" fmla="*/ 2147483647 h 75"/>
              <a:gd name="T20" fmla="*/ 2147483647 w 37"/>
              <a:gd name="T21" fmla="*/ 2147483647 h 75"/>
              <a:gd name="T22" fmla="*/ 2147483647 w 37"/>
              <a:gd name="T23" fmla="*/ 0 h 75"/>
              <a:gd name="T24" fmla="*/ 2147483647 w 37"/>
              <a:gd name="T25" fmla="*/ 0 h 75"/>
              <a:gd name="T26" fmla="*/ 2147483647 w 37"/>
              <a:gd name="T27" fmla="*/ 0 h 75"/>
              <a:gd name="T28" fmla="*/ 2147483647 w 37"/>
              <a:gd name="T29" fmla="*/ 2147483647 h 75"/>
              <a:gd name="T30" fmla="*/ 2147483647 w 37"/>
              <a:gd name="T31" fmla="*/ 2147483647 h 75"/>
              <a:gd name="T32" fmla="*/ 2147483647 w 37"/>
              <a:gd name="T33" fmla="*/ 2147483647 h 75"/>
              <a:gd name="T34" fmla="*/ 2147483647 w 37"/>
              <a:gd name="T35" fmla="*/ 2147483647 h 75"/>
              <a:gd name="T36" fmla="*/ 2147483647 w 37"/>
              <a:gd name="T37" fmla="*/ 2147483647 h 75"/>
              <a:gd name="T38" fmla="*/ 0 w 37"/>
              <a:gd name="T39" fmla="*/ 2147483647 h 75"/>
              <a:gd name="T40" fmla="*/ 0 w 37"/>
              <a:gd name="T41" fmla="*/ 2147483647 h 75"/>
              <a:gd name="T42" fmla="*/ 2147483647 w 37"/>
              <a:gd name="T43" fmla="*/ 2147483647 h 75"/>
              <a:gd name="T44" fmla="*/ 2147483647 w 37"/>
              <a:gd name="T45" fmla="*/ 2147483647 h 75"/>
              <a:gd name="T46" fmla="*/ 0 w 37"/>
              <a:gd name="T47" fmla="*/ 2147483647 h 75"/>
              <a:gd name="T48" fmla="*/ 0 w 37"/>
              <a:gd name="T49" fmla="*/ 2147483647 h 75"/>
              <a:gd name="T50" fmla="*/ 0 w 37"/>
              <a:gd name="T51" fmla="*/ 2147483647 h 75"/>
              <a:gd name="T52" fmla="*/ 0 w 37"/>
              <a:gd name="T53" fmla="*/ 2147483647 h 75"/>
              <a:gd name="T54" fmla="*/ 2147483647 w 37"/>
              <a:gd name="T55" fmla="*/ 2147483647 h 75"/>
              <a:gd name="T56" fmla="*/ 2147483647 w 37"/>
              <a:gd name="T57" fmla="*/ 2147483647 h 75"/>
              <a:gd name="T58" fmla="*/ 2147483647 w 37"/>
              <a:gd name="T59" fmla="*/ 2147483647 h 75"/>
              <a:gd name="T60" fmla="*/ 2147483647 w 37"/>
              <a:gd name="T61" fmla="*/ 2147483647 h 75"/>
              <a:gd name="T62" fmla="*/ 2147483647 w 37"/>
              <a:gd name="T63" fmla="*/ 2147483647 h 75"/>
              <a:gd name="T64" fmla="*/ 2147483647 w 37"/>
              <a:gd name="T65" fmla="*/ 2147483647 h 75"/>
              <a:gd name="T66" fmla="*/ 2147483647 w 37"/>
              <a:gd name="T67" fmla="*/ 2147483647 h 75"/>
              <a:gd name="T68" fmla="*/ 2147483647 w 37"/>
              <a:gd name="T69" fmla="*/ 2147483647 h 75"/>
              <a:gd name="T70" fmla="*/ 2147483647 w 37"/>
              <a:gd name="T71" fmla="*/ 2147483647 h 75"/>
              <a:gd name="T72" fmla="*/ 2147483647 w 37"/>
              <a:gd name="T73" fmla="*/ 2147483647 h 75"/>
              <a:gd name="T74" fmla="*/ 2147483647 w 37"/>
              <a:gd name="T75" fmla="*/ 2147483647 h 75"/>
              <a:gd name="T76" fmla="*/ 2147483647 w 37"/>
              <a:gd name="T77" fmla="*/ 2147483647 h 75"/>
              <a:gd name="T78" fmla="*/ 2147483647 w 37"/>
              <a:gd name="T79" fmla="*/ 2147483647 h 75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37"/>
              <a:gd name="T121" fmla="*/ 0 h 75"/>
              <a:gd name="T122" fmla="*/ 37 w 37"/>
              <a:gd name="T123" fmla="*/ 75 h 75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37" h="75">
                <a:moveTo>
                  <a:pt x="37" y="46"/>
                </a:moveTo>
                <a:lnTo>
                  <a:pt x="37" y="46"/>
                </a:lnTo>
                <a:lnTo>
                  <a:pt x="29" y="35"/>
                </a:lnTo>
                <a:lnTo>
                  <a:pt x="26" y="23"/>
                </a:lnTo>
                <a:lnTo>
                  <a:pt x="20" y="12"/>
                </a:lnTo>
                <a:lnTo>
                  <a:pt x="11" y="3"/>
                </a:lnTo>
                <a:lnTo>
                  <a:pt x="9" y="3"/>
                </a:lnTo>
                <a:lnTo>
                  <a:pt x="6" y="0"/>
                </a:lnTo>
                <a:lnTo>
                  <a:pt x="3" y="0"/>
                </a:lnTo>
                <a:lnTo>
                  <a:pt x="3" y="3"/>
                </a:lnTo>
                <a:lnTo>
                  <a:pt x="6" y="9"/>
                </a:lnTo>
                <a:lnTo>
                  <a:pt x="3" y="15"/>
                </a:lnTo>
                <a:lnTo>
                  <a:pt x="0" y="15"/>
                </a:lnTo>
                <a:lnTo>
                  <a:pt x="0" y="12"/>
                </a:lnTo>
                <a:lnTo>
                  <a:pt x="3" y="20"/>
                </a:lnTo>
                <a:lnTo>
                  <a:pt x="0" y="32"/>
                </a:lnTo>
                <a:lnTo>
                  <a:pt x="0" y="43"/>
                </a:lnTo>
                <a:lnTo>
                  <a:pt x="3" y="58"/>
                </a:lnTo>
                <a:lnTo>
                  <a:pt x="6" y="69"/>
                </a:lnTo>
                <a:lnTo>
                  <a:pt x="14" y="75"/>
                </a:lnTo>
                <a:lnTo>
                  <a:pt x="23" y="75"/>
                </a:lnTo>
                <a:lnTo>
                  <a:pt x="32" y="69"/>
                </a:lnTo>
                <a:lnTo>
                  <a:pt x="34" y="66"/>
                </a:lnTo>
                <a:lnTo>
                  <a:pt x="37" y="61"/>
                </a:lnTo>
                <a:lnTo>
                  <a:pt x="37" y="55"/>
                </a:lnTo>
                <a:lnTo>
                  <a:pt x="37" y="46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427" name="Freeform 533"/>
          <p:cNvSpPr>
            <a:spLocks/>
          </p:cNvSpPr>
          <p:nvPr/>
        </p:nvSpPr>
        <p:spPr bwMode="gray">
          <a:xfrm>
            <a:off x="4780862" y="3438093"/>
            <a:ext cx="100018" cy="46502"/>
          </a:xfrm>
          <a:custGeom>
            <a:avLst/>
            <a:gdLst>
              <a:gd name="T0" fmla="*/ 2147483647 w 49"/>
              <a:gd name="T1" fmla="*/ 2147483647 h 31"/>
              <a:gd name="T2" fmla="*/ 2147483647 w 49"/>
              <a:gd name="T3" fmla="*/ 2147483647 h 31"/>
              <a:gd name="T4" fmla="*/ 2147483647 w 49"/>
              <a:gd name="T5" fmla="*/ 2147483647 h 31"/>
              <a:gd name="T6" fmla="*/ 2147483647 w 49"/>
              <a:gd name="T7" fmla="*/ 2147483647 h 31"/>
              <a:gd name="T8" fmla="*/ 2147483647 w 49"/>
              <a:gd name="T9" fmla="*/ 2147483647 h 31"/>
              <a:gd name="T10" fmla="*/ 2147483647 w 49"/>
              <a:gd name="T11" fmla="*/ 2147483647 h 31"/>
              <a:gd name="T12" fmla="*/ 2147483647 w 49"/>
              <a:gd name="T13" fmla="*/ 2147483647 h 31"/>
              <a:gd name="T14" fmla="*/ 2147483647 w 49"/>
              <a:gd name="T15" fmla="*/ 0 h 31"/>
              <a:gd name="T16" fmla="*/ 2147483647 w 49"/>
              <a:gd name="T17" fmla="*/ 0 h 31"/>
              <a:gd name="T18" fmla="*/ 2147483647 w 49"/>
              <a:gd name="T19" fmla="*/ 2147483647 h 31"/>
              <a:gd name="T20" fmla="*/ 2147483647 w 49"/>
              <a:gd name="T21" fmla="*/ 2147483647 h 31"/>
              <a:gd name="T22" fmla="*/ 0 w 49"/>
              <a:gd name="T23" fmla="*/ 2147483647 h 31"/>
              <a:gd name="T24" fmla="*/ 0 w 49"/>
              <a:gd name="T25" fmla="*/ 2147483647 h 31"/>
              <a:gd name="T26" fmla="*/ 0 w 49"/>
              <a:gd name="T27" fmla="*/ 2147483647 h 31"/>
              <a:gd name="T28" fmla="*/ 0 w 49"/>
              <a:gd name="T29" fmla="*/ 2147483647 h 31"/>
              <a:gd name="T30" fmla="*/ 2147483647 w 49"/>
              <a:gd name="T31" fmla="*/ 2147483647 h 31"/>
              <a:gd name="T32" fmla="*/ 2147483647 w 49"/>
              <a:gd name="T33" fmla="*/ 2147483647 h 31"/>
              <a:gd name="T34" fmla="*/ 2147483647 w 49"/>
              <a:gd name="T35" fmla="*/ 2147483647 h 31"/>
              <a:gd name="T36" fmla="*/ 2147483647 w 49"/>
              <a:gd name="T37" fmla="*/ 2147483647 h 31"/>
              <a:gd name="T38" fmla="*/ 2147483647 w 49"/>
              <a:gd name="T39" fmla="*/ 2147483647 h 31"/>
              <a:gd name="T40" fmla="*/ 2147483647 w 49"/>
              <a:gd name="T41" fmla="*/ 2147483647 h 31"/>
              <a:gd name="T42" fmla="*/ 2147483647 w 49"/>
              <a:gd name="T43" fmla="*/ 2147483647 h 31"/>
              <a:gd name="T44" fmla="*/ 2147483647 w 49"/>
              <a:gd name="T45" fmla="*/ 2147483647 h 31"/>
              <a:gd name="T46" fmla="*/ 2147483647 w 49"/>
              <a:gd name="T47" fmla="*/ 2147483647 h 31"/>
              <a:gd name="T48" fmla="*/ 2147483647 w 49"/>
              <a:gd name="T49" fmla="*/ 2147483647 h 31"/>
              <a:gd name="T50" fmla="*/ 2147483647 w 49"/>
              <a:gd name="T51" fmla="*/ 2147483647 h 31"/>
              <a:gd name="T52" fmla="*/ 2147483647 w 49"/>
              <a:gd name="T53" fmla="*/ 2147483647 h 31"/>
              <a:gd name="T54" fmla="*/ 2147483647 w 49"/>
              <a:gd name="T55" fmla="*/ 2147483647 h 31"/>
              <a:gd name="T56" fmla="*/ 2147483647 w 49"/>
              <a:gd name="T57" fmla="*/ 2147483647 h 31"/>
              <a:gd name="T58" fmla="*/ 2147483647 w 49"/>
              <a:gd name="T59" fmla="*/ 2147483647 h 31"/>
              <a:gd name="T60" fmla="*/ 2147483647 w 49"/>
              <a:gd name="T61" fmla="*/ 2147483647 h 31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49"/>
              <a:gd name="T94" fmla="*/ 0 h 31"/>
              <a:gd name="T95" fmla="*/ 49 w 49"/>
              <a:gd name="T96" fmla="*/ 31 h 31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49" h="31">
                <a:moveTo>
                  <a:pt x="43" y="14"/>
                </a:moveTo>
                <a:lnTo>
                  <a:pt x="43" y="14"/>
                </a:lnTo>
                <a:lnTo>
                  <a:pt x="46" y="14"/>
                </a:lnTo>
                <a:lnTo>
                  <a:pt x="49" y="11"/>
                </a:lnTo>
                <a:lnTo>
                  <a:pt x="41" y="3"/>
                </a:lnTo>
                <a:lnTo>
                  <a:pt x="43" y="5"/>
                </a:lnTo>
                <a:lnTo>
                  <a:pt x="49" y="5"/>
                </a:lnTo>
                <a:lnTo>
                  <a:pt x="49" y="0"/>
                </a:lnTo>
                <a:lnTo>
                  <a:pt x="23" y="0"/>
                </a:lnTo>
                <a:lnTo>
                  <a:pt x="18" y="5"/>
                </a:lnTo>
                <a:lnTo>
                  <a:pt x="3" y="5"/>
                </a:lnTo>
                <a:lnTo>
                  <a:pt x="0" y="8"/>
                </a:lnTo>
                <a:lnTo>
                  <a:pt x="9" y="14"/>
                </a:lnTo>
                <a:lnTo>
                  <a:pt x="15" y="14"/>
                </a:lnTo>
                <a:lnTo>
                  <a:pt x="20" y="14"/>
                </a:lnTo>
                <a:lnTo>
                  <a:pt x="18" y="17"/>
                </a:lnTo>
                <a:lnTo>
                  <a:pt x="18" y="23"/>
                </a:lnTo>
                <a:lnTo>
                  <a:pt x="20" y="31"/>
                </a:lnTo>
                <a:lnTo>
                  <a:pt x="26" y="31"/>
                </a:lnTo>
                <a:lnTo>
                  <a:pt x="26" y="23"/>
                </a:lnTo>
                <a:lnTo>
                  <a:pt x="35" y="20"/>
                </a:lnTo>
                <a:lnTo>
                  <a:pt x="43" y="14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28" name="Freeform 534"/>
          <p:cNvSpPr>
            <a:spLocks/>
          </p:cNvSpPr>
          <p:nvPr/>
        </p:nvSpPr>
        <p:spPr bwMode="gray">
          <a:xfrm>
            <a:off x="8343504" y="2968581"/>
            <a:ext cx="458082" cy="543015"/>
          </a:xfrm>
          <a:custGeom>
            <a:avLst/>
            <a:gdLst>
              <a:gd name="T0" fmla="*/ 2147483647 w 227"/>
              <a:gd name="T1" fmla="*/ 2147483647 h 359"/>
              <a:gd name="T2" fmla="*/ 2147483647 w 227"/>
              <a:gd name="T3" fmla="*/ 2147483647 h 359"/>
              <a:gd name="T4" fmla="*/ 2147483647 w 227"/>
              <a:gd name="T5" fmla="*/ 2147483647 h 359"/>
              <a:gd name="T6" fmla="*/ 2147483647 w 227"/>
              <a:gd name="T7" fmla="*/ 2147483647 h 359"/>
              <a:gd name="T8" fmla="*/ 2147483647 w 227"/>
              <a:gd name="T9" fmla="*/ 2147483647 h 359"/>
              <a:gd name="T10" fmla="*/ 2147483647 w 227"/>
              <a:gd name="T11" fmla="*/ 2147483647 h 359"/>
              <a:gd name="T12" fmla="*/ 2147483647 w 227"/>
              <a:gd name="T13" fmla="*/ 2147483647 h 359"/>
              <a:gd name="T14" fmla="*/ 2147483647 w 227"/>
              <a:gd name="T15" fmla="*/ 2147483647 h 359"/>
              <a:gd name="T16" fmla="*/ 2147483647 w 227"/>
              <a:gd name="T17" fmla="*/ 2147483647 h 359"/>
              <a:gd name="T18" fmla="*/ 2147483647 w 227"/>
              <a:gd name="T19" fmla="*/ 2147483647 h 359"/>
              <a:gd name="T20" fmla="*/ 2147483647 w 227"/>
              <a:gd name="T21" fmla="*/ 2147483647 h 359"/>
              <a:gd name="T22" fmla="*/ 2147483647 w 227"/>
              <a:gd name="T23" fmla="*/ 2147483647 h 359"/>
              <a:gd name="T24" fmla="*/ 2147483647 w 227"/>
              <a:gd name="T25" fmla="*/ 2147483647 h 359"/>
              <a:gd name="T26" fmla="*/ 2147483647 w 227"/>
              <a:gd name="T27" fmla="*/ 2147483647 h 359"/>
              <a:gd name="T28" fmla="*/ 2147483647 w 227"/>
              <a:gd name="T29" fmla="*/ 2147483647 h 359"/>
              <a:gd name="T30" fmla="*/ 2147483647 w 227"/>
              <a:gd name="T31" fmla="*/ 2147483647 h 359"/>
              <a:gd name="T32" fmla="*/ 2147483647 w 227"/>
              <a:gd name="T33" fmla="*/ 2147483647 h 359"/>
              <a:gd name="T34" fmla="*/ 2147483647 w 227"/>
              <a:gd name="T35" fmla="*/ 2147483647 h 359"/>
              <a:gd name="T36" fmla="*/ 2147483647 w 227"/>
              <a:gd name="T37" fmla="*/ 2147483647 h 359"/>
              <a:gd name="T38" fmla="*/ 2147483647 w 227"/>
              <a:gd name="T39" fmla="*/ 2147483647 h 359"/>
              <a:gd name="T40" fmla="*/ 2147483647 w 227"/>
              <a:gd name="T41" fmla="*/ 2147483647 h 359"/>
              <a:gd name="T42" fmla="*/ 2147483647 w 227"/>
              <a:gd name="T43" fmla="*/ 2147483647 h 359"/>
              <a:gd name="T44" fmla="*/ 2147483647 w 227"/>
              <a:gd name="T45" fmla="*/ 2147483647 h 359"/>
              <a:gd name="T46" fmla="*/ 2147483647 w 227"/>
              <a:gd name="T47" fmla="*/ 2147483647 h 359"/>
              <a:gd name="T48" fmla="*/ 2147483647 w 227"/>
              <a:gd name="T49" fmla="*/ 2147483647 h 359"/>
              <a:gd name="T50" fmla="*/ 2147483647 w 227"/>
              <a:gd name="T51" fmla="*/ 2147483647 h 359"/>
              <a:gd name="T52" fmla="*/ 2147483647 w 227"/>
              <a:gd name="T53" fmla="*/ 2147483647 h 359"/>
              <a:gd name="T54" fmla="*/ 2147483647 w 227"/>
              <a:gd name="T55" fmla="*/ 2147483647 h 359"/>
              <a:gd name="T56" fmla="*/ 2147483647 w 227"/>
              <a:gd name="T57" fmla="*/ 2147483647 h 359"/>
              <a:gd name="T58" fmla="*/ 2147483647 w 227"/>
              <a:gd name="T59" fmla="*/ 2147483647 h 359"/>
              <a:gd name="T60" fmla="*/ 2147483647 w 227"/>
              <a:gd name="T61" fmla="*/ 2147483647 h 359"/>
              <a:gd name="T62" fmla="*/ 2147483647 w 227"/>
              <a:gd name="T63" fmla="*/ 2147483647 h 359"/>
              <a:gd name="T64" fmla="*/ 2147483647 w 227"/>
              <a:gd name="T65" fmla="*/ 2147483647 h 359"/>
              <a:gd name="T66" fmla="*/ 2147483647 w 227"/>
              <a:gd name="T67" fmla="*/ 2147483647 h 359"/>
              <a:gd name="T68" fmla="*/ 2147483647 w 227"/>
              <a:gd name="T69" fmla="*/ 2147483647 h 359"/>
              <a:gd name="T70" fmla="*/ 2147483647 w 227"/>
              <a:gd name="T71" fmla="*/ 2147483647 h 359"/>
              <a:gd name="T72" fmla="*/ 2147483647 w 227"/>
              <a:gd name="T73" fmla="*/ 2147483647 h 359"/>
              <a:gd name="T74" fmla="*/ 2147483647 w 227"/>
              <a:gd name="T75" fmla="*/ 2147483647 h 359"/>
              <a:gd name="T76" fmla="*/ 2147483647 w 227"/>
              <a:gd name="T77" fmla="*/ 2147483647 h 359"/>
              <a:gd name="T78" fmla="*/ 0 w 227"/>
              <a:gd name="T79" fmla="*/ 2147483647 h 359"/>
              <a:gd name="T80" fmla="*/ 2147483647 w 227"/>
              <a:gd name="T81" fmla="*/ 2147483647 h 359"/>
              <a:gd name="T82" fmla="*/ 2147483647 w 227"/>
              <a:gd name="T83" fmla="*/ 2147483647 h 359"/>
              <a:gd name="T84" fmla="*/ 2147483647 w 227"/>
              <a:gd name="T85" fmla="*/ 2147483647 h 359"/>
              <a:gd name="T86" fmla="*/ 2147483647 w 227"/>
              <a:gd name="T87" fmla="*/ 2147483647 h 359"/>
              <a:gd name="T88" fmla="*/ 2147483647 w 227"/>
              <a:gd name="T89" fmla="*/ 2147483647 h 359"/>
              <a:gd name="T90" fmla="*/ 2147483647 w 227"/>
              <a:gd name="T91" fmla="*/ 2147483647 h 359"/>
              <a:gd name="T92" fmla="*/ 2147483647 w 227"/>
              <a:gd name="T93" fmla="*/ 2147483647 h 359"/>
              <a:gd name="T94" fmla="*/ 2147483647 w 227"/>
              <a:gd name="T95" fmla="*/ 2147483647 h 359"/>
              <a:gd name="T96" fmla="*/ 2147483647 w 227"/>
              <a:gd name="T97" fmla="*/ 2147483647 h 359"/>
              <a:gd name="T98" fmla="*/ 2147483647 w 227"/>
              <a:gd name="T99" fmla="*/ 2147483647 h 359"/>
              <a:gd name="T100" fmla="*/ 2147483647 w 227"/>
              <a:gd name="T101" fmla="*/ 2147483647 h 359"/>
              <a:gd name="T102" fmla="*/ 2147483647 w 227"/>
              <a:gd name="T103" fmla="*/ 2147483647 h 359"/>
              <a:gd name="T104" fmla="*/ 2147483647 w 227"/>
              <a:gd name="T105" fmla="*/ 2147483647 h 359"/>
              <a:gd name="T106" fmla="*/ 2147483647 w 227"/>
              <a:gd name="T107" fmla="*/ 2147483647 h 359"/>
              <a:gd name="T108" fmla="*/ 2147483647 w 227"/>
              <a:gd name="T109" fmla="*/ 2147483647 h 359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227"/>
              <a:gd name="T166" fmla="*/ 0 h 359"/>
              <a:gd name="T167" fmla="*/ 227 w 227"/>
              <a:gd name="T168" fmla="*/ 359 h 359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227" h="359">
                <a:moveTo>
                  <a:pt x="166" y="232"/>
                </a:moveTo>
                <a:lnTo>
                  <a:pt x="166" y="232"/>
                </a:lnTo>
                <a:lnTo>
                  <a:pt x="166" y="224"/>
                </a:lnTo>
                <a:lnTo>
                  <a:pt x="166" y="212"/>
                </a:lnTo>
                <a:lnTo>
                  <a:pt x="169" y="212"/>
                </a:lnTo>
                <a:lnTo>
                  <a:pt x="169" y="218"/>
                </a:lnTo>
                <a:lnTo>
                  <a:pt x="172" y="224"/>
                </a:lnTo>
                <a:lnTo>
                  <a:pt x="175" y="226"/>
                </a:lnTo>
                <a:lnTo>
                  <a:pt x="178" y="232"/>
                </a:lnTo>
                <a:lnTo>
                  <a:pt x="181" y="235"/>
                </a:lnTo>
                <a:lnTo>
                  <a:pt x="181" y="238"/>
                </a:lnTo>
                <a:lnTo>
                  <a:pt x="184" y="232"/>
                </a:lnTo>
                <a:lnTo>
                  <a:pt x="184" y="238"/>
                </a:lnTo>
                <a:lnTo>
                  <a:pt x="184" y="244"/>
                </a:lnTo>
                <a:lnTo>
                  <a:pt x="186" y="249"/>
                </a:lnTo>
                <a:lnTo>
                  <a:pt x="184" y="252"/>
                </a:lnTo>
                <a:lnTo>
                  <a:pt x="186" y="261"/>
                </a:lnTo>
                <a:lnTo>
                  <a:pt x="192" y="275"/>
                </a:lnTo>
                <a:lnTo>
                  <a:pt x="195" y="287"/>
                </a:lnTo>
                <a:lnTo>
                  <a:pt x="201" y="287"/>
                </a:lnTo>
                <a:lnTo>
                  <a:pt x="204" y="295"/>
                </a:lnTo>
                <a:lnTo>
                  <a:pt x="204" y="304"/>
                </a:lnTo>
                <a:lnTo>
                  <a:pt x="207" y="315"/>
                </a:lnTo>
                <a:lnTo>
                  <a:pt x="209" y="327"/>
                </a:lnTo>
                <a:lnTo>
                  <a:pt x="209" y="338"/>
                </a:lnTo>
                <a:lnTo>
                  <a:pt x="207" y="341"/>
                </a:lnTo>
                <a:lnTo>
                  <a:pt x="204" y="344"/>
                </a:lnTo>
                <a:lnTo>
                  <a:pt x="204" y="347"/>
                </a:lnTo>
                <a:lnTo>
                  <a:pt x="207" y="359"/>
                </a:lnTo>
                <a:lnTo>
                  <a:pt x="209" y="356"/>
                </a:lnTo>
                <a:lnTo>
                  <a:pt x="209" y="344"/>
                </a:lnTo>
                <a:lnTo>
                  <a:pt x="218" y="336"/>
                </a:lnTo>
                <a:lnTo>
                  <a:pt x="221" y="330"/>
                </a:lnTo>
                <a:lnTo>
                  <a:pt x="224" y="324"/>
                </a:lnTo>
                <a:lnTo>
                  <a:pt x="224" y="321"/>
                </a:lnTo>
                <a:lnTo>
                  <a:pt x="221" y="318"/>
                </a:lnTo>
                <a:lnTo>
                  <a:pt x="218" y="313"/>
                </a:lnTo>
                <a:lnTo>
                  <a:pt x="212" y="307"/>
                </a:lnTo>
                <a:lnTo>
                  <a:pt x="212" y="298"/>
                </a:lnTo>
                <a:lnTo>
                  <a:pt x="212" y="295"/>
                </a:lnTo>
                <a:lnTo>
                  <a:pt x="212" y="290"/>
                </a:lnTo>
                <a:lnTo>
                  <a:pt x="209" y="284"/>
                </a:lnTo>
                <a:lnTo>
                  <a:pt x="204" y="281"/>
                </a:lnTo>
                <a:lnTo>
                  <a:pt x="198" y="272"/>
                </a:lnTo>
                <a:lnTo>
                  <a:pt x="192" y="261"/>
                </a:lnTo>
                <a:lnTo>
                  <a:pt x="192" y="258"/>
                </a:lnTo>
                <a:lnTo>
                  <a:pt x="198" y="252"/>
                </a:lnTo>
                <a:lnTo>
                  <a:pt x="195" y="241"/>
                </a:lnTo>
                <a:lnTo>
                  <a:pt x="198" y="238"/>
                </a:lnTo>
                <a:lnTo>
                  <a:pt x="201" y="238"/>
                </a:lnTo>
                <a:lnTo>
                  <a:pt x="201" y="235"/>
                </a:lnTo>
                <a:lnTo>
                  <a:pt x="195" y="238"/>
                </a:lnTo>
                <a:lnTo>
                  <a:pt x="195" y="235"/>
                </a:lnTo>
                <a:lnTo>
                  <a:pt x="195" y="229"/>
                </a:lnTo>
                <a:lnTo>
                  <a:pt x="189" y="221"/>
                </a:lnTo>
                <a:lnTo>
                  <a:pt x="178" y="212"/>
                </a:lnTo>
                <a:lnTo>
                  <a:pt x="175" y="203"/>
                </a:lnTo>
                <a:lnTo>
                  <a:pt x="166" y="192"/>
                </a:lnTo>
                <a:lnTo>
                  <a:pt x="178" y="192"/>
                </a:lnTo>
                <a:lnTo>
                  <a:pt x="175" y="186"/>
                </a:lnTo>
                <a:lnTo>
                  <a:pt x="175" y="183"/>
                </a:lnTo>
                <a:lnTo>
                  <a:pt x="178" y="175"/>
                </a:lnTo>
                <a:lnTo>
                  <a:pt x="178" y="172"/>
                </a:lnTo>
                <a:lnTo>
                  <a:pt x="181" y="169"/>
                </a:lnTo>
                <a:lnTo>
                  <a:pt x="195" y="169"/>
                </a:lnTo>
                <a:lnTo>
                  <a:pt x="195" y="163"/>
                </a:lnTo>
                <a:lnTo>
                  <a:pt x="198" y="163"/>
                </a:lnTo>
                <a:lnTo>
                  <a:pt x="201" y="163"/>
                </a:lnTo>
                <a:lnTo>
                  <a:pt x="204" y="160"/>
                </a:lnTo>
                <a:lnTo>
                  <a:pt x="212" y="158"/>
                </a:lnTo>
                <a:lnTo>
                  <a:pt x="212" y="155"/>
                </a:lnTo>
                <a:lnTo>
                  <a:pt x="215" y="152"/>
                </a:lnTo>
                <a:lnTo>
                  <a:pt x="218" y="149"/>
                </a:lnTo>
                <a:lnTo>
                  <a:pt x="221" y="143"/>
                </a:lnTo>
                <a:lnTo>
                  <a:pt x="227" y="137"/>
                </a:lnTo>
                <a:lnTo>
                  <a:pt x="224" y="132"/>
                </a:lnTo>
                <a:lnTo>
                  <a:pt x="221" y="135"/>
                </a:lnTo>
                <a:lnTo>
                  <a:pt x="212" y="137"/>
                </a:lnTo>
                <a:lnTo>
                  <a:pt x="207" y="129"/>
                </a:lnTo>
                <a:lnTo>
                  <a:pt x="192" y="126"/>
                </a:lnTo>
                <a:lnTo>
                  <a:pt x="192" y="123"/>
                </a:lnTo>
                <a:lnTo>
                  <a:pt x="192" y="114"/>
                </a:lnTo>
                <a:lnTo>
                  <a:pt x="192" y="112"/>
                </a:lnTo>
                <a:lnTo>
                  <a:pt x="195" y="106"/>
                </a:lnTo>
                <a:lnTo>
                  <a:pt x="186" y="103"/>
                </a:lnTo>
                <a:lnTo>
                  <a:pt x="181" y="92"/>
                </a:lnTo>
                <a:lnTo>
                  <a:pt x="181" y="86"/>
                </a:lnTo>
                <a:lnTo>
                  <a:pt x="172" y="89"/>
                </a:lnTo>
                <a:lnTo>
                  <a:pt x="161" y="92"/>
                </a:lnTo>
                <a:lnTo>
                  <a:pt x="161" y="89"/>
                </a:lnTo>
                <a:lnTo>
                  <a:pt x="161" y="86"/>
                </a:lnTo>
                <a:lnTo>
                  <a:pt x="158" y="74"/>
                </a:lnTo>
                <a:lnTo>
                  <a:pt x="158" y="71"/>
                </a:lnTo>
                <a:lnTo>
                  <a:pt x="161" y="63"/>
                </a:lnTo>
                <a:lnTo>
                  <a:pt x="164" y="57"/>
                </a:lnTo>
                <a:lnTo>
                  <a:pt x="169" y="51"/>
                </a:lnTo>
                <a:lnTo>
                  <a:pt x="172" y="40"/>
                </a:lnTo>
                <a:lnTo>
                  <a:pt x="169" y="34"/>
                </a:lnTo>
                <a:lnTo>
                  <a:pt x="166" y="20"/>
                </a:lnTo>
                <a:lnTo>
                  <a:pt x="164" y="20"/>
                </a:lnTo>
                <a:lnTo>
                  <a:pt x="155" y="8"/>
                </a:lnTo>
                <a:lnTo>
                  <a:pt x="149" y="3"/>
                </a:lnTo>
                <a:lnTo>
                  <a:pt x="146" y="0"/>
                </a:lnTo>
                <a:lnTo>
                  <a:pt x="143" y="5"/>
                </a:lnTo>
                <a:lnTo>
                  <a:pt x="138" y="17"/>
                </a:lnTo>
                <a:lnTo>
                  <a:pt x="143" y="23"/>
                </a:lnTo>
                <a:lnTo>
                  <a:pt x="143" y="34"/>
                </a:lnTo>
                <a:lnTo>
                  <a:pt x="132" y="25"/>
                </a:lnTo>
                <a:lnTo>
                  <a:pt x="126" y="25"/>
                </a:lnTo>
                <a:lnTo>
                  <a:pt x="120" y="31"/>
                </a:lnTo>
                <a:lnTo>
                  <a:pt x="118" y="34"/>
                </a:lnTo>
                <a:lnTo>
                  <a:pt x="115" y="34"/>
                </a:lnTo>
                <a:lnTo>
                  <a:pt x="112" y="37"/>
                </a:lnTo>
                <a:lnTo>
                  <a:pt x="112" y="40"/>
                </a:lnTo>
                <a:lnTo>
                  <a:pt x="115" y="46"/>
                </a:lnTo>
                <a:lnTo>
                  <a:pt x="115" y="48"/>
                </a:lnTo>
                <a:lnTo>
                  <a:pt x="112" y="57"/>
                </a:lnTo>
                <a:lnTo>
                  <a:pt x="109" y="66"/>
                </a:lnTo>
                <a:lnTo>
                  <a:pt x="112" y="69"/>
                </a:lnTo>
                <a:lnTo>
                  <a:pt x="112" y="71"/>
                </a:lnTo>
                <a:lnTo>
                  <a:pt x="106" y="83"/>
                </a:lnTo>
                <a:lnTo>
                  <a:pt x="103" y="92"/>
                </a:lnTo>
                <a:lnTo>
                  <a:pt x="103" y="94"/>
                </a:lnTo>
                <a:lnTo>
                  <a:pt x="92" y="89"/>
                </a:lnTo>
                <a:lnTo>
                  <a:pt x="95" y="97"/>
                </a:lnTo>
                <a:lnTo>
                  <a:pt x="95" y="100"/>
                </a:lnTo>
                <a:lnTo>
                  <a:pt x="92" y="109"/>
                </a:lnTo>
                <a:lnTo>
                  <a:pt x="92" y="117"/>
                </a:lnTo>
                <a:lnTo>
                  <a:pt x="95" y="123"/>
                </a:lnTo>
                <a:lnTo>
                  <a:pt x="92" y="126"/>
                </a:lnTo>
                <a:lnTo>
                  <a:pt x="89" y="129"/>
                </a:lnTo>
                <a:lnTo>
                  <a:pt x="86" y="129"/>
                </a:lnTo>
                <a:lnTo>
                  <a:pt x="83" y="126"/>
                </a:lnTo>
                <a:lnTo>
                  <a:pt x="72" y="97"/>
                </a:lnTo>
                <a:lnTo>
                  <a:pt x="69" y="97"/>
                </a:lnTo>
                <a:lnTo>
                  <a:pt x="69" y="103"/>
                </a:lnTo>
                <a:lnTo>
                  <a:pt x="69" y="109"/>
                </a:lnTo>
                <a:lnTo>
                  <a:pt x="66" y="109"/>
                </a:lnTo>
                <a:lnTo>
                  <a:pt x="63" y="109"/>
                </a:lnTo>
                <a:lnTo>
                  <a:pt x="60" y="106"/>
                </a:lnTo>
                <a:lnTo>
                  <a:pt x="52" y="94"/>
                </a:lnTo>
                <a:lnTo>
                  <a:pt x="54" y="83"/>
                </a:lnTo>
                <a:lnTo>
                  <a:pt x="66" y="80"/>
                </a:lnTo>
                <a:lnTo>
                  <a:pt x="69" y="71"/>
                </a:lnTo>
                <a:lnTo>
                  <a:pt x="72" y="69"/>
                </a:lnTo>
                <a:lnTo>
                  <a:pt x="66" y="66"/>
                </a:lnTo>
                <a:lnTo>
                  <a:pt x="54" y="66"/>
                </a:lnTo>
                <a:lnTo>
                  <a:pt x="49" y="66"/>
                </a:lnTo>
                <a:lnTo>
                  <a:pt x="37" y="66"/>
                </a:lnTo>
                <a:lnTo>
                  <a:pt x="26" y="63"/>
                </a:lnTo>
                <a:lnTo>
                  <a:pt x="23" y="63"/>
                </a:lnTo>
                <a:lnTo>
                  <a:pt x="23" y="48"/>
                </a:lnTo>
                <a:lnTo>
                  <a:pt x="20" y="51"/>
                </a:lnTo>
                <a:lnTo>
                  <a:pt x="11" y="43"/>
                </a:lnTo>
                <a:lnTo>
                  <a:pt x="9" y="46"/>
                </a:lnTo>
                <a:lnTo>
                  <a:pt x="3" y="43"/>
                </a:lnTo>
                <a:lnTo>
                  <a:pt x="0" y="48"/>
                </a:lnTo>
                <a:lnTo>
                  <a:pt x="3" y="54"/>
                </a:lnTo>
                <a:lnTo>
                  <a:pt x="9" y="54"/>
                </a:lnTo>
                <a:lnTo>
                  <a:pt x="14" y="66"/>
                </a:lnTo>
                <a:lnTo>
                  <a:pt x="6" y="66"/>
                </a:lnTo>
                <a:lnTo>
                  <a:pt x="6" y="69"/>
                </a:lnTo>
                <a:lnTo>
                  <a:pt x="11" y="80"/>
                </a:lnTo>
                <a:lnTo>
                  <a:pt x="11" y="86"/>
                </a:lnTo>
                <a:lnTo>
                  <a:pt x="11" y="94"/>
                </a:lnTo>
                <a:lnTo>
                  <a:pt x="17" y="103"/>
                </a:lnTo>
                <a:lnTo>
                  <a:pt x="23" y="120"/>
                </a:lnTo>
                <a:lnTo>
                  <a:pt x="26" y="132"/>
                </a:lnTo>
                <a:lnTo>
                  <a:pt x="29" y="132"/>
                </a:lnTo>
                <a:lnTo>
                  <a:pt x="34" y="129"/>
                </a:lnTo>
                <a:lnTo>
                  <a:pt x="37" y="126"/>
                </a:lnTo>
                <a:lnTo>
                  <a:pt x="40" y="126"/>
                </a:lnTo>
                <a:lnTo>
                  <a:pt x="43" y="129"/>
                </a:lnTo>
                <a:lnTo>
                  <a:pt x="49" y="126"/>
                </a:lnTo>
                <a:lnTo>
                  <a:pt x="52" y="123"/>
                </a:lnTo>
                <a:lnTo>
                  <a:pt x="54" y="117"/>
                </a:lnTo>
                <a:lnTo>
                  <a:pt x="57" y="123"/>
                </a:lnTo>
                <a:lnTo>
                  <a:pt x="60" y="114"/>
                </a:lnTo>
                <a:lnTo>
                  <a:pt x="63" y="117"/>
                </a:lnTo>
                <a:lnTo>
                  <a:pt x="66" y="120"/>
                </a:lnTo>
                <a:lnTo>
                  <a:pt x="69" y="126"/>
                </a:lnTo>
                <a:lnTo>
                  <a:pt x="72" y="135"/>
                </a:lnTo>
                <a:lnTo>
                  <a:pt x="72" y="137"/>
                </a:lnTo>
                <a:lnTo>
                  <a:pt x="75" y="143"/>
                </a:lnTo>
                <a:lnTo>
                  <a:pt x="80" y="152"/>
                </a:lnTo>
                <a:lnTo>
                  <a:pt x="86" y="160"/>
                </a:lnTo>
                <a:lnTo>
                  <a:pt x="89" y="160"/>
                </a:lnTo>
                <a:lnTo>
                  <a:pt x="92" y="158"/>
                </a:lnTo>
                <a:lnTo>
                  <a:pt x="89" y="163"/>
                </a:lnTo>
                <a:lnTo>
                  <a:pt x="92" y="166"/>
                </a:lnTo>
                <a:lnTo>
                  <a:pt x="95" y="169"/>
                </a:lnTo>
                <a:lnTo>
                  <a:pt x="98" y="166"/>
                </a:lnTo>
                <a:lnTo>
                  <a:pt x="98" y="163"/>
                </a:lnTo>
                <a:lnTo>
                  <a:pt x="100" y="163"/>
                </a:lnTo>
                <a:lnTo>
                  <a:pt x="100" y="169"/>
                </a:lnTo>
                <a:lnTo>
                  <a:pt x="106" y="172"/>
                </a:lnTo>
                <a:lnTo>
                  <a:pt x="112" y="178"/>
                </a:lnTo>
                <a:lnTo>
                  <a:pt x="106" y="178"/>
                </a:lnTo>
                <a:lnTo>
                  <a:pt x="106" y="181"/>
                </a:lnTo>
                <a:lnTo>
                  <a:pt x="109" y="186"/>
                </a:lnTo>
                <a:lnTo>
                  <a:pt x="112" y="186"/>
                </a:lnTo>
                <a:lnTo>
                  <a:pt x="115" y="186"/>
                </a:lnTo>
                <a:lnTo>
                  <a:pt x="120" y="192"/>
                </a:lnTo>
                <a:lnTo>
                  <a:pt x="123" y="203"/>
                </a:lnTo>
                <a:lnTo>
                  <a:pt x="126" y="215"/>
                </a:lnTo>
                <a:lnTo>
                  <a:pt x="126" y="224"/>
                </a:lnTo>
                <a:lnTo>
                  <a:pt x="123" y="232"/>
                </a:lnTo>
                <a:lnTo>
                  <a:pt x="123" y="238"/>
                </a:lnTo>
                <a:lnTo>
                  <a:pt x="123" y="244"/>
                </a:lnTo>
                <a:lnTo>
                  <a:pt x="126" y="244"/>
                </a:lnTo>
                <a:lnTo>
                  <a:pt x="132" y="235"/>
                </a:lnTo>
                <a:lnTo>
                  <a:pt x="129" y="244"/>
                </a:lnTo>
                <a:lnTo>
                  <a:pt x="132" y="247"/>
                </a:lnTo>
                <a:lnTo>
                  <a:pt x="135" y="247"/>
                </a:lnTo>
                <a:lnTo>
                  <a:pt x="138" y="249"/>
                </a:lnTo>
                <a:lnTo>
                  <a:pt x="141" y="247"/>
                </a:lnTo>
                <a:lnTo>
                  <a:pt x="143" y="249"/>
                </a:lnTo>
                <a:lnTo>
                  <a:pt x="146" y="249"/>
                </a:lnTo>
                <a:lnTo>
                  <a:pt x="146" y="247"/>
                </a:lnTo>
                <a:lnTo>
                  <a:pt x="146" y="244"/>
                </a:lnTo>
                <a:lnTo>
                  <a:pt x="149" y="241"/>
                </a:lnTo>
                <a:lnTo>
                  <a:pt x="155" y="238"/>
                </a:lnTo>
                <a:lnTo>
                  <a:pt x="164" y="235"/>
                </a:lnTo>
                <a:lnTo>
                  <a:pt x="166" y="23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29" name="Freeform 535"/>
          <p:cNvSpPr>
            <a:spLocks/>
          </p:cNvSpPr>
          <p:nvPr/>
        </p:nvSpPr>
        <p:spPr bwMode="gray">
          <a:xfrm>
            <a:off x="6799225" y="2635571"/>
            <a:ext cx="686123" cy="432012"/>
          </a:xfrm>
          <a:custGeom>
            <a:avLst/>
            <a:gdLst>
              <a:gd name="T0" fmla="*/ 2147483647 w 339"/>
              <a:gd name="T1" fmla="*/ 2147483647 h 285"/>
              <a:gd name="T2" fmla="*/ 2147483647 w 339"/>
              <a:gd name="T3" fmla="*/ 2147483647 h 285"/>
              <a:gd name="T4" fmla="*/ 2147483647 w 339"/>
              <a:gd name="T5" fmla="*/ 2147483647 h 285"/>
              <a:gd name="T6" fmla="*/ 2147483647 w 339"/>
              <a:gd name="T7" fmla="*/ 2147483647 h 285"/>
              <a:gd name="T8" fmla="*/ 2147483647 w 339"/>
              <a:gd name="T9" fmla="*/ 2147483647 h 285"/>
              <a:gd name="T10" fmla="*/ 2147483647 w 339"/>
              <a:gd name="T11" fmla="*/ 2147483647 h 285"/>
              <a:gd name="T12" fmla="*/ 2147483647 w 339"/>
              <a:gd name="T13" fmla="*/ 2147483647 h 285"/>
              <a:gd name="T14" fmla="*/ 2147483647 w 339"/>
              <a:gd name="T15" fmla="*/ 2147483647 h 285"/>
              <a:gd name="T16" fmla="*/ 2147483647 w 339"/>
              <a:gd name="T17" fmla="*/ 2147483647 h 285"/>
              <a:gd name="T18" fmla="*/ 2147483647 w 339"/>
              <a:gd name="T19" fmla="*/ 2147483647 h 285"/>
              <a:gd name="T20" fmla="*/ 2147483647 w 339"/>
              <a:gd name="T21" fmla="*/ 2147483647 h 285"/>
              <a:gd name="T22" fmla="*/ 2147483647 w 339"/>
              <a:gd name="T23" fmla="*/ 2147483647 h 285"/>
              <a:gd name="T24" fmla="*/ 2147483647 w 339"/>
              <a:gd name="T25" fmla="*/ 2147483647 h 285"/>
              <a:gd name="T26" fmla="*/ 2147483647 w 339"/>
              <a:gd name="T27" fmla="*/ 2147483647 h 285"/>
              <a:gd name="T28" fmla="*/ 2147483647 w 339"/>
              <a:gd name="T29" fmla="*/ 2147483647 h 285"/>
              <a:gd name="T30" fmla="*/ 2147483647 w 339"/>
              <a:gd name="T31" fmla="*/ 2147483647 h 285"/>
              <a:gd name="T32" fmla="*/ 2147483647 w 339"/>
              <a:gd name="T33" fmla="*/ 2147483647 h 285"/>
              <a:gd name="T34" fmla="*/ 2147483647 w 339"/>
              <a:gd name="T35" fmla="*/ 2147483647 h 285"/>
              <a:gd name="T36" fmla="*/ 2147483647 w 339"/>
              <a:gd name="T37" fmla="*/ 2147483647 h 285"/>
              <a:gd name="T38" fmla="*/ 2147483647 w 339"/>
              <a:gd name="T39" fmla="*/ 2147483647 h 285"/>
              <a:gd name="T40" fmla="*/ 2147483647 w 339"/>
              <a:gd name="T41" fmla="*/ 2147483647 h 285"/>
              <a:gd name="T42" fmla="*/ 2147483647 w 339"/>
              <a:gd name="T43" fmla="*/ 2147483647 h 285"/>
              <a:gd name="T44" fmla="*/ 2147483647 w 339"/>
              <a:gd name="T45" fmla="*/ 2147483647 h 285"/>
              <a:gd name="T46" fmla="*/ 2147483647 w 339"/>
              <a:gd name="T47" fmla="*/ 2147483647 h 285"/>
              <a:gd name="T48" fmla="*/ 2147483647 w 339"/>
              <a:gd name="T49" fmla="*/ 0 h 285"/>
              <a:gd name="T50" fmla="*/ 2147483647 w 339"/>
              <a:gd name="T51" fmla="*/ 2147483647 h 285"/>
              <a:gd name="T52" fmla="*/ 2147483647 w 339"/>
              <a:gd name="T53" fmla="*/ 2147483647 h 285"/>
              <a:gd name="T54" fmla="*/ 2147483647 w 339"/>
              <a:gd name="T55" fmla="*/ 2147483647 h 285"/>
              <a:gd name="T56" fmla="*/ 2147483647 w 339"/>
              <a:gd name="T57" fmla="*/ 2147483647 h 285"/>
              <a:gd name="T58" fmla="*/ 2147483647 w 339"/>
              <a:gd name="T59" fmla="*/ 2147483647 h 285"/>
              <a:gd name="T60" fmla="*/ 2147483647 w 339"/>
              <a:gd name="T61" fmla="*/ 2147483647 h 285"/>
              <a:gd name="T62" fmla="*/ 2147483647 w 339"/>
              <a:gd name="T63" fmla="*/ 2147483647 h 285"/>
              <a:gd name="T64" fmla="*/ 2147483647 w 339"/>
              <a:gd name="T65" fmla="*/ 2147483647 h 285"/>
              <a:gd name="T66" fmla="*/ 2147483647 w 339"/>
              <a:gd name="T67" fmla="*/ 2147483647 h 285"/>
              <a:gd name="T68" fmla="*/ 2147483647 w 339"/>
              <a:gd name="T69" fmla="*/ 2147483647 h 285"/>
              <a:gd name="T70" fmla="*/ 2147483647 w 339"/>
              <a:gd name="T71" fmla="*/ 2147483647 h 285"/>
              <a:gd name="T72" fmla="*/ 2147483647 w 339"/>
              <a:gd name="T73" fmla="*/ 2147483647 h 285"/>
              <a:gd name="T74" fmla="*/ 2147483647 w 339"/>
              <a:gd name="T75" fmla="*/ 2147483647 h 285"/>
              <a:gd name="T76" fmla="*/ 2147483647 w 339"/>
              <a:gd name="T77" fmla="*/ 2147483647 h 285"/>
              <a:gd name="T78" fmla="*/ 2147483647 w 339"/>
              <a:gd name="T79" fmla="*/ 2147483647 h 285"/>
              <a:gd name="T80" fmla="*/ 2147483647 w 339"/>
              <a:gd name="T81" fmla="*/ 2147483647 h 285"/>
              <a:gd name="T82" fmla="*/ 2147483647 w 339"/>
              <a:gd name="T83" fmla="*/ 2147483647 h 285"/>
              <a:gd name="T84" fmla="*/ 2147483647 w 339"/>
              <a:gd name="T85" fmla="*/ 2147483647 h 285"/>
              <a:gd name="T86" fmla="*/ 2147483647 w 339"/>
              <a:gd name="T87" fmla="*/ 2147483647 h 285"/>
              <a:gd name="T88" fmla="*/ 2147483647 w 339"/>
              <a:gd name="T89" fmla="*/ 2147483647 h 285"/>
              <a:gd name="T90" fmla="*/ 2147483647 w 339"/>
              <a:gd name="T91" fmla="*/ 2147483647 h 285"/>
              <a:gd name="T92" fmla="*/ 2147483647 w 339"/>
              <a:gd name="T93" fmla="*/ 2147483647 h 285"/>
              <a:gd name="T94" fmla="*/ 2147483647 w 339"/>
              <a:gd name="T95" fmla="*/ 2147483647 h 285"/>
              <a:gd name="T96" fmla="*/ 2147483647 w 339"/>
              <a:gd name="T97" fmla="*/ 2147483647 h 285"/>
              <a:gd name="T98" fmla="*/ 2147483647 w 339"/>
              <a:gd name="T99" fmla="*/ 2147483647 h 285"/>
              <a:gd name="T100" fmla="*/ 2147483647 w 339"/>
              <a:gd name="T101" fmla="*/ 2147483647 h 285"/>
              <a:gd name="T102" fmla="*/ 2147483647 w 339"/>
              <a:gd name="T103" fmla="*/ 2147483647 h 285"/>
              <a:gd name="T104" fmla="*/ 2147483647 w 339"/>
              <a:gd name="T105" fmla="*/ 2147483647 h 285"/>
              <a:gd name="T106" fmla="*/ 2147483647 w 339"/>
              <a:gd name="T107" fmla="*/ 2147483647 h 285"/>
              <a:gd name="T108" fmla="*/ 2147483647 w 339"/>
              <a:gd name="T109" fmla="*/ 2147483647 h 285"/>
              <a:gd name="T110" fmla="*/ 2147483647 w 339"/>
              <a:gd name="T111" fmla="*/ 2147483647 h 285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339"/>
              <a:gd name="T169" fmla="*/ 0 h 285"/>
              <a:gd name="T170" fmla="*/ 339 w 339"/>
              <a:gd name="T171" fmla="*/ 285 h 285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339" h="285">
                <a:moveTo>
                  <a:pt x="330" y="259"/>
                </a:moveTo>
                <a:lnTo>
                  <a:pt x="336" y="253"/>
                </a:lnTo>
                <a:lnTo>
                  <a:pt x="339" y="253"/>
                </a:lnTo>
                <a:lnTo>
                  <a:pt x="339" y="244"/>
                </a:lnTo>
                <a:lnTo>
                  <a:pt x="333" y="239"/>
                </a:lnTo>
                <a:lnTo>
                  <a:pt x="330" y="227"/>
                </a:lnTo>
                <a:lnTo>
                  <a:pt x="330" y="224"/>
                </a:lnTo>
                <a:lnTo>
                  <a:pt x="316" y="219"/>
                </a:lnTo>
                <a:lnTo>
                  <a:pt x="299" y="196"/>
                </a:lnTo>
                <a:lnTo>
                  <a:pt x="293" y="193"/>
                </a:lnTo>
                <a:lnTo>
                  <a:pt x="296" y="193"/>
                </a:lnTo>
                <a:lnTo>
                  <a:pt x="307" y="176"/>
                </a:lnTo>
                <a:lnTo>
                  <a:pt x="305" y="164"/>
                </a:lnTo>
                <a:lnTo>
                  <a:pt x="293" y="161"/>
                </a:lnTo>
                <a:lnTo>
                  <a:pt x="290" y="155"/>
                </a:lnTo>
                <a:lnTo>
                  <a:pt x="287" y="147"/>
                </a:lnTo>
                <a:lnTo>
                  <a:pt x="282" y="133"/>
                </a:lnTo>
                <a:lnTo>
                  <a:pt x="285" y="124"/>
                </a:lnTo>
                <a:lnTo>
                  <a:pt x="282" y="121"/>
                </a:lnTo>
                <a:lnTo>
                  <a:pt x="279" y="115"/>
                </a:lnTo>
                <a:lnTo>
                  <a:pt x="276" y="107"/>
                </a:lnTo>
                <a:lnTo>
                  <a:pt x="282" y="104"/>
                </a:lnTo>
                <a:lnTo>
                  <a:pt x="279" y="101"/>
                </a:lnTo>
                <a:lnTo>
                  <a:pt x="282" y="101"/>
                </a:lnTo>
                <a:lnTo>
                  <a:pt x="285" y="95"/>
                </a:lnTo>
                <a:lnTo>
                  <a:pt x="282" y="89"/>
                </a:lnTo>
                <a:lnTo>
                  <a:pt x="285" y="84"/>
                </a:lnTo>
                <a:lnTo>
                  <a:pt x="282" y="78"/>
                </a:lnTo>
                <a:lnTo>
                  <a:pt x="282" y="72"/>
                </a:lnTo>
                <a:lnTo>
                  <a:pt x="282" y="69"/>
                </a:lnTo>
                <a:lnTo>
                  <a:pt x="279" y="66"/>
                </a:lnTo>
                <a:lnTo>
                  <a:pt x="279" y="64"/>
                </a:lnTo>
                <a:lnTo>
                  <a:pt x="270" y="64"/>
                </a:lnTo>
                <a:lnTo>
                  <a:pt x="267" y="64"/>
                </a:lnTo>
                <a:lnTo>
                  <a:pt x="264" y="61"/>
                </a:lnTo>
                <a:lnTo>
                  <a:pt x="259" y="55"/>
                </a:lnTo>
                <a:lnTo>
                  <a:pt x="253" y="52"/>
                </a:lnTo>
                <a:lnTo>
                  <a:pt x="250" y="52"/>
                </a:lnTo>
                <a:lnTo>
                  <a:pt x="247" y="44"/>
                </a:lnTo>
                <a:lnTo>
                  <a:pt x="239" y="44"/>
                </a:lnTo>
                <a:lnTo>
                  <a:pt x="236" y="44"/>
                </a:lnTo>
                <a:lnTo>
                  <a:pt x="227" y="41"/>
                </a:lnTo>
                <a:lnTo>
                  <a:pt x="219" y="38"/>
                </a:lnTo>
                <a:lnTo>
                  <a:pt x="216" y="35"/>
                </a:lnTo>
                <a:lnTo>
                  <a:pt x="210" y="32"/>
                </a:lnTo>
                <a:lnTo>
                  <a:pt x="210" y="29"/>
                </a:lnTo>
                <a:lnTo>
                  <a:pt x="207" y="29"/>
                </a:lnTo>
                <a:lnTo>
                  <a:pt x="198" y="29"/>
                </a:lnTo>
                <a:lnTo>
                  <a:pt x="196" y="35"/>
                </a:lnTo>
                <a:lnTo>
                  <a:pt x="187" y="35"/>
                </a:lnTo>
                <a:lnTo>
                  <a:pt x="184" y="35"/>
                </a:lnTo>
                <a:lnTo>
                  <a:pt x="181" y="35"/>
                </a:lnTo>
                <a:lnTo>
                  <a:pt x="178" y="38"/>
                </a:lnTo>
                <a:lnTo>
                  <a:pt x="175" y="41"/>
                </a:lnTo>
                <a:lnTo>
                  <a:pt x="167" y="49"/>
                </a:lnTo>
                <a:lnTo>
                  <a:pt x="161" y="49"/>
                </a:lnTo>
                <a:lnTo>
                  <a:pt x="164" y="58"/>
                </a:lnTo>
                <a:lnTo>
                  <a:pt x="155" y="55"/>
                </a:lnTo>
                <a:lnTo>
                  <a:pt x="141" y="61"/>
                </a:lnTo>
                <a:lnTo>
                  <a:pt x="132" y="61"/>
                </a:lnTo>
                <a:lnTo>
                  <a:pt x="124" y="61"/>
                </a:lnTo>
                <a:lnTo>
                  <a:pt x="115" y="58"/>
                </a:lnTo>
                <a:lnTo>
                  <a:pt x="107" y="55"/>
                </a:lnTo>
                <a:lnTo>
                  <a:pt x="95" y="44"/>
                </a:lnTo>
                <a:lnTo>
                  <a:pt x="89" y="44"/>
                </a:lnTo>
                <a:lnTo>
                  <a:pt x="81" y="38"/>
                </a:lnTo>
                <a:lnTo>
                  <a:pt x="78" y="32"/>
                </a:lnTo>
                <a:lnTo>
                  <a:pt x="78" y="26"/>
                </a:lnTo>
                <a:lnTo>
                  <a:pt x="72" y="29"/>
                </a:lnTo>
                <a:lnTo>
                  <a:pt x="66" y="23"/>
                </a:lnTo>
                <a:lnTo>
                  <a:pt x="58" y="18"/>
                </a:lnTo>
                <a:lnTo>
                  <a:pt x="61" y="18"/>
                </a:lnTo>
                <a:lnTo>
                  <a:pt x="63" y="15"/>
                </a:lnTo>
                <a:lnTo>
                  <a:pt x="61" y="12"/>
                </a:lnTo>
                <a:lnTo>
                  <a:pt x="61" y="9"/>
                </a:lnTo>
                <a:lnTo>
                  <a:pt x="63" y="6"/>
                </a:lnTo>
                <a:lnTo>
                  <a:pt x="58" y="0"/>
                </a:lnTo>
                <a:lnTo>
                  <a:pt x="55" y="3"/>
                </a:lnTo>
                <a:lnTo>
                  <a:pt x="46" y="9"/>
                </a:lnTo>
                <a:lnTo>
                  <a:pt x="38" y="18"/>
                </a:lnTo>
                <a:lnTo>
                  <a:pt x="35" y="18"/>
                </a:lnTo>
                <a:lnTo>
                  <a:pt x="32" y="18"/>
                </a:lnTo>
                <a:lnTo>
                  <a:pt x="29" y="18"/>
                </a:lnTo>
                <a:lnTo>
                  <a:pt x="23" y="15"/>
                </a:lnTo>
                <a:lnTo>
                  <a:pt x="20" y="15"/>
                </a:lnTo>
                <a:lnTo>
                  <a:pt x="18" y="15"/>
                </a:lnTo>
                <a:lnTo>
                  <a:pt x="15" y="12"/>
                </a:lnTo>
                <a:lnTo>
                  <a:pt x="12" y="6"/>
                </a:lnTo>
                <a:lnTo>
                  <a:pt x="6" y="3"/>
                </a:lnTo>
                <a:lnTo>
                  <a:pt x="6" y="6"/>
                </a:lnTo>
                <a:lnTo>
                  <a:pt x="0" y="9"/>
                </a:lnTo>
                <a:lnTo>
                  <a:pt x="3" y="15"/>
                </a:lnTo>
                <a:lnTo>
                  <a:pt x="9" y="26"/>
                </a:lnTo>
                <a:lnTo>
                  <a:pt x="6" y="32"/>
                </a:lnTo>
                <a:lnTo>
                  <a:pt x="9" y="38"/>
                </a:lnTo>
                <a:lnTo>
                  <a:pt x="12" y="44"/>
                </a:lnTo>
                <a:lnTo>
                  <a:pt x="18" y="52"/>
                </a:lnTo>
                <a:lnTo>
                  <a:pt x="20" y="58"/>
                </a:lnTo>
                <a:lnTo>
                  <a:pt x="26" y="66"/>
                </a:lnTo>
                <a:lnTo>
                  <a:pt x="29" y="72"/>
                </a:lnTo>
                <a:lnTo>
                  <a:pt x="35" y="72"/>
                </a:lnTo>
                <a:lnTo>
                  <a:pt x="38" y="75"/>
                </a:lnTo>
                <a:lnTo>
                  <a:pt x="49" y="75"/>
                </a:lnTo>
                <a:lnTo>
                  <a:pt x="43" y="84"/>
                </a:lnTo>
                <a:lnTo>
                  <a:pt x="43" y="89"/>
                </a:lnTo>
                <a:lnTo>
                  <a:pt x="38" y="95"/>
                </a:lnTo>
                <a:lnTo>
                  <a:pt x="38" y="101"/>
                </a:lnTo>
                <a:lnTo>
                  <a:pt x="38" y="104"/>
                </a:lnTo>
                <a:lnTo>
                  <a:pt x="35" y="104"/>
                </a:lnTo>
                <a:lnTo>
                  <a:pt x="35" y="110"/>
                </a:lnTo>
                <a:lnTo>
                  <a:pt x="35" y="112"/>
                </a:lnTo>
                <a:lnTo>
                  <a:pt x="38" y="115"/>
                </a:lnTo>
                <a:lnTo>
                  <a:pt x="46" y="124"/>
                </a:lnTo>
                <a:lnTo>
                  <a:pt x="46" y="130"/>
                </a:lnTo>
                <a:lnTo>
                  <a:pt x="58" y="133"/>
                </a:lnTo>
                <a:lnTo>
                  <a:pt x="63" y="141"/>
                </a:lnTo>
                <a:lnTo>
                  <a:pt x="69" y="141"/>
                </a:lnTo>
                <a:lnTo>
                  <a:pt x="81" y="155"/>
                </a:lnTo>
                <a:lnTo>
                  <a:pt x="78" y="167"/>
                </a:lnTo>
                <a:lnTo>
                  <a:pt x="84" y="170"/>
                </a:lnTo>
                <a:lnTo>
                  <a:pt x="84" y="173"/>
                </a:lnTo>
                <a:lnTo>
                  <a:pt x="86" y="176"/>
                </a:lnTo>
                <a:lnTo>
                  <a:pt x="86" y="178"/>
                </a:lnTo>
                <a:lnTo>
                  <a:pt x="89" y="184"/>
                </a:lnTo>
                <a:lnTo>
                  <a:pt x="92" y="190"/>
                </a:lnTo>
                <a:lnTo>
                  <a:pt x="95" y="193"/>
                </a:lnTo>
                <a:lnTo>
                  <a:pt x="101" y="196"/>
                </a:lnTo>
                <a:lnTo>
                  <a:pt x="101" y="193"/>
                </a:lnTo>
                <a:lnTo>
                  <a:pt x="98" y="187"/>
                </a:lnTo>
                <a:lnTo>
                  <a:pt x="101" y="181"/>
                </a:lnTo>
                <a:lnTo>
                  <a:pt x="101" y="184"/>
                </a:lnTo>
                <a:lnTo>
                  <a:pt x="104" y="187"/>
                </a:lnTo>
                <a:lnTo>
                  <a:pt x="112" y="184"/>
                </a:lnTo>
                <a:lnTo>
                  <a:pt x="121" y="187"/>
                </a:lnTo>
                <a:lnTo>
                  <a:pt x="124" y="196"/>
                </a:lnTo>
                <a:lnTo>
                  <a:pt x="127" y="199"/>
                </a:lnTo>
                <a:lnTo>
                  <a:pt x="130" y="204"/>
                </a:lnTo>
                <a:lnTo>
                  <a:pt x="130" y="207"/>
                </a:lnTo>
                <a:lnTo>
                  <a:pt x="132" y="210"/>
                </a:lnTo>
                <a:lnTo>
                  <a:pt x="138" y="216"/>
                </a:lnTo>
                <a:lnTo>
                  <a:pt x="138" y="219"/>
                </a:lnTo>
                <a:lnTo>
                  <a:pt x="144" y="227"/>
                </a:lnTo>
                <a:lnTo>
                  <a:pt x="150" y="230"/>
                </a:lnTo>
                <a:lnTo>
                  <a:pt x="158" y="236"/>
                </a:lnTo>
                <a:lnTo>
                  <a:pt x="164" y="236"/>
                </a:lnTo>
                <a:lnTo>
                  <a:pt x="167" y="242"/>
                </a:lnTo>
                <a:lnTo>
                  <a:pt x="170" y="244"/>
                </a:lnTo>
                <a:lnTo>
                  <a:pt x="173" y="247"/>
                </a:lnTo>
                <a:lnTo>
                  <a:pt x="181" y="250"/>
                </a:lnTo>
                <a:lnTo>
                  <a:pt x="190" y="256"/>
                </a:lnTo>
                <a:lnTo>
                  <a:pt x="198" y="256"/>
                </a:lnTo>
                <a:lnTo>
                  <a:pt x="204" y="259"/>
                </a:lnTo>
                <a:lnTo>
                  <a:pt x="210" y="256"/>
                </a:lnTo>
                <a:lnTo>
                  <a:pt x="216" y="256"/>
                </a:lnTo>
                <a:lnTo>
                  <a:pt x="221" y="256"/>
                </a:lnTo>
                <a:lnTo>
                  <a:pt x="227" y="250"/>
                </a:lnTo>
                <a:lnTo>
                  <a:pt x="221" y="250"/>
                </a:lnTo>
                <a:lnTo>
                  <a:pt x="224" y="244"/>
                </a:lnTo>
                <a:lnTo>
                  <a:pt x="236" y="247"/>
                </a:lnTo>
                <a:lnTo>
                  <a:pt x="241" y="256"/>
                </a:lnTo>
                <a:lnTo>
                  <a:pt x="244" y="265"/>
                </a:lnTo>
                <a:lnTo>
                  <a:pt x="247" y="270"/>
                </a:lnTo>
                <a:lnTo>
                  <a:pt x="256" y="273"/>
                </a:lnTo>
                <a:lnTo>
                  <a:pt x="264" y="276"/>
                </a:lnTo>
                <a:lnTo>
                  <a:pt x="267" y="273"/>
                </a:lnTo>
                <a:lnTo>
                  <a:pt x="270" y="276"/>
                </a:lnTo>
                <a:lnTo>
                  <a:pt x="273" y="279"/>
                </a:lnTo>
                <a:lnTo>
                  <a:pt x="279" y="279"/>
                </a:lnTo>
                <a:lnTo>
                  <a:pt x="287" y="279"/>
                </a:lnTo>
                <a:lnTo>
                  <a:pt x="293" y="279"/>
                </a:lnTo>
                <a:lnTo>
                  <a:pt x="296" y="279"/>
                </a:lnTo>
                <a:lnTo>
                  <a:pt x="305" y="282"/>
                </a:lnTo>
                <a:lnTo>
                  <a:pt x="319" y="285"/>
                </a:lnTo>
                <a:lnTo>
                  <a:pt x="319" y="270"/>
                </a:lnTo>
                <a:lnTo>
                  <a:pt x="322" y="259"/>
                </a:lnTo>
                <a:lnTo>
                  <a:pt x="325" y="259"/>
                </a:lnTo>
                <a:lnTo>
                  <a:pt x="330" y="25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30" name="Freeform 536"/>
          <p:cNvSpPr>
            <a:spLocks/>
          </p:cNvSpPr>
          <p:nvPr/>
        </p:nvSpPr>
        <p:spPr bwMode="gray">
          <a:xfrm>
            <a:off x="7143287" y="3072083"/>
            <a:ext cx="248045" cy="243007"/>
          </a:xfrm>
          <a:custGeom>
            <a:avLst/>
            <a:gdLst>
              <a:gd name="T0" fmla="*/ 2147483647 w 123"/>
              <a:gd name="T1" fmla="*/ 2147483647 h 160"/>
              <a:gd name="T2" fmla="*/ 2147483647 w 123"/>
              <a:gd name="T3" fmla="*/ 2147483647 h 160"/>
              <a:gd name="T4" fmla="*/ 2147483647 w 123"/>
              <a:gd name="T5" fmla="*/ 2147483647 h 160"/>
              <a:gd name="T6" fmla="*/ 2147483647 w 123"/>
              <a:gd name="T7" fmla="*/ 2147483647 h 160"/>
              <a:gd name="T8" fmla="*/ 2147483647 w 123"/>
              <a:gd name="T9" fmla="*/ 2147483647 h 160"/>
              <a:gd name="T10" fmla="*/ 2147483647 w 123"/>
              <a:gd name="T11" fmla="*/ 2147483647 h 160"/>
              <a:gd name="T12" fmla="*/ 2147483647 w 123"/>
              <a:gd name="T13" fmla="*/ 2147483647 h 160"/>
              <a:gd name="T14" fmla="*/ 2147483647 w 123"/>
              <a:gd name="T15" fmla="*/ 2147483647 h 160"/>
              <a:gd name="T16" fmla="*/ 2147483647 w 123"/>
              <a:gd name="T17" fmla="*/ 2147483647 h 160"/>
              <a:gd name="T18" fmla="*/ 2147483647 w 123"/>
              <a:gd name="T19" fmla="*/ 2147483647 h 160"/>
              <a:gd name="T20" fmla="*/ 2147483647 w 123"/>
              <a:gd name="T21" fmla="*/ 2147483647 h 160"/>
              <a:gd name="T22" fmla="*/ 2147483647 w 123"/>
              <a:gd name="T23" fmla="*/ 2147483647 h 160"/>
              <a:gd name="T24" fmla="*/ 2147483647 w 123"/>
              <a:gd name="T25" fmla="*/ 2147483647 h 160"/>
              <a:gd name="T26" fmla="*/ 2147483647 w 123"/>
              <a:gd name="T27" fmla="*/ 2147483647 h 160"/>
              <a:gd name="T28" fmla="*/ 2147483647 w 123"/>
              <a:gd name="T29" fmla="*/ 2147483647 h 160"/>
              <a:gd name="T30" fmla="*/ 2147483647 w 123"/>
              <a:gd name="T31" fmla="*/ 2147483647 h 160"/>
              <a:gd name="T32" fmla="*/ 2147483647 w 123"/>
              <a:gd name="T33" fmla="*/ 2147483647 h 160"/>
              <a:gd name="T34" fmla="*/ 2147483647 w 123"/>
              <a:gd name="T35" fmla="*/ 2147483647 h 160"/>
              <a:gd name="T36" fmla="*/ 2147483647 w 123"/>
              <a:gd name="T37" fmla="*/ 2147483647 h 160"/>
              <a:gd name="T38" fmla="*/ 2147483647 w 123"/>
              <a:gd name="T39" fmla="*/ 2147483647 h 160"/>
              <a:gd name="T40" fmla="*/ 2147483647 w 123"/>
              <a:gd name="T41" fmla="*/ 2147483647 h 160"/>
              <a:gd name="T42" fmla="*/ 2147483647 w 123"/>
              <a:gd name="T43" fmla="*/ 2147483647 h 160"/>
              <a:gd name="T44" fmla="*/ 2147483647 w 123"/>
              <a:gd name="T45" fmla="*/ 2147483647 h 160"/>
              <a:gd name="T46" fmla="*/ 2147483647 w 123"/>
              <a:gd name="T47" fmla="*/ 2147483647 h 160"/>
              <a:gd name="T48" fmla="*/ 2147483647 w 123"/>
              <a:gd name="T49" fmla="*/ 2147483647 h 160"/>
              <a:gd name="T50" fmla="*/ 2147483647 w 123"/>
              <a:gd name="T51" fmla="*/ 2147483647 h 160"/>
              <a:gd name="T52" fmla="*/ 2147483647 w 123"/>
              <a:gd name="T53" fmla="*/ 2147483647 h 160"/>
              <a:gd name="T54" fmla="*/ 2147483647 w 123"/>
              <a:gd name="T55" fmla="*/ 2147483647 h 160"/>
              <a:gd name="T56" fmla="*/ 2147483647 w 123"/>
              <a:gd name="T57" fmla="*/ 2147483647 h 160"/>
              <a:gd name="T58" fmla="*/ 2147483647 w 123"/>
              <a:gd name="T59" fmla="*/ 2147483647 h 160"/>
              <a:gd name="T60" fmla="*/ 2147483647 w 123"/>
              <a:gd name="T61" fmla="*/ 2147483647 h 160"/>
              <a:gd name="T62" fmla="*/ 2147483647 w 123"/>
              <a:gd name="T63" fmla="*/ 2147483647 h 160"/>
              <a:gd name="T64" fmla="*/ 2147483647 w 123"/>
              <a:gd name="T65" fmla="*/ 2147483647 h 160"/>
              <a:gd name="T66" fmla="*/ 2147483647 w 123"/>
              <a:gd name="T67" fmla="*/ 2147483647 h 160"/>
              <a:gd name="T68" fmla="*/ 2147483647 w 123"/>
              <a:gd name="T69" fmla="*/ 2147483647 h 160"/>
              <a:gd name="T70" fmla="*/ 2147483647 w 123"/>
              <a:gd name="T71" fmla="*/ 2147483647 h 160"/>
              <a:gd name="T72" fmla="*/ 2147483647 w 123"/>
              <a:gd name="T73" fmla="*/ 2147483647 h 160"/>
              <a:gd name="T74" fmla="*/ 2147483647 w 123"/>
              <a:gd name="T75" fmla="*/ 2147483647 h 160"/>
              <a:gd name="T76" fmla="*/ 2147483647 w 123"/>
              <a:gd name="T77" fmla="*/ 2147483647 h 160"/>
              <a:gd name="T78" fmla="*/ 2147483647 w 123"/>
              <a:gd name="T79" fmla="*/ 2147483647 h 160"/>
              <a:gd name="T80" fmla="*/ 2147483647 w 123"/>
              <a:gd name="T81" fmla="*/ 2147483647 h 160"/>
              <a:gd name="T82" fmla="*/ 2147483647 w 123"/>
              <a:gd name="T83" fmla="*/ 2147483647 h 160"/>
              <a:gd name="T84" fmla="*/ 2147483647 w 123"/>
              <a:gd name="T85" fmla="*/ 2147483647 h 160"/>
              <a:gd name="T86" fmla="*/ 2147483647 w 123"/>
              <a:gd name="T87" fmla="*/ 2147483647 h 160"/>
              <a:gd name="T88" fmla="*/ 2147483647 w 123"/>
              <a:gd name="T89" fmla="*/ 2147483647 h 160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23"/>
              <a:gd name="T136" fmla="*/ 0 h 160"/>
              <a:gd name="T137" fmla="*/ 123 w 123"/>
              <a:gd name="T138" fmla="*/ 160 h 160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23" h="160">
                <a:moveTo>
                  <a:pt x="112" y="37"/>
                </a:moveTo>
                <a:lnTo>
                  <a:pt x="109" y="28"/>
                </a:lnTo>
                <a:lnTo>
                  <a:pt x="103" y="25"/>
                </a:lnTo>
                <a:lnTo>
                  <a:pt x="94" y="25"/>
                </a:lnTo>
                <a:lnTo>
                  <a:pt x="86" y="23"/>
                </a:lnTo>
                <a:lnTo>
                  <a:pt x="74" y="17"/>
                </a:lnTo>
                <a:lnTo>
                  <a:pt x="69" y="11"/>
                </a:lnTo>
                <a:lnTo>
                  <a:pt x="66" y="5"/>
                </a:lnTo>
                <a:lnTo>
                  <a:pt x="63" y="0"/>
                </a:lnTo>
                <a:lnTo>
                  <a:pt x="60" y="5"/>
                </a:lnTo>
                <a:lnTo>
                  <a:pt x="57" y="2"/>
                </a:lnTo>
                <a:lnTo>
                  <a:pt x="54" y="2"/>
                </a:lnTo>
                <a:lnTo>
                  <a:pt x="54" y="11"/>
                </a:lnTo>
                <a:lnTo>
                  <a:pt x="60" y="20"/>
                </a:lnTo>
                <a:lnTo>
                  <a:pt x="57" y="17"/>
                </a:lnTo>
                <a:lnTo>
                  <a:pt x="51" y="17"/>
                </a:lnTo>
                <a:lnTo>
                  <a:pt x="51" y="23"/>
                </a:lnTo>
                <a:lnTo>
                  <a:pt x="51" y="25"/>
                </a:lnTo>
                <a:lnTo>
                  <a:pt x="49" y="28"/>
                </a:lnTo>
                <a:lnTo>
                  <a:pt x="51" y="34"/>
                </a:lnTo>
                <a:lnTo>
                  <a:pt x="49" y="37"/>
                </a:lnTo>
                <a:lnTo>
                  <a:pt x="46" y="37"/>
                </a:lnTo>
                <a:lnTo>
                  <a:pt x="49" y="43"/>
                </a:lnTo>
                <a:lnTo>
                  <a:pt x="57" y="57"/>
                </a:lnTo>
                <a:lnTo>
                  <a:pt x="49" y="97"/>
                </a:lnTo>
                <a:lnTo>
                  <a:pt x="31" y="103"/>
                </a:lnTo>
                <a:lnTo>
                  <a:pt x="8" y="114"/>
                </a:lnTo>
                <a:lnTo>
                  <a:pt x="0" y="117"/>
                </a:lnTo>
                <a:lnTo>
                  <a:pt x="23" y="160"/>
                </a:lnTo>
                <a:lnTo>
                  <a:pt x="26" y="160"/>
                </a:lnTo>
                <a:lnTo>
                  <a:pt x="31" y="157"/>
                </a:lnTo>
                <a:lnTo>
                  <a:pt x="34" y="155"/>
                </a:lnTo>
                <a:lnTo>
                  <a:pt x="37" y="152"/>
                </a:lnTo>
                <a:lnTo>
                  <a:pt x="40" y="155"/>
                </a:lnTo>
                <a:lnTo>
                  <a:pt x="49" y="155"/>
                </a:lnTo>
                <a:lnTo>
                  <a:pt x="51" y="155"/>
                </a:lnTo>
                <a:lnTo>
                  <a:pt x="51" y="149"/>
                </a:lnTo>
                <a:lnTo>
                  <a:pt x="54" y="143"/>
                </a:lnTo>
                <a:lnTo>
                  <a:pt x="57" y="140"/>
                </a:lnTo>
                <a:lnTo>
                  <a:pt x="63" y="137"/>
                </a:lnTo>
                <a:lnTo>
                  <a:pt x="71" y="137"/>
                </a:lnTo>
                <a:lnTo>
                  <a:pt x="74" y="134"/>
                </a:lnTo>
                <a:lnTo>
                  <a:pt x="74" y="132"/>
                </a:lnTo>
                <a:lnTo>
                  <a:pt x="77" y="126"/>
                </a:lnTo>
                <a:lnTo>
                  <a:pt x="80" y="120"/>
                </a:lnTo>
                <a:lnTo>
                  <a:pt x="86" y="117"/>
                </a:lnTo>
                <a:lnTo>
                  <a:pt x="92" y="120"/>
                </a:lnTo>
                <a:lnTo>
                  <a:pt x="94" y="120"/>
                </a:lnTo>
                <a:lnTo>
                  <a:pt x="94" y="117"/>
                </a:lnTo>
                <a:lnTo>
                  <a:pt x="94" y="112"/>
                </a:lnTo>
                <a:lnTo>
                  <a:pt x="94" y="106"/>
                </a:lnTo>
                <a:lnTo>
                  <a:pt x="94" y="100"/>
                </a:lnTo>
                <a:lnTo>
                  <a:pt x="94" y="91"/>
                </a:lnTo>
                <a:lnTo>
                  <a:pt x="100" y="86"/>
                </a:lnTo>
                <a:lnTo>
                  <a:pt x="103" y="91"/>
                </a:lnTo>
                <a:lnTo>
                  <a:pt x="103" y="89"/>
                </a:lnTo>
                <a:lnTo>
                  <a:pt x="109" y="80"/>
                </a:lnTo>
                <a:lnTo>
                  <a:pt x="112" y="74"/>
                </a:lnTo>
                <a:lnTo>
                  <a:pt x="117" y="68"/>
                </a:lnTo>
                <a:lnTo>
                  <a:pt x="123" y="57"/>
                </a:lnTo>
                <a:lnTo>
                  <a:pt x="123" y="48"/>
                </a:lnTo>
                <a:lnTo>
                  <a:pt x="117" y="43"/>
                </a:lnTo>
                <a:lnTo>
                  <a:pt x="112" y="3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31" name="Freeform 537"/>
          <p:cNvSpPr>
            <a:spLocks/>
          </p:cNvSpPr>
          <p:nvPr/>
        </p:nvSpPr>
        <p:spPr bwMode="gray">
          <a:xfrm>
            <a:off x="7415336" y="2715074"/>
            <a:ext cx="488088" cy="393011"/>
          </a:xfrm>
          <a:custGeom>
            <a:avLst/>
            <a:gdLst>
              <a:gd name="T0" fmla="*/ 2147483647 w 241"/>
              <a:gd name="T1" fmla="*/ 2147483647 h 259"/>
              <a:gd name="T2" fmla="*/ 2147483647 w 241"/>
              <a:gd name="T3" fmla="*/ 2147483647 h 259"/>
              <a:gd name="T4" fmla="*/ 2147483647 w 241"/>
              <a:gd name="T5" fmla="*/ 2147483647 h 259"/>
              <a:gd name="T6" fmla="*/ 2147483647 w 241"/>
              <a:gd name="T7" fmla="*/ 2147483647 h 259"/>
              <a:gd name="T8" fmla="*/ 2147483647 w 241"/>
              <a:gd name="T9" fmla="*/ 2147483647 h 259"/>
              <a:gd name="T10" fmla="*/ 2147483647 w 241"/>
              <a:gd name="T11" fmla="*/ 2147483647 h 259"/>
              <a:gd name="T12" fmla="*/ 2147483647 w 241"/>
              <a:gd name="T13" fmla="*/ 2147483647 h 259"/>
              <a:gd name="T14" fmla="*/ 2147483647 w 241"/>
              <a:gd name="T15" fmla="*/ 2147483647 h 259"/>
              <a:gd name="T16" fmla="*/ 2147483647 w 241"/>
              <a:gd name="T17" fmla="*/ 2147483647 h 259"/>
              <a:gd name="T18" fmla="*/ 2147483647 w 241"/>
              <a:gd name="T19" fmla="*/ 2147483647 h 259"/>
              <a:gd name="T20" fmla="*/ 2147483647 w 241"/>
              <a:gd name="T21" fmla="*/ 2147483647 h 259"/>
              <a:gd name="T22" fmla="*/ 2147483647 w 241"/>
              <a:gd name="T23" fmla="*/ 2147483647 h 259"/>
              <a:gd name="T24" fmla="*/ 2147483647 w 241"/>
              <a:gd name="T25" fmla="*/ 2147483647 h 259"/>
              <a:gd name="T26" fmla="*/ 2147483647 w 241"/>
              <a:gd name="T27" fmla="*/ 2147483647 h 259"/>
              <a:gd name="T28" fmla="*/ 2147483647 w 241"/>
              <a:gd name="T29" fmla="*/ 2147483647 h 259"/>
              <a:gd name="T30" fmla="*/ 2147483647 w 241"/>
              <a:gd name="T31" fmla="*/ 2147483647 h 259"/>
              <a:gd name="T32" fmla="*/ 2147483647 w 241"/>
              <a:gd name="T33" fmla="*/ 2147483647 h 259"/>
              <a:gd name="T34" fmla="*/ 2147483647 w 241"/>
              <a:gd name="T35" fmla="*/ 0 h 259"/>
              <a:gd name="T36" fmla="*/ 2147483647 w 241"/>
              <a:gd name="T37" fmla="*/ 2147483647 h 259"/>
              <a:gd name="T38" fmla="*/ 2147483647 w 241"/>
              <a:gd name="T39" fmla="*/ 2147483647 h 259"/>
              <a:gd name="T40" fmla="*/ 2147483647 w 241"/>
              <a:gd name="T41" fmla="*/ 2147483647 h 259"/>
              <a:gd name="T42" fmla="*/ 2147483647 w 241"/>
              <a:gd name="T43" fmla="*/ 2147483647 h 259"/>
              <a:gd name="T44" fmla="*/ 2147483647 w 241"/>
              <a:gd name="T45" fmla="*/ 2147483647 h 259"/>
              <a:gd name="T46" fmla="*/ 2147483647 w 241"/>
              <a:gd name="T47" fmla="*/ 2147483647 h 259"/>
              <a:gd name="T48" fmla="*/ 2147483647 w 241"/>
              <a:gd name="T49" fmla="*/ 2147483647 h 259"/>
              <a:gd name="T50" fmla="*/ 2147483647 w 241"/>
              <a:gd name="T51" fmla="*/ 2147483647 h 259"/>
              <a:gd name="T52" fmla="*/ 2147483647 w 241"/>
              <a:gd name="T53" fmla="*/ 2147483647 h 259"/>
              <a:gd name="T54" fmla="*/ 2147483647 w 241"/>
              <a:gd name="T55" fmla="*/ 2147483647 h 259"/>
              <a:gd name="T56" fmla="*/ 2147483647 w 241"/>
              <a:gd name="T57" fmla="*/ 2147483647 h 259"/>
              <a:gd name="T58" fmla="*/ 2147483647 w 241"/>
              <a:gd name="T59" fmla="*/ 2147483647 h 259"/>
              <a:gd name="T60" fmla="*/ 2147483647 w 241"/>
              <a:gd name="T61" fmla="*/ 2147483647 h 259"/>
              <a:gd name="T62" fmla="*/ 2147483647 w 241"/>
              <a:gd name="T63" fmla="*/ 2147483647 h 259"/>
              <a:gd name="T64" fmla="*/ 2147483647 w 241"/>
              <a:gd name="T65" fmla="*/ 2147483647 h 259"/>
              <a:gd name="T66" fmla="*/ 2147483647 w 241"/>
              <a:gd name="T67" fmla="*/ 2147483647 h 259"/>
              <a:gd name="T68" fmla="*/ 2147483647 w 241"/>
              <a:gd name="T69" fmla="*/ 2147483647 h 259"/>
              <a:gd name="T70" fmla="*/ 2147483647 w 241"/>
              <a:gd name="T71" fmla="*/ 2147483647 h 259"/>
              <a:gd name="T72" fmla="*/ 2147483647 w 241"/>
              <a:gd name="T73" fmla="*/ 2147483647 h 259"/>
              <a:gd name="T74" fmla="*/ 2147483647 w 241"/>
              <a:gd name="T75" fmla="*/ 2147483647 h 259"/>
              <a:gd name="T76" fmla="*/ 2147483647 w 241"/>
              <a:gd name="T77" fmla="*/ 2147483647 h 259"/>
              <a:gd name="T78" fmla="*/ 2147483647 w 241"/>
              <a:gd name="T79" fmla="*/ 2147483647 h 259"/>
              <a:gd name="T80" fmla="*/ 2147483647 w 241"/>
              <a:gd name="T81" fmla="*/ 2147483647 h 259"/>
              <a:gd name="T82" fmla="*/ 2147483647 w 241"/>
              <a:gd name="T83" fmla="*/ 2147483647 h 259"/>
              <a:gd name="T84" fmla="*/ 2147483647 w 241"/>
              <a:gd name="T85" fmla="*/ 2147483647 h 259"/>
              <a:gd name="T86" fmla="*/ 2147483647 w 241"/>
              <a:gd name="T87" fmla="*/ 2147483647 h 259"/>
              <a:gd name="T88" fmla="*/ 2147483647 w 241"/>
              <a:gd name="T89" fmla="*/ 2147483647 h 259"/>
              <a:gd name="T90" fmla="*/ 2147483647 w 241"/>
              <a:gd name="T91" fmla="*/ 2147483647 h 259"/>
              <a:gd name="T92" fmla="*/ 2147483647 w 241"/>
              <a:gd name="T93" fmla="*/ 2147483647 h 259"/>
              <a:gd name="T94" fmla="*/ 2147483647 w 241"/>
              <a:gd name="T95" fmla="*/ 2147483647 h 259"/>
              <a:gd name="T96" fmla="*/ 2147483647 w 241"/>
              <a:gd name="T97" fmla="*/ 2147483647 h 259"/>
              <a:gd name="T98" fmla="*/ 2147483647 w 241"/>
              <a:gd name="T99" fmla="*/ 2147483647 h 259"/>
              <a:gd name="T100" fmla="*/ 2147483647 w 241"/>
              <a:gd name="T101" fmla="*/ 2147483647 h 259"/>
              <a:gd name="T102" fmla="*/ 2147483647 w 241"/>
              <a:gd name="T103" fmla="*/ 2147483647 h 259"/>
              <a:gd name="T104" fmla="*/ 2147483647 w 241"/>
              <a:gd name="T105" fmla="*/ 2147483647 h 259"/>
              <a:gd name="T106" fmla="*/ 2147483647 w 241"/>
              <a:gd name="T107" fmla="*/ 2147483647 h 259"/>
              <a:gd name="T108" fmla="*/ 2147483647 w 241"/>
              <a:gd name="T109" fmla="*/ 2147483647 h 259"/>
              <a:gd name="T110" fmla="*/ 2147483647 w 241"/>
              <a:gd name="T111" fmla="*/ 2147483647 h 259"/>
              <a:gd name="T112" fmla="*/ 2147483647 w 241"/>
              <a:gd name="T113" fmla="*/ 2147483647 h 259"/>
              <a:gd name="T114" fmla="*/ 2147483647 w 241"/>
              <a:gd name="T115" fmla="*/ 2147483647 h 259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241"/>
              <a:gd name="T175" fmla="*/ 0 h 259"/>
              <a:gd name="T176" fmla="*/ 241 w 241"/>
              <a:gd name="T177" fmla="*/ 259 h 259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241" h="259">
                <a:moveTo>
                  <a:pt x="135" y="253"/>
                </a:moveTo>
                <a:lnTo>
                  <a:pt x="135" y="247"/>
                </a:lnTo>
                <a:lnTo>
                  <a:pt x="149" y="247"/>
                </a:lnTo>
                <a:lnTo>
                  <a:pt x="158" y="250"/>
                </a:lnTo>
                <a:lnTo>
                  <a:pt x="166" y="244"/>
                </a:lnTo>
                <a:lnTo>
                  <a:pt x="169" y="247"/>
                </a:lnTo>
                <a:lnTo>
                  <a:pt x="172" y="247"/>
                </a:lnTo>
                <a:lnTo>
                  <a:pt x="172" y="241"/>
                </a:lnTo>
                <a:lnTo>
                  <a:pt x="166" y="224"/>
                </a:lnTo>
                <a:lnTo>
                  <a:pt x="158" y="224"/>
                </a:lnTo>
                <a:lnTo>
                  <a:pt x="155" y="215"/>
                </a:lnTo>
                <a:lnTo>
                  <a:pt x="155" y="207"/>
                </a:lnTo>
                <a:lnTo>
                  <a:pt x="149" y="207"/>
                </a:lnTo>
                <a:lnTo>
                  <a:pt x="143" y="204"/>
                </a:lnTo>
                <a:lnTo>
                  <a:pt x="140" y="201"/>
                </a:lnTo>
                <a:lnTo>
                  <a:pt x="143" y="192"/>
                </a:lnTo>
                <a:lnTo>
                  <a:pt x="146" y="187"/>
                </a:lnTo>
                <a:lnTo>
                  <a:pt x="152" y="175"/>
                </a:lnTo>
                <a:lnTo>
                  <a:pt x="155" y="172"/>
                </a:lnTo>
                <a:lnTo>
                  <a:pt x="163" y="181"/>
                </a:lnTo>
                <a:lnTo>
                  <a:pt x="175" y="178"/>
                </a:lnTo>
                <a:lnTo>
                  <a:pt x="183" y="170"/>
                </a:lnTo>
                <a:lnTo>
                  <a:pt x="186" y="158"/>
                </a:lnTo>
                <a:lnTo>
                  <a:pt x="195" y="152"/>
                </a:lnTo>
                <a:lnTo>
                  <a:pt x="195" y="138"/>
                </a:lnTo>
                <a:lnTo>
                  <a:pt x="206" y="132"/>
                </a:lnTo>
                <a:lnTo>
                  <a:pt x="203" y="126"/>
                </a:lnTo>
                <a:lnTo>
                  <a:pt x="215" y="118"/>
                </a:lnTo>
                <a:lnTo>
                  <a:pt x="206" y="101"/>
                </a:lnTo>
                <a:lnTo>
                  <a:pt x="221" y="95"/>
                </a:lnTo>
                <a:lnTo>
                  <a:pt x="212" y="89"/>
                </a:lnTo>
                <a:lnTo>
                  <a:pt x="206" y="81"/>
                </a:lnTo>
                <a:lnTo>
                  <a:pt x="201" y="81"/>
                </a:lnTo>
                <a:lnTo>
                  <a:pt x="195" y="72"/>
                </a:lnTo>
                <a:lnTo>
                  <a:pt x="198" y="69"/>
                </a:lnTo>
                <a:lnTo>
                  <a:pt x="195" y="66"/>
                </a:lnTo>
                <a:lnTo>
                  <a:pt x="195" y="63"/>
                </a:lnTo>
                <a:lnTo>
                  <a:pt x="195" y="60"/>
                </a:lnTo>
                <a:lnTo>
                  <a:pt x="192" y="60"/>
                </a:lnTo>
                <a:lnTo>
                  <a:pt x="186" y="52"/>
                </a:lnTo>
                <a:lnTo>
                  <a:pt x="189" y="43"/>
                </a:lnTo>
                <a:lnTo>
                  <a:pt x="198" y="40"/>
                </a:lnTo>
                <a:lnTo>
                  <a:pt x="201" y="43"/>
                </a:lnTo>
                <a:lnTo>
                  <a:pt x="212" y="46"/>
                </a:lnTo>
                <a:lnTo>
                  <a:pt x="226" y="43"/>
                </a:lnTo>
                <a:lnTo>
                  <a:pt x="235" y="37"/>
                </a:lnTo>
                <a:lnTo>
                  <a:pt x="241" y="32"/>
                </a:lnTo>
                <a:lnTo>
                  <a:pt x="235" y="29"/>
                </a:lnTo>
                <a:lnTo>
                  <a:pt x="229" y="26"/>
                </a:lnTo>
                <a:lnTo>
                  <a:pt x="226" y="23"/>
                </a:lnTo>
                <a:lnTo>
                  <a:pt x="221" y="26"/>
                </a:lnTo>
                <a:lnTo>
                  <a:pt x="215" y="20"/>
                </a:lnTo>
                <a:lnTo>
                  <a:pt x="215" y="12"/>
                </a:lnTo>
                <a:lnTo>
                  <a:pt x="209" y="6"/>
                </a:lnTo>
                <a:lnTo>
                  <a:pt x="203" y="6"/>
                </a:lnTo>
                <a:lnTo>
                  <a:pt x="198" y="3"/>
                </a:lnTo>
                <a:lnTo>
                  <a:pt x="189" y="0"/>
                </a:lnTo>
                <a:lnTo>
                  <a:pt x="189" y="3"/>
                </a:lnTo>
                <a:lnTo>
                  <a:pt x="180" y="6"/>
                </a:lnTo>
                <a:lnTo>
                  <a:pt x="166" y="6"/>
                </a:lnTo>
                <a:lnTo>
                  <a:pt x="158" y="6"/>
                </a:lnTo>
                <a:lnTo>
                  <a:pt x="152" y="14"/>
                </a:lnTo>
                <a:lnTo>
                  <a:pt x="149" y="14"/>
                </a:lnTo>
                <a:lnTo>
                  <a:pt x="146" y="14"/>
                </a:lnTo>
                <a:lnTo>
                  <a:pt x="143" y="20"/>
                </a:lnTo>
                <a:lnTo>
                  <a:pt x="149" y="26"/>
                </a:lnTo>
                <a:lnTo>
                  <a:pt x="152" y="35"/>
                </a:lnTo>
                <a:lnTo>
                  <a:pt x="152" y="37"/>
                </a:lnTo>
                <a:lnTo>
                  <a:pt x="146" y="52"/>
                </a:lnTo>
                <a:lnTo>
                  <a:pt x="149" y="58"/>
                </a:lnTo>
                <a:lnTo>
                  <a:pt x="146" y="60"/>
                </a:lnTo>
                <a:lnTo>
                  <a:pt x="143" y="63"/>
                </a:lnTo>
                <a:lnTo>
                  <a:pt x="140" y="63"/>
                </a:lnTo>
                <a:lnTo>
                  <a:pt x="135" y="63"/>
                </a:lnTo>
                <a:lnTo>
                  <a:pt x="129" y="60"/>
                </a:lnTo>
                <a:lnTo>
                  <a:pt x="132" y="66"/>
                </a:lnTo>
                <a:lnTo>
                  <a:pt x="137" y="72"/>
                </a:lnTo>
                <a:lnTo>
                  <a:pt x="137" y="75"/>
                </a:lnTo>
                <a:lnTo>
                  <a:pt x="135" y="78"/>
                </a:lnTo>
                <a:lnTo>
                  <a:pt x="132" y="81"/>
                </a:lnTo>
                <a:lnTo>
                  <a:pt x="129" y="81"/>
                </a:lnTo>
                <a:lnTo>
                  <a:pt x="126" y="78"/>
                </a:lnTo>
                <a:lnTo>
                  <a:pt x="126" y="86"/>
                </a:lnTo>
                <a:lnTo>
                  <a:pt x="126" y="89"/>
                </a:lnTo>
                <a:lnTo>
                  <a:pt x="123" y="95"/>
                </a:lnTo>
                <a:lnTo>
                  <a:pt x="126" y="98"/>
                </a:lnTo>
                <a:lnTo>
                  <a:pt x="126" y="101"/>
                </a:lnTo>
                <a:lnTo>
                  <a:pt x="126" y="103"/>
                </a:lnTo>
                <a:lnTo>
                  <a:pt x="123" y="103"/>
                </a:lnTo>
                <a:lnTo>
                  <a:pt x="123" y="106"/>
                </a:lnTo>
                <a:lnTo>
                  <a:pt x="120" y="109"/>
                </a:lnTo>
                <a:lnTo>
                  <a:pt x="117" y="109"/>
                </a:lnTo>
                <a:lnTo>
                  <a:pt x="109" y="103"/>
                </a:lnTo>
                <a:lnTo>
                  <a:pt x="106" y="103"/>
                </a:lnTo>
                <a:lnTo>
                  <a:pt x="100" y="109"/>
                </a:lnTo>
                <a:lnTo>
                  <a:pt x="103" y="112"/>
                </a:lnTo>
                <a:lnTo>
                  <a:pt x="103" y="115"/>
                </a:lnTo>
                <a:lnTo>
                  <a:pt x="97" y="118"/>
                </a:lnTo>
                <a:lnTo>
                  <a:pt x="94" y="118"/>
                </a:lnTo>
                <a:lnTo>
                  <a:pt x="86" y="115"/>
                </a:lnTo>
                <a:lnTo>
                  <a:pt x="83" y="118"/>
                </a:lnTo>
                <a:lnTo>
                  <a:pt x="80" y="126"/>
                </a:lnTo>
                <a:lnTo>
                  <a:pt x="83" y="141"/>
                </a:lnTo>
                <a:lnTo>
                  <a:pt x="80" y="141"/>
                </a:lnTo>
                <a:lnTo>
                  <a:pt x="69" y="147"/>
                </a:lnTo>
                <a:lnTo>
                  <a:pt x="57" y="149"/>
                </a:lnTo>
                <a:lnTo>
                  <a:pt x="54" y="149"/>
                </a:lnTo>
                <a:lnTo>
                  <a:pt x="46" y="149"/>
                </a:lnTo>
                <a:lnTo>
                  <a:pt x="37" y="149"/>
                </a:lnTo>
                <a:lnTo>
                  <a:pt x="34" y="149"/>
                </a:lnTo>
                <a:lnTo>
                  <a:pt x="28" y="149"/>
                </a:lnTo>
                <a:lnTo>
                  <a:pt x="23" y="152"/>
                </a:lnTo>
                <a:lnTo>
                  <a:pt x="20" y="152"/>
                </a:lnTo>
                <a:lnTo>
                  <a:pt x="0" y="147"/>
                </a:lnTo>
                <a:lnTo>
                  <a:pt x="11" y="164"/>
                </a:lnTo>
                <a:lnTo>
                  <a:pt x="28" y="170"/>
                </a:lnTo>
                <a:lnTo>
                  <a:pt x="28" y="172"/>
                </a:lnTo>
                <a:lnTo>
                  <a:pt x="28" y="175"/>
                </a:lnTo>
                <a:lnTo>
                  <a:pt x="31" y="187"/>
                </a:lnTo>
                <a:lnTo>
                  <a:pt x="40" y="190"/>
                </a:lnTo>
                <a:lnTo>
                  <a:pt x="40" y="204"/>
                </a:lnTo>
                <a:lnTo>
                  <a:pt x="37" y="204"/>
                </a:lnTo>
                <a:lnTo>
                  <a:pt x="31" y="204"/>
                </a:lnTo>
                <a:lnTo>
                  <a:pt x="25" y="213"/>
                </a:lnTo>
                <a:lnTo>
                  <a:pt x="20" y="210"/>
                </a:lnTo>
                <a:lnTo>
                  <a:pt x="17" y="218"/>
                </a:lnTo>
                <a:lnTo>
                  <a:pt x="17" y="233"/>
                </a:lnTo>
                <a:lnTo>
                  <a:pt x="20" y="233"/>
                </a:lnTo>
                <a:lnTo>
                  <a:pt x="31" y="230"/>
                </a:lnTo>
                <a:lnTo>
                  <a:pt x="43" y="230"/>
                </a:lnTo>
                <a:lnTo>
                  <a:pt x="46" y="230"/>
                </a:lnTo>
                <a:lnTo>
                  <a:pt x="48" y="227"/>
                </a:lnTo>
                <a:lnTo>
                  <a:pt x="66" y="230"/>
                </a:lnTo>
                <a:lnTo>
                  <a:pt x="74" y="230"/>
                </a:lnTo>
                <a:lnTo>
                  <a:pt x="89" y="227"/>
                </a:lnTo>
                <a:lnTo>
                  <a:pt x="94" y="224"/>
                </a:lnTo>
                <a:lnTo>
                  <a:pt x="97" y="227"/>
                </a:lnTo>
                <a:lnTo>
                  <a:pt x="100" y="233"/>
                </a:lnTo>
                <a:lnTo>
                  <a:pt x="100" y="238"/>
                </a:lnTo>
                <a:lnTo>
                  <a:pt x="106" y="238"/>
                </a:lnTo>
                <a:lnTo>
                  <a:pt x="109" y="238"/>
                </a:lnTo>
                <a:lnTo>
                  <a:pt x="112" y="241"/>
                </a:lnTo>
                <a:lnTo>
                  <a:pt x="112" y="247"/>
                </a:lnTo>
                <a:lnTo>
                  <a:pt x="112" y="253"/>
                </a:lnTo>
                <a:lnTo>
                  <a:pt x="120" y="259"/>
                </a:lnTo>
                <a:lnTo>
                  <a:pt x="126" y="259"/>
                </a:lnTo>
                <a:lnTo>
                  <a:pt x="129" y="256"/>
                </a:lnTo>
                <a:lnTo>
                  <a:pt x="135" y="25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392" name="Freeform 581"/>
          <p:cNvSpPr>
            <a:spLocks/>
          </p:cNvSpPr>
          <p:nvPr/>
        </p:nvSpPr>
        <p:spPr bwMode="gray">
          <a:xfrm>
            <a:off x="1592287" y="2275562"/>
            <a:ext cx="4001" cy="4500"/>
          </a:xfrm>
          <a:custGeom>
            <a:avLst/>
            <a:gdLst>
              <a:gd name="T0" fmla="*/ 0 w 2"/>
              <a:gd name="T1" fmla="*/ 2147483647 h 3"/>
              <a:gd name="T2" fmla="*/ 2147483647 w 2"/>
              <a:gd name="T3" fmla="*/ 0 h 3"/>
              <a:gd name="T4" fmla="*/ 0 w 2"/>
              <a:gd name="T5" fmla="*/ 0 h 3"/>
              <a:gd name="T6" fmla="*/ 0 w 2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2"/>
              <a:gd name="T13" fmla="*/ 0 h 3"/>
              <a:gd name="T14" fmla="*/ 2 w 2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93" name="Freeform 582"/>
          <p:cNvSpPr>
            <a:spLocks/>
          </p:cNvSpPr>
          <p:nvPr/>
        </p:nvSpPr>
        <p:spPr bwMode="gray">
          <a:xfrm>
            <a:off x="848153" y="1962053"/>
            <a:ext cx="42008" cy="22501"/>
          </a:xfrm>
          <a:custGeom>
            <a:avLst/>
            <a:gdLst>
              <a:gd name="T0" fmla="*/ 2147483647 w 20"/>
              <a:gd name="T1" fmla="*/ 2147483647 h 15"/>
              <a:gd name="T2" fmla="*/ 2147483647 w 20"/>
              <a:gd name="T3" fmla="*/ 2147483647 h 15"/>
              <a:gd name="T4" fmla="*/ 2147483647 w 20"/>
              <a:gd name="T5" fmla="*/ 2147483647 h 15"/>
              <a:gd name="T6" fmla="*/ 2147483647 w 20"/>
              <a:gd name="T7" fmla="*/ 2147483647 h 15"/>
              <a:gd name="T8" fmla="*/ 2147483647 w 20"/>
              <a:gd name="T9" fmla="*/ 2147483647 h 15"/>
              <a:gd name="T10" fmla="*/ 2147483647 w 20"/>
              <a:gd name="T11" fmla="*/ 0 h 15"/>
              <a:gd name="T12" fmla="*/ 0 w 20"/>
              <a:gd name="T13" fmla="*/ 2147483647 h 15"/>
              <a:gd name="T14" fmla="*/ 0 w 20"/>
              <a:gd name="T15" fmla="*/ 2147483647 h 15"/>
              <a:gd name="T16" fmla="*/ 0 w 20"/>
              <a:gd name="T17" fmla="*/ 2147483647 h 15"/>
              <a:gd name="T18" fmla="*/ 2147483647 w 20"/>
              <a:gd name="T19" fmla="*/ 2147483647 h 1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0"/>
              <a:gd name="T31" fmla="*/ 0 h 15"/>
              <a:gd name="T32" fmla="*/ 20 w 20"/>
              <a:gd name="T33" fmla="*/ 15 h 15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0" h="15">
                <a:moveTo>
                  <a:pt x="9" y="9"/>
                </a:moveTo>
                <a:lnTo>
                  <a:pt x="15" y="9"/>
                </a:lnTo>
                <a:lnTo>
                  <a:pt x="20" y="9"/>
                </a:lnTo>
                <a:lnTo>
                  <a:pt x="20" y="6"/>
                </a:lnTo>
                <a:lnTo>
                  <a:pt x="15" y="6"/>
                </a:lnTo>
                <a:lnTo>
                  <a:pt x="9" y="0"/>
                </a:lnTo>
                <a:lnTo>
                  <a:pt x="0" y="9"/>
                </a:lnTo>
                <a:lnTo>
                  <a:pt x="0" y="12"/>
                </a:lnTo>
                <a:lnTo>
                  <a:pt x="0" y="15"/>
                </a:lnTo>
                <a:lnTo>
                  <a:pt x="9" y="9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94" name="Freeform 583"/>
          <p:cNvSpPr>
            <a:spLocks noEditPoints="1"/>
          </p:cNvSpPr>
          <p:nvPr/>
        </p:nvSpPr>
        <p:spPr bwMode="gray">
          <a:xfrm>
            <a:off x="3406615" y="1510541"/>
            <a:ext cx="812146" cy="144004"/>
          </a:xfrm>
          <a:custGeom>
            <a:avLst/>
            <a:gdLst>
              <a:gd name="T0" fmla="*/ 2147483647 w 402"/>
              <a:gd name="T1" fmla="*/ 2147483647 h 95"/>
              <a:gd name="T2" fmla="*/ 2147483647 w 402"/>
              <a:gd name="T3" fmla="*/ 2147483647 h 95"/>
              <a:gd name="T4" fmla="*/ 2147483647 w 402"/>
              <a:gd name="T5" fmla="*/ 2147483647 h 95"/>
              <a:gd name="T6" fmla="*/ 2147483647 w 402"/>
              <a:gd name="T7" fmla="*/ 2147483647 h 95"/>
              <a:gd name="T8" fmla="*/ 2147483647 w 402"/>
              <a:gd name="T9" fmla="*/ 2147483647 h 95"/>
              <a:gd name="T10" fmla="*/ 2147483647 w 402"/>
              <a:gd name="T11" fmla="*/ 2147483647 h 95"/>
              <a:gd name="T12" fmla="*/ 2147483647 w 402"/>
              <a:gd name="T13" fmla="*/ 2147483647 h 95"/>
              <a:gd name="T14" fmla="*/ 2147483647 w 402"/>
              <a:gd name="T15" fmla="*/ 2147483647 h 95"/>
              <a:gd name="T16" fmla="*/ 2147483647 w 402"/>
              <a:gd name="T17" fmla="*/ 2147483647 h 95"/>
              <a:gd name="T18" fmla="*/ 2147483647 w 402"/>
              <a:gd name="T19" fmla="*/ 2147483647 h 95"/>
              <a:gd name="T20" fmla="*/ 2147483647 w 402"/>
              <a:gd name="T21" fmla="*/ 2147483647 h 95"/>
              <a:gd name="T22" fmla="*/ 2147483647 w 402"/>
              <a:gd name="T23" fmla="*/ 2147483647 h 95"/>
              <a:gd name="T24" fmla="*/ 2147483647 w 402"/>
              <a:gd name="T25" fmla="*/ 2147483647 h 95"/>
              <a:gd name="T26" fmla="*/ 2147483647 w 402"/>
              <a:gd name="T27" fmla="*/ 2147483647 h 95"/>
              <a:gd name="T28" fmla="*/ 2147483647 w 402"/>
              <a:gd name="T29" fmla="*/ 2147483647 h 95"/>
              <a:gd name="T30" fmla="*/ 2147483647 w 402"/>
              <a:gd name="T31" fmla="*/ 2147483647 h 95"/>
              <a:gd name="T32" fmla="*/ 2147483647 w 402"/>
              <a:gd name="T33" fmla="*/ 2147483647 h 95"/>
              <a:gd name="T34" fmla="*/ 2147483647 w 402"/>
              <a:gd name="T35" fmla="*/ 2147483647 h 95"/>
              <a:gd name="T36" fmla="*/ 0 w 402"/>
              <a:gd name="T37" fmla="*/ 2147483647 h 95"/>
              <a:gd name="T38" fmla="*/ 2147483647 w 402"/>
              <a:gd name="T39" fmla="*/ 2147483647 h 95"/>
              <a:gd name="T40" fmla="*/ 2147483647 w 402"/>
              <a:gd name="T41" fmla="*/ 2147483647 h 95"/>
              <a:gd name="T42" fmla="*/ 2147483647 w 402"/>
              <a:gd name="T43" fmla="*/ 2147483647 h 95"/>
              <a:gd name="T44" fmla="*/ 2147483647 w 402"/>
              <a:gd name="T45" fmla="*/ 2147483647 h 95"/>
              <a:gd name="T46" fmla="*/ 2147483647 w 402"/>
              <a:gd name="T47" fmla="*/ 2147483647 h 95"/>
              <a:gd name="T48" fmla="*/ 2147483647 w 402"/>
              <a:gd name="T49" fmla="*/ 2147483647 h 95"/>
              <a:gd name="T50" fmla="*/ 2147483647 w 402"/>
              <a:gd name="T51" fmla="*/ 2147483647 h 95"/>
              <a:gd name="T52" fmla="*/ 2147483647 w 402"/>
              <a:gd name="T53" fmla="*/ 2147483647 h 95"/>
              <a:gd name="T54" fmla="*/ 2147483647 w 402"/>
              <a:gd name="T55" fmla="*/ 2147483647 h 95"/>
              <a:gd name="T56" fmla="*/ 2147483647 w 402"/>
              <a:gd name="T57" fmla="*/ 2147483647 h 95"/>
              <a:gd name="T58" fmla="*/ 2147483647 w 402"/>
              <a:gd name="T59" fmla="*/ 2147483647 h 95"/>
              <a:gd name="T60" fmla="*/ 2147483647 w 402"/>
              <a:gd name="T61" fmla="*/ 2147483647 h 95"/>
              <a:gd name="T62" fmla="*/ 2147483647 w 402"/>
              <a:gd name="T63" fmla="*/ 2147483647 h 95"/>
              <a:gd name="T64" fmla="*/ 2147483647 w 402"/>
              <a:gd name="T65" fmla="*/ 2147483647 h 95"/>
              <a:gd name="T66" fmla="*/ 2147483647 w 402"/>
              <a:gd name="T67" fmla="*/ 2147483647 h 95"/>
              <a:gd name="T68" fmla="*/ 2147483647 w 402"/>
              <a:gd name="T69" fmla="*/ 2147483647 h 95"/>
              <a:gd name="T70" fmla="*/ 2147483647 w 402"/>
              <a:gd name="T71" fmla="*/ 2147483647 h 95"/>
              <a:gd name="T72" fmla="*/ 2147483647 w 402"/>
              <a:gd name="T73" fmla="*/ 2147483647 h 95"/>
              <a:gd name="T74" fmla="*/ 2147483647 w 402"/>
              <a:gd name="T75" fmla="*/ 2147483647 h 95"/>
              <a:gd name="T76" fmla="*/ 2147483647 w 402"/>
              <a:gd name="T77" fmla="*/ 2147483647 h 95"/>
              <a:gd name="T78" fmla="*/ 2147483647 w 402"/>
              <a:gd name="T79" fmla="*/ 2147483647 h 95"/>
              <a:gd name="T80" fmla="*/ 2147483647 w 402"/>
              <a:gd name="T81" fmla="*/ 2147483647 h 95"/>
              <a:gd name="T82" fmla="*/ 2147483647 w 402"/>
              <a:gd name="T83" fmla="*/ 2147483647 h 95"/>
              <a:gd name="T84" fmla="*/ 2147483647 w 402"/>
              <a:gd name="T85" fmla="*/ 2147483647 h 95"/>
              <a:gd name="T86" fmla="*/ 2147483647 w 402"/>
              <a:gd name="T87" fmla="*/ 2147483647 h 95"/>
              <a:gd name="T88" fmla="*/ 2147483647 w 402"/>
              <a:gd name="T89" fmla="*/ 2147483647 h 95"/>
              <a:gd name="T90" fmla="*/ 2147483647 w 402"/>
              <a:gd name="T91" fmla="*/ 2147483647 h 95"/>
              <a:gd name="T92" fmla="*/ 2147483647 w 402"/>
              <a:gd name="T93" fmla="*/ 2147483647 h 95"/>
              <a:gd name="T94" fmla="*/ 2147483647 w 402"/>
              <a:gd name="T95" fmla="*/ 2147483647 h 95"/>
              <a:gd name="T96" fmla="*/ 2147483647 w 402"/>
              <a:gd name="T97" fmla="*/ 2147483647 h 95"/>
              <a:gd name="T98" fmla="*/ 2147483647 w 402"/>
              <a:gd name="T99" fmla="*/ 2147483647 h 95"/>
              <a:gd name="T100" fmla="*/ 2147483647 w 402"/>
              <a:gd name="T101" fmla="*/ 2147483647 h 95"/>
              <a:gd name="T102" fmla="*/ 2147483647 w 402"/>
              <a:gd name="T103" fmla="*/ 2147483647 h 95"/>
              <a:gd name="T104" fmla="*/ 2147483647 w 402"/>
              <a:gd name="T105" fmla="*/ 2147483647 h 95"/>
              <a:gd name="T106" fmla="*/ 2147483647 w 402"/>
              <a:gd name="T107" fmla="*/ 2147483647 h 95"/>
              <a:gd name="T108" fmla="*/ 2147483647 w 402"/>
              <a:gd name="T109" fmla="*/ 2147483647 h 95"/>
              <a:gd name="T110" fmla="*/ 2147483647 w 402"/>
              <a:gd name="T111" fmla="*/ 2147483647 h 95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402"/>
              <a:gd name="T169" fmla="*/ 0 h 95"/>
              <a:gd name="T170" fmla="*/ 402 w 402"/>
              <a:gd name="T171" fmla="*/ 95 h 95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402" h="95">
                <a:moveTo>
                  <a:pt x="72" y="20"/>
                </a:moveTo>
                <a:lnTo>
                  <a:pt x="72" y="20"/>
                </a:lnTo>
                <a:lnTo>
                  <a:pt x="80" y="23"/>
                </a:lnTo>
                <a:lnTo>
                  <a:pt x="83" y="23"/>
                </a:lnTo>
                <a:lnTo>
                  <a:pt x="80" y="26"/>
                </a:lnTo>
                <a:lnTo>
                  <a:pt x="83" y="29"/>
                </a:lnTo>
                <a:lnTo>
                  <a:pt x="86" y="29"/>
                </a:lnTo>
                <a:lnTo>
                  <a:pt x="89" y="29"/>
                </a:lnTo>
                <a:lnTo>
                  <a:pt x="95" y="31"/>
                </a:lnTo>
                <a:lnTo>
                  <a:pt x="103" y="31"/>
                </a:lnTo>
                <a:lnTo>
                  <a:pt x="106" y="29"/>
                </a:lnTo>
                <a:lnTo>
                  <a:pt x="112" y="29"/>
                </a:lnTo>
                <a:lnTo>
                  <a:pt x="124" y="26"/>
                </a:lnTo>
                <a:lnTo>
                  <a:pt x="126" y="26"/>
                </a:lnTo>
                <a:lnTo>
                  <a:pt x="126" y="29"/>
                </a:lnTo>
                <a:lnTo>
                  <a:pt x="115" y="29"/>
                </a:lnTo>
                <a:lnTo>
                  <a:pt x="112" y="31"/>
                </a:lnTo>
                <a:lnTo>
                  <a:pt x="115" y="31"/>
                </a:lnTo>
                <a:lnTo>
                  <a:pt x="121" y="31"/>
                </a:lnTo>
                <a:lnTo>
                  <a:pt x="129" y="31"/>
                </a:lnTo>
                <a:lnTo>
                  <a:pt x="138" y="31"/>
                </a:lnTo>
                <a:lnTo>
                  <a:pt x="144" y="29"/>
                </a:lnTo>
                <a:lnTo>
                  <a:pt x="146" y="29"/>
                </a:lnTo>
                <a:lnTo>
                  <a:pt x="155" y="29"/>
                </a:lnTo>
                <a:lnTo>
                  <a:pt x="158" y="29"/>
                </a:lnTo>
                <a:lnTo>
                  <a:pt x="161" y="31"/>
                </a:lnTo>
                <a:lnTo>
                  <a:pt x="164" y="31"/>
                </a:lnTo>
                <a:lnTo>
                  <a:pt x="178" y="31"/>
                </a:lnTo>
                <a:lnTo>
                  <a:pt x="190" y="29"/>
                </a:lnTo>
                <a:lnTo>
                  <a:pt x="195" y="26"/>
                </a:lnTo>
                <a:lnTo>
                  <a:pt x="201" y="23"/>
                </a:lnTo>
                <a:lnTo>
                  <a:pt x="218" y="20"/>
                </a:lnTo>
                <a:lnTo>
                  <a:pt x="224" y="17"/>
                </a:lnTo>
                <a:lnTo>
                  <a:pt x="227" y="17"/>
                </a:lnTo>
                <a:lnTo>
                  <a:pt x="224" y="20"/>
                </a:lnTo>
                <a:lnTo>
                  <a:pt x="221" y="23"/>
                </a:lnTo>
                <a:lnTo>
                  <a:pt x="218" y="23"/>
                </a:lnTo>
                <a:lnTo>
                  <a:pt x="215" y="26"/>
                </a:lnTo>
                <a:lnTo>
                  <a:pt x="221" y="29"/>
                </a:lnTo>
                <a:lnTo>
                  <a:pt x="218" y="29"/>
                </a:lnTo>
                <a:lnTo>
                  <a:pt x="207" y="29"/>
                </a:lnTo>
                <a:lnTo>
                  <a:pt x="201" y="31"/>
                </a:lnTo>
                <a:lnTo>
                  <a:pt x="195" y="34"/>
                </a:lnTo>
                <a:lnTo>
                  <a:pt x="178" y="34"/>
                </a:lnTo>
                <a:lnTo>
                  <a:pt x="167" y="34"/>
                </a:lnTo>
                <a:lnTo>
                  <a:pt x="149" y="34"/>
                </a:lnTo>
                <a:lnTo>
                  <a:pt x="144" y="37"/>
                </a:lnTo>
                <a:lnTo>
                  <a:pt x="141" y="37"/>
                </a:lnTo>
                <a:lnTo>
                  <a:pt x="144" y="37"/>
                </a:lnTo>
                <a:lnTo>
                  <a:pt x="149" y="40"/>
                </a:lnTo>
                <a:lnTo>
                  <a:pt x="152" y="40"/>
                </a:lnTo>
                <a:lnTo>
                  <a:pt x="158" y="43"/>
                </a:lnTo>
                <a:lnTo>
                  <a:pt x="161" y="43"/>
                </a:lnTo>
                <a:lnTo>
                  <a:pt x="169" y="43"/>
                </a:lnTo>
                <a:lnTo>
                  <a:pt x="161" y="46"/>
                </a:lnTo>
                <a:lnTo>
                  <a:pt x="152" y="46"/>
                </a:lnTo>
                <a:lnTo>
                  <a:pt x="146" y="46"/>
                </a:lnTo>
                <a:lnTo>
                  <a:pt x="146" y="43"/>
                </a:lnTo>
                <a:lnTo>
                  <a:pt x="141" y="40"/>
                </a:lnTo>
                <a:lnTo>
                  <a:pt x="138" y="40"/>
                </a:lnTo>
                <a:lnTo>
                  <a:pt x="135" y="37"/>
                </a:lnTo>
                <a:lnTo>
                  <a:pt x="129" y="37"/>
                </a:lnTo>
                <a:lnTo>
                  <a:pt x="124" y="37"/>
                </a:lnTo>
                <a:lnTo>
                  <a:pt x="112" y="37"/>
                </a:lnTo>
                <a:lnTo>
                  <a:pt x="106" y="37"/>
                </a:lnTo>
                <a:lnTo>
                  <a:pt x="103" y="40"/>
                </a:lnTo>
                <a:lnTo>
                  <a:pt x="101" y="40"/>
                </a:lnTo>
                <a:lnTo>
                  <a:pt x="101" y="43"/>
                </a:lnTo>
                <a:lnTo>
                  <a:pt x="109" y="43"/>
                </a:lnTo>
                <a:lnTo>
                  <a:pt x="112" y="46"/>
                </a:lnTo>
                <a:lnTo>
                  <a:pt x="112" y="49"/>
                </a:lnTo>
                <a:lnTo>
                  <a:pt x="115" y="49"/>
                </a:lnTo>
                <a:lnTo>
                  <a:pt x="115" y="52"/>
                </a:lnTo>
                <a:lnTo>
                  <a:pt x="121" y="52"/>
                </a:lnTo>
                <a:lnTo>
                  <a:pt x="129" y="52"/>
                </a:lnTo>
                <a:lnTo>
                  <a:pt x="135" y="52"/>
                </a:lnTo>
                <a:lnTo>
                  <a:pt x="135" y="54"/>
                </a:lnTo>
                <a:lnTo>
                  <a:pt x="126" y="57"/>
                </a:lnTo>
                <a:lnTo>
                  <a:pt x="118" y="57"/>
                </a:lnTo>
                <a:lnTo>
                  <a:pt x="106" y="57"/>
                </a:lnTo>
                <a:lnTo>
                  <a:pt x="101" y="57"/>
                </a:lnTo>
                <a:lnTo>
                  <a:pt x="89" y="57"/>
                </a:lnTo>
                <a:lnTo>
                  <a:pt x="78" y="57"/>
                </a:lnTo>
                <a:lnTo>
                  <a:pt x="69" y="60"/>
                </a:lnTo>
                <a:lnTo>
                  <a:pt x="63" y="63"/>
                </a:lnTo>
                <a:lnTo>
                  <a:pt x="60" y="66"/>
                </a:lnTo>
                <a:lnTo>
                  <a:pt x="60" y="69"/>
                </a:lnTo>
                <a:lnTo>
                  <a:pt x="57" y="69"/>
                </a:lnTo>
                <a:lnTo>
                  <a:pt x="52" y="69"/>
                </a:lnTo>
                <a:lnTo>
                  <a:pt x="43" y="72"/>
                </a:lnTo>
                <a:lnTo>
                  <a:pt x="49" y="77"/>
                </a:lnTo>
                <a:lnTo>
                  <a:pt x="43" y="80"/>
                </a:lnTo>
                <a:lnTo>
                  <a:pt x="37" y="80"/>
                </a:lnTo>
                <a:lnTo>
                  <a:pt x="26" y="80"/>
                </a:lnTo>
                <a:lnTo>
                  <a:pt x="17" y="83"/>
                </a:lnTo>
                <a:lnTo>
                  <a:pt x="0" y="86"/>
                </a:lnTo>
                <a:lnTo>
                  <a:pt x="0" y="89"/>
                </a:lnTo>
                <a:lnTo>
                  <a:pt x="3" y="89"/>
                </a:lnTo>
                <a:lnTo>
                  <a:pt x="12" y="89"/>
                </a:lnTo>
                <a:lnTo>
                  <a:pt x="9" y="92"/>
                </a:lnTo>
                <a:lnTo>
                  <a:pt x="17" y="89"/>
                </a:lnTo>
                <a:lnTo>
                  <a:pt x="17" y="92"/>
                </a:lnTo>
                <a:lnTo>
                  <a:pt x="20" y="92"/>
                </a:lnTo>
                <a:lnTo>
                  <a:pt x="26" y="89"/>
                </a:lnTo>
                <a:lnTo>
                  <a:pt x="29" y="89"/>
                </a:lnTo>
                <a:lnTo>
                  <a:pt x="32" y="89"/>
                </a:lnTo>
                <a:lnTo>
                  <a:pt x="35" y="92"/>
                </a:lnTo>
                <a:lnTo>
                  <a:pt x="37" y="92"/>
                </a:lnTo>
                <a:lnTo>
                  <a:pt x="49" y="92"/>
                </a:lnTo>
                <a:lnTo>
                  <a:pt x="57" y="92"/>
                </a:lnTo>
                <a:lnTo>
                  <a:pt x="63" y="89"/>
                </a:lnTo>
                <a:lnTo>
                  <a:pt x="69" y="89"/>
                </a:lnTo>
                <a:lnTo>
                  <a:pt x="75" y="92"/>
                </a:lnTo>
                <a:lnTo>
                  <a:pt x="78" y="89"/>
                </a:lnTo>
                <a:lnTo>
                  <a:pt x="80" y="92"/>
                </a:lnTo>
                <a:lnTo>
                  <a:pt x="89" y="89"/>
                </a:lnTo>
                <a:lnTo>
                  <a:pt x="89" y="86"/>
                </a:lnTo>
                <a:lnTo>
                  <a:pt x="92" y="86"/>
                </a:lnTo>
                <a:lnTo>
                  <a:pt x="95" y="89"/>
                </a:lnTo>
                <a:lnTo>
                  <a:pt x="101" y="89"/>
                </a:lnTo>
                <a:lnTo>
                  <a:pt x="106" y="89"/>
                </a:lnTo>
                <a:lnTo>
                  <a:pt x="103" y="92"/>
                </a:lnTo>
                <a:lnTo>
                  <a:pt x="95" y="95"/>
                </a:lnTo>
                <a:lnTo>
                  <a:pt x="98" y="95"/>
                </a:lnTo>
                <a:lnTo>
                  <a:pt x="106" y="92"/>
                </a:lnTo>
                <a:lnTo>
                  <a:pt x="126" y="92"/>
                </a:lnTo>
                <a:lnTo>
                  <a:pt x="129" y="89"/>
                </a:lnTo>
                <a:lnTo>
                  <a:pt x="132" y="89"/>
                </a:lnTo>
                <a:lnTo>
                  <a:pt x="135" y="92"/>
                </a:lnTo>
                <a:lnTo>
                  <a:pt x="141" y="89"/>
                </a:lnTo>
                <a:lnTo>
                  <a:pt x="146" y="83"/>
                </a:lnTo>
                <a:lnTo>
                  <a:pt x="144" y="83"/>
                </a:lnTo>
                <a:lnTo>
                  <a:pt x="138" y="83"/>
                </a:lnTo>
                <a:lnTo>
                  <a:pt x="135" y="83"/>
                </a:lnTo>
                <a:lnTo>
                  <a:pt x="138" y="80"/>
                </a:lnTo>
                <a:lnTo>
                  <a:pt x="149" y="77"/>
                </a:lnTo>
                <a:lnTo>
                  <a:pt x="155" y="75"/>
                </a:lnTo>
                <a:lnTo>
                  <a:pt x="155" y="72"/>
                </a:lnTo>
                <a:lnTo>
                  <a:pt x="155" y="69"/>
                </a:lnTo>
                <a:lnTo>
                  <a:pt x="158" y="69"/>
                </a:lnTo>
                <a:lnTo>
                  <a:pt x="164" y="69"/>
                </a:lnTo>
                <a:lnTo>
                  <a:pt x="175" y="69"/>
                </a:lnTo>
                <a:lnTo>
                  <a:pt x="187" y="69"/>
                </a:lnTo>
                <a:lnTo>
                  <a:pt x="190" y="66"/>
                </a:lnTo>
                <a:lnTo>
                  <a:pt x="195" y="66"/>
                </a:lnTo>
                <a:lnTo>
                  <a:pt x="204" y="63"/>
                </a:lnTo>
                <a:lnTo>
                  <a:pt x="207" y="60"/>
                </a:lnTo>
                <a:lnTo>
                  <a:pt x="212" y="57"/>
                </a:lnTo>
                <a:lnTo>
                  <a:pt x="215" y="57"/>
                </a:lnTo>
                <a:lnTo>
                  <a:pt x="212" y="57"/>
                </a:lnTo>
                <a:lnTo>
                  <a:pt x="210" y="54"/>
                </a:lnTo>
                <a:lnTo>
                  <a:pt x="215" y="54"/>
                </a:lnTo>
                <a:lnTo>
                  <a:pt x="215" y="52"/>
                </a:lnTo>
                <a:lnTo>
                  <a:pt x="218" y="49"/>
                </a:lnTo>
                <a:lnTo>
                  <a:pt x="227" y="49"/>
                </a:lnTo>
                <a:lnTo>
                  <a:pt x="233" y="49"/>
                </a:lnTo>
                <a:lnTo>
                  <a:pt x="238" y="46"/>
                </a:lnTo>
                <a:lnTo>
                  <a:pt x="241" y="43"/>
                </a:lnTo>
                <a:lnTo>
                  <a:pt x="244" y="43"/>
                </a:lnTo>
                <a:lnTo>
                  <a:pt x="247" y="46"/>
                </a:lnTo>
                <a:lnTo>
                  <a:pt x="256" y="46"/>
                </a:lnTo>
                <a:lnTo>
                  <a:pt x="270" y="40"/>
                </a:lnTo>
                <a:lnTo>
                  <a:pt x="284" y="37"/>
                </a:lnTo>
                <a:lnTo>
                  <a:pt x="301" y="31"/>
                </a:lnTo>
                <a:lnTo>
                  <a:pt x="324" y="29"/>
                </a:lnTo>
                <a:lnTo>
                  <a:pt x="356" y="23"/>
                </a:lnTo>
                <a:lnTo>
                  <a:pt x="347" y="20"/>
                </a:lnTo>
                <a:lnTo>
                  <a:pt x="339" y="20"/>
                </a:lnTo>
                <a:lnTo>
                  <a:pt x="336" y="20"/>
                </a:lnTo>
                <a:lnTo>
                  <a:pt x="347" y="17"/>
                </a:lnTo>
                <a:lnTo>
                  <a:pt x="365" y="17"/>
                </a:lnTo>
                <a:lnTo>
                  <a:pt x="376" y="17"/>
                </a:lnTo>
                <a:lnTo>
                  <a:pt x="388" y="17"/>
                </a:lnTo>
                <a:lnTo>
                  <a:pt x="402" y="11"/>
                </a:lnTo>
                <a:lnTo>
                  <a:pt x="402" y="8"/>
                </a:lnTo>
                <a:lnTo>
                  <a:pt x="393" y="8"/>
                </a:lnTo>
                <a:lnTo>
                  <a:pt x="388" y="8"/>
                </a:lnTo>
                <a:lnTo>
                  <a:pt x="385" y="8"/>
                </a:lnTo>
                <a:lnTo>
                  <a:pt x="385" y="6"/>
                </a:lnTo>
                <a:lnTo>
                  <a:pt x="382" y="3"/>
                </a:lnTo>
                <a:lnTo>
                  <a:pt x="379" y="3"/>
                </a:lnTo>
                <a:lnTo>
                  <a:pt x="370" y="6"/>
                </a:lnTo>
                <a:lnTo>
                  <a:pt x="370" y="3"/>
                </a:lnTo>
                <a:lnTo>
                  <a:pt x="365" y="6"/>
                </a:lnTo>
                <a:lnTo>
                  <a:pt x="359" y="6"/>
                </a:lnTo>
                <a:lnTo>
                  <a:pt x="356" y="3"/>
                </a:lnTo>
                <a:lnTo>
                  <a:pt x="347" y="3"/>
                </a:lnTo>
                <a:lnTo>
                  <a:pt x="330" y="3"/>
                </a:lnTo>
                <a:lnTo>
                  <a:pt x="324" y="3"/>
                </a:lnTo>
                <a:lnTo>
                  <a:pt x="322" y="0"/>
                </a:lnTo>
                <a:lnTo>
                  <a:pt x="307" y="3"/>
                </a:lnTo>
                <a:lnTo>
                  <a:pt x="301" y="3"/>
                </a:lnTo>
                <a:lnTo>
                  <a:pt x="296" y="3"/>
                </a:lnTo>
                <a:lnTo>
                  <a:pt x="290" y="3"/>
                </a:lnTo>
                <a:lnTo>
                  <a:pt x="287" y="3"/>
                </a:lnTo>
                <a:lnTo>
                  <a:pt x="284" y="6"/>
                </a:lnTo>
                <a:lnTo>
                  <a:pt x="281" y="8"/>
                </a:lnTo>
                <a:lnTo>
                  <a:pt x="279" y="6"/>
                </a:lnTo>
                <a:lnTo>
                  <a:pt x="273" y="3"/>
                </a:lnTo>
                <a:lnTo>
                  <a:pt x="270" y="3"/>
                </a:lnTo>
                <a:lnTo>
                  <a:pt x="253" y="3"/>
                </a:lnTo>
                <a:lnTo>
                  <a:pt x="244" y="6"/>
                </a:lnTo>
                <a:lnTo>
                  <a:pt x="247" y="6"/>
                </a:lnTo>
                <a:lnTo>
                  <a:pt x="253" y="6"/>
                </a:lnTo>
                <a:lnTo>
                  <a:pt x="253" y="8"/>
                </a:lnTo>
                <a:lnTo>
                  <a:pt x="244" y="6"/>
                </a:lnTo>
                <a:lnTo>
                  <a:pt x="233" y="6"/>
                </a:lnTo>
                <a:lnTo>
                  <a:pt x="218" y="3"/>
                </a:lnTo>
                <a:lnTo>
                  <a:pt x="212" y="3"/>
                </a:lnTo>
                <a:lnTo>
                  <a:pt x="218" y="6"/>
                </a:lnTo>
                <a:lnTo>
                  <a:pt x="215" y="8"/>
                </a:lnTo>
                <a:lnTo>
                  <a:pt x="212" y="8"/>
                </a:lnTo>
                <a:lnTo>
                  <a:pt x="204" y="6"/>
                </a:lnTo>
                <a:lnTo>
                  <a:pt x="201" y="6"/>
                </a:lnTo>
                <a:lnTo>
                  <a:pt x="204" y="8"/>
                </a:lnTo>
                <a:lnTo>
                  <a:pt x="195" y="8"/>
                </a:lnTo>
                <a:lnTo>
                  <a:pt x="187" y="6"/>
                </a:lnTo>
                <a:lnTo>
                  <a:pt x="184" y="8"/>
                </a:lnTo>
                <a:lnTo>
                  <a:pt x="187" y="8"/>
                </a:lnTo>
                <a:lnTo>
                  <a:pt x="192" y="11"/>
                </a:lnTo>
                <a:lnTo>
                  <a:pt x="198" y="11"/>
                </a:lnTo>
                <a:lnTo>
                  <a:pt x="204" y="14"/>
                </a:lnTo>
                <a:lnTo>
                  <a:pt x="210" y="14"/>
                </a:lnTo>
                <a:lnTo>
                  <a:pt x="210" y="17"/>
                </a:lnTo>
                <a:lnTo>
                  <a:pt x="207" y="17"/>
                </a:lnTo>
                <a:lnTo>
                  <a:pt x="195" y="17"/>
                </a:lnTo>
                <a:lnTo>
                  <a:pt x="181" y="14"/>
                </a:lnTo>
                <a:lnTo>
                  <a:pt x="169" y="11"/>
                </a:lnTo>
                <a:lnTo>
                  <a:pt x="167" y="11"/>
                </a:lnTo>
                <a:lnTo>
                  <a:pt x="161" y="11"/>
                </a:lnTo>
                <a:lnTo>
                  <a:pt x="155" y="8"/>
                </a:lnTo>
                <a:lnTo>
                  <a:pt x="152" y="11"/>
                </a:lnTo>
                <a:lnTo>
                  <a:pt x="152" y="14"/>
                </a:lnTo>
                <a:lnTo>
                  <a:pt x="155" y="17"/>
                </a:lnTo>
                <a:lnTo>
                  <a:pt x="152" y="14"/>
                </a:lnTo>
                <a:lnTo>
                  <a:pt x="146" y="14"/>
                </a:lnTo>
                <a:lnTo>
                  <a:pt x="141" y="14"/>
                </a:lnTo>
                <a:lnTo>
                  <a:pt x="135" y="14"/>
                </a:lnTo>
                <a:lnTo>
                  <a:pt x="126" y="14"/>
                </a:lnTo>
                <a:lnTo>
                  <a:pt x="109" y="14"/>
                </a:lnTo>
                <a:lnTo>
                  <a:pt x="103" y="14"/>
                </a:lnTo>
                <a:lnTo>
                  <a:pt x="86" y="17"/>
                </a:lnTo>
                <a:lnTo>
                  <a:pt x="75" y="17"/>
                </a:lnTo>
                <a:lnTo>
                  <a:pt x="72" y="17"/>
                </a:lnTo>
                <a:lnTo>
                  <a:pt x="72" y="20"/>
                </a:lnTo>
                <a:close/>
                <a:moveTo>
                  <a:pt x="109" y="66"/>
                </a:moveTo>
                <a:lnTo>
                  <a:pt x="109" y="66"/>
                </a:lnTo>
                <a:lnTo>
                  <a:pt x="103" y="72"/>
                </a:lnTo>
                <a:lnTo>
                  <a:pt x="98" y="75"/>
                </a:lnTo>
                <a:lnTo>
                  <a:pt x="92" y="77"/>
                </a:lnTo>
                <a:lnTo>
                  <a:pt x="86" y="77"/>
                </a:lnTo>
                <a:lnTo>
                  <a:pt x="72" y="77"/>
                </a:lnTo>
                <a:lnTo>
                  <a:pt x="69" y="75"/>
                </a:lnTo>
                <a:lnTo>
                  <a:pt x="66" y="72"/>
                </a:lnTo>
                <a:lnTo>
                  <a:pt x="60" y="69"/>
                </a:lnTo>
                <a:lnTo>
                  <a:pt x="63" y="66"/>
                </a:lnTo>
                <a:lnTo>
                  <a:pt x="78" y="60"/>
                </a:lnTo>
                <a:lnTo>
                  <a:pt x="80" y="60"/>
                </a:lnTo>
                <a:lnTo>
                  <a:pt x="78" y="63"/>
                </a:lnTo>
                <a:lnTo>
                  <a:pt x="75" y="66"/>
                </a:lnTo>
                <a:lnTo>
                  <a:pt x="75" y="69"/>
                </a:lnTo>
                <a:lnTo>
                  <a:pt x="78" y="69"/>
                </a:lnTo>
                <a:lnTo>
                  <a:pt x="89" y="60"/>
                </a:lnTo>
                <a:lnTo>
                  <a:pt x="95" y="57"/>
                </a:lnTo>
                <a:lnTo>
                  <a:pt x="98" y="57"/>
                </a:lnTo>
                <a:lnTo>
                  <a:pt x="95" y="60"/>
                </a:lnTo>
                <a:lnTo>
                  <a:pt x="95" y="63"/>
                </a:lnTo>
                <a:lnTo>
                  <a:pt x="92" y="66"/>
                </a:lnTo>
                <a:lnTo>
                  <a:pt x="86" y="69"/>
                </a:lnTo>
                <a:lnTo>
                  <a:pt x="83" y="72"/>
                </a:lnTo>
                <a:lnTo>
                  <a:pt x="86" y="72"/>
                </a:lnTo>
                <a:lnTo>
                  <a:pt x="98" y="69"/>
                </a:lnTo>
                <a:lnTo>
                  <a:pt x="106" y="66"/>
                </a:lnTo>
                <a:lnTo>
                  <a:pt x="109" y="63"/>
                </a:lnTo>
                <a:lnTo>
                  <a:pt x="109" y="66"/>
                </a:lnTo>
                <a:close/>
                <a:moveTo>
                  <a:pt x="95" y="29"/>
                </a:moveTo>
                <a:lnTo>
                  <a:pt x="95" y="29"/>
                </a:lnTo>
                <a:lnTo>
                  <a:pt x="92" y="29"/>
                </a:lnTo>
                <a:lnTo>
                  <a:pt x="89" y="29"/>
                </a:lnTo>
                <a:lnTo>
                  <a:pt x="95" y="26"/>
                </a:lnTo>
                <a:lnTo>
                  <a:pt x="98" y="26"/>
                </a:lnTo>
                <a:lnTo>
                  <a:pt x="95" y="2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en-US"/>
          </a:p>
        </p:txBody>
      </p:sp>
      <p:sp>
        <p:nvSpPr>
          <p:cNvPr id="1395" name="Freeform 584"/>
          <p:cNvSpPr>
            <a:spLocks/>
          </p:cNvSpPr>
          <p:nvPr/>
        </p:nvSpPr>
        <p:spPr bwMode="gray">
          <a:xfrm>
            <a:off x="1592287" y="2211060"/>
            <a:ext cx="4001" cy="4501"/>
          </a:xfrm>
          <a:custGeom>
            <a:avLst/>
            <a:gdLst>
              <a:gd name="T0" fmla="*/ 2147483647 w 2"/>
              <a:gd name="T1" fmla="*/ 0 h 3"/>
              <a:gd name="T2" fmla="*/ 2147483647 w 2"/>
              <a:gd name="T3" fmla="*/ 0 h 3"/>
              <a:gd name="T4" fmla="*/ 2147483647 w 2"/>
              <a:gd name="T5" fmla="*/ 0 h 3"/>
              <a:gd name="T6" fmla="*/ 0 w 2"/>
              <a:gd name="T7" fmla="*/ 0 h 3"/>
              <a:gd name="T8" fmla="*/ 0 w 2"/>
              <a:gd name="T9" fmla="*/ 2147483647 h 3"/>
              <a:gd name="T10" fmla="*/ 2147483647 w 2"/>
              <a:gd name="T11" fmla="*/ 0 h 3"/>
              <a:gd name="T12" fmla="*/ 2147483647 w 2"/>
              <a:gd name="T13" fmla="*/ 0 h 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"/>
              <a:gd name="T22" fmla="*/ 0 h 3"/>
              <a:gd name="T23" fmla="*/ 2 w 2"/>
              <a:gd name="T24" fmla="*/ 3 h 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" h="3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96" name="Freeform 585"/>
          <p:cNvSpPr>
            <a:spLocks/>
          </p:cNvSpPr>
          <p:nvPr/>
        </p:nvSpPr>
        <p:spPr bwMode="gray">
          <a:xfrm>
            <a:off x="570104" y="2224560"/>
            <a:ext cx="12002" cy="4500"/>
          </a:xfrm>
          <a:custGeom>
            <a:avLst/>
            <a:gdLst>
              <a:gd name="T0" fmla="*/ 2147483647 w 6"/>
              <a:gd name="T1" fmla="*/ 0 h 3"/>
              <a:gd name="T2" fmla="*/ 2147483647 w 6"/>
              <a:gd name="T3" fmla="*/ 0 h 3"/>
              <a:gd name="T4" fmla="*/ 0 w 6"/>
              <a:gd name="T5" fmla="*/ 2147483647 h 3"/>
              <a:gd name="T6" fmla="*/ 2147483647 w 6"/>
              <a:gd name="T7" fmla="*/ 0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6" y="0"/>
                </a:moveTo>
                <a:lnTo>
                  <a:pt x="3" y="0"/>
                </a:lnTo>
                <a:lnTo>
                  <a:pt x="0" y="3"/>
                </a:lnTo>
                <a:lnTo>
                  <a:pt x="3" y="0"/>
                </a:lnTo>
                <a:lnTo>
                  <a:pt x="6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98" name="Freeform 589"/>
          <p:cNvSpPr>
            <a:spLocks/>
          </p:cNvSpPr>
          <p:nvPr/>
        </p:nvSpPr>
        <p:spPr bwMode="gray">
          <a:xfrm>
            <a:off x="1574285" y="2289062"/>
            <a:ext cx="12002" cy="12000"/>
          </a:xfrm>
          <a:custGeom>
            <a:avLst/>
            <a:gdLst>
              <a:gd name="T0" fmla="*/ 2147483647 w 6"/>
              <a:gd name="T1" fmla="*/ 0 h 8"/>
              <a:gd name="T2" fmla="*/ 0 w 6"/>
              <a:gd name="T3" fmla="*/ 2147483647 h 8"/>
              <a:gd name="T4" fmla="*/ 2147483647 w 6"/>
              <a:gd name="T5" fmla="*/ 2147483647 h 8"/>
              <a:gd name="T6" fmla="*/ 2147483647 w 6"/>
              <a:gd name="T7" fmla="*/ 2147483647 h 8"/>
              <a:gd name="T8" fmla="*/ 2147483647 w 6"/>
              <a:gd name="T9" fmla="*/ 0 h 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8"/>
              <a:gd name="T17" fmla="*/ 6 w 6"/>
              <a:gd name="T18" fmla="*/ 8 h 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8">
                <a:moveTo>
                  <a:pt x="3" y="0"/>
                </a:moveTo>
                <a:lnTo>
                  <a:pt x="0" y="3"/>
                </a:lnTo>
                <a:lnTo>
                  <a:pt x="3" y="8"/>
                </a:lnTo>
                <a:lnTo>
                  <a:pt x="6" y="6"/>
                </a:lnTo>
                <a:lnTo>
                  <a:pt x="3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99" name="Freeform 590"/>
          <p:cNvSpPr>
            <a:spLocks/>
          </p:cNvSpPr>
          <p:nvPr/>
        </p:nvSpPr>
        <p:spPr bwMode="gray">
          <a:xfrm>
            <a:off x="994180" y="1897552"/>
            <a:ext cx="12002" cy="4500"/>
          </a:xfrm>
          <a:custGeom>
            <a:avLst/>
            <a:gdLst>
              <a:gd name="T0" fmla="*/ 2147483647 w 6"/>
              <a:gd name="T1" fmla="*/ 0 h 3"/>
              <a:gd name="T2" fmla="*/ 2147483647 w 6"/>
              <a:gd name="T3" fmla="*/ 0 h 3"/>
              <a:gd name="T4" fmla="*/ 0 w 6"/>
              <a:gd name="T5" fmla="*/ 2147483647 h 3"/>
              <a:gd name="T6" fmla="*/ 2147483647 w 6"/>
              <a:gd name="T7" fmla="*/ 2147483647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6" y="0"/>
                </a:moveTo>
                <a:lnTo>
                  <a:pt x="3" y="0"/>
                </a:lnTo>
                <a:lnTo>
                  <a:pt x="0" y="3"/>
                </a:lnTo>
                <a:lnTo>
                  <a:pt x="3" y="3"/>
                </a:lnTo>
                <a:lnTo>
                  <a:pt x="6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495" name="Freeform 605"/>
          <p:cNvSpPr>
            <a:spLocks/>
          </p:cNvSpPr>
          <p:nvPr/>
        </p:nvSpPr>
        <p:spPr bwMode="gray">
          <a:xfrm>
            <a:off x="3458624" y="3637599"/>
            <a:ext cx="106018" cy="105003"/>
          </a:xfrm>
          <a:custGeom>
            <a:avLst/>
            <a:gdLst>
              <a:gd name="T0" fmla="*/ 2147483647 w 52"/>
              <a:gd name="T1" fmla="*/ 2147483647 h 69"/>
              <a:gd name="T2" fmla="*/ 2147483647 w 52"/>
              <a:gd name="T3" fmla="*/ 2147483647 h 69"/>
              <a:gd name="T4" fmla="*/ 2147483647 w 52"/>
              <a:gd name="T5" fmla="*/ 2147483647 h 69"/>
              <a:gd name="T6" fmla="*/ 2147483647 w 52"/>
              <a:gd name="T7" fmla="*/ 2147483647 h 69"/>
              <a:gd name="T8" fmla="*/ 2147483647 w 52"/>
              <a:gd name="T9" fmla="*/ 2147483647 h 69"/>
              <a:gd name="T10" fmla="*/ 2147483647 w 52"/>
              <a:gd name="T11" fmla="*/ 2147483647 h 69"/>
              <a:gd name="T12" fmla="*/ 2147483647 w 52"/>
              <a:gd name="T13" fmla="*/ 2147483647 h 69"/>
              <a:gd name="T14" fmla="*/ 2147483647 w 52"/>
              <a:gd name="T15" fmla="*/ 2147483647 h 69"/>
              <a:gd name="T16" fmla="*/ 2147483647 w 52"/>
              <a:gd name="T17" fmla="*/ 2147483647 h 69"/>
              <a:gd name="T18" fmla="*/ 2147483647 w 52"/>
              <a:gd name="T19" fmla="*/ 2147483647 h 69"/>
              <a:gd name="T20" fmla="*/ 2147483647 w 52"/>
              <a:gd name="T21" fmla="*/ 2147483647 h 69"/>
              <a:gd name="T22" fmla="*/ 2147483647 w 52"/>
              <a:gd name="T23" fmla="*/ 2147483647 h 69"/>
              <a:gd name="T24" fmla="*/ 2147483647 w 52"/>
              <a:gd name="T25" fmla="*/ 2147483647 h 69"/>
              <a:gd name="T26" fmla="*/ 2147483647 w 52"/>
              <a:gd name="T27" fmla="*/ 2147483647 h 69"/>
              <a:gd name="T28" fmla="*/ 2147483647 w 52"/>
              <a:gd name="T29" fmla="*/ 2147483647 h 69"/>
              <a:gd name="T30" fmla="*/ 2147483647 w 52"/>
              <a:gd name="T31" fmla="*/ 2147483647 h 69"/>
              <a:gd name="T32" fmla="*/ 2147483647 w 52"/>
              <a:gd name="T33" fmla="*/ 2147483647 h 69"/>
              <a:gd name="T34" fmla="*/ 2147483647 w 52"/>
              <a:gd name="T35" fmla="*/ 2147483647 h 69"/>
              <a:gd name="T36" fmla="*/ 2147483647 w 52"/>
              <a:gd name="T37" fmla="*/ 2147483647 h 69"/>
              <a:gd name="T38" fmla="*/ 2147483647 w 52"/>
              <a:gd name="T39" fmla="*/ 2147483647 h 69"/>
              <a:gd name="T40" fmla="*/ 2147483647 w 52"/>
              <a:gd name="T41" fmla="*/ 0 h 69"/>
              <a:gd name="T42" fmla="*/ 2147483647 w 52"/>
              <a:gd name="T43" fmla="*/ 2147483647 h 69"/>
              <a:gd name="T44" fmla="*/ 2147483647 w 52"/>
              <a:gd name="T45" fmla="*/ 2147483647 h 69"/>
              <a:gd name="T46" fmla="*/ 2147483647 w 52"/>
              <a:gd name="T47" fmla="*/ 2147483647 h 69"/>
              <a:gd name="T48" fmla="*/ 2147483647 w 52"/>
              <a:gd name="T49" fmla="*/ 2147483647 h 69"/>
              <a:gd name="T50" fmla="*/ 2147483647 w 52"/>
              <a:gd name="T51" fmla="*/ 2147483647 h 69"/>
              <a:gd name="T52" fmla="*/ 2147483647 w 52"/>
              <a:gd name="T53" fmla="*/ 2147483647 h 69"/>
              <a:gd name="T54" fmla="*/ 2147483647 w 52"/>
              <a:gd name="T55" fmla="*/ 2147483647 h 69"/>
              <a:gd name="T56" fmla="*/ 2147483647 w 52"/>
              <a:gd name="T57" fmla="*/ 2147483647 h 69"/>
              <a:gd name="T58" fmla="*/ 2147483647 w 52"/>
              <a:gd name="T59" fmla="*/ 2147483647 h 69"/>
              <a:gd name="T60" fmla="*/ 2147483647 w 52"/>
              <a:gd name="T61" fmla="*/ 2147483647 h 69"/>
              <a:gd name="T62" fmla="*/ 2147483647 w 52"/>
              <a:gd name="T63" fmla="*/ 2147483647 h 69"/>
              <a:gd name="T64" fmla="*/ 2147483647 w 52"/>
              <a:gd name="T65" fmla="*/ 2147483647 h 69"/>
              <a:gd name="T66" fmla="*/ 2147483647 w 52"/>
              <a:gd name="T67" fmla="*/ 2147483647 h 69"/>
              <a:gd name="T68" fmla="*/ 2147483647 w 52"/>
              <a:gd name="T69" fmla="*/ 2147483647 h 69"/>
              <a:gd name="T70" fmla="*/ 2147483647 w 52"/>
              <a:gd name="T71" fmla="*/ 2147483647 h 69"/>
              <a:gd name="T72" fmla="*/ 0 w 52"/>
              <a:gd name="T73" fmla="*/ 2147483647 h 69"/>
              <a:gd name="T74" fmla="*/ 0 w 52"/>
              <a:gd name="T75" fmla="*/ 2147483647 h 69"/>
              <a:gd name="T76" fmla="*/ 2147483647 w 52"/>
              <a:gd name="T77" fmla="*/ 2147483647 h 69"/>
              <a:gd name="T78" fmla="*/ 2147483647 w 52"/>
              <a:gd name="T79" fmla="*/ 2147483647 h 69"/>
              <a:gd name="T80" fmla="*/ 2147483647 w 52"/>
              <a:gd name="T81" fmla="*/ 2147483647 h 69"/>
              <a:gd name="T82" fmla="*/ 2147483647 w 52"/>
              <a:gd name="T83" fmla="*/ 2147483647 h 69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52"/>
              <a:gd name="T127" fmla="*/ 0 h 69"/>
              <a:gd name="T128" fmla="*/ 52 w 52"/>
              <a:gd name="T129" fmla="*/ 69 h 69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52" h="69">
                <a:moveTo>
                  <a:pt x="3" y="69"/>
                </a:moveTo>
                <a:lnTo>
                  <a:pt x="3" y="69"/>
                </a:lnTo>
                <a:lnTo>
                  <a:pt x="11" y="63"/>
                </a:lnTo>
                <a:lnTo>
                  <a:pt x="14" y="63"/>
                </a:lnTo>
                <a:lnTo>
                  <a:pt x="23" y="66"/>
                </a:lnTo>
                <a:lnTo>
                  <a:pt x="31" y="63"/>
                </a:lnTo>
                <a:lnTo>
                  <a:pt x="34" y="57"/>
                </a:lnTo>
                <a:lnTo>
                  <a:pt x="37" y="46"/>
                </a:lnTo>
                <a:lnTo>
                  <a:pt x="40" y="40"/>
                </a:lnTo>
                <a:lnTo>
                  <a:pt x="43" y="37"/>
                </a:lnTo>
                <a:lnTo>
                  <a:pt x="46" y="34"/>
                </a:lnTo>
                <a:lnTo>
                  <a:pt x="52" y="31"/>
                </a:lnTo>
                <a:lnTo>
                  <a:pt x="49" y="29"/>
                </a:lnTo>
                <a:lnTo>
                  <a:pt x="37" y="14"/>
                </a:lnTo>
                <a:lnTo>
                  <a:pt x="20" y="6"/>
                </a:lnTo>
                <a:lnTo>
                  <a:pt x="9" y="0"/>
                </a:lnTo>
                <a:lnTo>
                  <a:pt x="6" y="8"/>
                </a:lnTo>
                <a:lnTo>
                  <a:pt x="3" y="23"/>
                </a:lnTo>
                <a:lnTo>
                  <a:pt x="3" y="26"/>
                </a:lnTo>
                <a:lnTo>
                  <a:pt x="3" y="31"/>
                </a:lnTo>
                <a:lnTo>
                  <a:pt x="6" y="37"/>
                </a:lnTo>
                <a:lnTo>
                  <a:pt x="9" y="40"/>
                </a:lnTo>
                <a:lnTo>
                  <a:pt x="9" y="46"/>
                </a:lnTo>
                <a:lnTo>
                  <a:pt x="9" y="49"/>
                </a:lnTo>
                <a:lnTo>
                  <a:pt x="6" y="54"/>
                </a:lnTo>
                <a:lnTo>
                  <a:pt x="0" y="69"/>
                </a:lnTo>
                <a:lnTo>
                  <a:pt x="3" y="6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419" name="Freeform 612"/>
          <p:cNvSpPr>
            <a:spLocks/>
          </p:cNvSpPr>
          <p:nvPr/>
        </p:nvSpPr>
        <p:spPr bwMode="gray">
          <a:xfrm>
            <a:off x="780141" y="2050556"/>
            <a:ext cx="52009" cy="16500"/>
          </a:xfrm>
          <a:custGeom>
            <a:avLst/>
            <a:gdLst>
              <a:gd name="T0" fmla="*/ 2147483647 w 26"/>
              <a:gd name="T1" fmla="*/ 2147483647 h 11"/>
              <a:gd name="T2" fmla="*/ 2147483647 w 26"/>
              <a:gd name="T3" fmla="*/ 2147483647 h 11"/>
              <a:gd name="T4" fmla="*/ 2147483647 w 26"/>
              <a:gd name="T5" fmla="*/ 2147483647 h 11"/>
              <a:gd name="T6" fmla="*/ 2147483647 w 26"/>
              <a:gd name="T7" fmla="*/ 2147483647 h 11"/>
              <a:gd name="T8" fmla="*/ 2147483647 w 26"/>
              <a:gd name="T9" fmla="*/ 0 h 11"/>
              <a:gd name="T10" fmla="*/ 2147483647 w 26"/>
              <a:gd name="T11" fmla="*/ 0 h 11"/>
              <a:gd name="T12" fmla="*/ 2147483647 w 26"/>
              <a:gd name="T13" fmla="*/ 0 h 11"/>
              <a:gd name="T14" fmla="*/ 2147483647 w 26"/>
              <a:gd name="T15" fmla="*/ 2147483647 h 11"/>
              <a:gd name="T16" fmla="*/ 0 w 26"/>
              <a:gd name="T17" fmla="*/ 2147483647 h 11"/>
              <a:gd name="T18" fmla="*/ 0 w 26"/>
              <a:gd name="T19" fmla="*/ 2147483647 h 11"/>
              <a:gd name="T20" fmla="*/ 2147483647 w 26"/>
              <a:gd name="T21" fmla="*/ 2147483647 h 11"/>
              <a:gd name="T22" fmla="*/ 2147483647 w 26"/>
              <a:gd name="T23" fmla="*/ 2147483647 h 1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26"/>
              <a:gd name="T37" fmla="*/ 0 h 11"/>
              <a:gd name="T38" fmla="*/ 26 w 26"/>
              <a:gd name="T39" fmla="*/ 11 h 11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26" h="11">
                <a:moveTo>
                  <a:pt x="8" y="11"/>
                </a:moveTo>
                <a:lnTo>
                  <a:pt x="14" y="8"/>
                </a:lnTo>
                <a:lnTo>
                  <a:pt x="20" y="8"/>
                </a:lnTo>
                <a:lnTo>
                  <a:pt x="23" y="3"/>
                </a:lnTo>
                <a:lnTo>
                  <a:pt x="26" y="0"/>
                </a:lnTo>
                <a:lnTo>
                  <a:pt x="20" y="0"/>
                </a:lnTo>
                <a:lnTo>
                  <a:pt x="11" y="0"/>
                </a:lnTo>
                <a:lnTo>
                  <a:pt x="8" y="3"/>
                </a:lnTo>
                <a:lnTo>
                  <a:pt x="0" y="3"/>
                </a:lnTo>
                <a:lnTo>
                  <a:pt x="0" y="6"/>
                </a:lnTo>
                <a:lnTo>
                  <a:pt x="5" y="11"/>
                </a:lnTo>
                <a:lnTo>
                  <a:pt x="8" y="11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20" name="Freeform 613"/>
          <p:cNvSpPr>
            <a:spLocks/>
          </p:cNvSpPr>
          <p:nvPr/>
        </p:nvSpPr>
        <p:spPr bwMode="gray">
          <a:xfrm>
            <a:off x="3158570" y="1585544"/>
            <a:ext cx="108019" cy="39001"/>
          </a:xfrm>
          <a:custGeom>
            <a:avLst/>
            <a:gdLst>
              <a:gd name="T0" fmla="*/ 2147483647 w 54"/>
              <a:gd name="T1" fmla="*/ 2147483647 h 26"/>
              <a:gd name="T2" fmla="*/ 2147483647 w 54"/>
              <a:gd name="T3" fmla="*/ 2147483647 h 26"/>
              <a:gd name="T4" fmla="*/ 2147483647 w 54"/>
              <a:gd name="T5" fmla="*/ 2147483647 h 26"/>
              <a:gd name="T6" fmla="*/ 2147483647 w 54"/>
              <a:gd name="T7" fmla="*/ 2147483647 h 26"/>
              <a:gd name="T8" fmla="*/ 2147483647 w 54"/>
              <a:gd name="T9" fmla="*/ 2147483647 h 26"/>
              <a:gd name="T10" fmla="*/ 2147483647 w 54"/>
              <a:gd name="T11" fmla="*/ 2147483647 h 26"/>
              <a:gd name="T12" fmla="*/ 2147483647 w 54"/>
              <a:gd name="T13" fmla="*/ 2147483647 h 26"/>
              <a:gd name="T14" fmla="*/ 2147483647 w 54"/>
              <a:gd name="T15" fmla="*/ 2147483647 h 26"/>
              <a:gd name="T16" fmla="*/ 2147483647 w 54"/>
              <a:gd name="T17" fmla="*/ 2147483647 h 26"/>
              <a:gd name="T18" fmla="*/ 2147483647 w 54"/>
              <a:gd name="T19" fmla="*/ 2147483647 h 26"/>
              <a:gd name="T20" fmla="*/ 2147483647 w 54"/>
              <a:gd name="T21" fmla="*/ 2147483647 h 26"/>
              <a:gd name="T22" fmla="*/ 2147483647 w 54"/>
              <a:gd name="T23" fmla="*/ 2147483647 h 26"/>
              <a:gd name="T24" fmla="*/ 2147483647 w 54"/>
              <a:gd name="T25" fmla="*/ 2147483647 h 26"/>
              <a:gd name="T26" fmla="*/ 2147483647 w 54"/>
              <a:gd name="T27" fmla="*/ 2147483647 h 26"/>
              <a:gd name="T28" fmla="*/ 2147483647 w 54"/>
              <a:gd name="T29" fmla="*/ 2147483647 h 26"/>
              <a:gd name="T30" fmla="*/ 2147483647 w 54"/>
              <a:gd name="T31" fmla="*/ 2147483647 h 26"/>
              <a:gd name="T32" fmla="*/ 2147483647 w 54"/>
              <a:gd name="T33" fmla="*/ 2147483647 h 26"/>
              <a:gd name="T34" fmla="*/ 2147483647 w 54"/>
              <a:gd name="T35" fmla="*/ 2147483647 h 26"/>
              <a:gd name="T36" fmla="*/ 2147483647 w 54"/>
              <a:gd name="T37" fmla="*/ 2147483647 h 26"/>
              <a:gd name="T38" fmla="*/ 2147483647 w 54"/>
              <a:gd name="T39" fmla="*/ 2147483647 h 26"/>
              <a:gd name="T40" fmla="*/ 2147483647 w 54"/>
              <a:gd name="T41" fmla="*/ 2147483647 h 26"/>
              <a:gd name="T42" fmla="*/ 2147483647 w 54"/>
              <a:gd name="T43" fmla="*/ 2147483647 h 26"/>
              <a:gd name="T44" fmla="*/ 2147483647 w 54"/>
              <a:gd name="T45" fmla="*/ 2147483647 h 26"/>
              <a:gd name="T46" fmla="*/ 2147483647 w 54"/>
              <a:gd name="T47" fmla="*/ 2147483647 h 26"/>
              <a:gd name="T48" fmla="*/ 2147483647 w 54"/>
              <a:gd name="T49" fmla="*/ 0 h 26"/>
              <a:gd name="T50" fmla="*/ 2147483647 w 54"/>
              <a:gd name="T51" fmla="*/ 0 h 26"/>
              <a:gd name="T52" fmla="*/ 2147483647 w 54"/>
              <a:gd name="T53" fmla="*/ 0 h 26"/>
              <a:gd name="T54" fmla="*/ 2147483647 w 54"/>
              <a:gd name="T55" fmla="*/ 0 h 26"/>
              <a:gd name="T56" fmla="*/ 2147483647 w 54"/>
              <a:gd name="T57" fmla="*/ 0 h 26"/>
              <a:gd name="T58" fmla="*/ 2147483647 w 54"/>
              <a:gd name="T59" fmla="*/ 0 h 26"/>
              <a:gd name="T60" fmla="*/ 2147483647 w 54"/>
              <a:gd name="T61" fmla="*/ 0 h 26"/>
              <a:gd name="T62" fmla="*/ 2147483647 w 54"/>
              <a:gd name="T63" fmla="*/ 0 h 26"/>
              <a:gd name="T64" fmla="*/ 2147483647 w 54"/>
              <a:gd name="T65" fmla="*/ 0 h 26"/>
              <a:gd name="T66" fmla="*/ 2147483647 w 54"/>
              <a:gd name="T67" fmla="*/ 2147483647 h 26"/>
              <a:gd name="T68" fmla="*/ 2147483647 w 54"/>
              <a:gd name="T69" fmla="*/ 2147483647 h 26"/>
              <a:gd name="T70" fmla="*/ 2147483647 w 54"/>
              <a:gd name="T71" fmla="*/ 2147483647 h 26"/>
              <a:gd name="T72" fmla="*/ 2147483647 w 54"/>
              <a:gd name="T73" fmla="*/ 2147483647 h 26"/>
              <a:gd name="T74" fmla="*/ 2147483647 w 54"/>
              <a:gd name="T75" fmla="*/ 2147483647 h 26"/>
              <a:gd name="T76" fmla="*/ 2147483647 w 54"/>
              <a:gd name="T77" fmla="*/ 2147483647 h 26"/>
              <a:gd name="T78" fmla="*/ 2147483647 w 54"/>
              <a:gd name="T79" fmla="*/ 2147483647 h 26"/>
              <a:gd name="T80" fmla="*/ 2147483647 w 54"/>
              <a:gd name="T81" fmla="*/ 2147483647 h 26"/>
              <a:gd name="T82" fmla="*/ 2147483647 w 54"/>
              <a:gd name="T83" fmla="*/ 2147483647 h 26"/>
              <a:gd name="T84" fmla="*/ 2147483647 w 54"/>
              <a:gd name="T85" fmla="*/ 2147483647 h 26"/>
              <a:gd name="T86" fmla="*/ 2147483647 w 54"/>
              <a:gd name="T87" fmla="*/ 2147483647 h 26"/>
              <a:gd name="T88" fmla="*/ 0 w 54"/>
              <a:gd name="T89" fmla="*/ 2147483647 h 26"/>
              <a:gd name="T90" fmla="*/ 0 w 54"/>
              <a:gd name="T91" fmla="*/ 2147483647 h 26"/>
              <a:gd name="T92" fmla="*/ 2147483647 w 54"/>
              <a:gd name="T93" fmla="*/ 2147483647 h 26"/>
              <a:gd name="T94" fmla="*/ 2147483647 w 54"/>
              <a:gd name="T95" fmla="*/ 2147483647 h 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54"/>
              <a:gd name="T145" fmla="*/ 0 h 26"/>
              <a:gd name="T146" fmla="*/ 54 w 54"/>
              <a:gd name="T147" fmla="*/ 26 h 2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54" h="26">
                <a:moveTo>
                  <a:pt x="23" y="17"/>
                </a:moveTo>
                <a:lnTo>
                  <a:pt x="31" y="20"/>
                </a:lnTo>
                <a:lnTo>
                  <a:pt x="25" y="20"/>
                </a:lnTo>
                <a:lnTo>
                  <a:pt x="14" y="20"/>
                </a:lnTo>
                <a:lnTo>
                  <a:pt x="8" y="23"/>
                </a:lnTo>
                <a:lnTo>
                  <a:pt x="8" y="26"/>
                </a:lnTo>
                <a:lnTo>
                  <a:pt x="23" y="23"/>
                </a:lnTo>
                <a:lnTo>
                  <a:pt x="31" y="23"/>
                </a:lnTo>
                <a:lnTo>
                  <a:pt x="46" y="26"/>
                </a:lnTo>
                <a:lnTo>
                  <a:pt x="51" y="20"/>
                </a:lnTo>
                <a:lnTo>
                  <a:pt x="54" y="11"/>
                </a:lnTo>
                <a:lnTo>
                  <a:pt x="51" y="5"/>
                </a:lnTo>
                <a:lnTo>
                  <a:pt x="48" y="8"/>
                </a:lnTo>
                <a:lnTo>
                  <a:pt x="46" y="5"/>
                </a:lnTo>
                <a:lnTo>
                  <a:pt x="43" y="3"/>
                </a:lnTo>
                <a:lnTo>
                  <a:pt x="34" y="5"/>
                </a:lnTo>
                <a:lnTo>
                  <a:pt x="31" y="0"/>
                </a:lnTo>
                <a:lnTo>
                  <a:pt x="25" y="0"/>
                </a:lnTo>
                <a:lnTo>
                  <a:pt x="17" y="0"/>
                </a:lnTo>
                <a:lnTo>
                  <a:pt x="14" y="0"/>
                </a:lnTo>
                <a:lnTo>
                  <a:pt x="5" y="0"/>
                </a:lnTo>
                <a:lnTo>
                  <a:pt x="5" y="3"/>
                </a:lnTo>
                <a:lnTo>
                  <a:pt x="3" y="5"/>
                </a:lnTo>
                <a:lnTo>
                  <a:pt x="5" y="8"/>
                </a:lnTo>
                <a:lnTo>
                  <a:pt x="8" y="8"/>
                </a:lnTo>
                <a:lnTo>
                  <a:pt x="11" y="11"/>
                </a:lnTo>
                <a:lnTo>
                  <a:pt x="5" y="11"/>
                </a:lnTo>
                <a:lnTo>
                  <a:pt x="0" y="11"/>
                </a:lnTo>
                <a:lnTo>
                  <a:pt x="0" y="14"/>
                </a:lnTo>
                <a:lnTo>
                  <a:pt x="11" y="17"/>
                </a:lnTo>
                <a:lnTo>
                  <a:pt x="23" y="1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21" name="Freeform 614"/>
          <p:cNvSpPr>
            <a:spLocks/>
          </p:cNvSpPr>
          <p:nvPr/>
        </p:nvSpPr>
        <p:spPr bwMode="gray">
          <a:xfrm>
            <a:off x="3204577" y="1689046"/>
            <a:ext cx="10002" cy="3000"/>
          </a:xfrm>
          <a:custGeom>
            <a:avLst/>
            <a:gdLst>
              <a:gd name="T0" fmla="*/ 0 w 5"/>
              <a:gd name="T1" fmla="*/ 2147483647 h 2"/>
              <a:gd name="T2" fmla="*/ 2147483647 w 5"/>
              <a:gd name="T3" fmla="*/ 2147483647 h 2"/>
              <a:gd name="T4" fmla="*/ 2147483647 w 5"/>
              <a:gd name="T5" fmla="*/ 0 h 2"/>
              <a:gd name="T6" fmla="*/ 2147483647 w 5"/>
              <a:gd name="T7" fmla="*/ 0 h 2"/>
              <a:gd name="T8" fmla="*/ 2147483647 w 5"/>
              <a:gd name="T9" fmla="*/ 0 h 2"/>
              <a:gd name="T10" fmla="*/ 0 w 5"/>
              <a:gd name="T11" fmla="*/ 2147483647 h 2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"/>
              <a:gd name="T19" fmla="*/ 0 h 2"/>
              <a:gd name="T20" fmla="*/ 5 w 5"/>
              <a:gd name="T21" fmla="*/ 2 h 2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" h="2">
                <a:moveTo>
                  <a:pt x="0" y="2"/>
                </a:moveTo>
                <a:lnTo>
                  <a:pt x="2" y="2"/>
                </a:lnTo>
                <a:lnTo>
                  <a:pt x="5" y="0"/>
                </a:lnTo>
                <a:lnTo>
                  <a:pt x="2" y="0"/>
                </a:lnTo>
                <a:lnTo>
                  <a:pt x="0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22" name="Freeform 615"/>
          <p:cNvSpPr>
            <a:spLocks/>
          </p:cNvSpPr>
          <p:nvPr/>
        </p:nvSpPr>
        <p:spPr bwMode="gray">
          <a:xfrm>
            <a:off x="3064552" y="1641045"/>
            <a:ext cx="162030" cy="39001"/>
          </a:xfrm>
          <a:custGeom>
            <a:avLst/>
            <a:gdLst>
              <a:gd name="T0" fmla="*/ 2147483647 w 80"/>
              <a:gd name="T1" fmla="*/ 2147483647 h 26"/>
              <a:gd name="T2" fmla="*/ 2147483647 w 80"/>
              <a:gd name="T3" fmla="*/ 2147483647 h 26"/>
              <a:gd name="T4" fmla="*/ 2147483647 w 80"/>
              <a:gd name="T5" fmla="*/ 2147483647 h 26"/>
              <a:gd name="T6" fmla="*/ 2147483647 w 80"/>
              <a:gd name="T7" fmla="*/ 2147483647 h 26"/>
              <a:gd name="T8" fmla="*/ 2147483647 w 80"/>
              <a:gd name="T9" fmla="*/ 2147483647 h 26"/>
              <a:gd name="T10" fmla="*/ 2147483647 w 80"/>
              <a:gd name="T11" fmla="*/ 2147483647 h 26"/>
              <a:gd name="T12" fmla="*/ 2147483647 w 80"/>
              <a:gd name="T13" fmla="*/ 2147483647 h 26"/>
              <a:gd name="T14" fmla="*/ 2147483647 w 80"/>
              <a:gd name="T15" fmla="*/ 2147483647 h 26"/>
              <a:gd name="T16" fmla="*/ 2147483647 w 80"/>
              <a:gd name="T17" fmla="*/ 2147483647 h 26"/>
              <a:gd name="T18" fmla="*/ 2147483647 w 80"/>
              <a:gd name="T19" fmla="*/ 2147483647 h 26"/>
              <a:gd name="T20" fmla="*/ 2147483647 w 80"/>
              <a:gd name="T21" fmla="*/ 2147483647 h 26"/>
              <a:gd name="T22" fmla="*/ 2147483647 w 80"/>
              <a:gd name="T23" fmla="*/ 2147483647 h 26"/>
              <a:gd name="T24" fmla="*/ 2147483647 w 80"/>
              <a:gd name="T25" fmla="*/ 2147483647 h 26"/>
              <a:gd name="T26" fmla="*/ 2147483647 w 80"/>
              <a:gd name="T27" fmla="*/ 2147483647 h 26"/>
              <a:gd name="T28" fmla="*/ 2147483647 w 80"/>
              <a:gd name="T29" fmla="*/ 2147483647 h 26"/>
              <a:gd name="T30" fmla="*/ 2147483647 w 80"/>
              <a:gd name="T31" fmla="*/ 0 h 26"/>
              <a:gd name="T32" fmla="*/ 2147483647 w 80"/>
              <a:gd name="T33" fmla="*/ 2147483647 h 26"/>
              <a:gd name="T34" fmla="*/ 2147483647 w 80"/>
              <a:gd name="T35" fmla="*/ 0 h 26"/>
              <a:gd name="T36" fmla="*/ 2147483647 w 80"/>
              <a:gd name="T37" fmla="*/ 0 h 26"/>
              <a:gd name="T38" fmla="*/ 2147483647 w 80"/>
              <a:gd name="T39" fmla="*/ 2147483647 h 26"/>
              <a:gd name="T40" fmla="*/ 2147483647 w 80"/>
              <a:gd name="T41" fmla="*/ 0 h 26"/>
              <a:gd name="T42" fmla="*/ 2147483647 w 80"/>
              <a:gd name="T43" fmla="*/ 0 h 26"/>
              <a:gd name="T44" fmla="*/ 2147483647 w 80"/>
              <a:gd name="T45" fmla="*/ 0 h 26"/>
              <a:gd name="T46" fmla="*/ 2147483647 w 80"/>
              <a:gd name="T47" fmla="*/ 2147483647 h 26"/>
              <a:gd name="T48" fmla="*/ 2147483647 w 80"/>
              <a:gd name="T49" fmla="*/ 2147483647 h 26"/>
              <a:gd name="T50" fmla="*/ 2147483647 w 80"/>
              <a:gd name="T51" fmla="*/ 2147483647 h 26"/>
              <a:gd name="T52" fmla="*/ 2147483647 w 80"/>
              <a:gd name="T53" fmla="*/ 2147483647 h 26"/>
              <a:gd name="T54" fmla="*/ 2147483647 w 80"/>
              <a:gd name="T55" fmla="*/ 2147483647 h 26"/>
              <a:gd name="T56" fmla="*/ 2147483647 w 80"/>
              <a:gd name="T57" fmla="*/ 2147483647 h 26"/>
              <a:gd name="T58" fmla="*/ 2147483647 w 80"/>
              <a:gd name="T59" fmla="*/ 2147483647 h 26"/>
              <a:gd name="T60" fmla="*/ 2147483647 w 80"/>
              <a:gd name="T61" fmla="*/ 2147483647 h 26"/>
              <a:gd name="T62" fmla="*/ 2147483647 w 80"/>
              <a:gd name="T63" fmla="*/ 2147483647 h 26"/>
              <a:gd name="T64" fmla="*/ 2147483647 w 80"/>
              <a:gd name="T65" fmla="*/ 2147483647 h 26"/>
              <a:gd name="T66" fmla="*/ 2147483647 w 80"/>
              <a:gd name="T67" fmla="*/ 2147483647 h 26"/>
              <a:gd name="T68" fmla="*/ 2147483647 w 80"/>
              <a:gd name="T69" fmla="*/ 0 h 26"/>
              <a:gd name="T70" fmla="*/ 2147483647 w 80"/>
              <a:gd name="T71" fmla="*/ 2147483647 h 26"/>
              <a:gd name="T72" fmla="*/ 0 w 80"/>
              <a:gd name="T73" fmla="*/ 2147483647 h 26"/>
              <a:gd name="T74" fmla="*/ 0 w 80"/>
              <a:gd name="T75" fmla="*/ 2147483647 h 26"/>
              <a:gd name="T76" fmla="*/ 2147483647 w 80"/>
              <a:gd name="T77" fmla="*/ 2147483647 h 2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80"/>
              <a:gd name="T118" fmla="*/ 0 h 26"/>
              <a:gd name="T119" fmla="*/ 80 w 80"/>
              <a:gd name="T120" fmla="*/ 26 h 2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80" h="26">
                <a:moveTo>
                  <a:pt x="3" y="14"/>
                </a:moveTo>
                <a:lnTo>
                  <a:pt x="5" y="17"/>
                </a:lnTo>
                <a:lnTo>
                  <a:pt x="8" y="20"/>
                </a:lnTo>
                <a:lnTo>
                  <a:pt x="20" y="17"/>
                </a:lnTo>
                <a:lnTo>
                  <a:pt x="26" y="17"/>
                </a:lnTo>
                <a:lnTo>
                  <a:pt x="28" y="17"/>
                </a:lnTo>
                <a:lnTo>
                  <a:pt x="28" y="20"/>
                </a:lnTo>
                <a:lnTo>
                  <a:pt x="26" y="20"/>
                </a:lnTo>
                <a:lnTo>
                  <a:pt x="26" y="23"/>
                </a:lnTo>
                <a:lnTo>
                  <a:pt x="28" y="26"/>
                </a:lnTo>
                <a:lnTo>
                  <a:pt x="34" y="26"/>
                </a:lnTo>
                <a:lnTo>
                  <a:pt x="51" y="26"/>
                </a:lnTo>
                <a:lnTo>
                  <a:pt x="57" y="23"/>
                </a:lnTo>
                <a:lnTo>
                  <a:pt x="60" y="23"/>
                </a:lnTo>
                <a:lnTo>
                  <a:pt x="63" y="20"/>
                </a:lnTo>
                <a:lnTo>
                  <a:pt x="63" y="17"/>
                </a:lnTo>
                <a:lnTo>
                  <a:pt x="71" y="14"/>
                </a:lnTo>
                <a:lnTo>
                  <a:pt x="74" y="11"/>
                </a:lnTo>
                <a:lnTo>
                  <a:pt x="80" y="9"/>
                </a:lnTo>
                <a:lnTo>
                  <a:pt x="80" y="3"/>
                </a:lnTo>
                <a:lnTo>
                  <a:pt x="71" y="0"/>
                </a:lnTo>
                <a:lnTo>
                  <a:pt x="66" y="3"/>
                </a:lnTo>
                <a:lnTo>
                  <a:pt x="69" y="3"/>
                </a:lnTo>
                <a:lnTo>
                  <a:pt x="69" y="0"/>
                </a:lnTo>
                <a:lnTo>
                  <a:pt x="66" y="0"/>
                </a:lnTo>
                <a:lnTo>
                  <a:pt x="63" y="0"/>
                </a:lnTo>
                <a:lnTo>
                  <a:pt x="60" y="3"/>
                </a:lnTo>
                <a:lnTo>
                  <a:pt x="57" y="0"/>
                </a:lnTo>
                <a:lnTo>
                  <a:pt x="49" y="0"/>
                </a:lnTo>
                <a:lnTo>
                  <a:pt x="40" y="3"/>
                </a:lnTo>
                <a:lnTo>
                  <a:pt x="43" y="3"/>
                </a:lnTo>
                <a:lnTo>
                  <a:pt x="46" y="6"/>
                </a:lnTo>
                <a:lnTo>
                  <a:pt x="43" y="9"/>
                </a:lnTo>
                <a:lnTo>
                  <a:pt x="37" y="6"/>
                </a:lnTo>
                <a:lnTo>
                  <a:pt x="31" y="6"/>
                </a:lnTo>
                <a:lnTo>
                  <a:pt x="26" y="9"/>
                </a:lnTo>
                <a:lnTo>
                  <a:pt x="28" y="14"/>
                </a:lnTo>
                <a:lnTo>
                  <a:pt x="26" y="14"/>
                </a:lnTo>
                <a:lnTo>
                  <a:pt x="23" y="11"/>
                </a:lnTo>
                <a:lnTo>
                  <a:pt x="23" y="6"/>
                </a:lnTo>
                <a:lnTo>
                  <a:pt x="20" y="6"/>
                </a:lnTo>
                <a:lnTo>
                  <a:pt x="20" y="3"/>
                </a:lnTo>
                <a:lnTo>
                  <a:pt x="17" y="3"/>
                </a:lnTo>
                <a:lnTo>
                  <a:pt x="14" y="0"/>
                </a:lnTo>
                <a:lnTo>
                  <a:pt x="11" y="0"/>
                </a:lnTo>
                <a:lnTo>
                  <a:pt x="5" y="3"/>
                </a:lnTo>
                <a:lnTo>
                  <a:pt x="0" y="9"/>
                </a:lnTo>
                <a:lnTo>
                  <a:pt x="0" y="14"/>
                </a:lnTo>
                <a:lnTo>
                  <a:pt x="3" y="14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23" name="Freeform 616"/>
          <p:cNvSpPr>
            <a:spLocks/>
          </p:cNvSpPr>
          <p:nvPr/>
        </p:nvSpPr>
        <p:spPr bwMode="gray">
          <a:xfrm>
            <a:off x="3080555" y="1620044"/>
            <a:ext cx="32006" cy="16501"/>
          </a:xfrm>
          <a:custGeom>
            <a:avLst/>
            <a:gdLst>
              <a:gd name="T0" fmla="*/ 2147483647 w 15"/>
              <a:gd name="T1" fmla="*/ 2147483647 h 11"/>
              <a:gd name="T2" fmla="*/ 2147483647 w 15"/>
              <a:gd name="T3" fmla="*/ 2147483647 h 11"/>
              <a:gd name="T4" fmla="*/ 2147483647 w 15"/>
              <a:gd name="T5" fmla="*/ 2147483647 h 11"/>
              <a:gd name="T6" fmla="*/ 2147483647 w 15"/>
              <a:gd name="T7" fmla="*/ 0 h 11"/>
              <a:gd name="T8" fmla="*/ 2147483647 w 15"/>
              <a:gd name="T9" fmla="*/ 0 h 11"/>
              <a:gd name="T10" fmla="*/ 2147483647 w 15"/>
              <a:gd name="T11" fmla="*/ 0 h 11"/>
              <a:gd name="T12" fmla="*/ 0 w 15"/>
              <a:gd name="T13" fmla="*/ 2147483647 h 11"/>
              <a:gd name="T14" fmla="*/ 0 w 15"/>
              <a:gd name="T15" fmla="*/ 2147483647 h 11"/>
              <a:gd name="T16" fmla="*/ 2147483647 w 15"/>
              <a:gd name="T17" fmla="*/ 2147483647 h 11"/>
              <a:gd name="T18" fmla="*/ 2147483647 w 15"/>
              <a:gd name="T19" fmla="*/ 2147483647 h 11"/>
              <a:gd name="T20" fmla="*/ 2147483647 w 15"/>
              <a:gd name="T21" fmla="*/ 2147483647 h 11"/>
              <a:gd name="T22" fmla="*/ 2147483647 w 15"/>
              <a:gd name="T23" fmla="*/ 2147483647 h 11"/>
              <a:gd name="T24" fmla="*/ 2147483647 w 15"/>
              <a:gd name="T25" fmla="*/ 2147483647 h 1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5"/>
              <a:gd name="T40" fmla="*/ 0 h 11"/>
              <a:gd name="T41" fmla="*/ 15 w 15"/>
              <a:gd name="T42" fmla="*/ 11 h 11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5" h="11">
                <a:moveTo>
                  <a:pt x="12" y="11"/>
                </a:moveTo>
                <a:lnTo>
                  <a:pt x="15" y="8"/>
                </a:lnTo>
                <a:lnTo>
                  <a:pt x="12" y="3"/>
                </a:lnTo>
                <a:lnTo>
                  <a:pt x="12" y="0"/>
                </a:lnTo>
                <a:lnTo>
                  <a:pt x="3" y="0"/>
                </a:lnTo>
                <a:lnTo>
                  <a:pt x="0" y="3"/>
                </a:lnTo>
                <a:lnTo>
                  <a:pt x="0" y="5"/>
                </a:lnTo>
                <a:lnTo>
                  <a:pt x="3" y="8"/>
                </a:lnTo>
                <a:lnTo>
                  <a:pt x="9" y="11"/>
                </a:lnTo>
                <a:lnTo>
                  <a:pt x="12" y="1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24" name="Freeform 617"/>
          <p:cNvSpPr>
            <a:spLocks/>
          </p:cNvSpPr>
          <p:nvPr/>
        </p:nvSpPr>
        <p:spPr bwMode="gray">
          <a:xfrm>
            <a:off x="3400613" y="1624545"/>
            <a:ext cx="40007" cy="12000"/>
          </a:xfrm>
          <a:custGeom>
            <a:avLst/>
            <a:gdLst>
              <a:gd name="T0" fmla="*/ 2147483647 w 20"/>
              <a:gd name="T1" fmla="*/ 2147483647 h 8"/>
              <a:gd name="T2" fmla="*/ 2147483647 w 20"/>
              <a:gd name="T3" fmla="*/ 2147483647 h 8"/>
              <a:gd name="T4" fmla="*/ 2147483647 w 20"/>
              <a:gd name="T5" fmla="*/ 2147483647 h 8"/>
              <a:gd name="T6" fmla="*/ 2147483647 w 20"/>
              <a:gd name="T7" fmla="*/ 2147483647 h 8"/>
              <a:gd name="T8" fmla="*/ 2147483647 w 20"/>
              <a:gd name="T9" fmla="*/ 2147483647 h 8"/>
              <a:gd name="T10" fmla="*/ 2147483647 w 20"/>
              <a:gd name="T11" fmla="*/ 0 h 8"/>
              <a:gd name="T12" fmla="*/ 2147483647 w 20"/>
              <a:gd name="T13" fmla="*/ 0 h 8"/>
              <a:gd name="T14" fmla="*/ 2147483647 w 20"/>
              <a:gd name="T15" fmla="*/ 2147483647 h 8"/>
              <a:gd name="T16" fmla="*/ 0 w 20"/>
              <a:gd name="T17" fmla="*/ 2147483647 h 8"/>
              <a:gd name="T18" fmla="*/ 2147483647 w 20"/>
              <a:gd name="T19" fmla="*/ 2147483647 h 8"/>
              <a:gd name="T20" fmla="*/ 2147483647 w 20"/>
              <a:gd name="T21" fmla="*/ 2147483647 h 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20"/>
              <a:gd name="T34" fmla="*/ 0 h 8"/>
              <a:gd name="T35" fmla="*/ 20 w 20"/>
              <a:gd name="T36" fmla="*/ 8 h 8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20" h="8">
                <a:moveTo>
                  <a:pt x="12" y="5"/>
                </a:moveTo>
                <a:lnTo>
                  <a:pt x="12" y="5"/>
                </a:lnTo>
                <a:lnTo>
                  <a:pt x="20" y="2"/>
                </a:lnTo>
                <a:lnTo>
                  <a:pt x="20" y="0"/>
                </a:lnTo>
                <a:lnTo>
                  <a:pt x="12" y="0"/>
                </a:lnTo>
                <a:lnTo>
                  <a:pt x="3" y="2"/>
                </a:lnTo>
                <a:lnTo>
                  <a:pt x="0" y="8"/>
                </a:lnTo>
                <a:lnTo>
                  <a:pt x="6" y="5"/>
                </a:lnTo>
                <a:lnTo>
                  <a:pt x="12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25" name="Freeform 618"/>
          <p:cNvSpPr>
            <a:spLocks/>
          </p:cNvSpPr>
          <p:nvPr/>
        </p:nvSpPr>
        <p:spPr bwMode="gray">
          <a:xfrm>
            <a:off x="3254587" y="1632044"/>
            <a:ext cx="356064" cy="60002"/>
          </a:xfrm>
          <a:custGeom>
            <a:avLst/>
            <a:gdLst>
              <a:gd name="T0" fmla="*/ 0 w 176"/>
              <a:gd name="T1" fmla="*/ 2147483647 h 40"/>
              <a:gd name="T2" fmla="*/ 2147483647 w 176"/>
              <a:gd name="T3" fmla="*/ 2147483647 h 40"/>
              <a:gd name="T4" fmla="*/ 2147483647 w 176"/>
              <a:gd name="T5" fmla="*/ 2147483647 h 40"/>
              <a:gd name="T6" fmla="*/ 2147483647 w 176"/>
              <a:gd name="T7" fmla="*/ 2147483647 h 40"/>
              <a:gd name="T8" fmla="*/ 2147483647 w 176"/>
              <a:gd name="T9" fmla="*/ 2147483647 h 40"/>
              <a:gd name="T10" fmla="*/ 2147483647 w 176"/>
              <a:gd name="T11" fmla="*/ 2147483647 h 40"/>
              <a:gd name="T12" fmla="*/ 2147483647 w 176"/>
              <a:gd name="T13" fmla="*/ 2147483647 h 40"/>
              <a:gd name="T14" fmla="*/ 2147483647 w 176"/>
              <a:gd name="T15" fmla="*/ 2147483647 h 40"/>
              <a:gd name="T16" fmla="*/ 2147483647 w 176"/>
              <a:gd name="T17" fmla="*/ 2147483647 h 40"/>
              <a:gd name="T18" fmla="*/ 2147483647 w 176"/>
              <a:gd name="T19" fmla="*/ 2147483647 h 40"/>
              <a:gd name="T20" fmla="*/ 2147483647 w 176"/>
              <a:gd name="T21" fmla="*/ 2147483647 h 40"/>
              <a:gd name="T22" fmla="*/ 2147483647 w 176"/>
              <a:gd name="T23" fmla="*/ 2147483647 h 40"/>
              <a:gd name="T24" fmla="*/ 2147483647 w 176"/>
              <a:gd name="T25" fmla="*/ 2147483647 h 40"/>
              <a:gd name="T26" fmla="*/ 2147483647 w 176"/>
              <a:gd name="T27" fmla="*/ 2147483647 h 40"/>
              <a:gd name="T28" fmla="*/ 2147483647 w 176"/>
              <a:gd name="T29" fmla="*/ 2147483647 h 40"/>
              <a:gd name="T30" fmla="*/ 2147483647 w 176"/>
              <a:gd name="T31" fmla="*/ 2147483647 h 40"/>
              <a:gd name="T32" fmla="*/ 2147483647 w 176"/>
              <a:gd name="T33" fmla="*/ 2147483647 h 40"/>
              <a:gd name="T34" fmla="*/ 2147483647 w 176"/>
              <a:gd name="T35" fmla="*/ 2147483647 h 40"/>
              <a:gd name="T36" fmla="*/ 2147483647 w 176"/>
              <a:gd name="T37" fmla="*/ 2147483647 h 40"/>
              <a:gd name="T38" fmla="*/ 2147483647 w 176"/>
              <a:gd name="T39" fmla="*/ 2147483647 h 40"/>
              <a:gd name="T40" fmla="*/ 2147483647 w 176"/>
              <a:gd name="T41" fmla="*/ 2147483647 h 40"/>
              <a:gd name="T42" fmla="*/ 2147483647 w 176"/>
              <a:gd name="T43" fmla="*/ 2147483647 h 40"/>
              <a:gd name="T44" fmla="*/ 2147483647 w 176"/>
              <a:gd name="T45" fmla="*/ 2147483647 h 40"/>
              <a:gd name="T46" fmla="*/ 2147483647 w 176"/>
              <a:gd name="T47" fmla="*/ 2147483647 h 40"/>
              <a:gd name="T48" fmla="*/ 2147483647 w 176"/>
              <a:gd name="T49" fmla="*/ 2147483647 h 40"/>
              <a:gd name="T50" fmla="*/ 2147483647 w 176"/>
              <a:gd name="T51" fmla="*/ 2147483647 h 40"/>
              <a:gd name="T52" fmla="*/ 2147483647 w 176"/>
              <a:gd name="T53" fmla="*/ 2147483647 h 40"/>
              <a:gd name="T54" fmla="*/ 2147483647 w 176"/>
              <a:gd name="T55" fmla="*/ 2147483647 h 40"/>
              <a:gd name="T56" fmla="*/ 2147483647 w 176"/>
              <a:gd name="T57" fmla="*/ 2147483647 h 40"/>
              <a:gd name="T58" fmla="*/ 2147483647 w 176"/>
              <a:gd name="T59" fmla="*/ 2147483647 h 40"/>
              <a:gd name="T60" fmla="*/ 2147483647 w 176"/>
              <a:gd name="T61" fmla="*/ 2147483647 h 40"/>
              <a:gd name="T62" fmla="*/ 2147483647 w 176"/>
              <a:gd name="T63" fmla="*/ 2147483647 h 40"/>
              <a:gd name="T64" fmla="*/ 2147483647 w 176"/>
              <a:gd name="T65" fmla="*/ 2147483647 h 40"/>
              <a:gd name="T66" fmla="*/ 2147483647 w 176"/>
              <a:gd name="T67" fmla="*/ 2147483647 h 40"/>
              <a:gd name="T68" fmla="*/ 2147483647 w 176"/>
              <a:gd name="T69" fmla="*/ 2147483647 h 40"/>
              <a:gd name="T70" fmla="*/ 2147483647 w 176"/>
              <a:gd name="T71" fmla="*/ 2147483647 h 40"/>
              <a:gd name="T72" fmla="*/ 2147483647 w 176"/>
              <a:gd name="T73" fmla="*/ 2147483647 h 40"/>
              <a:gd name="T74" fmla="*/ 2147483647 w 176"/>
              <a:gd name="T75" fmla="*/ 2147483647 h 40"/>
              <a:gd name="T76" fmla="*/ 2147483647 w 176"/>
              <a:gd name="T77" fmla="*/ 2147483647 h 40"/>
              <a:gd name="T78" fmla="*/ 2147483647 w 176"/>
              <a:gd name="T79" fmla="*/ 2147483647 h 40"/>
              <a:gd name="T80" fmla="*/ 2147483647 w 176"/>
              <a:gd name="T81" fmla="*/ 2147483647 h 40"/>
              <a:gd name="T82" fmla="*/ 2147483647 w 176"/>
              <a:gd name="T83" fmla="*/ 2147483647 h 40"/>
              <a:gd name="T84" fmla="*/ 2147483647 w 176"/>
              <a:gd name="T85" fmla="*/ 2147483647 h 40"/>
              <a:gd name="T86" fmla="*/ 2147483647 w 176"/>
              <a:gd name="T87" fmla="*/ 2147483647 h 40"/>
              <a:gd name="T88" fmla="*/ 2147483647 w 176"/>
              <a:gd name="T89" fmla="*/ 2147483647 h 40"/>
              <a:gd name="T90" fmla="*/ 2147483647 w 176"/>
              <a:gd name="T91" fmla="*/ 2147483647 h 40"/>
              <a:gd name="T92" fmla="*/ 2147483647 w 176"/>
              <a:gd name="T93" fmla="*/ 2147483647 h 40"/>
              <a:gd name="T94" fmla="*/ 2147483647 w 176"/>
              <a:gd name="T95" fmla="*/ 2147483647 h 40"/>
              <a:gd name="T96" fmla="*/ 2147483647 w 176"/>
              <a:gd name="T97" fmla="*/ 2147483647 h 40"/>
              <a:gd name="T98" fmla="*/ 2147483647 w 176"/>
              <a:gd name="T99" fmla="*/ 0 h 40"/>
              <a:gd name="T100" fmla="*/ 2147483647 w 176"/>
              <a:gd name="T101" fmla="*/ 2147483647 h 40"/>
              <a:gd name="T102" fmla="*/ 2147483647 w 176"/>
              <a:gd name="T103" fmla="*/ 2147483647 h 40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176"/>
              <a:gd name="T157" fmla="*/ 0 h 40"/>
              <a:gd name="T158" fmla="*/ 176 w 176"/>
              <a:gd name="T159" fmla="*/ 40 h 40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176" h="40">
                <a:moveTo>
                  <a:pt x="3" y="6"/>
                </a:moveTo>
                <a:lnTo>
                  <a:pt x="0" y="3"/>
                </a:lnTo>
                <a:lnTo>
                  <a:pt x="0" y="6"/>
                </a:lnTo>
                <a:lnTo>
                  <a:pt x="3" y="9"/>
                </a:lnTo>
                <a:lnTo>
                  <a:pt x="9" y="9"/>
                </a:lnTo>
                <a:lnTo>
                  <a:pt x="12" y="9"/>
                </a:lnTo>
                <a:lnTo>
                  <a:pt x="9" y="9"/>
                </a:lnTo>
                <a:lnTo>
                  <a:pt x="9" y="15"/>
                </a:lnTo>
                <a:lnTo>
                  <a:pt x="12" y="15"/>
                </a:lnTo>
                <a:lnTo>
                  <a:pt x="15" y="15"/>
                </a:lnTo>
                <a:lnTo>
                  <a:pt x="15" y="17"/>
                </a:lnTo>
                <a:lnTo>
                  <a:pt x="18" y="17"/>
                </a:lnTo>
                <a:lnTo>
                  <a:pt x="18" y="15"/>
                </a:lnTo>
                <a:lnTo>
                  <a:pt x="21" y="15"/>
                </a:lnTo>
                <a:lnTo>
                  <a:pt x="29" y="12"/>
                </a:lnTo>
                <a:lnTo>
                  <a:pt x="35" y="12"/>
                </a:lnTo>
                <a:lnTo>
                  <a:pt x="41" y="17"/>
                </a:lnTo>
                <a:lnTo>
                  <a:pt x="38" y="20"/>
                </a:lnTo>
                <a:lnTo>
                  <a:pt x="35" y="23"/>
                </a:lnTo>
                <a:lnTo>
                  <a:pt x="29" y="26"/>
                </a:lnTo>
                <a:lnTo>
                  <a:pt x="26" y="29"/>
                </a:lnTo>
                <a:lnTo>
                  <a:pt x="23" y="35"/>
                </a:lnTo>
                <a:lnTo>
                  <a:pt x="23" y="38"/>
                </a:lnTo>
                <a:lnTo>
                  <a:pt x="29" y="38"/>
                </a:lnTo>
                <a:lnTo>
                  <a:pt x="32" y="35"/>
                </a:lnTo>
                <a:lnTo>
                  <a:pt x="32" y="32"/>
                </a:lnTo>
                <a:lnTo>
                  <a:pt x="35" y="32"/>
                </a:lnTo>
                <a:lnTo>
                  <a:pt x="35" y="35"/>
                </a:lnTo>
                <a:lnTo>
                  <a:pt x="38" y="38"/>
                </a:lnTo>
                <a:lnTo>
                  <a:pt x="43" y="40"/>
                </a:lnTo>
                <a:lnTo>
                  <a:pt x="55" y="38"/>
                </a:lnTo>
                <a:lnTo>
                  <a:pt x="61" y="35"/>
                </a:lnTo>
                <a:lnTo>
                  <a:pt x="64" y="35"/>
                </a:lnTo>
                <a:lnTo>
                  <a:pt x="64" y="32"/>
                </a:lnTo>
                <a:lnTo>
                  <a:pt x="64" y="35"/>
                </a:lnTo>
                <a:lnTo>
                  <a:pt x="61" y="38"/>
                </a:lnTo>
                <a:lnTo>
                  <a:pt x="64" y="40"/>
                </a:lnTo>
                <a:lnTo>
                  <a:pt x="69" y="40"/>
                </a:lnTo>
                <a:lnTo>
                  <a:pt x="75" y="40"/>
                </a:lnTo>
                <a:lnTo>
                  <a:pt x="81" y="38"/>
                </a:lnTo>
                <a:lnTo>
                  <a:pt x="81" y="40"/>
                </a:lnTo>
                <a:lnTo>
                  <a:pt x="89" y="35"/>
                </a:lnTo>
                <a:lnTo>
                  <a:pt x="89" y="40"/>
                </a:lnTo>
                <a:lnTo>
                  <a:pt x="89" y="38"/>
                </a:lnTo>
                <a:lnTo>
                  <a:pt x="92" y="35"/>
                </a:lnTo>
                <a:lnTo>
                  <a:pt x="95" y="35"/>
                </a:lnTo>
                <a:lnTo>
                  <a:pt x="98" y="40"/>
                </a:lnTo>
                <a:lnTo>
                  <a:pt x="101" y="40"/>
                </a:lnTo>
                <a:lnTo>
                  <a:pt x="107" y="40"/>
                </a:lnTo>
                <a:lnTo>
                  <a:pt x="118" y="38"/>
                </a:lnTo>
                <a:lnTo>
                  <a:pt x="121" y="32"/>
                </a:lnTo>
                <a:lnTo>
                  <a:pt x="124" y="35"/>
                </a:lnTo>
                <a:lnTo>
                  <a:pt x="124" y="38"/>
                </a:lnTo>
                <a:lnTo>
                  <a:pt x="127" y="38"/>
                </a:lnTo>
                <a:lnTo>
                  <a:pt x="130" y="38"/>
                </a:lnTo>
                <a:lnTo>
                  <a:pt x="135" y="40"/>
                </a:lnTo>
                <a:lnTo>
                  <a:pt x="138" y="40"/>
                </a:lnTo>
                <a:lnTo>
                  <a:pt x="141" y="38"/>
                </a:lnTo>
                <a:lnTo>
                  <a:pt x="144" y="38"/>
                </a:lnTo>
                <a:lnTo>
                  <a:pt x="147" y="38"/>
                </a:lnTo>
                <a:lnTo>
                  <a:pt x="155" y="38"/>
                </a:lnTo>
                <a:lnTo>
                  <a:pt x="158" y="35"/>
                </a:lnTo>
                <a:lnTo>
                  <a:pt x="164" y="29"/>
                </a:lnTo>
                <a:lnTo>
                  <a:pt x="167" y="35"/>
                </a:lnTo>
                <a:lnTo>
                  <a:pt x="170" y="32"/>
                </a:lnTo>
                <a:lnTo>
                  <a:pt x="170" y="29"/>
                </a:lnTo>
                <a:lnTo>
                  <a:pt x="176" y="29"/>
                </a:lnTo>
                <a:lnTo>
                  <a:pt x="173" y="23"/>
                </a:lnTo>
                <a:lnTo>
                  <a:pt x="167" y="23"/>
                </a:lnTo>
                <a:lnTo>
                  <a:pt x="164" y="20"/>
                </a:lnTo>
                <a:lnTo>
                  <a:pt x="155" y="17"/>
                </a:lnTo>
                <a:lnTo>
                  <a:pt x="147" y="17"/>
                </a:lnTo>
                <a:lnTo>
                  <a:pt x="144" y="20"/>
                </a:lnTo>
                <a:lnTo>
                  <a:pt x="138" y="20"/>
                </a:lnTo>
                <a:lnTo>
                  <a:pt x="130" y="20"/>
                </a:lnTo>
                <a:lnTo>
                  <a:pt x="112" y="23"/>
                </a:lnTo>
                <a:lnTo>
                  <a:pt x="104" y="23"/>
                </a:lnTo>
                <a:lnTo>
                  <a:pt x="101" y="26"/>
                </a:lnTo>
                <a:lnTo>
                  <a:pt x="95" y="23"/>
                </a:lnTo>
                <a:lnTo>
                  <a:pt x="87" y="23"/>
                </a:lnTo>
                <a:lnTo>
                  <a:pt x="78" y="23"/>
                </a:lnTo>
                <a:lnTo>
                  <a:pt x="75" y="23"/>
                </a:lnTo>
                <a:lnTo>
                  <a:pt x="69" y="23"/>
                </a:lnTo>
                <a:lnTo>
                  <a:pt x="72" y="20"/>
                </a:lnTo>
                <a:lnTo>
                  <a:pt x="66" y="17"/>
                </a:lnTo>
                <a:lnTo>
                  <a:pt x="64" y="15"/>
                </a:lnTo>
                <a:lnTo>
                  <a:pt x="69" y="15"/>
                </a:lnTo>
                <a:lnTo>
                  <a:pt x="75" y="15"/>
                </a:lnTo>
                <a:lnTo>
                  <a:pt x="75" y="9"/>
                </a:lnTo>
                <a:lnTo>
                  <a:pt x="69" y="9"/>
                </a:lnTo>
                <a:lnTo>
                  <a:pt x="69" y="6"/>
                </a:lnTo>
                <a:lnTo>
                  <a:pt x="66" y="6"/>
                </a:lnTo>
                <a:lnTo>
                  <a:pt x="64" y="6"/>
                </a:lnTo>
                <a:lnTo>
                  <a:pt x="58" y="6"/>
                </a:lnTo>
                <a:lnTo>
                  <a:pt x="46" y="6"/>
                </a:lnTo>
                <a:lnTo>
                  <a:pt x="43" y="6"/>
                </a:lnTo>
                <a:lnTo>
                  <a:pt x="41" y="3"/>
                </a:lnTo>
                <a:lnTo>
                  <a:pt x="29" y="3"/>
                </a:lnTo>
                <a:lnTo>
                  <a:pt x="21" y="0"/>
                </a:lnTo>
                <a:lnTo>
                  <a:pt x="18" y="0"/>
                </a:lnTo>
                <a:lnTo>
                  <a:pt x="12" y="3"/>
                </a:lnTo>
                <a:lnTo>
                  <a:pt x="6" y="3"/>
                </a:lnTo>
                <a:lnTo>
                  <a:pt x="3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26" name="Freeform 619"/>
          <p:cNvSpPr>
            <a:spLocks/>
          </p:cNvSpPr>
          <p:nvPr/>
        </p:nvSpPr>
        <p:spPr bwMode="gray">
          <a:xfrm>
            <a:off x="3158570" y="1689046"/>
            <a:ext cx="10001" cy="3000"/>
          </a:xfrm>
          <a:custGeom>
            <a:avLst/>
            <a:gdLst>
              <a:gd name="T0" fmla="*/ 0 w 5"/>
              <a:gd name="T1" fmla="*/ 2147483647 h 2"/>
              <a:gd name="T2" fmla="*/ 2147483647 w 5"/>
              <a:gd name="T3" fmla="*/ 2147483647 h 2"/>
              <a:gd name="T4" fmla="*/ 2147483647 w 5"/>
              <a:gd name="T5" fmla="*/ 0 h 2"/>
              <a:gd name="T6" fmla="*/ 2147483647 w 5"/>
              <a:gd name="T7" fmla="*/ 0 h 2"/>
              <a:gd name="T8" fmla="*/ 0 w 5"/>
              <a:gd name="T9" fmla="*/ 2147483647 h 2"/>
              <a:gd name="T10" fmla="*/ 0 w 5"/>
              <a:gd name="T11" fmla="*/ 2147483647 h 2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"/>
              <a:gd name="T19" fmla="*/ 0 h 2"/>
              <a:gd name="T20" fmla="*/ 5 w 5"/>
              <a:gd name="T21" fmla="*/ 2 h 2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" h="2">
                <a:moveTo>
                  <a:pt x="0" y="2"/>
                </a:moveTo>
                <a:lnTo>
                  <a:pt x="3" y="2"/>
                </a:lnTo>
                <a:lnTo>
                  <a:pt x="5" y="0"/>
                </a:lnTo>
                <a:lnTo>
                  <a:pt x="3" y="0"/>
                </a:lnTo>
                <a:lnTo>
                  <a:pt x="0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27" name="Freeform 620"/>
          <p:cNvSpPr>
            <a:spLocks/>
          </p:cNvSpPr>
          <p:nvPr/>
        </p:nvSpPr>
        <p:spPr bwMode="gray">
          <a:xfrm>
            <a:off x="3314598" y="1566043"/>
            <a:ext cx="34005" cy="9000"/>
          </a:xfrm>
          <a:custGeom>
            <a:avLst/>
            <a:gdLst>
              <a:gd name="T0" fmla="*/ 2147483647 w 17"/>
              <a:gd name="T1" fmla="*/ 2147483647 h 6"/>
              <a:gd name="T2" fmla="*/ 2147483647 w 17"/>
              <a:gd name="T3" fmla="*/ 2147483647 h 6"/>
              <a:gd name="T4" fmla="*/ 2147483647 w 17"/>
              <a:gd name="T5" fmla="*/ 0 h 6"/>
              <a:gd name="T6" fmla="*/ 2147483647 w 17"/>
              <a:gd name="T7" fmla="*/ 0 h 6"/>
              <a:gd name="T8" fmla="*/ 2147483647 w 17"/>
              <a:gd name="T9" fmla="*/ 0 h 6"/>
              <a:gd name="T10" fmla="*/ 2147483647 w 17"/>
              <a:gd name="T11" fmla="*/ 2147483647 h 6"/>
              <a:gd name="T12" fmla="*/ 2147483647 w 17"/>
              <a:gd name="T13" fmla="*/ 2147483647 h 6"/>
              <a:gd name="T14" fmla="*/ 0 w 17"/>
              <a:gd name="T15" fmla="*/ 2147483647 h 6"/>
              <a:gd name="T16" fmla="*/ 2147483647 w 17"/>
              <a:gd name="T17" fmla="*/ 2147483647 h 6"/>
              <a:gd name="T18" fmla="*/ 2147483647 w 17"/>
              <a:gd name="T19" fmla="*/ 2147483647 h 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7"/>
              <a:gd name="T31" fmla="*/ 0 h 6"/>
              <a:gd name="T32" fmla="*/ 17 w 17"/>
              <a:gd name="T33" fmla="*/ 6 h 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7" h="6">
                <a:moveTo>
                  <a:pt x="14" y="6"/>
                </a:moveTo>
                <a:lnTo>
                  <a:pt x="17" y="3"/>
                </a:lnTo>
                <a:lnTo>
                  <a:pt x="14" y="0"/>
                </a:lnTo>
                <a:lnTo>
                  <a:pt x="9" y="0"/>
                </a:lnTo>
                <a:lnTo>
                  <a:pt x="3" y="3"/>
                </a:lnTo>
                <a:lnTo>
                  <a:pt x="0" y="6"/>
                </a:lnTo>
                <a:lnTo>
                  <a:pt x="9" y="6"/>
                </a:lnTo>
                <a:lnTo>
                  <a:pt x="14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28" name="Freeform 621"/>
          <p:cNvSpPr>
            <a:spLocks/>
          </p:cNvSpPr>
          <p:nvPr/>
        </p:nvSpPr>
        <p:spPr bwMode="gray">
          <a:xfrm>
            <a:off x="3388611" y="1540542"/>
            <a:ext cx="222041" cy="70501"/>
          </a:xfrm>
          <a:custGeom>
            <a:avLst/>
            <a:gdLst>
              <a:gd name="T0" fmla="*/ 2147483647 w 110"/>
              <a:gd name="T1" fmla="*/ 2147483647 h 46"/>
              <a:gd name="T2" fmla="*/ 2147483647 w 110"/>
              <a:gd name="T3" fmla="*/ 2147483647 h 46"/>
              <a:gd name="T4" fmla="*/ 2147483647 w 110"/>
              <a:gd name="T5" fmla="*/ 2147483647 h 46"/>
              <a:gd name="T6" fmla="*/ 2147483647 w 110"/>
              <a:gd name="T7" fmla="*/ 2147483647 h 46"/>
              <a:gd name="T8" fmla="*/ 2147483647 w 110"/>
              <a:gd name="T9" fmla="*/ 2147483647 h 46"/>
              <a:gd name="T10" fmla="*/ 2147483647 w 110"/>
              <a:gd name="T11" fmla="*/ 2147483647 h 46"/>
              <a:gd name="T12" fmla="*/ 2147483647 w 110"/>
              <a:gd name="T13" fmla="*/ 2147483647 h 46"/>
              <a:gd name="T14" fmla="*/ 2147483647 w 110"/>
              <a:gd name="T15" fmla="*/ 2147483647 h 46"/>
              <a:gd name="T16" fmla="*/ 2147483647 w 110"/>
              <a:gd name="T17" fmla="*/ 2147483647 h 46"/>
              <a:gd name="T18" fmla="*/ 2147483647 w 110"/>
              <a:gd name="T19" fmla="*/ 2147483647 h 46"/>
              <a:gd name="T20" fmla="*/ 2147483647 w 110"/>
              <a:gd name="T21" fmla="*/ 2147483647 h 46"/>
              <a:gd name="T22" fmla="*/ 2147483647 w 110"/>
              <a:gd name="T23" fmla="*/ 2147483647 h 46"/>
              <a:gd name="T24" fmla="*/ 2147483647 w 110"/>
              <a:gd name="T25" fmla="*/ 2147483647 h 46"/>
              <a:gd name="T26" fmla="*/ 2147483647 w 110"/>
              <a:gd name="T27" fmla="*/ 2147483647 h 46"/>
              <a:gd name="T28" fmla="*/ 2147483647 w 110"/>
              <a:gd name="T29" fmla="*/ 2147483647 h 46"/>
              <a:gd name="T30" fmla="*/ 2147483647 w 110"/>
              <a:gd name="T31" fmla="*/ 2147483647 h 46"/>
              <a:gd name="T32" fmla="*/ 2147483647 w 110"/>
              <a:gd name="T33" fmla="*/ 2147483647 h 46"/>
              <a:gd name="T34" fmla="*/ 2147483647 w 110"/>
              <a:gd name="T35" fmla="*/ 2147483647 h 46"/>
              <a:gd name="T36" fmla="*/ 2147483647 w 110"/>
              <a:gd name="T37" fmla="*/ 2147483647 h 46"/>
              <a:gd name="T38" fmla="*/ 2147483647 w 110"/>
              <a:gd name="T39" fmla="*/ 2147483647 h 46"/>
              <a:gd name="T40" fmla="*/ 2147483647 w 110"/>
              <a:gd name="T41" fmla="*/ 2147483647 h 46"/>
              <a:gd name="T42" fmla="*/ 2147483647 w 110"/>
              <a:gd name="T43" fmla="*/ 2147483647 h 46"/>
              <a:gd name="T44" fmla="*/ 2147483647 w 110"/>
              <a:gd name="T45" fmla="*/ 2147483647 h 46"/>
              <a:gd name="T46" fmla="*/ 2147483647 w 110"/>
              <a:gd name="T47" fmla="*/ 2147483647 h 46"/>
              <a:gd name="T48" fmla="*/ 2147483647 w 110"/>
              <a:gd name="T49" fmla="*/ 2147483647 h 46"/>
              <a:gd name="T50" fmla="*/ 2147483647 w 110"/>
              <a:gd name="T51" fmla="*/ 2147483647 h 46"/>
              <a:gd name="T52" fmla="*/ 2147483647 w 110"/>
              <a:gd name="T53" fmla="*/ 2147483647 h 46"/>
              <a:gd name="T54" fmla="*/ 2147483647 w 110"/>
              <a:gd name="T55" fmla="*/ 2147483647 h 46"/>
              <a:gd name="T56" fmla="*/ 2147483647 w 110"/>
              <a:gd name="T57" fmla="*/ 2147483647 h 46"/>
              <a:gd name="T58" fmla="*/ 2147483647 w 110"/>
              <a:gd name="T59" fmla="*/ 2147483647 h 46"/>
              <a:gd name="T60" fmla="*/ 2147483647 w 110"/>
              <a:gd name="T61" fmla="*/ 2147483647 h 46"/>
              <a:gd name="T62" fmla="*/ 2147483647 w 110"/>
              <a:gd name="T63" fmla="*/ 2147483647 h 46"/>
              <a:gd name="T64" fmla="*/ 2147483647 w 110"/>
              <a:gd name="T65" fmla="*/ 2147483647 h 46"/>
              <a:gd name="T66" fmla="*/ 2147483647 w 110"/>
              <a:gd name="T67" fmla="*/ 2147483647 h 46"/>
              <a:gd name="T68" fmla="*/ 2147483647 w 110"/>
              <a:gd name="T69" fmla="*/ 2147483647 h 46"/>
              <a:gd name="T70" fmla="*/ 2147483647 w 110"/>
              <a:gd name="T71" fmla="*/ 2147483647 h 46"/>
              <a:gd name="T72" fmla="*/ 2147483647 w 110"/>
              <a:gd name="T73" fmla="*/ 2147483647 h 46"/>
              <a:gd name="T74" fmla="*/ 2147483647 w 110"/>
              <a:gd name="T75" fmla="*/ 2147483647 h 46"/>
              <a:gd name="T76" fmla="*/ 2147483647 w 110"/>
              <a:gd name="T77" fmla="*/ 2147483647 h 46"/>
              <a:gd name="T78" fmla="*/ 2147483647 w 110"/>
              <a:gd name="T79" fmla="*/ 2147483647 h 46"/>
              <a:gd name="T80" fmla="*/ 2147483647 w 110"/>
              <a:gd name="T81" fmla="*/ 0 h 46"/>
              <a:gd name="T82" fmla="*/ 2147483647 w 110"/>
              <a:gd name="T83" fmla="*/ 2147483647 h 46"/>
              <a:gd name="T84" fmla="*/ 2147483647 w 110"/>
              <a:gd name="T85" fmla="*/ 2147483647 h 46"/>
              <a:gd name="T86" fmla="*/ 2147483647 w 110"/>
              <a:gd name="T87" fmla="*/ 2147483647 h 46"/>
              <a:gd name="T88" fmla="*/ 2147483647 w 110"/>
              <a:gd name="T89" fmla="*/ 2147483647 h 46"/>
              <a:gd name="T90" fmla="*/ 2147483647 w 110"/>
              <a:gd name="T91" fmla="*/ 2147483647 h 46"/>
              <a:gd name="T92" fmla="*/ 2147483647 w 110"/>
              <a:gd name="T93" fmla="*/ 2147483647 h 46"/>
              <a:gd name="T94" fmla="*/ 2147483647 w 110"/>
              <a:gd name="T95" fmla="*/ 2147483647 h 46"/>
              <a:gd name="T96" fmla="*/ 2147483647 w 110"/>
              <a:gd name="T97" fmla="*/ 2147483647 h 46"/>
              <a:gd name="T98" fmla="*/ 2147483647 w 110"/>
              <a:gd name="T99" fmla="*/ 2147483647 h 46"/>
              <a:gd name="T100" fmla="*/ 2147483647 w 110"/>
              <a:gd name="T101" fmla="*/ 2147483647 h 46"/>
              <a:gd name="T102" fmla="*/ 2147483647 w 110"/>
              <a:gd name="T103" fmla="*/ 2147483647 h 46"/>
              <a:gd name="T104" fmla="*/ 2147483647 w 110"/>
              <a:gd name="T105" fmla="*/ 2147483647 h 46"/>
              <a:gd name="T106" fmla="*/ 0 w 110"/>
              <a:gd name="T107" fmla="*/ 2147483647 h 46"/>
              <a:gd name="T108" fmla="*/ 2147483647 w 110"/>
              <a:gd name="T109" fmla="*/ 2147483647 h 4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10"/>
              <a:gd name="T166" fmla="*/ 0 h 46"/>
              <a:gd name="T167" fmla="*/ 110 w 110"/>
              <a:gd name="T168" fmla="*/ 46 h 4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10" h="46">
                <a:moveTo>
                  <a:pt x="9" y="23"/>
                </a:moveTo>
                <a:lnTo>
                  <a:pt x="9" y="23"/>
                </a:lnTo>
                <a:lnTo>
                  <a:pt x="3" y="29"/>
                </a:lnTo>
                <a:lnTo>
                  <a:pt x="3" y="32"/>
                </a:lnTo>
                <a:lnTo>
                  <a:pt x="9" y="32"/>
                </a:lnTo>
                <a:lnTo>
                  <a:pt x="12" y="29"/>
                </a:lnTo>
                <a:lnTo>
                  <a:pt x="12" y="26"/>
                </a:lnTo>
                <a:lnTo>
                  <a:pt x="15" y="23"/>
                </a:lnTo>
                <a:lnTo>
                  <a:pt x="21" y="20"/>
                </a:lnTo>
                <a:lnTo>
                  <a:pt x="23" y="20"/>
                </a:lnTo>
                <a:lnTo>
                  <a:pt x="21" y="23"/>
                </a:lnTo>
                <a:lnTo>
                  <a:pt x="21" y="26"/>
                </a:lnTo>
                <a:lnTo>
                  <a:pt x="23" y="26"/>
                </a:lnTo>
                <a:lnTo>
                  <a:pt x="29" y="26"/>
                </a:lnTo>
                <a:lnTo>
                  <a:pt x="38" y="23"/>
                </a:lnTo>
                <a:lnTo>
                  <a:pt x="38" y="26"/>
                </a:lnTo>
                <a:lnTo>
                  <a:pt x="38" y="29"/>
                </a:lnTo>
                <a:lnTo>
                  <a:pt x="46" y="26"/>
                </a:lnTo>
                <a:lnTo>
                  <a:pt x="49" y="29"/>
                </a:lnTo>
                <a:lnTo>
                  <a:pt x="46" y="32"/>
                </a:lnTo>
                <a:lnTo>
                  <a:pt x="38" y="32"/>
                </a:lnTo>
                <a:lnTo>
                  <a:pt x="18" y="32"/>
                </a:lnTo>
                <a:lnTo>
                  <a:pt x="12" y="34"/>
                </a:lnTo>
                <a:lnTo>
                  <a:pt x="9" y="34"/>
                </a:lnTo>
                <a:lnTo>
                  <a:pt x="12" y="34"/>
                </a:lnTo>
                <a:lnTo>
                  <a:pt x="15" y="37"/>
                </a:lnTo>
                <a:lnTo>
                  <a:pt x="18" y="40"/>
                </a:lnTo>
                <a:lnTo>
                  <a:pt x="23" y="40"/>
                </a:lnTo>
                <a:lnTo>
                  <a:pt x="18" y="40"/>
                </a:lnTo>
                <a:lnTo>
                  <a:pt x="15" y="40"/>
                </a:lnTo>
                <a:lnTo>
                  <a:pt x="15" y="43"/>
                </a:lnTo>
                <a:lnTo>
                  <a:pt x="15" y="46"/>
                </a:lnTo>
                <a:lnTo>
                  <a:pt x="21" y="46"/>
                </a:lnTo>
                <a:lnTo>
                  <a:pt x="32" y="46"/>
                </a:lnTo>
                <a:lnTo>
                  <a:pt x="44" y="46"/>
                </a:lnTo>
                <a:lnTo>
                  <a:pt x="46" y="43"/>
                </a:lnTo>
                <a:lnTo>
                  <a:pt x="49" y="46"/>
                </a:lnTo>
                <a:lnTo>
                  <a:pt x="52" y="46"/>
                </a:lnTo>
                <a:lnTo>
                  <a:pt x="61" y="43"/>
                </a:lnTo>
                <a:lnTo>
                  <a:pt x="64" y="40"/>
                </a:lnTo>
                <a:lnTo>
                  <a:pt x="66" y="40"/>
                </a:lnTo>
                <a:lnTo>
                  <a:pt x="69" y="37"/>
                </a:lnTo>
                <a:lnTo>
                  <a:pt x="72" y="34"/>
                </a:lnTo>
                <a:lnTo>
                  <a:pt x="78" y="34"/>
                </a:lnTo>
                <a:lnTo>
                  <a:pt x="84" y="34"/>
                </a:lnTo>
                <a:lnTo>
                  <a:pt x="89" y="34"/>
                </a:lnTo>
                <a:lnTo>
                  <a:pt x="95" y="32"/>
                </a:lnTo>
                <a:lnTo>
                  <a:pt x="98" y="32"/>
                </a:lnTo>
                <a:lnTo>
                  <a:pt x="101" y="32"/>
                </a:lnTo>
                <a:lnTo>
                  <a:pt x="110" y="29"/>
                </a:lnTo>
                <a:lnTo>
                  <a:pt x="107" y="23"/>
                </a:lnTo>
                <a:lnTo>
                  <a:pt x="101" y="26"/>
                </a:lnTo>
                <a:lnTo>
                  <a:pt x="98" y="26"/>
                </a:lnTo>
                <a:lnTo>
                  <a:pt x="98" y="23"/>
                </a:lnTo>
                <a:lnTo>
                  <a:pt x="104" y="20"/>
                </a:lnTo>
                <a:lnTo>
                  <a:pt x="101" y="20"/>
                </a:lnTo>
                <a:lnTo>
                  <a:pt x="98" y="20"/>
                </a:lnTo>
                <a:lnTo>
                  <a:pt x="101" y="17"/>
                </a:lnTo>
                <a:lnTo>
                  <a:pt x="104" y="14"/>
                </a:lnTo>
                <a:lnTo>
                  <a:pt x="101" y="14"/>
                </a:lnTo>
                <a:lnTo>
                  <a:pt x="95" y="14"/>
                </a:lnTo>
                <a:lnTo>
                  <a:pt x="92" y="17"/>
                </a:lnTo>
                <a:lnTo>
                  <a:pt x="89" y="17"/>
                </a:lnTo>
                <a:lnTo>
                  <a:pt x="89" y="14"/>
                </a:lnTo>
                <a:lnTo>
                  <a:pt x="89" y="11"/>
                </a:lnTo>
                <a:lnTo>
                  <a:pt x="87" y="11"/>
                </a:lnTo>
                <a:lnTo>
                  <a:pt x="81" y="11"/>
                </a:lnTo>
                <a:lnTo>
                  <a:pt x="78" y="11"/>
                </a:lnTo>
                <a:lnTo>
                  <a:pt x="75" y="6"/>
                </a:lnTo>
                <a:lnTo>
                  <a:pt x="75" y="3"/>
                </a:lnTo>
                <a:lnTo>
                  <a:pt x="72" y="0"/>
                </a:lnTo>
                <a:lnTo>
                  <a:pt x="64" y="0"/>
                </a:lnTo>
                <a:lnTo>
                  <a:pt x="55" y="3"/>
                </a:lnTo>
                <a:lnTo>
                  <a:pt x="52" y="3"/>
                </a:lnTo>
                <a:lnTo>
                  <a:pt x="49" y="3"/>
                </a:lnTo>
                <a:lnTo>
                  <a:pt x="49" y="6"/>
                </a:lnTo>
                <a:lnTo>
                  <a:pt x="52" y="6"/>
                </a:lnTo>
                <a:lnTo>
                  <a:pt x="44" y="9"/>
                </a:lnTo>
                <a:lnTo>
                  <a:pt x="38" y="9"/>
                </a:lnTo>
                <a:lnTo>
                  <a:pt x="32" y="9"/>
                </a:lnTo>
                <a:lnTo>
                  <a:pt x="35" y="11"/>
                </a:lnTo>
                <a:lnTo>
                  <a:pt x="38" y="11"/>
                </a:lnTo>
                <a:lnTo>
                  <a:pt x="41" y="11"/>
                </a:lnTo>
                <a:lnTo>
                  <a:pt x="35" y="14"/>
                </a:lnTo>
                <a:lnTo>
                  <a:pt x="23" y="11"/>
                </a:lnTo>
                <a:lnTo>
                  <a:pt x="18" y="14"/>
                </a:lnTo>
                <a:lnTo>
                  <a:pt x="18" y="17"/>
                </a:lnTo>
                <a:lnTo>
                  <a:pt x="26" y="17"/>
                </a:lnTo>
                <a:lnTo>
                  <a:pt x="29" y="17"/>
                </a:lnTo>
                <a:lnTo>
                  <a:pt x="26" y="20"/>
                </a:lnTo>
                <a:lnTo>
                  <a:pt x="21" y="20"/>
                </a:lnTo>
                <a:lnTo>
                  <a:pt x="9" y="20"/>
                </a:lnTo>
                <a:lnTo>
                  <a:pt x="3" y="20"/>
                </a:lnTo>
                <a:lnTo>
                  <a:pt x="0" y="20"/>
                </a:lnTo>
                <a:lnTo>
                  <a:pt x="0" y="23"/>
                </a:lnTo>
                <a:lnTo>
                  <a:pt x="6" y="23"/>
                </a:lnTo>
                <a:lnTo>
                  <a:pt x="9" y="2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30" name="Freeform 623"/>
          <p:cNvSpPr>
            <a:spLocks/>
          </p:cNvSpPr>
          <p:nvPr/>
        </p:nvSpPr>
        <p:spPr bwMode="gray">
          <a:xfrm>
            <a:off x="3198577" y="1662045"/>
            <a:ext cx="80014" cy="27001"/>
          </a:xfrm>
          <a:custGeom>
            <a:avLst/>
            <a:gdLst>
              <a:gd name="T0" fmla="*/ 2147483647 w 40"/>
              <a:gd name="T1" fmla="*/ 2147483647 h 18"/>
              <a:gd name="T2" fmla="*/ 2147483647 w 40"/>
              <a:gd name="T3" fmla="*/ 2147483647 h 18"/>
              <a:gd name="T4" fmla="*/ 2147483647 w 40"/>
              <a:gd name="T5" fmla="*/ 2147483647 h 18"/>
              <a:gd name="T6" fmla="*/ 2147483647 w 40"/>
              <a:gd name="T7" fmla="*/ 2147483647 h 18"/>
              <a:gd name="T8" fmla="*/ 2147483647 w 40"/>
              <a:gd name="T9" fmla="*/ 2147483647 h 18"/>
              <a:gd name="T10" fmla="*/ 2147483647 w 40"/>
              <a:gd name="T11" fmla="*/ 2147483647 h 18"/>
              <a:gd name="T12" fmla="*/ 2147483647 w 40"/>
              <a:gd name="T13" fmla="*/ 2147483647 h 18"/>
              <a:gd name="T14" fmla="*/ 2147483647 w 40"/>
              <a:gd name="T15" fmla="*/ 2147483647 h 18"/>
              <a:gd name="T16" fmla="*/ 2147483647 w 40"/>
              <a:gd name="T17" fmla="*/ 0 h 18"/>
              <a:gd name="T18" fmla="*/ 2147483647 w 40"/>
              <a:gd name="T19" fmla="*/ 2147483647 h 18"/>
              <a:gd name="T20" fmla="*/ 2147483647 w 40"/>
              <a:gd name="T21" fmla="*/ 2147483647 h 18"/>
              <a:gd name="T22" fmla="*/ 2147483647 w 40"/>
              <a:gd name="T23" fmla="*/ 2147483647 h 18"/>
              <a:gd name="T24" fmla="*/ 2147483647 w 40"/>
              <a:gd name="T25" fmla="*/ 2147483647 h 18"/>
              <a:gd name="T26" fmla="*/ 2147483647 w 40"/>
              <a:gd name="T27" fmla="*/ 2147483647 h 18"/>
              <a:gd name="T28" fmla="*/ 2147483647 w 40"/>
              <a:gd name="T29" fmla="*/ 2147483647 h 18"/>
              <a:gd name="T30" fmla="*/ 2147483647 w 40"/>
              <a:gd name="T31" fmla="*/ 2147483647 h 18"/>
              <a:gd name="T32" fmla="*/ 2147483647 w 40"/>
              <a:gd name="T33" fmla="*/ 2147483647 h 18"/>
              <a:gd name="T34" fmla="*/ 0 w 40"/>
              <a:gd name="T35" fmla="*/ 2147483647 h 18"/>
              <a:gd name="T36" fmla="*/ 2147483647 w 40"/>
              <a:gd name="T37" fmla="*/ 2147483647 h 18"/>
              <a:gd name="T38" fmla="*/ 2147483647 w 40"/>
              <a:gd name="T39" fmla="*/ 2147483647 h 18"/>
              <a:gd name="T40" fmla="*/ 2147483647 w 40"/>
              <a:gd name="T41" fmla="*/ 2147483647 h 18"/>
              <a:gd name="T42" fmla="*/ 2147483647 w 40"/>
              <a:gd name="T43" fmla="*/ 2147483647 h 18"/>
              <a:gd name="T44" fmla="*/ 2147483647 w 40"/>
              <a:gd name="T45" fmla="*/ 2147483647 h 18"/>
              <a:gd name="T46" fmla="*/ 2147483647 w 40"/>
              <a:gd name="T47" fmla="*/ 2147483647 h 18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40"/>
              <a:gd name="T73" fmla="*/ 0 h 18"/>
              <a:gd name="T74" fmla="*/ 40 w 40"/>
              <a:gd name="T75" fmla="*/ 18 h 18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40" h="18">
                <a:moveTo>
                  <a:pt x="14" y="18"/>
                </a:moveTo>
                <a:lnTo>
                  <a:pt x="14" y="18"/>
                </a:lnTo>
                <a:lnTo>
                  <a:pt x="20" y="18"/>
                </a:lnTo>
                <a:lnTo>
                  <a:pt x="28" y="18"/>
                </a:lnTo>
                <a:lnTo>
                  <a:pt x="37" y="12"/>
                </a:lnTo>
                <a:lnTo>
                  <a:pt x="40" y="6"/>
                </a:lnTo>
                <a:lnTo>
                  <a:pt x="37" y="0"/>
                </a:lnTo>
                <a:lnTo>
                  <a:pt x="34" y="3"/>
                </a:lnTo>
                <a:lnTo>
                  <a:pt x="23" y="3"/>
                </a:lnTo>
                <a:lnTo>
                  <a:pt x="17" y="3"/>
                </a:lnTo>
                <a:lnTo>
                  <a:pt x="8" y="3"/>
                </a:lnTo>
                <a:lnTo>
                  <a:pt x="5" y="6"/>
                </a:lnTo>
                <a:lnTo>
                  <a:pt x="8" y="9"/>
                </a:lnTo>
                <a:lnTo>
                  <a:pt x="3" y="9"/>
                </a:lnTo>
                <a:lnTo>
                  <a:pt x="0" y="9"/>
                </a:lnTo>
                <a:lnTo>
                  <a:pt x="3" y="12"/>
                </a:lnTo>
                <a:lnTo>
                  <a:pt x="8" y="18"/>
                </a:lnTo>
                <a:lnTo>
                  <a:pt x="11" y="18"/>
                </a:lnTo>
                <a:lnTo>
                  <a:pt x="14" y="1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31" name="Rectangle 624"/>
          <p:cNvSpPr>
            <a:spLocks noChangeArrowheads="1"/>
          </p:cNvSpPr>
          <p:nvPr/>
        </p:nvSpPr>
        <p:spPr bwMode="gray">
          <a:xfrm>
            <a:off x="3128564" y="1692046"/>
            <a:ext cx="6002" cy="4501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32" name="Freeform 625"/>
          <p:cNvSpPr>
            <a:spLocks/>
          </p:cNvSpPr>
          <p:nvPr/>
        </p:nvSpPr>
        <p:spPr bwMode="gray">
          <a:xfrm>
            <a:off x="2508452" y="1710046"/>
            <a:ext cx="458083" cy="126003"/>
          </a:xfrm>
          <a:custGeom>
            <a:avLst/>
            <a:gdLst>
              <a:gd name="T0" fmla="*/ 2147483647 w 227"/>
              <a:gd name="T1" fmla="*/ 0 h 83"/>
              <a:gd name="T2" fmla="*/ 2147483647 w 227"/>
              <a:gd name="T3" fmla="*/ 2147483647 h 83"/>
              <a:gd name="T4" fmla="*/ 2147483647 w 227"/>
              <a:gd name="T5" fmla="*/ 2147483647 h 83"/>
              <a:gd name="T6" fmla="*/ 2147483647 w 227"/>
              <a:gd name="T7" fmla="*/ 2147483647 h 83"/>
              <a:gd name="T8" fmla="*/ 2147483647 w 227"/>
              <a:gd name="T9" fmla="*/ 2147483647 h 83"/>
              <a:gd name="T10" fmla="*/ 2147483647 w 227"/>
              <a:gd name="T11" fmla="*/ 2147483647 h 83"/>
              <a:gd name="T12" fmla="*/ 2147483647 w 227"/>
              <a:gd name="T13" fmla="*/ 2147483647 h 83"/>
              <a:gd name="T14" fmla="*/ 2147483647 w 227"/>
              <a:gd name="T15" fmla="*/ 2147483647 h 83"/>
              <a:gd name="T16" fmla="*/ 2147483647 w 227"/>
              <a:gd name="T17" fmla="*/ 2147483647 h 83"/>
              <a:gd name="T18" fmla="*/ 2147483647 w 227"/>
              <a:gd name="T19" fmla="*/ 2147483647 h 83"/>
              <a:gd name="T20" fmla="*/ 2147483647 w 227"/>
              <a:gd name="T21" fmla="*/ 2147483647 h 83"/>
              <a:gd name="T22" fmla="*/ 2147483647 w 227"/>
              <a:gd name="T23" fmla="*/ 2147483647 h 83"/>
              <a:gd name="T24" fmla="*/ 2147483647 w 227"/>
              <a:gd name="T25" fmla="*/ 2147483647 h 83"/>
              <a:gd name="T26" fmla="*/ 2147483647 w 227"/>
              <a:gd name="T27" fmla="*/ 2147483647 h 83"/>
              <a:gd name="T28" fmla="*/ 2147483647 w 227"/>
              <a:gd name="T29" fmla="*/ 2147483647 h 83"/>
              <a:gd name="T30" fmla="*/ 2147483647 w 227"/>
              <a:gd name="T31" fmla="*/ 2147483647 h 83"/>
              <a:gd name="T32" fmla="*/ 2147483647 w 227"/>
              <a:gd name="T33" fmla="*/ 2147483647 h 83"/>
              <a:gd name="T34" fmla="*/ 2147483647 w 227"/>
              <a:gd name="T35" fmla="*/ 2147483647 h 83"/>
              <a:gd name="T36" fmla="*/ 2147483647 w 227"/>
              <a:gd name="T37" fmla="*/ 2147483647 h 83"/>
              <a:gd name="T38" fmla="*/ 2147483647 w 227"/>
              <a:gd name="T39" fmla="*/ 2147483647 h 83"/>
              <a:gd name="T40" fmla="*/ 2147483647 w 227"/>
              <a:gd name="T41" fmla="*/ 2147483647 h 83"/>
              <a:gd name="T42" fmla="*/ 2147483647 w 227"/>
              <a:gd name="T43" fmla="*/ 2147483647 h 83"/>
              <a:gd name="T44" fmla="*/ 2147483647 w 227"/>
              <a:gd name="T45" fmla="*/ 2147483647 h 83"/>
              <a:gd name="T46" fmla="*/ 2147483647 w 227"/>
              <a:gd name="T47" fmla="*/ 2147483647 h 83"/>
              <a:gd name="T48" fmla="*/ 2147483647 w 227"/>
              <a:gd name="T49" fmla="*/ 2147483647 h 83"/>
              <a:gd name="T50" fmla="*/ 2147483647 w 227"/>
              <a:gd name="T51" fmla="*/ 2147483647 h 83"/>
              <a:gd name="T52" fmla="*/ 2147483647 w 227"/>
              <a:gd name="T53" fmla="*/ 2147483647 h 83"/>
              <a:gd name="T54" fmla="*/ 2147483647 w 227"/>
              <a:gd name="T55" fmla="*/ 2147483647 h 83"/>
              <a:gd name="T56" fmla="*/ 2147483647 w 227"/>
              <a:gd name="T57" fmla="*/ 2147483647 h 83"/>
              <a:gd name="T58" fmla="*/ 2147483647 w 227"/>
              <a:gd name="T59" fmla="*/ 2147483647 h 83"/>
              <a:gd name="T60" fmla="*/ 2147483647 w 227"/>
              <a:gd name="T61" fmla="*/ 2147483647 h 83"/>
              <a:gd name="T62" fmla="*/ 2147483647 w 227"/>
              <a:gd name="T63" fmla="*/ 2147483647 h 83"/>
              <a:gd name="T64" fmla="*/ 2147483647 w 227"/>
              <a:gd name="T65" fmla="*/ 2147483647 h 83"/>
              <a:gd name="T66" fmla="*/ 2147483647 w 227"/>
              <a:gd name="T67" fmla="*/ 2147483647 h 83"/>
              <a:gd name="T68" fmla="*/ 2147483647 w 227"/>
              <a:gd name="T69" fmla="*/ 2147483647 h 83"/>
              <a:gd name="T70" fmla="*/ 2147483647 w 227"/>
              <a:gd name="T71" fmla="*/ 2147483647 h 83"/>
              <a:gd name="T72" fmla="*/ 2147483647 w 227"/>
              <a:gd name="T73" fmla="*/ 2147483647 h 83"/>
              <a:gd name="T74" fmla="*/ 2147483647 w 227"/>
              <a:gd name="T75" fmla="*/ 2147483647 h 83"/>
              <a:gd name="T76" fmla="*/ 2147483647 w 227"/>
              <a:gd name="T77" fmla="*/ 2147483647 h 83"/>
              <a:gd name="T78" fmla="*/ 2147483647 w 227"/>
              <a:gd name="T79" fmla="*/ 2147483647 h 83"/>
              <a:gd name="T80" fmla="*/ 2147483647 w 227"/>
              <a:gd name="T81" fmla="*/ 2147483647 h 83"/>
              <a:gd name="T82" fmla="*/ 2147483647 w 227"/>
              <a:gd name="T83" fmla="*/ 2147483647 h 83"/>
              <a:gd name="T84" fmla="*/ 2147483647 w 227"/>
              <a:gd name="T85" fmla="*/ 2147483647 h 83"/>
              <a:gd name="T86" fmla="*/ 2147483647 w 227"/>
              <a:gd name="T87" fmla="*/ 2147483647 h 83"/>
              <a:gd name="T88" fmla="*/ 2147483647 w 227"/>
              <a:gd name="T89" fmla="*/ 2147483647 h 83"/>
              <a:gd name="T90" fmla="*/ 2147483647 w 227"/>
              <a:gd name="T91" fmla="*/ 2147483647 h 83"/>
              <a:gd name="T92" fmla="*/ 2147483647 w 227"/>
              <a:gd name="T93" fmla="*/ 2147483647 h 83"/>
              <a:gd name="T94" fmla="*/ 2147483647 w 227"/>
              <a:gd name="T95" fmla="*/ 2147483647 h 83"/>
              <a:gd name="T96" fmla="*/ 2147483647 w 227"/>
              <a:gd name="T97" fmla="*/ 2147483647 h 83"/>
              <a:gd name="T98" fmla="*/ 2147483647 w 227"/>
              <a:gd name="T99" fmla="*/ 2147483647 h 83"/>
              <a:gd name="T100" fmla="*/ 2147483647 w 227"/>
              <a:gd name="T101" fmla="*/ 2147483647 h 83"/>
              <a:gd name="T102" fmla="*/ 2147483647 w 227"/>
              <a:gd name="T103" fmla="*/ 2147483647 h 83"/>
              <a:gd name="T104" fmla="*/ 2147483647 w 227"/>
              <a:gd name="T105" fmla="*/ 2147483647 h 83"/>
              <a:gd name="T106" fmla="*/ 2147483647 w 227"/>
              <a:gd name="T107" fmla="*/ 2147483647 h 83"/>
              <a:gd name="T108" fmla="*/ 2147483647 w 227"/>
              <a:gd name="T109" fmla="*/ 2147483647 h 83"/>
              <a:gd name="T110" fmla="*/ 2147483647 w 227"/>
              <a:gd name="T111" fmla="*/ 2147483647 h 83"/>
              <a:gd name="T112" fmla="*/ 2147483647 w 227"/>
              <a:gd name="T113" fmla="*/ 2147483647 h 8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227"/>
              <a:gd name="T172" fmla="*/ 0 h 83"/>
              <a:gd name="T173" fmla="*/ 227 w 227"/>
              <a:gd name="T174" fmla="*/ 83 h 8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227" h="83">
                <a:moveTo>
                  <a:pt x="221" y="0"/>
                </a:moveTo>
                <a:lnTo>
                  <a:pt x="221" y="0"/>
                </a:lnTo>
                <a:lnTo>
                  <a:pt x="215" y="0"/>
                </a:lnTo>
                <a:lnTo>
                  <a:pt x="204" y="0"/>
                </a:lnTo>
                <a:lnTo>
                  <a:pt x="201" y="0"/>
                </a:lnTo>
                <a:lnTo>
                  <a:pt x="195" y="3"/>
                </a:lnTo>
                <a:lnTo>
                  <a:pt x="198" y="9"/>
                </a:lnTo>
                <a:lnTo>
                  <a:pt x="198" y="11"/>
                </a:lnTo>
                <a:lnTo>
                  <a:pt x="192" y="6"/>
                </a:lnTo>
                <a:lnTo>
                  <a:pt x="190" y="6"/>
                </a:lnTo>
                <a:lnTo>
                  <a:pt x="184" y="6"/>
                </a:lnTo>
                <a:lnTo>
                  <a:pt x="175" y="9"/>
                </a:lnTo>
                <a:lnTo>
                  <a:pt x="167" y="20"/>
                </a:lnTo>
                <a:lnTo>
                  <a:pt x="161" y="26"/>
                </a:lnTo>
                <a:lnTo>
                  <a:pt x="158" y="29"/>
                </a:lnTo>
                <a:lnTo>
                  <a:pt x="155" y="29"/>
                </a:lnTo>
                <a:lnTo>
                  <a:pt x="149" y="32"/>
                </a:lnTo>
                <a:lnTo>
                  <a:pt x="152" y="26"/>
                </a:lnTo>
                <a:lnTo>
                  <a:pt x="158" y="23"/>
                </a:lnTo>
                <a:lnTo>
                  <a:pt x="152" y="23"/>
                </a:lnTo>
                <a:lnTo>
                  <a:pt x="155" y="20"/>
                </a:lnTo>
                <a:lnTo>
                  <a:pt x="155" y="14"/>
                </a:lnTo>
                <a:lnTo>
                  <a:pt x="147" y="11"/>
                </a:lnTo>
                <a:lnTo>
                  <a:pt x="141" y="14"/>
                </a:lnTo>
                <a:lnTo>
                  <a:pt x="147" y="14"/>
                </a:lnTo>
                <a:lnTo>
                  <a:pt x="141" y="17"/>
                </a:lnTo>
                <a:lnTo>
                  <a:pt x="135" y="17"/>
                </a:lnTo>
                <a:lnTo>
                  <a:pt x="126" y="23"/>
                </a:lnTo>
                <a:lnTo>
                  <a:pt x="118" y="23"/>
                </a:lnTo>
                <a:lnTo>
                  <a:pt x="124" y="17"/>
                </a:lnTo>
                <a:lnTo>
                  <a:pt x="129" y="14"/>
                </a:lnTo>
                <a:lnTo>
                  <a:pt x="118" y="11"/>
                </a:lnTo>
                <a:lnTo>
                  <a:pt x="109" y="11"/>
                </a:lnTo>
                <a:lnTo>
                  <a:pt x="98" y="14"/>
                </a:lnTo>
                <a:lnTo>
                  <a:pt x="89" y="17"/>
                </a:lnTo>
                <a:lnTo>
                  <a:pt x="103" y="11"/>
                </a:lnTo>
                <a:lnTo>
                  <a:pt x="103" y="6"/>
                </a:lnTo>
                <a:lnTo>
                  <a:pt x="98" y="6"/>
                </a:lnTo>
                <a:lnTo>
                  <a:pt x="92" y="6"/>
                </a:lnTo>
                <a:lnTo>
                  <a:pt x="86" y="9"/>
                </a:lnTo>
                <a:lnTo>
                  <a:pt x="78" y="9"/>
                </a:lnTo>
                <a:lnTo>
                  <a:pt x="63" y="11"/>
                </a:lnTo>
                <a:lnTo>
                  <a:pt x="46" y="14"/>
                </a:lnTo>
                <a:lnTo>
                  <a:pt x="37" y="20"/>
                </a:lnTo>
                <a:lnTo>
                  <a:pt x="35" y="23"/>
                </a:lnTo>
                <a:lnTo>
                  <a:pt x="26" y="26"/>
                </a:lnTo>
                <a:lnTo>
                  <a:pt x="17" y="32"/>
                </a:lnTo>
                <a:lnTo>
                  <a:pt x="23" y="32"/>
                </a:lnTo>
                <a:lnTo>
                  <a:pt x="29" y="29"/>
                </a:lnTo>
                <a:lnTo>
                  <a:pt x="26" y="32"/>
                </a:lnTo>
                <a:lnTo>
                  <a:pt x="23" y="34"/>
                </a:lnTo>
                <a:lnTo>
                  <a:pt x="20" y="34"/>
                </a:lnTo>
                <a:lnTo>
                  <a:pt x="23" y="34"/>
                </a:lnTo>
                <a:lnTo>
                  <a:pt x="29" y="37"/>
                </a:lnTo>
                <a:lnTo>
                  <a:pt x="35" y="34"/>
                </a:lnTo>
                <a:lnTo>
                  <a:pt x="37" y="32"/>
                </a:lnTo>
                <a:lnTo>
                  <a:pt x="43" y="32"/>
                </a:lnTo>
                <a:lnTo>
                  <a:pt x="46" y="34"/>
                </a:lnTo>
                <a:lnTo>
                  <a:pt x="55" y="34"/>
                </a:lnTo>
                <a:lnTo>
                  <a:pt x="60" y="34"/>
                </a:lnTo>
                <a:lnTo>
                  <a:pt x="52" y="37"/>
                </a:lnTo>
                <a:lnTo>
                  <a:pt x="46" y="37"/>
                </a:lnTo>
                <a:lnTo>
                  <a:pt x="40" y="37"/>
                </a:lnTo>
                <a:lnTo>
                  <a:pt x="23" y="40"/>
                </a:lnTo>
                <a:lnTo>
                  <a:pt x="17" y="40"/>
                </a:lnTo>
                <a:lnTo>
                  <a:pt x="12" y="40"/>
                </a:lnTo>
                <a:lnTo>
                  <a:pt x="9" y="43"/>
                </a:lnTo>
                <a:lnTo>
                  <a:pt x="12" y="46"/>
                </a:lnTo>
                <a:lnTo>
                  <a:pt x="17" y="49"/>
                </a:lnTo>
                <a:lnTo>
                  <a:pt x="32" y="49"/>
                </a:lnTo>
                <a:lnTo>
                  <a:pt x="46" y="49"/>
                </a:lnTo>
                <a:lnTo>
                  <a:pt x="66" y="49"/>
                </a:lnTo>
                <a:lnTo>
                  <a:pt x="81" y="54"/>
                </a:lnTo>
                <a:lnTo>
                  <a:pt x="69" y="54"/>
                </a:lnTo>
                <a:lnTo>
                  <a:pt x="40" y="54"/>
                </a:lnTo>
                <a:lnTo>
                  <a:pt x="26" y="54"/>
                </a:lnTo>
                <a:lnTo>
                  <a:pt x="12" y="57"/>
                </a:lnTo>
                <a:lnTo>
                  <a:pt x="3" y="60"/>
                </a:lnTo>
                <a:lnTo>
                  <a:pt x="0" y="63"/>
                </a:lnTo>
                <a:lnTo>
                  <a:pt x="3" y="66"/>
                </a:lnTo>
                <a:lnTo>
                  <a:pt x="9" y="69"/>
                </a:lnTo>
                <a:lnTo>
                  <a:pt x="20" y="72"/>
                </a:lnTo>
                <a:lnTo>
                  <a:pt x="35" y="72"/>
                </a:lnTo>
                <a:lnTo>
                  <a:pt x="37" y="72"/>
                </a:lnTo>
                <a:lnTo>
                  <a:pt x="32" y="75"/>
                </a:lnTo>
                <a:lnTo>
                  <a:pt x="29" y="77"/>
                </a:lnTo>
                <a:lnTo>
                  <a:pt x="29" y="80"/>
                </a:lnTo>
                <a:lnTo>
                  <a:pt x="29" y="83"/>
                </a:lnTo>
                <a:lnTo>
                  <a:pt x="37" y="83"/>
                </a:lnTo>
                <a:lnTo>
                  <a:pt x="55" y="83"/>
                </a:lnTo>
                <a:lnTo>
                  <a:pt x="66" y="83"/>
                </a:lnTo>
                <a:lnTo>
                  <a:pt x="89" y="80"/>
                </a:lnTo>
                <a:lnTo>
                  <a:pt x="95" y="77"/>
                </a:lnTo>
                <a:lnTo>
                  <a:pt x="103" y="77"/>
                </a:lnTo>
                <a:lnTo>
                  <a:pt x="115" y="75"/>
                </a:lnTo>
                <a:lnTo>
                  <a:pt x="121" y="72"/>
                </a:lnTo>
                <a:lnTo>
                  <a:pt x="126" y="66"/>
                </a:lnTo>
                <a:lnTo>
                  <a:pt x="129" y="66"/>
                </a:lnTo>
                <a:lnTo>
                  <a:pt x="129" y="69"/>
                </a:lnTo>
                <a:lnTo>
                  <a:pt x="129" y="72"/>
                </a:lnTo>
                <a:lnTo>
                  <a:pt x="126" y="72"/>
                </a:lnTo>
                <a:lnTo>
                  <a:pt x="135" y="72"/>
                </a:lnTo>
                <a:lnTo>
                  <a:pt x="138" y="75"/>
                </a:lnTo>
                <a:lnTo>
                  <a:pt x="138" y="77"/>
                </a:lnTo>
                <a:lnTo>
                  <a:pt x="147" y="77"/>
                </a:lnTo>
                <a:lnTo>
                  <a:pt x="152" y="77"/>
                </a:lnTo>
                <a:lnTo>
                  <a:pt x="167" y="77"/>
                </a:lnTo>
                <a:lnTo>
                  <a:pt x="175" y="75"/>
                </a:lnTo>
                <a:lnTo>
                  <a:pt x="184" y="72"/>
                </a:lnTo>
                <a:lnTo>
                  <a:pt x="184" y="69"/>
                </a:lnTo>
                <a:lnTo>
                  <a:pt x="184" y="66"/>
                </a:lnTo>
                <a:lnTo>
                  <a:pt x="181" y="66"/>
                </a:lnTo>
                <a:lnTo>
                  <a:pt x="172" y="69"/>
                </a:lnTo>
                <a:lnTo>
                  <a:pt x="170" y="69"/>
                </a:lnTo>
                <a:lnTo>
                  <a:pt x="170" y="66"/>
                </a:lnTo>
                <a:lnTo>
                  <a:pt x="172" y="66"/>
                </a:lnTo>
                <a:lnTo>
                  <a:pt x="178" y="66"/>
                </a:lnTo>
                <a:lnTo>
                  <a:pt x="181" y="60"/>
                </a:lnTo>
                <a:lnTo>
                  <a:pt x="187" y="60"/>
                </a:lnTo>
                <a:lnTo>
                  <a:pt x="190" y="63"/>
                </a:lnTo>
                <a:lnTo>
                  <a:pt x="192" y="63"/>
                </a:lnTo>
                <a:lnTo>
                  <a:pt x="195" y="63"/>
                </a:lnTo>
                <a:lnTo>
                  <a:pt x="195" y="66"/>
                </a:lnTo>
                <a:lnTo>
                  <a:pt x="195" y="69"/>
                </a:lnTo>
                <a:lnTo>
                  <a:pt x="198" y="66"/>
                </a:lnTo>
                <a:lnTo>
                  <a:pt x="201" y="66"/>
                </a:lnTo>
                <a:lnTo>
                  <a:pt x="204" y="63"/>
                </a:lnTo>
                <a:lnTo>
                  <a:pt x="210" y="60"/>
                </a:lnTo>
                <a:lnTo>
                  <a:pt x="207" y="57"/>
                </a:lnTo>
                <a:lnTo>
                  <a:pt x="201" y="54"/>
                </a:lnTo>
                <a:lnTo>
                  <a:pt x="195" y="49"/>
                </a:lnTo>
                <a:lnTo>
                  <a:pt x="192" y="49"/>
                </a:lnTo>
                <a:lnTo>
                  <a:pt x="187" y="49"/>
                </a:lnTo>
                <a:lnTo>
                  <a:pt x="184" y="49"/>
                </a:lnTo>
                <a:lnTo>
                  <a:pt x="181" y="43"/>
                </a:lnTo>
                <a:lnTo>
                  <a:pt x="187" y="40"/>
                </a:lnTo>
                <a:lnTo>
                  <a:pt x="187" y="37"/>
                </a:lnTo>
                <a:lnTo>
                  <a:pt x="190" y="37"/>
                </a:lnTo>
                <a:lnTo>
                  <a:pt x="192" y="29"/>
                </a:lnTo>
                <a:lnTo>
                  <a:pt x="198" y="17"/>
                </a:lnTo>
                <a:lnTo>
                  <a:pt x="201" y="11"/>
                </a:lnTo>
                <a:lnTo>
                  <a:pt x="204" y="11"/>
                </a:lnTo>
                <a:lnTo>
                  <a:pt x="207" y="11"/>
                </a:lnTo>
                <a:lnTo>
                  <a:pt x="215" y="9"/>
                </a:lnTo>
                <a:lnTo>
                  <a:pt x="221" y="6"/>
                </a:lnTo>
                <a:lnTo>
                  <a:pt x="227" y="3"/>
                </a:lnTo>
                <a:lnTo>
                  <a:pt x="221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33" name="Freeform 626"/>
          <p:cNvSpPr>
            <a:spLocks noEditPoints="1"/>
          </p:cNvSpPr>
          <p:nvPr/>
        </p:nvSpPr>
        <p:spPr bwMode="gray">
          <a:xfrm>
            <a:off x="2722492" y="1636545"/>
            <a:ext cx="306054" cy="55501"/>
          </a:xfrm>
          <a:custGeom>
            <a:avLst/>
            <a:gdLst>
              <a:gd name="T0" fmla="*/ 2147483647 w 152"/>
              <a:gd name="T1" fmla="*/ 2147483647 h 37"/>
              <a:gd name="T2" fmla="*/ 2147483647 w 152"/>
              <a:gd name="T3" fmla="*/ 2147483647 h 37"/>
              <a:gd name="T4" fmla="*/ 2147483647 w 152"/>
              <a:gd name="T5" fmla="*/ 2147483647 h 37"/>
              <a:gd name="T6" fmla="*/ 2147483647 w 152"/>
              <a:gd name="T7" fmla="*/ 2147483647 h 37"/>
              <a:gd name="T8" fmla="*/ 2147483647 w 152"/>
              <a:gd name="T9" fmla="*/ 2147483647 h 37"/>
              <a:gd name="T10" fmla="*/ 2147483647 w 152"/>
              <a:gd name="T11" fmla="*/ 2147483647 h 37"/>
              <a:gd name="T12" fmla="*/ 2147483647 w 152"/>
              <a:gd name="T13" fmla="*/ 2147483647 h 37"/>
              <a:gd name="T14" fmla="*/ 2147483647 w 152"/>
              <a:gd name="T15" fmla="*/ 2147483647 h 37"/>
              <a:gd name="T16" fmla="*/ 2147483647 w 152"/>
              <a:gd name="T17" fmla="*/ 2147483647 h 37"/>
              <a:gd name="T18" fmla="*/ 2147483647 w 152"/>
              <a:gd name="T19" fmla="*/ 2147483647 h 37"/>
              <a:gd name="T20" fmla="*/ 2147483647 w 152"/>
              <a:gd name="T21" fmla="*/ 2147483647 h 37"/>
              <a:gd name="T22" fmla="*/ 2147483647 w 152"/>
              <a:gd name="T23" fmla="*/ 2147483647 h 37"/>
              <a:gd name="T24" fmla="*/ 0 w 152"/>
              <a:gd name="T25" fmla="*/ 2147483647 h 37"/>
              <a:gd name="T26" fmla="*/ 2147483647 w 152"/>
              <a:gd name="T27" fmla="*/ 2147483647 h 37"/>
              <a:gd name="T28" fmla="*/ 2147483647 w 152"/>
              <a:gd name="T29" fmla="*/ 2147483647 h 37"/>
              <a:gd name="T30" fmla="*/ 2147483647 w 152"/>
              <a:gd name="T31" fmla="*/ 2147483647 h 37"/>
              <a:gd name="T32" fmla="*/ 2147483647 w 152"/>
              <a:gd name="T33" fmla="*/ 2147483647 h 37"/>
              <a:gd name="T34" fmla="*/ 2147483647 w 152"/>
              <a:gd name="T35" fmla="*/ 2147483647 h 37"/>
              <a:gd name="T36" fmla="*/ 2147483647 w 152"/>
              <a:gd name="T37" fmla="*/ 2147483647 h 37"/>
              <a:gd name="T38" fmla="*/ 2147483647 w 152"/>
              <a:gd name="T39" fmla="*/ 2147483647 h 37"/>
              <a:gd name="T40" fmla="*/ 2147483647 w 152"/>
              <a:gd name="T41" fmla="*/ 2147483647 h 37"/>
              <a:gd name="T42" fmla="*/ 2147483647 w 152"/>
              <a:gd name="T43" fmla="*/ 2147483647 h 37"/>
              <a:gd name="T44" fmla="*/ 2147483647 w 152"/>
              <a:gd name="T45" fmla="*/ 2147483647 h 37"/>
              <a:gd name="T46" fmla="*/ 2147483647 w 152"/>
              <a:gd name="T47" fmla="*/ 2147483647 h 37"/>
              <a:gd name="T48" fmla="*/ 2147483647 w 152"/>
              <a:gd name="T49" fmla="*/ 2147483647 h 37"/>
              <a:gd name="T50" fmla="*/ 2147483647 w 152"/>
              <a:gd name="T51" fmla="*/ 2147483647 h 37"/>
              <a:gd name="T52" fmla="*/ 2147483647 w 152"/>
              <a:gd name="T53" fmla="*/ 2147483647 h 37"/>
              <a:gd name="T54" fmla="*/ 2147483647 w 152"/>
              <a:gd name="T55" fmla="*/ 2147483647 h 37"/>
              <a:gd name="T56" fmla="*/ 2147483647 w 152"/>
              <a:gd name="T57" fmla="*/ 2147483647 h 37"/>
              <a:gd name="T58" fmla="*/ 2147483647 w 152"/>
              <a:gd name="T59" fmla="*/ 2147483647 h 37"/>
              <a:gd name="T60" fmla="*/ 2147483647 w 152"/>
              <a:gd name="T61" fmla="*/ 2147483647 h 37"/>
              <a:gd name="T62" fmla="*/ 2147483647 w 152"/>
              <a:gd name="T63" fmla="*/ 2147483647 h 37"/>
              <a:gd name="T64" fmla="*/ 2147483647 w 152"/>
              <a:gd name="T65" fmla="*/ 2147483647 h 37"/>
              <a:gd name="T66" fmla="*/ 2147483647 w 152"/>
              <a:gd name="T67" fmla="*/ 2147483647 h 37"/>
              <a:gd name="T68" fmla="*/ 2147483647 w 152"/>
              <a:gd name="T69" fmla="*/ 2147483647 h 37"/>
              <a:gd name="T70" fmla="*/ 2147483647 w 152"/>
              <a:gd name="T71" fmla="*/ 2147483647 h 37"/>
              <a:gd name="T72" fmla="*/ 2147483647 w 152"/>
              <a:gd name="T73" fmla="*/ 2147483647 h 37"/>
              <a:gd name="T74" fmla="*/ 2147483647 w 152"/>
              <a:gd name="T75" fmla="*/ 2147483647 h 37"/>
              <a:gd name="T76" fmla="*/ 2147483647 w 152"/>
              <a:gd name="T77" fmla="*/ 2147483647 h 37"/>
              <a:gd name="T78" fmla="*/ 2147483647 w 152"/>
              <a:gd name="T79" fmla="*/ 2147483647 h 37"/>
              <a:gd name="T80" fmla="*/ 2147483647 w 152"/>
              <a:gd name="T81" fmla="*/ 0 h 37"/>
              <a:gd name="T82" fmla="*/ 2147483647 w 152"/>
              <a:gd name="T83" fmla="*/ 2147483647 h 37"/>
              <a:gd name="T84" fmla="*/ 2147483647 w 152"/>
              <a:gd name="T85" fmla="*/ 2147483647 h 37"/>
              <a:gd name="T86" fmla="*/ 2147483647 w 152"/>
              <a:gd name="T87" fmla="*/ 2147483647 h 37"/>
              <a:gd name="T88" fmla="*/ 2147483647 w 152"/>
              <a:gd name="T89" fmla="*/ 2147483647 h 37"/>
              <a:gd name="T90" fmla="*/ 2147483647 w 152"/>
              <a:gd name="T91" fmla="*/ 2147483647 h 37"/>
              <a:gd name="T92" fmla="*/ 2147483647 w 152"/>
              <a:gd name="T93" fmla="*/ 2147483647 h 37"/>
              <a:gd name="T94" fmla="*/ 2147483647 w 152"/>
              <a:gd name="T95" fmla="*/ 2147483647 h 37"/>
              <a:gd name="T96" fmla="*/ 2147483647 w 152"/>
              <a:gd name="T97" fmla="*/ 2147483647 h 37"/>
              <a:gd name="T98" fmla="*/ 2147483647 w 152"/>
              <a:gd name="T99" fmla="*/ 2147483647 h 37"/>
              <a:gd name="T100" fmla="*/ 2147483647 w 152"/>
              <a:gd name="T101" fmla="*/ 2147483647 h 37"/>
              <a:gd name="T102" fmla="*/ 2147483647 w 152"/>
              <a:gd name="T103" fmla="*/ 2147483647 h 37"/>
              <a:gd name="T104" fmla="*/ 2147483647 w 152"/>
              <a:gd name="T105" fmla="*/ 2147483647 h 37"/>
              <a:gd name="T106" fmla="*/ 2147483647 w 152"/>
              <a:gd name="T107" fmla="*/ 2147483647 h 37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52"/>
              <a:gd name="T163" fmla="*/ 0 h 37"/>
              <a:gd name="T164" fmla="*/ 152 w 152"/>
              <a:gd name="T165" fmla="*/ 37 h 37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52" h="37">
                <a:moveTo>
                  <a:pt x="66" y="12"/>
                </a:moveTo>
                <a:lnTo>
                  <a:pt x="66" y="12"/>
                </a:lnTo>
                <a:lnTo>
                  <a:pt x="61" y="12"/>
                </a:lnTo>
                <a:lnTo>
                  <a:pt x="61" y="9"/>
                </a:lnTo>
                <a:lnTo>
                  <a:pt x="64" y="9"/>
                </a:lnTo>
                <a:lnTo>
                  <a:pt x="61" y="6"/>
                </a:lnTo>
                <a:lnTo>
                  <a:pt x="52" y="6"/>
                </a:lnTo>
                <a:lnTo>
                  <a:pt x="49" y="9"/>
                </a:lnTo>
                <a:lnTo>
                  <a:pt x="43" y="12"/>
                </a:lnTo>
                <a:lnTo>
                  <a:pt x="46" y="12"/>
                </a:lnTo>
                <a:lnTo>
                  <a:pt x="55" y="9"/>
                </a:lnTo>
                <a:lnTo>
                  <a:pt x="38" y="12"/>
                </a:lnTo>
                <a:lnTo>
                  <a:pt x="26" y="14"/>
                </a:lnTo>
                <a:lnTo>
                  <a:pt x="32" y="14"/>
                </a:lnTo>
                <a:lnTo>
                  <a:pt x="43" y="14"/>
                </a:lnTo>
                <a:lnTo>
                  <a:pt x="38" y="17"/>
                </a:lnTo>
                <a:lnTo>
                  <a:pt x="29" y="17"/>
                </a:lnTo>
                <a:lnTo>
                  <a:pt x="23" y="17"/>
                </a:lnTo>
                <a:lnTo>
                  <a:pt x="18" y="17"/>
                </a:lnTo>
                <a:lnTo>
                  <a:pt x="18" y="20"/>
                </a:lnTo>
                <a:lnTo>
                  <a:pt x="9" y="20"/>
                </a:lnTo>
                <a:lnTo>
                  <a:pt x="3" y="23"/>
                </a:lnTo>
                <a:lnTo>
                  <a:pt x="0" y="26"/>
                </a:lnTo>
                <a:lnTo>
                  <a:pt x="6" y="26"/>
                </a:lnTo>
                <a:lnTo>
                  <a:pt x="12" y="26"/>
                </a:lnTo>
                <a:lnTo>
                  <a:pt x="15" y="29"/>
                </a:lnTo>
                <a:lnTo>
                  <a:pt x="18" y="26"/>
                </a:lnTo>
                <a:lnTo>
                  <a:pt x="20" y="26"/>
                </a:lnTo>
                <a:lnTo>
                  <a:pt x="20" y="29"/>
                </a:lnTo>
                <a:lnTo>
                  <a:pt x="26" y="29"/>
                </a:lnTo>
                <a:lnTo>
                  <a:pt x="32" y="29"/>
                </a:lnTo>
                <a:lnTo>
                  <a:pt x="35" y="26"/>
                </a:lnTo>
                <a:lnTo>
                  <a:pt x="41" y="23"/>
                </a:lnTo>
                <a:lnTo>
                  <a:pt x="43" y="20"/>
                </a:lnTo>
                <a:lnTo>
                  <a:pt x="52" y="14"/>
                </a:lnTo>
                <a:lnTo>
                  <a:pt x="55" y="20"/>
                </a:lnTo>
                <a:lnTo>
                  <a:pt x="46" y="23"/>
                </a:lnTo>
                <a:lnTo>
                  <a:pt x="41" y="26"/>
                </a:lnTo>
                <a:lnTo>
                  <a:pt x="43" y="29"/>
                </a:lnTo>
                <a:lnTo>
                  <a:pt x="49" y="26"/>
                </a:lnTo>
                <a:lnTo>
                  <a:pt x="52" y="26"/>
                </a:lnTo>
                <a:lnTo>
                  <a:pt x="58" y="23"/>
                </a:lnTo>
                <a:lnTo>
                  <a:pt x="58" y="26"/>
                </a:lnTo>
                <a:lnTo>
                  <a:pt x="58" y="29"/>
                </a:lnTo>
                <a:lnTo>
                  <a:pt x="49" y="29"/>
                </a:lnTo>
                <a:lnTo>
                  <a:pt x="32" y="32"/>
                </a:lnTo>
                <a:lnTo>
                  <a:pt x="26" y="35"/>
                </a:lnTo>
                <a:lnTo>
                  <a:pt x="26" y="37"/>
                </a:lnTo>
                <a:lnTo>
                  <a:pt x="29" y="37"/>
                </a:lnTo>
                <a:lnTo>
                  <a:pt x="46" y="37"/>
                </a:lnTo>
                <a:lnTo>
                  <a:pt x="61" y="35"/>
                </a:lnTo>
                <a:lnTo>
                  <a:pt x="75" y="32"/>
                </a:lnTo>
                <a:lnTo>
                  <a:pt x="89" y="29"/>
                </a:lnTo>
                <a:lnTo>
                  <a:pt x="98" y="29"/>
                </a:lnTo>
                <a:lnTo>
                  <a:pt x="104" y="29"/>
                </a:lnTo>
                <a:lnTo>
                  <a:pt x="109" y="29"/>
                </a:lnTo>
                <a:lnTo>
                  <a:pt x="112" y="32"/>
                </a:lnTo>
                <a:lnTo>
                  <a:pt x="124" y="29"/>
                </a:lnTo>
                <a:lnTo>
                  <a:pt x="127" y="29"/>
                </a:lnTo>
                <a:lnTo>
                  <a:pt x="132" y="29"/>
                </a:lnTo>
                <a:lnTo>
                  <a:pt x="141" y="23"/>
                </a:lnTo>
                <a:lnTo>
                  <a:pt x="147" y="20"/>
                </a:lnTo>
                <a:lnTo>
                  <a:pt x="152" y="17"/>
                </a:lnTo>
                <a:lnTo>
                  <a:pt x="150" y="14"/>
                </a:lnTo>
                <a:lnTo>
                  <a:pt x="147" y="14"/>
                </a:lnTo>
                <a:lnTo>
                  <a:pt x="141" y="14"/>
                </a:lnTo>
                <a:lnTo>
                  <a:pt x="138" y="14"/>
                </a:lnTo>
                <a:lnTo>
                  <a:pt x="135" y="17"/>
                </a:lnTo>
                <a:lnTo>
                  <a:pt x="130" y="17"/>
                </a:lnTo>
                <a:lnTo>
                  <a:pt x="124" y="17"/>
                </a:lnTo>
                <a:lnTo>
                  <a:pt x="121" y="12"/>
                </a:lnTo>
                <a:lnTo>
                  <a:pt x="130" y="9"/>
                </a:lnTo>
                <a:lnTo>
                  <a:pt x="130" y="6"/>
                </a:lnTo>
                <a:lnTo>
                  <a:pt x="135" y="6"/>
                </a:lnTo>
                <a:lnTo>
                  <a:pt x="135" y="3"/>
                </a:lnTo>
                <a:lnTo>
                  <a:pt x="132" y="0"/>
                </a:lnTo>
                <a:lnTo>
                  <a:pt x="127" y="3"/>
                </a:lnTo>
                <a:lnTo>
                  <a:pt x="115" y="6"/>
                </a:lnTo>
                <a:lnTo>
                  <a:pt x="109" y="6"/>
                </a:lnTo>
                <a:lnTo>
                  <a:pt x="107" y="9"/>
                </a:lnTo>
                <a:lnTo>
                  <a:pt x="107" y="12"/>
                </a:lnTo>
                <a:lnTo>
                  <a:pt x="109" y="12"/>
                </a:lnTo>
                <a:lnTo>
                  <a:pt x="112" y="12"/>
                </a:lnTo>
                <a:lnTo>
                  <a:pt x="112" y="14"/>
                </a:lnTo>
                <a:lnTo>
                  <a:pt x="107" y="14"/>
                </a:lnTo>
                <a:lnTo>
                  <a:pt x="101" y="14"/>
                </a:lnTo>
                <a:lnTo>
                  <a:pt x="104" y="17"/>
                </a:lnTo>
                <a:lnTo>
                  <a:pt x="107" y="17"/>
                </a:lnTo>
                <a:lnTo>
                  <a:pt x="109" y="20"/>
                </a:lnTo>
                <a:lnTo>
                  <a:pt x="107" y="20"/>
                </a:lnTo>
                <a:lnTo>
                  <a:pt x="92" y="20"/>
                </a:lnTo>
                <a:lnTo>
                  <a:pt x="78" y="17"/>
                </a:lnTo>
                <a:lnTo>
                  <a:pt x="75" y="14"/>
                </a:lnTo>
                <a:lnTo>
                  <a:pt x="78" y="14"/>
                </a:lnTo>
                <a:lnTo>
                  <a:pt x="81" y="14"/>
                </a:lnTo>
                <a:lnTo>
                  <a:pt x="81" y="12"/>
                </a:lnTo>
                <a:lnTo>
                  <a:pt x="75" y="12"/>
                </a:lnTo>
                <a:lnTo>
                  <a:pt x="66" y="12"/>
                </a:lnTo>
                <a:close/>
                <a:moveTo>
                  <a:pt x="29" y="20"/>
                </a:moveTo>
                <a:lnTo>
                  <a:pt x="29" y="20"/>
                </a:lnTo>
                <a:lnTo>
                  <a:pt x="32" y="17"/>
                </a:lnTo>
                <a:lnTo>
                  <a:pt x="32" y="20"/>
                </a:lnTo>
                <a:lnTo>
                  <a:pt x="29" y="2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34" name="Freeform 627"/>
          <p:cNvSpPr>
            <a:spLocks/>
          </p:cNvSpPr>
          <p:nvPr/>
        </p:nvSpPr>
        <p:spPr bwMode="gray">
          <a:xfrm>
            <a:off x="2938530" y="1789549"/>
            <a:ext cx="4001" cy="3000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0 h 2"/>
              <a:gd name="T4" fmla="*/ 0 w 2"/>
              <a:gd name="T5" fmla="*/ 2147483647 h 2"/>
              <a:gd name="T6" fmla="*/ 2147483647 w 2"/>
              <a:gd name="T7" fmla="*/ 2147483647 h 2"/>
              <a:gd name="T8" fmla="*/ 0 60000 65536"/>
              <a:gd name="T9" fmla="*/ 0 60000 65536"/>
              <a:gd name="T10" fmla="*/ 0 60000 65536"/>
              <a:gd name="T11" fmla="*/ 0 60000 65536"/>
              <a:gd name="T12" fmla="*/ 0 w 2"/>
              <a:gd name="T13" fmla="*/ 0 h 2"/>
              <a:gd name="T14" fmla="*/ 2 w 2"/>
              <a:gd name="T15" fmla="*/ 2 h 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35" name="Freeform 628"/>
          <p:cNvSpPr>
            <a:spLocks/>
          </p:cNvSpPr>
          <p:nvPr/>
        </p:nvSpPr>
        <p:spPr bwMode="gray">
          <a:xfrm>
            <a:off x="2948532" y="1785048"/>
            <a:ext cx="12002" cy="4501"/>
          </a:xfrm>
          <a:custGeom>
            <a:avLst/>
            <a:gdLst>
              <a:gd name="T0" fmla="*/ 0 w 6"/>
              <a:gd name="T1" fmla="*/ 2147483647 h 3"/>
              <a:gd name="T2" fmla="*/ 2147483647 w 6"/>
              <a:gd name="T3" fmla="*/ 2147483647 h 3"/>
              <a:gd name="T4" fmla="*/ 2147483647 w 6"/>
              <a:gd name="T5" fmla="*/ 0 h 3"/>
              <a:gd name="T6" fmla="*/ 2147483647 w 6"/>
              <a:gd name="T7" fmla="*/ 0 h 3"/>
              <a:gd name="T8" fmla="*/ 0 w 6"/>
              <a:gd name="T9" fmla="*/ 0 h 3"/>
              <a:gd name="T10" fmla="*/ 0 w 6"/>
              <a:gd name="T11" fmla="*/ 2147483647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3"/>
              <a:gd name="T20" fmla="*/ 6 w 6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3">
                <a:moveTo>
                  <a:pt x="0" y="3"/>
                </a:moveTo>
                <a:lnTo>
                  <a:pt x="3" y="3"/>
                </a:lnTo>
                <a:lnTo>
                  <a:pt x="6" y="0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36" name="Freeform 629"/>
          <p:cNvSpPr>
            <a:spLocks/>
          </p:cNvSpPr>
          <p:nvPr/>
        </p:nvSpPr>
        <p:spPr bwMode="gray">
          <a:xfrm>
            <a:off x="2926528" y="1611044"/>
            <a:ext cx="98017" cy="16501"/>
          </a:xfrm>
          <a:custGeom>
            <a:avLst/>
            <a:gdLst>
              <a:gd name="T0" fmla="*/ 2147483647 w 49"/>
              <a:gd name="T1" fmla="*/ 2147483647 h 11"/>
              <a:gd name="T2" fmla="*/ 2147483647 w 49"/>
              <a:gd name="T3" fmla="*/ 2147483647 h 11"/>
              <a:gd name="T4" fmla="*/ 2147483647 w 49"/>
              <a:gd name="T5" fmla="*/ 2147483647 h 11"/>
              <a:gd name="T6" fmla="*/ 2147483647 w 49"/>
              <a:gd name="T7" fmla="*/ 2147483647 h 11"/>
              <a:gd name="T8" fmla="*/ 2147483647 w 49"/>
              <a:gd name="T9" fmla="*/ 2147483647 h 11"/>
              <a:gd name="T10" fmla="*/ 2147483647 w 49"/>
              <a:gd name="T11" fmla="*/ 2147483647 h 11"/>
              <a:gd name="T12" fmla="*/ 2147483647 w 49"/>
              <a:gd name="T13" fmla="*/ 2147483647 h 11"/>
              <a:gd name="T14" fmla="*/ 2147483647 w 49"/>
              <a:gd name="T15" fmla="*/ 2147483647 h 11"/>
              <a:gd name="T16" fmla="*/ 2147483647 w 49"/>
              <a:gd name="T17" fmla="*/ 2147483647 h 11"/>
              <a:gd name="T18" fmla="*/ 2147483647 w 49"/>
              <a:gd name="T19" fmla="*/ 0 h 11"/>
              <a:gd name="T20" fmla="*/ 2147483647 w 49"/>
              <a:gd name="T21" fmla="*/ 0 h 11"/>
              <a:gd name="T22" fmla="*/ 2147483647 w 49"/>
              <a:gd name="T23" fmla="*/ 0 h 11"/>
              <a:gd name="T24" fmla="*/ 2147483647 w 49"/>
              <a:gd name="T25" fmla="*/ 0 h 11"/>
              <a:gd name="T26" fmla="*/ 2147483647 w 49"/>
              <a:gd name="T27" fmla="*/ 0 h 11"/>
              <a:gd name="T28" fmla="*/ 2147483647 w 49"/>
              <a:gd name="T29" fmla="*/ 2147483647 h 11"/>
              <a:gd name="T30" fmla="*/ 2147483647 w 49"/>
              <a:gd name="T31" fmla="*/ 2147483647 h 11"/>
              <a:gd name="T32" fmla="*/ 2147483647 w 49"/>
              <a:gd name="T33" fmla="*/ 2147483647 h 11"/>
              <a:gd name="T34" fmla="*/ 0 w 49"/>
              <a:gd name="T35" fmla="*/ 2147483647 h 11"/>
              <a:gd name="T36" fmla="*/ 2147483647 w 49"/>
              <a:gd name="T37" fmla="*/ 2147483647 h 11"/>
              <a:gd name="T38" fmla="*/ 2147483647 w 49"/>
              <a:gd name="T39" fmla="*/ 2147483647 h 11"/>
              <a:gd name="T40" fmla="*/ 2147483647 w 49"/>
              <a:gd name="T41" fmla="*/ 2147483647 h 11"/>
              <a:gd name="T42" fmla="*/ 2147483647 w 49"/>
              <a:gd name="T43" fmla="*/ 2147483647 h 11"/>
              <a:gd name="T44" fmla="*/ 2147483647 w 49"/>
              <a:gd name="T45" fmla="*/ 2147483647 h 11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49"/>
              <a:gd name="T70" fmla="*/ 0 h 11"/>
              <a:gd name="T71" fmla="*/ 49 w 49"/>
              <a:gd name="T72" fmla="*/ 11 h 11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49" h="11">
                <a:moveTo>
                  <a:pt x="14" y="11"/>
                </a:moveTo>
                <a:lnTo>
                  <a:pt x="14" y="11"/>
                </a:lnTo>
                <a:lnTo>
                  <a:pt x="29" y="9"/>
                </a:lnTo>
                <a:lnTo>
                  <a:pt x="37" y="6"/>
                </a:lnTo>
                <a:lnTo>
                  <a:pt x="34" y="3"/>
                </a:lnTo>
                <a:lnTo>
                  <a:pt x="43" y="3"/>
                </a:lnTo>
                <a:lnTo>
                  <a:pt x="49" y="3"/>
                </a:lnTo>
                <a:lnTo>
                  <a:pt x="46" y="0"/>
                </a:lnTo>
                <a:lnTo>
                  <a:pt x="43" y="0"/>
                </a:lnTo>
                <a:lnTo>
                  <a:pt x="29" y="0"/>
                </a:lnTo>
                <a:lnTo>
                  <a:pt x="14" y="3"/>
                </a:lnTo>
                <a:lnTo>
                  <a:pt x="6" y="3"/>
                </a:lnTo>
                <a:lnTo>
                  <a:pt x="0" y="6"/>
                </a:lnTo>
                <a:lnTo>
                  <a:pt x="3" y="11"/>
                </a:lnTo>
                <a:lnTo>
                  <a:pt x="6" y="11"/>
                </a:lnTo>
                <a:lnTo>
                  <a:pt x="14" y="1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37" name="Freeform 630"/>
          <p:cNvSpPr>
            <a:spLocks/>
          </p:cNvSpPr>
          <p:nvPr/>
        </p:nvSpPr>
        <p:spPr bwMode="gray">
          <a:xfrm>
            <a:off x="3012542" y="1671046"/>
            <a:ext cx="34007" cy="9000"/>
          </a:xfrm>
          <a:custGeom>
            <a:avLst/>
            <a:gdLst>
              <a:gd name="T0" fmla="*/ 2147483647 w 17"/>
              <a:gd name="T1" fmla="*/ 2147483647 h 6"/>
              <a:gd name="T2" fmla="*/ 2147483647 w 17"/>
              <a:gd name="T3" fmla="*/ 2147483647 h 6"/>
              <a:gd name="T4" fmla="*/ 2147483647 w 17"/>
              <a:gd name="T5" fmla="*/ 0 h 6"/>
              <a:gd name="T6" fmla="*/ 2147483647 w 17"/>
              <a:gd name="T7" fmla="*/ 0 h 6"/>
              <a:gd name="T8" fmla="*/ 2147483647 w 17"/>
              <a:gd name="T9" fmla="*/ 0 h 6"/>
              <a:gd name="T10" fmla="*/ 2147483647 w 17"/>
              <a:gd name="T11" fmla="*/ 0 h 6"/>
              <a:gd name="T12" fmla="*/ 2147483647 w 17"/>
              <a:gd name="T13" fmla="*/ 0 h 6"/>
              <a:gd name="T14" fmla="*/ 2147483647 w 17"/>
              <a:gd name="T15" fmla="*/ 0 h 6"/>
              <a:gd name="T16" fmla="*/ 2147483647 w 17"/>
              <a:gd name="T17" fmla="*/ 2147483647 h 6"/>
              <a:gd name="T18" fmla="*/ 0 w 17"/>
              <a:gd name="T19" fmla="*/ 2147483647 h 6"/>
              <a:gd name="T20" fmla="*/ 2147483647 w 17"/>
              <a:gd name="T21" fmla="*/ 2147483647 h 6"/>
              <a:gd name="T22" fmla="*/ 2147483647 w 17"/>
              <a:gd name="T23" fmla="*/ 2147483647 h 6"/>
              <a:gd name="T24" fmla="*/ 2147483647 w 17"/>
              <a:gd name="T25" fmla="*/ 2147483647 h 6"/>
              <a:gd name="T26" fmla="*/ 2147483647 w 17"/>
              <a:gd name="T27" fmla="*/ 2147483647 h 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17"/>
              <a:gd name="T43" fmla="*/ 0 h 6"/>
              <a:gd name="T44" fmla="*/ 17 w 17"/>
              <a:gd name="T45" fmla="*/ 6 h 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17" h="6">
                <a:moveTo>
                  <a:pt x="11" y="6"/>
                </a:moveTo>
                <a:lnTo>
                  <a:pt x="11" y="6"/>
                </a:lnTo>
                <a:lnTo>
                  <a:pt x="17" y="0"/>
                </a:lnTo>
                <a:lnTo>
                  <a:pt x="14" y="0"/>
                </a:lnTo>
                <a:lnTo>
                  <a:pt x="11" y="0"/>
                </a:lnTo>
                <a:lnTo>
                  <a:pt x="6" y="0"/>
                </a:lnTo>
                <a:lnTo>
                  <a:pt x="3" y="3"/>
                </a:lnTo>
                <a:lnTo>
                  <a:pt x="0" y="6"/>
                </a:lnTo>
                <a:lnTo>
                  <a:pt x="3" y="6"/>
                </a:lnTo>
                <a:lnTo>
                  <a:pt x="11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38" name="Freeform 631"/>
          <p:cNvSpPr>
            <a:spLocks/>
          </p:cNvSpPr>
          <p:nvPr/>
        </p:nvSpPr>
        <p:spPr bwMode="gray">
          <a:xfrm>
            <a:off x="2978537" y="1696547"/>
            <a:ext cx="168030" cy="75002"/>
          </a:xfrm>
          <a:custGeom>
            <a:avLst/>
            <a:gdLst>
              <a:gd name="T0" fmla="*/ 2147483647 w 83"/>
              <a:gd name="T1" fmla="*/ 2147483647 h 49"/>
              <a:gd name="T2" fmla="*/ 2147483647 w 83"/>
              <a:gd name="T3" fmla="*/ 2147483647 h 49"/>
              <a:gd name="T4" fmla="*/ 2147483647 w 83"/>
              <a:gd name="T5" fmla="*/ 2147483647 h 49"/>
              <a:gd name="T6" fmla="*/ 2147483647 w 83"/>
              <a:gd name="T7" fmla="*/ 2147483647 h 49"/>
              <a:gd name="T8" fmla="*/ 2147483647 w 83"/>
              <a:gd name="T9" fmla="*/ 2147483647 h 49"/>
              <a:gd name="T10" fmla="*/ 2147483647 w 83"/>
              <a:gd name="T11" fmla="*/ 2147483647 h 49"/>
              <a:gd name="T12" fmla="*/ 2147483647 w 83"/>
              <a:gd name="T13" fmla="*/ 2147483647 h 49"/>
              <a:gd name="T14" fmla="*/ 2147483647 w 83"/>
              <a:gd name="T15" fmla="*/ 2147483647 h 49"/>
              <a:gd name="T16" fmla="*/ 2147483647 w 83"/>
              <a:gd name="T17" fmla="*/ 2147483647 h 49"/>
              <a:gd name="T18" fmla="*/ 0 w 83"/>
              <a:gd name="T19" fmla="*/ 2147483647 h 49"/>
              <a:gd name="T20" fmla="*/ 2147483647 w 83"/>
              <a:gd name="T21" fmla="*/ 2147483647 h 49"/>
              <a:gd name="T22" fmla="*/ 2147483647 w 83"/>
              <a:gd name="T23" fmla="*/ 2147483647 h 49"/>
              <a:gd name="T24" fmla="*/ 2147483647 w 83"/>
              <a:gd name="T25" fmla="*/ 2147483647 h 49"/>
              <a:gd name="T26" fmla="*/ 2147483647 w 83"/>
              <a:gd name="T27" fmla="*/ 2147483647 h 49"/>
              <a:gd name="T28" fmla="*/ 2147483647 w 83"/>
              <a:gd name="T29" fmla="*/ 2147483647 h 49"/>
              <a:gd name="T30" fmla="*/ 2147483647 w 83"/>
              <a:gd name="T31" fmla="*/ 2147483647 h 49"/>
              <a:gd name="T32" fmla="*/ 2147483647 w 83"/>
              <a:gd name="T33" fmla="*/ 2147483647 h 49"/>
              <a:gd name="T34" fmla="*/ 2147483647 w 83"/>
              <a:gd name="T35" fmla="*/ 2147483647 h 49"/>
              <a:gd name="T36" fmla="*/ 2147483647 w 83"/>
              <a:gd name="T37" fmla="*/ 2147483647 h 49"/>
              <a:gd name="T38" fmla="*/ 2147483647 w 83"/>
              <a:gd name="T39" fmla="*/ 2147483647 h 49"/>
              <a:gd name="T40" fmla="*/ 2147483647 w 83"/>
              <a:gd name="T41" fmla="*/ 2147483647 h 49"/>
              <a:gd name="T42" fmla="*/ 2147483647 w 83"/>
              <a:gd name="T43" fmla="*/ 2147483647 h 49"/>
              <a:gd name="T44" fmla="*/ 2147483647 w 83"/>
              <a:gd name="T45" fmla="*/ 2147483647 h 49"/>
              <a:gd name="T46" fmla="*/ 2147483647 w 83"/>
              <a:gd name="T47" fmla="*/ 2147483647 h 49"/>
              <a:gd name="T48" fmla="*/ 2147483647 w 83"/>
              <a:gd name="T49" fmla="*/ 2147483647 h 49"/>
              <a:gd name="T50" fmla="*/ 2147483647 w 83"/>
              <a:gd name="T51" fmla="*/ 2147483647 h 49"/>
              <a:gd name="T52" fmla="*/ 2147483647 w 83"/>
              <a:gd name="T53" fmla="*/ 2147483647 h 49"/>
              <a:gd name="T54" fmla="*/ 2147483647 w 83"/>
              <a:gd name="T55" fmla="*/ 2147483647 h 49"/>
              <a:gd name="T56" fmla="*/ 2147483647 w 83"/>
              <a:gd name="T57" fmla="*/ 2147483647 h 49"/>
              <a:gd name="T58" fmla="*/ 2147483647 w 83"/>
              <a:gd name="T59" fmla="*/ 2147483647 h 49"/>
              <a:gd name="T60" fmla="*/ 2147483647 w 83"/>
              <a:gd name="T61" fmla="*/ 2147483647 h 49"/>
              <a:gd name="T62" fmla="*/ 2147483647 w 83"/>
              <a:gd name="T63" fmla="*/ 2147483647 h 49"/>
              <a:gd name="T64" fmla="*/ 2147483647 w 83"/>
              <a:gd name="T65" fmla="*/ 2147483647 h 49"/>
              <a:gd name="T66" fmla="*/ 2147483647 w 83"/>
              <a:gd name="T67" fmla="*/ 2147483647 h 49"/>
              <a:gd name="T68" fmla="*/ 2147483647 w 83"/>
              <a:gd name="T69" fmla="*/ 2147483647 h 49"/>
              <a:gd name="T70" fmla="*/ 2147483647 w 83"/>
              <a:gd name="T71" fmla="*/ 2147483647 h 49"/>
              <a:gd name="T72" fmla="*/ 2147483647 w 83"/>
              <a:gd name="T73" fmla="*/ 2147483647 h 49"/>
              <a:gd name="T74" fmla="*/ 2147483647 w 83"/>
              <a:gd name="T75" fmla="*/ 2147483647 h 49"/>
              <a:gd name="T76" fmla="*/ 2147483647 w 83"/>
              <a:gd name="T77" fmla="*/ 2147483647 h 49"/>
              <a:gd name="T78" fmla="*/ 2147483647 w 83"/>
              <a:gd name="T79" fmla="*/ 2147483647 h 49"/>
              <a:gd name="T80" fmla="*/ 2147483647 w 83"/>
              <a:gd name="T81" fmla="*/ 2147483647 h 49"/>
              <a:gd name="T82" fmla="*/ 2147483647 w 83"/>
              <a:gd name="T83" fmla="*/ 2147483647 h 49"/>
              <a:gd name="T84" fmla="*/ 2147483647 w 83"/>
              <a:gd name="T85" fmla="*/ 2147483647 h 49"/>
              <a:gd name="T86" fmla="*/ 2147483647 w 83"/>
              <a:gd name="T87" fmla="*/ 2147483647 h 49"/>
              <a:gd name="T88" fmla="*/ 2147483647 w 83"/>
              <a:gd name="T89" fmla="*/ 2147483647 h 49"/>
              <a:gd name="T90" fmla="*/ 2147483647 w 83"/>
              <a:gd name="T91" fmla="*/ 2147483647 h 49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83"/>
              <a:gd name="T139" fmla="*/ 0 h 49"/>
              <a:gd name="T140" fmla="*/ 83 w 83"/>
              <a:gd name="T141" fmla="*/ 49 h 49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83" h="49">
                <a:moveTo>
                  <a:pt x="28" y="12"/>
                </a:moveTo>
                <a:lnTo>
                  <a:pt x="28" y="12"/>
                </a:lnTo>
                <a:lnTo>
                  <a:pt x="31" y="18"/>
                </a:lnTo>
                <a:lnTo>
                  <a:pt x="34" y="18"/>
                </a:lnTo>
                <a:lnTo>
                  <a:pt x="31" y="20"/>
                </a:lnTo>
                <a:lnTo>
                  <a:pt x="28" y="23"/>
                </a:lnTo>
                <a:lnTo>
                  <a:pt x="25" y="23"/>
                </a:lnTo>
                <a:lnTo>
                  <a:pt x="23" y="26"/>
                </a:lnTo>
                <a:lnTo>
                  <a:pt x="20" y="23"/>
                </a:lnTo>
                <a:lnTo>
                  <a:pt x="17" y="20"/>
                </a:lnTo>
                <a:lnTo>
                  <a:pt x="14" y="18"/>
                </a:lnTo>
                <a:lnTo>
                  <a:pt x="5" y="20"/>
                </a:lnTo>
                <a:lnTo>
                  <a:pt x="0" y="20"/>
                </a:lnTo>
                <a:lnTo>
                  <a:pt x="0" y="23"/>
                </a:lnTo>
                <a:lnTo>
                  <a:pt x="3" y="29"/>
                </a:lnTo>
                <a:lnTo>
                  <a:pt x="5" y="32"/>
                </a:lnTo>
                <a:lnTo>
                  <a:pt x="8" y="32"/>
                </a:lnTo>
                <a:lnTo>
                  <a:pt x="11" y="32"/>
                </a:lnTo>
                <a:lnTo>
                  <a:pt x="14" y="35"/>
                </a:lnTo>
                <a:lnTo>
                  <a:pt x="17" y="38"/>
                </a:lnTo>
                <a:lnTo>
                  <a:pt x="20" y="46"/>
                </a:lnTo>
                <a:lnTo>
                  <a:pt x="23" y="49"/>
                </a:lnTo>
                <a:lnTo>
                  <a:pt x="31" y="46"/>
                </a:lnTo>
                <a:lnTo>
                  <a:pt x="34" y="46"/>
                </a:lnTo>
                <a:lnTo>
                  <a:pt x="34" y="43"/>
                </a:lnTo>
                <a:lnTo>
                  <a:pt x="31" y="41"/>
                </a:lnTo>
                <a:lnTo>
                  <a:pt x="31" y="38"/>
                </a:lnTo>
                <a:lnTo>
                  <a:pt x="34" y="41"/>
                </a:lnTo>
                <a:lnTo>
                  <a:pt x="40" y="43"/>
                </a:lnTo>
                <a:lnTo>
                  <a:pt x="46" y="41"/>
                </a:lnTo>
                <a:lnTo>
                  <a:pt x="51" y="41"/>
                </a:lnTo>
                <a:lnTo>
                  <a:pt x="57" y="41"/>
                </a:lnTo>
                <a:lnTo>
                  <a:pt x="60" y="35"/>
                </a:lnTo>
                <a:lnTo>
                  <a:pt x="63" y="32"/>
                </a:lnTo>
                <a:lnTo>
                  <a:pt x="63" y="29"/>
                </a:lnTo>
                <a:lnTo>
                  <a:pt x="69" y="26"/>
                </a:lnTo>
                <a:lnTo>
                  <a:pt x="74" y="23"/>
                </a:lnTo>
                <a:lnTo>
                  <a:pt x="74" y="20"/>
                </a:lnTo>
                <a:lnTo>
                  <a:pt x="77" y="18"/>
                </a:lnTo>
                <a:lnTo>
                  <a:pt x="74" y="18"/>
                </a:lnTo>
                <a:lnTo>
                  <a:pt x="71" y="18"/>
                </a:lnTo>
                <a:lnTo>
                  <a:pt x="69" y="20"/>
                </a:lnTo>
                <a:lnTo>
                  <a:pt x="66" y="23"/>
                </a:lnTo>
                <a:lnTo>
                  <a:pt x="63" y="18"/>
                </a:lnTo>
                <a:lnTo>
                  <a:pt x="63" y="15"/>
                </a:lnTo>
                <a:lnTo>
                  <a:pt x="71" y="15"/>
                </a:lnTo>
                <a:lnTo>
                  <a:pt x="74" y="12"/>
                </a:lnTo>
                <a:lnTo>
                  <a:pt x="83" y="9"/>
                </a:lnTo>
                <a:lnTo>
                  <a:pt x="80" y="3"/>
                </a:lnTo>
                <a:lnTo>
                  <a:pt x="80" y="0"/>
                </a:lnTo>
                <a:lnTo>
                  <a:pt x="71" y="3"/>
                </a:lnTo>
                <a:lnTo>
                  <a:pt x="63" y="3"/>
                </a:lnTo>
                <a:lnTo>
                  <a:pt x="63" y="6"/>
                </a:lnTo>
                <a:lnTo>
                  <a:pt x="57" y="9"/>
                </a:lnTo>
                <a:lnTo>
                  <a:pt x="54" y="3"/>
                </a:lnTo>
                <a:lnTo>
                  <a:pt x="48" y="6"/>
                </a:lnTo>
                <a:lnTo>
                  <a:pt x="43" y="6"/>
                </a:lnTo>
                <a:lnTo>
                  <a:pt x="37" y="9"/>
                </a:lnTo>
                <a:lnTo>
                  <a:pt x="31" y="12"/>
                </a:lnTo>
                <a:lnTo>
                  <a:pt x="25" y="9"/>
                </a:lnTo>
                <a:lnTo>
                  <a:pt x="28" y="1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39" name="Freeform 632"/>
          <p:cNvSpPr>
            <a:spLocks/>
          </p:cNvSpPr>
          <p:nvPr/>
        </p:nvSpPr>
        <p:spPr bwMode="gray">
          <a:xfrm>
            <a:off x="2894523" y="1819550"/>
            <a:ext cx="26004" cy="12000"/>
          </a:xfrm>
          <a:custGeom>
            <a:avLst/>
            <a:gdLst>
              <a:gd name="T0" fmla="*/ 2147483647 w 12"/>
              <a:gd name="T1" fmla="*/ 2147483647 h 8"/>
              <a:gd name="T2" fmla="*/ 2147483647 w 12"/>
              <a:gd name="T3" fmla="*/ 2147483647 h 8"/>
              <a:gd name="T4" fmla="*/ 0 w 12"/>
              <a:gd name="T5" fmla="*/ 2147483647 h 8"/>
              <a:gd name="T6" fmla="*/ 0 w 12"/>
              <a:gd name="T7" fmla="*/ 2147483647 h 8"/>
              <a:gd name="T8" fmla="*/ 2147483647 w 12"/>
              <a:gd name="T9" fmla="*/ 2147483647 h 8"/>
              <a:gd name="T10" fmla="*/ 2147483647 w 12"/>
              <a:gd name="T11" fmla="*/ 2147483647 h 8"/>
              <a:gd name="T12" fmla="*/ 2147483647 w 12"/>
              <a:gd name="T13" fmla="*/ 2147483647 h 8"/>
              <a:gd name="T14" fmla="*/ 2147483647 w 12"/>
              <a:gd name="T15" fmla="*/ 2147483647 h 8"/>
              <a:gd name="T16" fmla="*/ 2147483647 w 12"/>
              <a:gd name="T17" fmla="*/ 0 h 8"/>
              <a:gd name="T18" fmla="*/ 2147483647 w 12"/>
              <a:gd name="T19" fmla="*/ 2147483647 h 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2"/>
              <a:gd name="T31" fmla="*/ 0 h 8"/>
              <a:gd name="T32" fmla="*/ 12 w 12"/>
              <a:gd name="T33" fmla="*/ 8 h 8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2" h="8">
                <a:moveTo>
                  <a:pt x="9" y="3"/>
                </a:moveTo>
                <a:lnTo>
                  <a:pt x="6" y="3"/>
                </a:lnTo>
                <a:lnTo>
                  <a:pt x="0" y="5"/>
                </a:lnTo>
                <a:lnTo>
                  <a:pt x="0" y="8"/>
                </a:lnTo>
                <a:lnTo>
                  <a:pt x="6" y="8"/>
                </a:lnTo>
                <a:lnTo>
                  <a:pt x="6" y="5"/>
                </a:lnTo>
                <a:lnTo>
                  <a:pt x="9" y="5"/>
                </a:lnTo>
                <a:lnTo>
                  <a:pt x="12" y="3"/>
                </a:lnTo>
                <a:lnTo>
                  <a:pt x="9" y="0"/>
                </a:lnTo>
                <a:lnTo>
                  <a:pt x="9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40" name="Freeform 633"/>
          <p:cNvSpPr>
            <a:spLocks/>
          </p:cNvSpPr>
          <p:nvPr/>
        </p:nvSpPr>
        <p:spPr bwMode="gray">
          <a:xfrm>
            <a:off x="2960534" y="1597544"/>
            <a:ext cx="86016" cy="13500"/>
          </a:xfrm>
          <a:custGeom>
            <a:avLst/>
            <a:gdLst>
              <a:gd name="T0" fmla="*/ 2147483647 w 43"/>
              <a:gd name="T1" fmla="*/ 2147483647 h 9"/>
              <a:gd name="T2" fmla="*/ 2147483647 w 43"/>
              <a:gd name="T3" fmla="*/ 2147483647 h 9"/>
              <a:gd name="T4" fmla="*/ 2147483647 w 43"/>
              <a:gd name="T5" fmla="*/ 2147483647 h 9"/>
              <a:gd name="T6" fmla="*/ 2147483647 w 43"/>
              <a:gd name="T7" fmla="*/ 2147483647 h 9"/>
              <a:gd name="T8" fmla="*/ 2147483647 w 43"/>
              <a:gd name="T9" fmla="*/ 2147483647 h 9"/>
              <a:gd name="T10" fmla="*/ 2147483647 w 43"/>
              <a:gd name="T11" fmla="*/ 2147483647 h 9"/>
              <a:gd name="T12" fmla="*/ 2147483647 w 43"/>
              <a:gd name="T13" fmla="*/ 2147483647 h 9"/>
              <a:gd name="T14" fmla="*/ 2147483647 w 43"/>
              <a:gd name="T15" fmla="*/ 2147483647 h 9"/>
              <a:gd name="T16" fmla="*/ 2147483647 w 43"/>
              <a:gd name="T17" fmla="*/ 2147483647 h 9"/>
              <a:gd name="T18" fmla="*/ 2147483647 w 43"/>
              <a:gd name="T19" fmla="*/ 2147483647 h 9"/>
              <a:gd name="T20" fmla="*/ 2147483647 w 43"/>
              <a:gd name="T21" fmla="*/ 2147483647 h 9"/>
              <a:gd name="T22" fmla="*/ 2147483647 w 43"/>
              <a:gd name="T23" fmla="*/ 2147483647 h 9"/>
              <a:gd name="T24" fmla="*/ 2147483647 w 43"/>
              <a:gd name="T25" fmla="*/ 2147483647 h 9"/>
              <a:gd name="T26" fmla="*/ 2147483647 w 43"/>
              <a:gd name="T27" fmla="*/ 2147483647 h 9"/>
              <a:gd name="T28" fmla="*/ 2147483647 w 43"/>
              <a:gd name="T29" fmla="*/ 0 h 9"/>
              <a:gd name="T30" fmla="*/ 2147483647 w 43"/>
              <a:gd name="T31" fmla="*/ 0 h 9"/>
              <a:gd name="T32" fmla="*/ 2147483647 w 43"/>
              <a:gd name="T33" fmla="*/ 0 h 9"/>
              <a:gd name="T34" fmla="*/ 2147483647 w 43"/>
              <a:gd name="T35" fmla="*/ 2147483647 h 9"/>
              <a:gd name="T36" fmla="*/ 2147483647 w 43"/>
              <a:gd name="T37" fmla="*/ 2147483647 h 9"/>
              <a:gd name="T38" fmla="*/ 0 w 43"/>
              <a:gd name="T39" fmla="*/ 2147483647 h 9"/>
              <a:gd name="T40" fmla="*/ 2147483647 w 43"/>
              <a:gd name="T41" fmla="*/ 2147483647 h 9"/>
              <a:gd name="T42" fmla="*/ 2147483647 w 43"/>
              <a:gd name="T43" fmla="*/ 2147483647 h 9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43"/>
              <a:gd name="T67" fmla="*/ 0 h 9"/>
              <a:gd name="T68" fmla="*/ 43 w 43"/>
              <a:gd name="T69" fmla="*/ 9 h 9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43" h="9">
                <a:moveTo>
                  <a:pt x="12" y="9"/>
                </a:moveTo>
                <a:lnTo>
                  <a:pt x="12" y="9"/>
                </a:lnTo>
                <a:lnTo>
                  <a:pt x="17" y="9"/>
                </a:lnTo>
                <a:lnTo>
                  <a:pt x="17" y="6"/>
                </a:lnTo>
                <a:lnTo>
                  <a:pt x="23" y="6"/>
                </a:lnTo>
                <a:lnTo>
                  <a:pt x="34" y="9"/>
                </a:lnTo>
                <a:lnTo>
                  <a:pt x="40" y="6"/>
                </a:lnTo>
                <a:lnTo>
                  <a:pt x="43" y="3"/>
                </a:lnTo>
                <a:lnTo>
                  <a:pt x="37" y="0"/>
                </a:lnTo>
                <a:lnTo>
                  <a:pt x="29" y="0"/>
                </a:lnTo>
                <a:lnTo>
                  <a:pt x="20" y="3"/>
                </a:lnTo>
                <a:lnTo>
                  <a:pt x="12" y="3"/>
                </a:lnTo>
                <a:lnTo>
                  <a:pt x="0" y="6"/>
                </a:lnTo>
                <a:lnTo>
                  <a:pt x="3" y="6"/>
                </a:lnTo>
                <a:lnTo>
                  <a:pt x="12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41" name="Freeform 639"/>
          <p:cNvSpPr>
            <a:spLocks noEditPoints="1"/>
          </p:cNvSpPr>
          <p:nvPr/>
        </p:nvSpPr>
        <p:spPr bwMode="gray">
          <a:xfrm>
            <a:off x="3238584" y="1705546"/>
            <a:ext cx="608110" cy="304508"/>
          </a:xfrm>
          <a:custGeom>
            <a:avLst/>
            <a:gdLst>
              <a:gd name="T0" fmla="*/ 2147483647 w 301"/>
              <a:gd name="T1" fmla="*/ 2147483647 h 201"/>
              <a:gd name="T2" fmla="*/ 2147483647 w 301"/>
              <a:gd name="T3" fmla="*/ 2147483647 h 201"/>
              <a:gd name="T4" fmla="*/ 2147483647 w 301"/>
              <a:gd name="T5" fmla="*/ 2147483647 h 201"/>
              <a:gd name="T6" fmla="*/ 2147483647 w 301"/>
              <a:gd name="T7" fmla="*/ 2147483647 h 201"/>
              <a:gd name="T8" fmla="*/ 2147483647 w 301"/>
              <a:gd name="T9" fmla="*/ 2147483647 h 201"/>
              <a:gd name="T10" fmla="*/ 2147483647 w 301"/>
              <a:gd name="T11" fmla="*/ 2147483647 h 201"/>
              <a:gd name="T12" fmla="*/ 2147483647 w 301"/>
              <a:gd name="T13" fmla="*/ 2147483647 h 201"/>
              <a:gd name="T14" fmla="*/ 2147483647 w 301"/>
              <a:gd name="T15" fmla="*/ 2147483647 h 201"/>
              <a:gd name="T16" fmla="*/ 2147483647 w 301"/>
              <a:gd name="T17" fmla="*/ 2147483647 h 201"/>
              <a:gd name="T18" fmla="*/ 2147483647 w 301"/>
              <a:gd name="T19" fmla="*/ 2147483647 h 201"/>
              <a:gd name="T20" fmla="*/ 2147483647 w 301"/>
              <a:gd name="T21" fmla="*/ 0 h 201"/>
              <a:gd name="T22" fmla="*/ 2147483647 w 301"/>
              <a:gd name="T23" fmla="*/ 2147483647 h 201"/>
              <a:gd name="T24" fmla="*/ 2147483647 w 301"/>
              <a:gd name="T25" fmla="*/ 2147483647 h 201"/>
              <a:gd name="T26" fmla="*/ 2147483647 w 301"/>
              <a:gd name="T27" fmla="*/ 2147483647 h 201"/>
              <a:gd name="T28" fmla="*/ 2147483647 w 301"/>
              <a:gd name="T29" fmla="*/ 2147483647 h 201"/>
              <a:gd name="T30" fmla="*/ 2147483647 w 301"/>
              <a:gd name="T31" fmla="*/ 2147483647 h 201"/>
              <a:gd name="T32" fmla="*/ 2147483647 w 301"/>
              <a:gd name="T33" fmla="*/ 2147483647 h 201"/>
              <a:gd name="T34" fmla="*/ 2147483647 w 301"/>
              <a:gd name="T35" fmla="*/ 2147483647 h 201"/>
              <a:gd name="T36" fmla="*/ 2147483647 w 301"/>
              <a:gd name="T37" fmla="*/ 2147483647 h 201"/>
              <a:gd name="T38" fmla="*/ 2147483647 w 301"/>
              <a:gd name="T39" fmla="*/ 2147483647 h 201"/>
              <a:gd name="T40" fmla="*/ 2147483647 w 301"/>
              <a:gd name="T41" fmla="*/ 0 h 201"/>
              <a:gd name="T42" fmla="*/ 2147483647 w 301"/>
              <a:gd name="T43" fmla="*/ 2147483647 h 201"/>
              <a:gd name="T44" fmla="*/ 2147483647 w 301"/>
              <a:gd name="T45" fmla="*/ 2147483647 h 201"/>
              <a:gd name="T46" fmla="*/ 2147483647 w 301"/>
              <a:gd name="T47" fmla="*/ 2147483647 h 201"/>
              <a:gd name="T48" fmla="*/ 2147483647 w 301"/>
              <a:gd name="T49" fmla="*/ 2147483647 h 201"/>
              <a:gd name="T50" fmla="*/ 2147483647 w 301"/>
              <a:gd name="T51" fmla="*/ 2147483647 h 201"/>
              <a:gd name="T52" fmla="*/ 2147483647 w 301"/>
              <a:gd name="T53" fmla="*/ 2147483647 h 201"/>
              <a:gd name="T54" fmla="*/ 2147483647 w 301"/>
              <a:gd name="T55" fmla="*/ 2147483647 h 201"/>
              <a:gd name="T56" fmla="*/ 2147483647 w 301"/>
              <a:gd name="T57" fmla="*/ 2147483647 h 201"/>
              <a:gd name="T58" fmla="*/ 2147483647 w 301"/>
              <a:gd name="T59" fmla="*/ 2147483647 h 201"/>
              <a:gd name="T60" fmla="*/ 2147483647 w 301"/>
              <a:gd name="T61" fmla="*/ 2147483647 h 201"/>
              <a:gd name="T62" fmla="*/ 2147483647 w 301"/>
              <a:gd name="T63" fmla="*/ 2147483647 h 201"/>
              <a:gd name="T64" fmla="*/ 2147483647 w 301"/>
              <a:gd name="T65" fmla="*/ 2147483647 h 201"/>
              <a:gd name="T66" fmla="*/ 2147483647 w 301"/>
              <a:gd name="T67" fmla="*/ 2147483647 h 201"/>
              <a:gd name="T68" fmla="*/ 2147483647 w 301"/>
              <a:gd name="T69" fmla="*/ 2147483647 h 201"/>
              <a:gd name="T70" fmla="*/ 2147483647 w 301"/>
              <a:gd name="T71" fmla="*/ 2147483647 h 201"/>
              <a:gd name="T72" fmla="*/ 2147483647 w 301"/>
              <a:gd name="T73" fmla="*/ 2147483647 h 201"/>
              <a:gd name="T74" fmla="*/ 2147483647 w 301"/>
              <a:gd name="T75" fmla="*/ 2147483647 h 201"/>
              <a:gd name="T76" fmla="*/ 2147483647 w 301"/>
              <a:gd name="T77" fmla="*/ 2147483647 h 201"/>
              <a:gd name="T78" fmla="*/ 2147483647 w 301"/>
              <a:gd name="T79" fmla="*/ 2147483647 h 201"/>
              <a:gd name="T80" fmla="*/ 2147483647 w 301"/>
              <a:gd name="T81" fmla="*/ 2147483647 h 201"/>
              <a:gd name="T82" fmla="*/ 2147483647 w 301"/>
              <a:gd name="T83" fmla="*/ 2147483647 h 201"/>
              <a:gd name="T84" fmla="*/ 2147483647 w 301"/>
              <a:gd name="T85" fmla="*/ 2147483647 h 201"/>
              <a:gd name="T86" fmla="*/ 2147483647 w 301"/>
              <a:gd name="T87" fmla="*/ 2147483647 h 201"/>
              <a:gd name="T88" fmla="*/ 2147483647 w 301"/>
              <a:gd name="T89" fmla="*/ 2147483647 h 201"/>
              <a:gd name="T90" fmla="*/ 2147483647 w 301"/>
              <a:gd name="T91" fmla="*/ 2147483647 h 201"/>
              <a:gd name="T92" fmla="*/ 2147483647 w 301"/>
              <a:gd name="T93" fmla="*/ 2147483647 h 201"/>
              <a:gd name="T94" fmla="*/ 2147483647 w 301"/>
              <a:gd name="T95" fmla="*/ 2147483647 h 201"/>
              <a:gd name="T96" fmla="*/ 2147483647 w 301"/>
              <a:gd name="T97" fmla="*/ 2147483647 h 201"/>
              <a:gd name="T98" fmla="*/ 2147483647 w 301"/>
              <a:gd name="T99" fmla="*/ 2147483647 h 201"/>
              <a:gd name="T100" fmla="*/ 2147483647 w 301"/>
              <a:gd name="T101" fmla="*/ 2147483647 h 201"/>
              <a:gd name="T102" fmla="*/ 2147483647 w 301"/>
              <a:gd name="T103" fmla="*/ 2147483647 h 201"/>
              <a:gd name="T104" fmla="*/ 2147483647 w 301"/>
              <a:gd name="T105" fmla="*/ 2147483647 h 201"/>
              <a:gd name="T106" fmla="*/ 2147483647 w 301"/>
              <a:gd name="T107" fmla="*/ 2147483647 h 201"/>
              <a:gd name="T108" fmla="*/ 2147483647 w 301"/>
              <a:gd name="T109" fmla="*/ 2147483647 h 201"/>
              <a:gd name="T110" fmla="*/ 2147483647 w 301"/>
              <a:gd name="T111" fmla="*/ 2147483647 h 201"/>
              <a:gd name="T112" fmla="*/ 2147483647 w 301"/>
              <a:gd name="T113" fmla="*/ 2147483647 h 201"/>
              <a:gd name="T114" fmla="*/ 2147483647 w 301"/>
              <a:gd name="T115" fmla="*/ 2147483647 h 201"/>
              <a:gd name="T116" fmla="*/ 2147483647 w 301"/>
              <a:gd name="T117" fmla="*/ 2147483647 h 201"/>
              <a:gd name="T118" fmla="*/ 2147483647 w 301"/>
              <a:gd name="T119" fmla="*/ 2147483647 h 201"/>
              <a:gd name="T120" fmla="*/ 2147483647 w 301"/>
              <a:gd name="T121" fmla="*/ 2147483647 h 201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301"/>
              <a:gd name="T184" fmla="*/ 0 h 201"/>
              <a:gd name="T185" fmla="*/ 301 w 301"/>
              <a:gd name="T186" fmla="*/ 201 h 201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301" h="201">
                <a:moveTo>
                  <a:pt x="301" y="115"/>
                </a:moveTo>
                <a:lnTo>
                  <a:pt x="301" y="115"/>
                </a:lnTo>
                <a:lnTo>
                  <a:pt x="293" y="112"/>
                </a:lnTo>
                <a:lnTo>
                  <a:pt x="287" y="112"/>
                </a:lnTo>
                <a:lnTo>
                  <a:pt x="290" y="106"/>
                </a:lnTo>
                <a:lnTo>
                  <a:pt x="281" y="112"/>
                </a:lnTo>
                <a:lnTo>
                  <a:pt x="287" y="103"/>
                </a:lnTo>
                <a:lnTo>
                  <a:pt x="278" y="103"/>
                </a:lnTo>
                <a:lnTo>
                  <a:pt x="273" y="109"/>
                </a:lnTo>
                <a:lnTo>
                  <a:pt x="275" y="103"/>
                </a:lnTo>
                <a:lnTo>
                  <a:pt x="278" y="101"/>
                </a:lnTo>
                <a:lnTo>
                  <a:pt x="275" y="101"/>
                </a:lnTo>
                <a:lnTo>
                  <a:pt x="273" y="95"/>
                </a:lnTo>
                <a:lnTo>
                  <a:pt x="267" y="95"/>
                </a:lnTo>
                <a:lnTo>
                  <a:pt x="258" y="95"/>
                </a:lnTo>
                <a:lnTo>
                  <a:pt x="258" y="89"/>
                </a:lnTo>
                <a:lnTo>
                  <a:pt x="252" y="92"/>
                </a:lnTo>
                <a:lnTo>
                  <a:pt x="255" y="89"/>
                </a:lnTo>
                <a:lnTo>
                  <a:pt x="250" y="92"/>
                </a:lnTo>
                <a:lnTo>
                  <a:pt x="252" y="86"/>
                </a:lnTo>
                <a:lnTo>
                  <a:pt x="247" y="86"/>
                </a:lnTo>
                <a:lnTo>
                  <a:pt x="238" y="86"/>
                </a:lnTo>
                <a:lnTo>
                  <a:pt x="238" y="80"/>
                </a:lnTo>
                <a:lnTo>
                  <a:pt x="244" y="78"/>
                </a:lnTo>
                <a:lnTo>
                  <a:pt x="241" y="75"/>
                </a:lnTo>
                <a:lnTo>
                  <a:pt x="247" y="75"/>
                </a:lnTo>
                <a:lnTo>
                  <a:pt x="258" y="75"/>
                </a:lnTo>
                <a:lnTo>
                  <a:pt x="261" y="72"/>
                </a:lnTo>
                <a:lnTo>
                  <a:pt x="252" y="69"/>
                </a:lnTo>
                <a:lnTo>
                  <a:pt x="250" y="66"/>
                </a:lnTo>
                <a:lnTo>
                  <a:pt x="258" y="66"/>
                </a:lnTo>
                <a:lnTo>
                  <a:pt x="261" y="60"/>
                </a:lnTo>
                <a:lnTo>
                  <a:pt x="255" y="57"/>
                </a:lnTo>
                <a:lnTo>
                  <a:pt x="250" y="60"/>
                </a:lnTo>
                <a:lnTo>
                  <a:pt x="244" y="60"/>
                </a:lnTo>
                <a:lnTo>
                  <a:pt x="238" y="60"/>
                </a:lnTo>
                <a:lnTo>
                  <a:pt x="229" y="63"/>
                </a:lnTo>
                <a:lnTo>
                  <a:pt x="229" y="60"/>
                </a:lnTo>
                <a:lnTo>
                  <a:pt x="238" y="57"/>
                </a:lnTo>
                <a:lnTo>
                  <a:pt x="244" y="55"/>
                </a:lnTo>
                <a:lnTo>
                  <a:pt x="252" y="55"/>
                </a:lnTo>
                <a:lnTo>
                  <a:pt x="252" y="49"/>
                </a:lnTo>
                <a:lnTo>
                  <a:pt x="247" y="49"/>
                </a:lnTo>
                <a:lnTo>
                  <a:pt x="238" y="49"/>
                </a:lnTo>
                <a:lnTo>
                  <a:pt x="235" y="49"/>
                </a:lnTo>
                <a:lnTo>
                  <a:pt x="227" y="52"/>
                </a:lnTo>
                <a:lnTo>
                  <a:pt x="218" y="57"/>
                </a:lnTo>
                <a:lnTo>
                  <a:pt x="212" y="57"/>
                </a:lnTo>
                <a:lnTo>
                  <a:pt x="218" y="52"/>
                </a:lnTo>
                <a:lnTo>
                  <a:pt x="229" y="46"/>
                </a:lnTo>
                <a:lnTo>
                  <a:pt x="232" y="43"/>
                </a:lnTo>
                <a:lnTo>
                  <a:pt x="227" y="43"/>
                </a:lnTo>
                <a:lnTo>
                  <a:pt x="218" y="49"/>
                </a:lnTo>
                <a:lnTo>
                  <a:pt x="212" y="46"/>
                </a:lnTo>
                <a:lnTo>
                  <a:pt x="218" y="43"/>
                </a:lnTo>
                <a:lnTo>
                  <a:pt x="221" y="43"/>
                </a:lnTo>
                <a:lnTo>
                  <a:pt x="229" y="37"/>
                </a:lnTo>
                <a:lnTo>
                  <a:pt x="224" y="35"/>
                </a:lnTo>
                <a:lnTo>
                  <a:pt x="212" y="35"/>
                </a:lnTo>
                <a:lnTo>
                  <a:pt x="204" y="37"/>
                </a:lnTo>
                <a:lnTo>
                  <a:pt x="198" y="43"/>
                </a:lnTo>
                <a:lnTo>
                  <a:pt x="195" y="43"/>
                </a:lnTo>
                <a:lnTo>
                  <a:pt x="192" y="43"/>
                </a:lnTo>
                <a:lnTo>
                  <a:pt x="201" y="37"/>
                </a:lnTo>
                <a:lnTo>
                  <a:pt x="204" y="32"/>
                </a:lnTo>
                <a:lnTo>
                  <a:pt x="195" y="35"/>
                </a:lnTo>
                <a:lnTo>
                  <a:pt x="189" y="35"/>
                </a:lnTo>
                <a:lnTo>
                  <a:pt x="186" y="35"/>
                </a:lnTo>
                <a:lnTo>
                  <a:pt x="192" y="32"/>
                </a:lnTo>
                <a:lnTo>
                  <a:pt x="201" y="32"/>
                </a:lnTo>
                <a:lnTo>
                  <a:pt x="195" y="26"/>
                </a:lnTo>
                <a:lnTo>
                  <a:pt x="189" y="29"/>
                </a:lnTo>
                <a:lnTo>
                  <a:pt x="184" y="32"/>
                </a:lnTo>
                <a:lnTo>
                  <a:pt x="181" y="32"/>
                </a:lnTo>
                <a:lnTo>
                  <a:pt x="178" y="29"/>
                </a:lnTo>
                <a:lnTo>
                  <a:pt x="184" y="26"/>
                </a:lnTo>
                <a:lnTo>
                  <a:pt x="192" y="23"/>
                </a:lnTo>
                <a:lnTo>
                  <a:pt x="189" y="20"/>
                </a:lnTo>
                <a:lnTo>
                  <a:pt x="181" y="20"/>
                </a:lnTo>
                <a:lnTo>
                  <a:pt x="184" y="17"/>
                </a:lnTo>
                <a:lnTo>
                  <a:pt x="189" y="14"/>
                </a:lnTo>
                <a:lnTo>
                  <a:pt x="186" y="6"/>
                </a:lnTo>
                <a:lnTo>
                  <a:pt x="184" y="6"/>
                </a:lnTo>
                <a:lnTo>
                  <a:pt x="178" y="3"/>
                </a:lnTo>
                <a:lnTo>
                  <a:pt x="163" y="3"/>
                </a:lnTo>
                <a:lnTo>
                  <a:pt x="155" y="0"/>
                </a:lnTo>
                <a:lnTo>
                  <a:pt x="149" y="0"/>
                </a:lnTo>
                <a:lnTo>
                  <a:pt x="146" y="0"/>
                </a:lnTo>
                <a:lnTo>
                  <a:pt x="140" y="6"/>
                </a:lnTo>
                <a:lnTo>
                  <a:pt x="140" y="9"/>
                </a:lnTo>
                <a:lnTo>
                  <a:pt x="143" y="9"/>
                </a:lnTo>
                <a:lnTo>
                  <a:pt x="146" y="17"/>
                </a:lnTo>
                <a:lnTo>
                  <a:pt x="155" y="17"/>
                </a:lnTo>
                <a:lnTo>
                  <a:pt x="166" y="14"/>
                </a:lnTo>
                <a:lnTo>
                  <a:pt x="175" y="14"/>
                </a:lnTo>
                <a:lnTo>
                  <a:pt x="175" y="17"/>
                </a:lnTo>
                <a:lnTo>
                  <a:pt x="166" y="20"/>
                </a:lnTo>
                <a:lnTo>
                  <a:pt x="161" y="20"/>
                </a:lnTo>
                <a:lnTo>
                  <a:pt x="155" y="23"/>
                </a:lnTo>
                <a:lnTo>
                  <a:pt x="163" y="26"/>
                </a:lnTo>
                <a:lnTo>
                  <a:pt x="166" y="29"/>
                </a:lnTo>
                <a:lnTo>
                  <a:pt x="163" y="29"/>
                </a:lnTo>
                <a:lnTo>
                  <a:pt x="155" y="26"/>
                </a:lnTo>
                <a:lnTo>
                  <a:pt x="149" y="23"/>
                </a:lnTo>
                <a:lnTo>
                  <a:pt x="146" y="26"/>
                </a:lnTo>
                <a:lnTo>
                  <a:pt x="152" y="32"/>
                </a:lnTo>
                <a:lnTo>
                  <a:pt x="149" y="32"/>
                </a:lnTo>
                <a:lnTo>
                  <a:pt x="143" y="26"/>
                </a:lnTo>
                <a:lnTo>
                  <a:pt x="140" y="23"/>
                </a:lnTo>
                <a:lnTo>
                  <a:pt x="138" y="23"/>
                </a:lnTo>
                <a:lnTo>
                  <a:pt x="132" y="26"/>
                </a:lnTo>
                <a:lnTo>
                  <a:pt x="126" y="29"/>
                </a:lnTo>
                <a:lnTo>
                  <a:pt x="120" y="26"/>
                </a:lnTo>
                <a:lnTo>
                  <a:pt x="129" y="23"/>
                </a:lnTo>
                <a:lnTo>
                  <a:pt x="138" y="17"/>
                </a:lnTo>
                <a:lnTo>
                  <a:pt x="140" y="14"/>
                </a:lnTo>
                <a:lnTo>
                  <a:pt x="135" y="9"/>
                </a:lnTo>
                <a:lnTo>
                  <a:pt x="138" y="3"/>
                </a:lnTo>
                <a:lnTo>
                  <a:pt x="132" y="0"/>
                </a:lnTo>
                <a:lnTo>
                  <a:pt x="120" y="3"/>
                </a:lnTo>
                <a:lnTo>
                  <a:pt x="112" y="3"/>
                </a:lnTo>
                <a:lnTo>
                  <a:pt x="106" y="6"/>
                </a:lnTo>
                <a:lnTo>
                  <a:pt x="97" y="9"/>
                </a:lnTo>
                <a:lnTo>
                  <a:pt x="92" y="9"/>
                </a:lnTo>
                <a:lnTo>
                  <a:pt x="92" y="12"/>
                </a:lnTo>
                <a:lnTo>
                  <a:pt x="97" y="12"/>
                </a:lnTo>
                <a:lnTo>
                  <a:pt x="89" y="14"/>
                </a:lnTo>
                <a:lnTo>
                  <a:pt x="83" y="12"/>
                </a:lnTo>
                <a:lnTo>
                  <a:pt x="80" y="14"/>
                </a:lnTo>
                <a:lnTo>
                  <a:pt x="83" y="14"/>
                </a:lnTo>
                <a:lnTo>
                  <a:pt x="86" y="14"/>
                </a:lnTo>
                <a:lnTo>
                  <a:pt x="95" y="17"/>
                </a:lnTo>
                <a:lnTo>
                  <a:pt x="92" y="20"/>
                </a:lnTo>
                <a:lnTo>
                  <a:pt x="74" y="17"/>
                </a:lnTo>
                <a:lnTo>
                  <a:pt x="72" y="20"/>
                </a:lnTo>
                <a:lnTo>
                  <a:pt x="77" y="20"/>
                </a:lnTo>
                <a:lnTo>
                  <a:pt x="83" y="26"/>
                </a:lnTo>
                <a:lnTo>
                  <a:pt x="77" y="26"/>
                </a:lnTo>
                <a:lnTo>
                  <a:pt x="69" y="26"/>
                </a:lnTo>
                <a:lnTo>
                  <a:pt x="63" y="26"/>
                </a:lnTo>
                <a:lnTo>
                  <a:pt x="60" y="29"/>
                </a:lnTo>
                <a:lnTo>
                  <a:pt x="63" y="35"/>
                </a:lnTo>
                <a:lnTo>
                  <a:pt x="69" y="40"/>
                </a:lnTo>
                <a:lnTo>
                  <a:pt x="60" y="43"/>
                </a:lnTo>
                <a:lnTo>
                  <a:pt x="57" y="43"/>
                </a:lnTo>
                <a:lnTo>
                  <a:pt x="60" y="40"/>
                </a:lnTo>
                <a:lnTo>
                  <a:pt x="60" y="37"/>
                </a:lnTo>
                <a:lnTo>
                  <a:pt x="54" y="32"/>
                </a:lnTo>
                <a:lnTo>
                  <a:pt x="57" y="23"/>
                </a:lnTo>
                <a:lnTo>
                  <a:pt x="63" y="20"/>
                </a:lnTo>
                <a:lnTo>
                  <a:pt x="60" y="17"/>
                </a:lnTo>
                <a:lnTo>
                  <a:pt x="72" y="12"/>
                </a:lnTo>
                <a:lnTo>
                  <a:pt x="80" y="9"/>
                </a:lnTo>
                <a:lnTo>
                  <a:pt x="89" y="6"/>
                </a:lnTo>
                <a:lnTo>
                  <a:pt x="97" y="3"/>
                </a:lnTo>
                <a:lnTo>
                  <a:pt x="97" y="0"/>
                </a:lnTo>
                <a:lnTo>
                  <a:pt x="83" y="0"/>
                </a:lnTo>
                <a:lnTo>
                  <a:pt x="74" y="0"/>
                </a:lnTo>
                <a:lnTo>
                  <a:pt x="60" y="3"/>
                </a:lnTo>
                <a:lnTo>
                  <a:pt x="37" y="12"/>
                </a:lnTo>
                <a:lnTo>
                  <a:pt x="31" y="14"/>
                </a:lnTo>
                <a:lnTo>
                  <a:pt x="29" y="17"/>
                </a:lnTo>
                <a:lnTo>
                  <a:pt x="26" y="17"/>
                </a:lnTo>
                <a:lnTo>
                  <a:pt x="23" y="20"/>
                </a:lnTo>
                <a:lnTo>
                  <a:pt x="17" y="23"/>
                </a:lnTo>
                <a:lnTo>
                  <a:pt x="8" y="32"/>
                </a:lnTo>
                <a:lnTo>
                  <a:pt x="3" y="37"/>
                </a:lnTo>
                <a:lnTo>
                  <a:pt x="3" y="40"/>
                </a:lnTo>
                <a:lnTo>
                  <a:pt x="14" y="43"/>
                </a:lnTo>
                <a:lnTo>
                  <a:pt x="26" y="43"/>
                </a:lnTo>
                <a:lnTo>
                  <a:pt x="29" y="46"/>
                </a:lnTo>
                <a:lnTo>
                  <a:pt x="3" y="46"/>
                </a:lnTo>
                <a:lnTo>
                  <a:pt x="0" y="46"/>
                </a:lnTo>
                <a:lnTo>
                  <a:pt x="0" y="49"/>
                </a:lnTo>
                <a:lnTo>
                  <a:pt x="0" y="52"/>
                </a:lnTo>
                <a:lnTo>
                  <a:pt x="6" y="55"/>
                </a:lnTo>
                <a:lnTo>
                  <a:pt x="8" y="55"/>
                </a:lnTo>
                <a:lnTo>
                  <a:pt x="14" y="57"/>
                </a:lnTo>
                <a:lnTo>
                  <a:pt x="20" y="55"/>
                </a:lnTo>
                <a:lnTo>
                  <a:pt x="26" y="55"/>
                </a:lnTo>
                <a:lnTo>
                  <a:pt x="29" y="60"/>
                </a:lnTo>
                <a:lnTo>
                  <a:pt x="31" y="60"/>
                </a:lnTo>
                <a:lnTo>
                  <a:pt x="37" y="63"/>
                </a:lnTo>
                <a:lnTo>
                  <a:pt x="46" y="60"/>
                </a:lnTo>
                <a:lnTo>
                  <a:pt x="57" y="63"/>
                </a:lnTo>
                <a:lnTo>
                  <a:pt x="63" y="60"/>
                </a:lnTo>
                <a:lnTo>
                  <a:pt x="69" y="63"/>
                </a:lnTo>
                <a:lnTo>
                  <a:pt x="74" y="66"/>
                </a:lnTo>
                <a:lnTo>
                  <a:pt x="83" y="63"/>
                </a:lnTo>
                <a:lnTo>
                  <a:pt x="92" y="69"/>
                </a:lnTo>
                <a:lnTo>
                  <a:pt x="100" y="69"/>
                </a:lnTo>
                <a:lnTo>
                  <a:pt x="103" y="69"/>
                </a:lnTo>
                <a:lnTo>
                  <a:pt x="106" y="66"/>
                </a:lnTo>
                <a:lnTo>
                  <a:pt x="97" y="66"/>
                </a:lnTo>
                <a:lnTo>
                  <a:pt x="89" y="63"/>
                </a:lnTo>
                <a:lnTo>
                  <a:pt x="95" y="60"/>
                </a:lnTo>
                <a:lnTo>
                  <a:pt x="106" y="63"/>
                </a:lnTo>
                <a:lnTo>
                  <a:pt x="109" y="63"/>
                </a:lnTo>
                <a:lnTo>
                  <a:pt x="118" y="63"/>
                </a:lnTo>
                <a:lnTo>
                  <a:pt x="118" y="60"/>
                </a:lnTo>
                <a:lnTo>
                  <a:pt x="118" y="57"/>
                </a:lnTo>
                <a:lnTo>
                  <a:pt x="118" y="52"/>
                </a:lnTo>
                <a:lnTo>
                  <a:pt x="123" y="49"/>
                </a:lnTo>
                <a:lnTo>
                  <a:pt x="123" y="55"/>
                </a:lnTo>
                <a:lnTo>
                  <a:pt x="129" y="57"/>
                </a:lnTo>
                <a:lnTo>
                  <a:pt x="132" y="57"/>
                </a:lnTo>
                <a:lnTo>
                  <a:pt x="135" y="57"/>
                </a:lnTo>
                <a:lnTo>
                  <a:pt x="129" y="63"/>
                </a:lnTo>
                <a:lnTo>
                  <a:pt x="135" y="66"/>
                </a:lnTo>
                <a:lnTo>
                  <a:pt x="135" y="63"/>
                </a:lnTo>
                <a:lnTo>
                  <a:pt x="138" y="63"/>
                </a:lnTo>
                <a:lnTo>
                  <a:pt x="135" y="69"/>
                </a:lnTo>
                <a:lnTo>
                  <a:pt x="138" y="66"/>
                </a:lnTo>
                <a:lnTo>
                  <a:pt x="140" y="69"/>
                </a:lnTo>
                <a:lnTo>
                  <a:pt x="143" y="72"/>
                </a:lnTo>
                <a:lnTo>
                  <a:pt x="146" y="75"/>
                </a:lnTo>
                <a:lnTo>
                  <a:pt x="140" y="78"/>
                </a:lnTo>
                <a:lnTo>
                  <a:pt x="135" y="78"/>
                </a:lnTo>
                <a:lnTo>
                  <a:pt x="129" y="80"/>
                </a:lnTo>
                <a:lnTo>
                  <a:pt x="129" y="83"/>
                </a:lnTo>
                <a:lnTo>
                  <a:pt x="140" y="80"/>
                </a:lnTo>
                <a:lnTo>
                  <a:pt x="146" y="80"/>
                </a:lnTo>
                <a:lnTo>
                  <a:pt x="152" y="80"/>
                </a:lnTo>
                <a:lnTo>
                  <a:pt x="152" y="83"/>
                </a:lnTo>
                <a:lnTo>
                  <a:pt x="149" y="83"/>
                </a:lnTo>
                <a:lnTo>
                  <a:pt x="143" y="86"/>
                </a:lnTo>
                <a:lnTo>
                  <a:pt x="140" y="86"/>
                </a:lnTo>
                <a:lnTo>
                  <a:pt x="143" y="89"/>
                </a:lnTo>
                <a:lnTo>
                  <a:pt x="146" y="89"/>
                </a:lnTo>
                <a:lnTo>
                  <a:pt x="152" y="86"/>
                </a:lnTo>
                <a:lnTo>
                  <a:pt x="155" y="86"/>
                </a:lnTo>
                <a:lnTo>
                  <a:pt x="155" y="92"/>
                </a:lnTo>
                <a:lnTo>
                  <a:pt x="158" y="89"/>
                </a:lnTo>
                <a:lnTo>
                  <a:pt x="158" y="86"/>
                </a:lnTo>
                <a:lnTo>
                  <a:pt x="161" y="89"/>
                </a:lnTo>
                <a:lnTo>
                  <a:pt x="163" y="92"/>
                </a:lnTo>
                <a:lnTo>
                  <a:pt x="166" y="92"/>
                </a:lnTo>
                <a:lnTo>
                  <a:pt x="166" y="95"/>
                </a:lnTo>
                <a:lnTo>
                  <a:pt x="166" y="98"/>
                </a:lnTo>
                <a:lnTo>
                  <a:pt x="169" y="106"/>
                </a:lnTo>
                <a:lnTo>
                  <a:pt x="166" y="109"/>
                </a:lnTo>
                <a:lnTo>
                  <a:pt x="161" y="109"/>
                </a:lnTo>
                <a:lnTo>
                  <a:pt x="155" y="112"/>
                </a:lnTo>
                <a:lnTo>
                  <a:pt x="152" y="115"/>
                </a:lnTo>
                <a:lnTo>
                  <a:pt x="152" y="118"/>
                </a:lnTo>
                <a:lnTo>
                  <a:pt x="149" y="118"/>
                </a:lnTo>
                <a:lnTo>
                  <a:pt x="143" y="121"/>
                </a:lnTo>
                <a:lnTo>
                  <a:pt x="135" y="124"/>
                </a:lnTo>
                <a:lnTo>
                  <a:pt x="129" y="124"/>
                </a:lnTo>
                <a:lnTo>
                  <a:pt x="126" y="129"/>
                </a:lnTo>
                <a:lnTo>
                  <a:pt x="126" y="132"/>
                </a:lnTo>
                <a:lnTo>
                  <a:pt x="129" y="132"/>
                </a:lnTo>
                <a:lnTo>
                  <a:pt x="132" y="135"/>
                </a:lnTo>
                <a:lnTo>
                  <a:pt x="129" y="135"/>
                </a:lnTo>
                <a:lnTo>
                  <a:pt x="123" y="138"/>
                </a:lnTo>
                <a:lnTo>
                  <a:pt x="112" y="138"/>
                </a:lnTo>
                <a:lnTo>
                  <a:pt x="100" y="141"/>
                </a:lnTo>
                <a:lnTo>
                  <a:pt x="95" y="138"/>
                </a:lnTo>
                <a:lnTo>
                  <a:pt x="92" y="138"/>
                </a:lnTo>
                <a:lnTo>
                  <a:pt x="86" y="138"/>
                </a:lnTo>
                <a:lnTo>
                  <a:pt x="83" y="138"/>
                </a:lnTo>
                <a:lnTo>
                  <a:pt x="77" y="138"/>
                </a:lnTo>
                <a:lnTo>
                  <a:pt x="72" y="144"/>
                </a:lnTo>
                <a:lnTo>
                  <a:pt x="63" y="146"/>
                </a:lnTo>
                <a:lnTo>
                  <a:pt x="60" y="152"/>
                </a:lnTo>
                <a:lnTo>
                  <a:pt x="60" y="155"/>
                </a:lnTo>
                <a:lnTo>
                  <a:pt x="66" y="158"/>
                </a:lnTo>
                <a:lnTo>
                  <a:pt x="69" y="158"/>
                </a:lnTo>
                <a:lnTo>
                  <a:pt x="72" y="158"/>
                </a:lnTo>
                <a:lnTo>
                  <a:pt x="74" y="158"/>
                </a:lnTo>
                <a:lnTo>
                  <a:pt x="77" y="158"/>
                </a:lnTo>
                <a:lnTo>
                  <a:pt x="80" y="158"/>
                </a:lnTo>
                <a:lnTo>
                  <a:pt x="83" y="158"/>
                </a:lnTo>
                <a:lnTo>
                  <a:pt x="86" y="155"/>
                </a:lnTo>
                <a:lnTo>
                  <a:pt x="89" y="152"/>
                </a:lnTo>
                <a:lnTo>
                  <a:pt x="100" y="155"/>
                </a:lnTo>
                <a:lnTo>
                  <a:pt x="106" y="155"/>
                </a:lnTo>
                <a:lnTo>
                  <a:pt x="109" y="152"/>
                </a:lnTo>
                <a:lnTo>
                  <a:pt x="112" y="152"/>
                </a:lnTo>
                <a:lnTo>
                  <a:pt x="109" y="158"/>
                </a:lnTo>
                <a:lnTo>
                  <a:pt x="115" y="155"/>
                </a:lnTo>
                <a:lnTo>
                  <a:pt x="120" y="155"/>
                </a:lnTo>
                <a:lnTo>
                  <a:pt x="120" y="161"/>
                </a:lnTo>
                <a:lnTo>
                  <a:pt x="123" y="164"/>
                </a:lnTo>
                <a:lnTo>
                  <a:pt x="120" y="169"/>
                </a:lnTo>
                <a:lnTo>
                  <a:pt x="129" y="169"/>
                </a:lnTo>
                <a:lnTo>
                  <a:pt x="132" y="167"/>
                </a:lnTo>
                <a:lnTo>
                  <a:pt x="135" y="167"/>
                </a:lnTo>
                <a:lnTo>
                  <a:pt x="138" y="169"/>
                </a:lnTo>
                <a:lnTo>
                  <a:pt x="135" y="169"/>
                </a:lnTo>
                <a:lnTo>
                  <a:pt x="132" y="172"/>
                </a:lnTo>
                <a:lnTo>
                  <a:pt x="126" y="172"/>
                </a:lnTo>
                <a:lnTo>
                  <a:pt x="132" y="178"/>
                </a:lnTo>
                <a:lnTo>
                  <a:pt x="135" y="178"/>
                </a:lnTo>
                <a:lnTo>
                  <a:pt x="138" y="181"/>
                </a:lnTo>
                <a:lnTo>
                  <a:pt x="135" y="181"/>
                </a:lnTo>
                <a:lnTo>
                  <a:pt x="132" y="184"/>
                </a:lnTo>
                <a:lnTo>
                  <a:pt x="138" y="190"/>
                </a:lnTo>
                <a:lnTo>
                  <a:pt x="140" y="184"/>
                </a:lnTo>
                <a:lnTo>
                  <a:pt x="146" y="184"/>
                </a:lnTo>
                <a:lnTo>
                  <a:pt x="149" y="184"/>
                </a:lnTo>
                <a:lnTo>
                  <a:pt x="152" y="184"/>
                </a:lnTo>
                <a:lnTo>
                  <a:pt x="149" y="187"/>
                </a:lnTo>
                <a:lnTo>
                  <a:pt x="149" y="190"/>
                </a:lnTo>
                <a:lnTo>
                  <a:pt x="152" y="190"/>
                </a:lnTo>
                <a:lnTo>
                  <a:pt x="169" y="195"/>
                </a:lnTo>
                <a:lnTo>
                  <a:pt x="181" y="198"/>
                </a:lnTo>
                <a:lnTo>
                  <a:pt x="195" y="201"/>
                </a:lnTo>
                <a:lnTo>
                  <a:pt x="192" y="201"/>
                </a:lnTo>
                <a:lnTo>
                  <a:pt x="192" y="198"/>
                </a:lnTo>
                <a:lnTo>
                  <a:pt x="195" y="195"/>
                </a:lnTo>
                <a:lnTo>
                  <a:pt x="192" y="192"/>
                </a:lnTo>
                <a:lnTo>
                  <a:pt x="189" y="190"/>
                </a:lnTo>
                <a:lnTo>
                  <a:pt x="189" y="187"/>
                </a:lnTo>
                <a:lnTo>
                  <a:pt x="189" y="184"/>
                </a:lnTo>
                <a:lnTo>
                  <a:pt x="186" y="184"/>
                </a:lnTo>
                <a:lnTo>
                  <a:pt x="184" y="181"/>
                </a:lnTo>
                <a:lnTo>
                  <a:pt x="178" y="178"/>
                </a:lnTo>
                <a:lnTo>
                  <a:pt x="172" y="169"/>
                </a:lnTo>
                <a:lnTo>
                  <a:pt x="172" y="167"/>
                </a:lnTo>
                <a:lnTo>
                  <a:pt x="175" y="167"/>
                </a:lnTo>
                <a:lnTo>
                  <a:pt x="181" y="172"/>
                </a:lnTo>
                <a:lnTo>
                  <a:pt x="184" y="175"/>
                </a:lnTo>
                <a:lnTo>
                  <a:pt x="184" y="172"/>
                </a:lnTo>
                <a:lnTo>
                  <a:pt x="184" y="169"/>
                </a:lnTo>
                <a:lnTo>
                  <a:pt x="186" y="172"/>
                </a:lnTo>
                <a:lnTo>
                  <a:pt x="189" y="175"/>
                </a:lnTo>
                <a:lnTo>
                  <a:pt x="192" y="175"/>
                </a:lnTo>
                <a:lnTo>
                  <a:pt x="195" y="178"/>
                </a:lnTo>
                <a:lnTo>
                  <a:pt x="198" y="178"/>
                </a:lnTo>
                <a:lnTo>
                  <a:pt x="198" y="181"/>
                </a:lnTo>
                <a:lnTo>
                  <a:pt x="201" y="181"/>
                </a:lnTo>
                <a:lnTo>
                  <a:pt x="204" y="181"/>
                </a:lnTo>
                <a:lnTo>
                  <a:pt x="209" y="187"/>
                </a:lnTo>
                <a:lnTo>
                  <a:pt x="212" y="190"/>
                </a:lnTo>
                <a:lnTo>
                  <a:pt x="218" y="190"/>
                </a:lnTo>
                <a:lnTo>
                  <a:pt x="215" y="187"/>
                </a:lnTo>
                <a:lnTo>
                  <a:pt x="218" y="184"/>
                </a:lnTo>
                <a:lnTo>
                  <a:pt x="221" y="181"/>
                </a:lnTo>
                <a:lnTo>
                  <a:pt x="218" y="172"/>
                </a:lnTo>
                <a:lnTo>
                  <a:pt x="218" y="169"/>
                </a:lnTo>
                <a:lnTo>
                  <a:pt x="221" y="169"/>
                </a:lnTo>
                <a:lnTo>
                  <a:pt x="224" y="172"/>
                </a:lnTo>
                <a:lnTo>
                  <a:pt x="224" y="178"/>
                </a:lnTo>
                <a:lnTo>
                  <a:pt x="227" y="178"/>
                </a:lnTo>
                <a:lnTo>
                  <a:pt x="227" y="175"/>
                </a:lnTo>
                <a:lnTo>
                  <a:pt x="227" y="169"/>
                </a:lnTo>
                <a:lnTo>
                  <a:pt x="227" y="164"/>
                </a:lnTo>
                <a:lnTo>
                  <a:pt x="227" y="158"/>
                </a:lnTo>
                <a:lnTo>
                  <a:pt x="224" y="155"/>
                </a:lnTo>
                <a:lnTo>
                  <a:pt x="221" y="149"/>
                </a:lnTo>
                <a:lnTo>
                  <a:pt x="215" y="144"/>
                </a:lnTo>
                <a:lnTo>
                  <a:pt x="215" y="141"/>
                </a:lnTo>
                <a:lnTo>
                  <a:pt x="215" y="135"/>
                </a:lnTo>
                <a:lnTo>
                  <a:pt x="209" y="132"/>
                </a:lnTo>
                <a:lnTo>
                  <a:pt x="215" y="129"/>
                </a:lnTo>
                <a:lnTo>
                  <a:pt x="218" y="126"/>
                </a:lnTo>
                <a:lnTo>
                  <a:pt x="218" y="121"/>
                </a:lnTo>
                <a:lnTo>
                  <a:pt x="221" y="124"/>
                </a:lnTo>
                <a:lnTo>
                  <a:pt x="227" y="118"/>
                </a:lnTo>
                <a:lnTo>
                  <a:pt x="229" y="121"/>
                </a:lnTo>
                <a:lnTo>
                  <a:pt x="232" y="124"/>
                </a:lnTo>
                <a:lnTo>
                  <a:pt x="235" y="124"/>
                </a:lnTo>
                <a:lnTo>
                  <a:pt x="235" y="126"/>
                </a:lnTo>
                <a:lnTo>
                  <a:pt x="235" y="129"/>
                </a:lnTo>
                <a:lnTo>
                  <a:pt x="235" y="132"/>
                </a:lnTo>
                <a:lnTo>
                  <a:pt x="238" y="132"/>
                </a:lnTo>
                <a:lnTo>
                  <a:pt x="247" y="126"/>
                </a:lnTo>
                <a:lnTo>
                  <a:pt x="252" y="124"/>
                </a:lnTo>
                <a:lnTo>
                  <a:pt x="258" y="124"/>
                </a:lnTo>
                <a:lnTo>
                  <a:pt x="255" y="126"/>
                </a:lnTo>
                <a:lnTo>
                  <a:pt x="244" y="132"/>
                </a:lnTo>
                <a:lnTo>
                  <a:pt x="238" y="135"/>
                </a:lnTo>
                <a:lnTo>
                  <a:pt x="241" y="144"/>
                </a:lnTo>
                <a:lnTo>
                  <a:pt x="244" y="144"/>
                </a:lnTo>
                <a:lnTo>
                  <a:pt x="247" y="141"/>
                </a:lnTo>
                <a:lnTo>
                  <a:pt x="250" y="144"/>
                </a:lnTo>
                <a:lnTo>
                  <a:pt x="255" y="146"/>
                </a:lnTo>
                <a:lnTo>
                  <a:pt x="258" y="144"/>
                </a:lnTo>
                <a:lnTo>
                  <a:pt x="261" y="141"/>
                </a:lnTo>
                <a:lnTo>
                  <a:pt x="264" y="135"/>
                </a:lnTo>
                <a:lnTo>
                  <a:pt x="267" y="132"/>
                </a:lnTo>
                <a:lnTo>
                  <a:pt x="270" y="135"/>
                </a:lnTo>
                <a:lnTo>
                  <a:pt x="273" y="135"/>
                </a:lnTo>
                <a:lnTo>
                  <a:pt x="281" y="132"/>
                </a:lnTo>
                <a:lnTo>
                  <a:pt x="287" y="124"/>
                </a:lnTo>
                <a:lnTo>
                  <a:pt x="290" y="124"/>
                </a:lnTo>
                <a:lnTo>
                  <a:pt x="295" y="124"/>
                </a:lnTo>
                <a:lnTo>
                  <a:pt x="298" y="121"/>
                </a:lnTo>
                <a:lnTo>
                  <a:pt x="290" y="118"/>
                </a:lnTo>
                <a:lnTo>
                  <a:pt x="298" y="118"/>
                </a:lnTo>
                <a:lnTo>
                  <a:pt x="301" y="115"/>
                </a:lnTo>
                <a:close/>
                <a:moveTo>
                  <a:pt x="46" y="43"/>
                </a:moveTo>
                <a:lnTo>
                  <a:pt x="46" y="43"/>
                </a:lnTo>
                <a:lnTo>
                  <a:pt x="49" y="43"/>
                </a:lnTo>
                <a:lnTo>
                  <a:pt x="46" y="43"/>
                </a:lnTo>
                <a:close/>
                <a:moveTo>
                  <a:pt x="192" y="126"/>
                </a:moveTo>
                <a:lnTo>
                  <a:pt x="181" y="126"/>
                </a:lnTo>
                <a:lnTo>
                  <a:pt x="166" y="129"/>
                </a:lnTo>
                <a:lnTo>
                  <a:pt x="172" y="121"/>
                </a:lnTo>
                <a:lnTo>
                  <a:pt x="169" y="118"/>
                </a:lnTo>
                <a:lnTo>
                  <a:pt x="158" y="118"/>
                </a:lnTo>
                <a:lnTo>
                  <a:pt x="172" y="118"/>
                </a:lnTo>
                <a:lnTo>
                  <a:pt x="175" y="118"/>
                </a:lnTo>
                <a:lnTo>
                  <a:pt x="178" y="115"/>
                </a:lnTo>
                <a:lnTo>
                  <a:pt x="181" y="112"/>
                </a:lnTo>
                <a:lnTo>
                  <a:pt x="195" y="118"/>
                </a:lnTo>
                <a:lnTo>
                  <a:pt x="192" y="12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42" name="Freeform 644"/>
          <p:cNvSpPr>
            <a:spLocks/>
          </p:cNvSpPr>
          <p:nvPr/>
        </p:nvSpPr>
        <p:spPr bwMode="gray">
          <a:xfrm>
            <a:off x="3418617" y="1840550"/>
            <a:ext cx="12002" cy="4500"/>
          </a:xfrm>
          <a:custGeom>
            <a:avLst/>
            <a:gdLst>
              <a:gd name="T0" fmla="*/ 0 w 6"/>
              <a:gd name="T1" fmla="*/ 2147483647 h 3"/>
              <a:gd name="T2" fmla="*/ 2147483647 w 6"/>
              <a:gd name="T3" fmla="*/ 2147483647 h 3"/>
              <a:gd name="T4" fmla="*/ 2147483647 w 6"/>
              <a:gd name="T5" fmla="*/ 0 h 3"/>
              <a:gd name="T6" fmla="*/ 0 w 6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3"/>
              <a:gd name="T14" fmla="*/ 6 w 6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3">
                <a:moveTo>
                  <a:pt x="0" y="3"/>
                </a:moveTo>
                <a:lnTo>
                  <a:pt x="3" y="3"/>
                </a:lnTo>
                <a:lnTo>
                  <a:pt x="6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43" name="Freeform 645"/>
          <p:cNvSpPr>
            <a:spLocks/>
          </p:cNvSpPr>
          <p:nvPr/>
        </p:nvSpPr>
        <p:spPr bwMode="gray">
          <a:xfrm>
            <a:off x="3434620" y="1831551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0 h 6"/>
              <a:gd name="T4" fmla="*/ 2147483647 w 6"/>
              <a:gd name="T5" fmla="*/ 0 h 6"/>
              <a:gd name="T6" fmla="*/ 0 w 6"/>
              <a:gd name="T7" fmla="*/ 2147483647 h 6"/>
              <a:gd name="T8" fmla="*/ 2147483647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3" y="6"/>
                </a:move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44" name="Freeform 646"/>
          <p:cNvSpPr>
            <a:spLocks/>
          </p:cNvSpPr>
          <p:nvPr/>
        </p:nvSpPr>
        <p:spPr bwMode="gray">
          <a:xfrm>
            <a:off x="3528636" y="1845050"/>
            <a:ext cx="36006" cy="13501"/>
          </a:xfrm>
          <a:custGeom>
            <a:avLst/>
            <a:gdLst>
              <a:gd name="T0" fmla="*/ 2147483647 w 18"/>
              <a:gd name="T1" fmla="*/ 2147483647 h 9"/>
              <a:gd name="T2" fmla="*/ 2147483647 w 18"/>
              <a:gd name="T3" fmla="*/ 2147483647 h 9"/>
              <a:gd name="T4" fmla="*/ 2147483647 w 18"/>
              <a:gd name="T5" fmla="*/ 2147483647 h 9"/>
              <a:gd name="T6" fmla="*/ 2147483647 w 18"/>
              <a:gd name="T7" fmla="*/ 2147483647 h 9"/>
              <a:gd name="T8" fmla="*/ 2147483647 w 18"/>
              <a:gd name="T9" fmla="*/ 0 h 9"/>
              <a:gd name="T10" fmla="*/ 2147483647 w 18"/>
              <a:gd name="T11" fmla="*/ 0 h 9"/>
              <a:gd name="T12" fmla="*/ 0 w 18"/>
              <a:gd name="T13" fmla="*/ 2147483647 h 9"/>
              <a:gd name="T14" fmla="*/ 2147483647 w 18"/>
              <a:gd name="T15" fmla="*/ 2147483647 h 9"/>
              <a:gd name="T16" fmla="*/ 2147483647 w 18"/>
              <a:gd name="T17" fmla="*/ 2147483647 h 9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8"/>
              <a:gd name="T28" fmla="*/ 0 h 9"/>
              <a:gd name="T29" fmla="*/ 18 w 18"/>
              <a:gd name="T30" fmla="*/ 9 h 9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8" h="9">
                <a:moveTo>
                  <a:pt x="12" y="9"/>
                </a:moveTo>
                <a:lnTo>
                  <a:pt x="18" y="6"/>
                </a:lnTo>
                <a:lnTo>
                  <a:pt x="18" y="3"/>
                </a:lnTo>
                <a:lnTo>
                  <a:pt x="15" y="3"/>
                </a:lnTo>
                <a:lnTo>
                  <a:pt x="9" y="0"/>
                </a:lnTo>
                <a:lnTo>
                  <a:pt x="3" y="0"/>
                </a:lnTo>
                <a:lnTo>
                  <a:pt x="0" y="3"/>
                </a:lnTo>
                <a:lnTo>
                  <a:pt x="3" y="9"/>
                </a:lnTo>
                <a:lnTo>
                  <a:pt x="12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45" name="Freeform 648"/>
          <p:cNvSpPr>
            <a:spLocks/>
          </p:cNvSpPr>
          <p:nvPr/>
        </p:nvSpPr>
        <p:spPr bwMode="gray">
          <a:xfrm>
            <a:off x="3492629" y="1815049"/>
            <a:ext cx="20004" cy="4501"/>
          </a:xfrm>
          <a:custGeom>
            <a:avLst/>
            <a:gdLst>
              <a:gd name="T0" fmla="*/ 2147483647 w 9"/>
              <a:gd name="T1" fmla="*/ 2147483647 h 3"/>
              <a:gd name="T2" fmla="*/ 2147483647 w 9"/>
              <a:gd name="T3" fmla="*/ 0 h 3"/>
              <a:gd name="T4" fmla="*/ 2147483647 w 9"/>
              <a:gd name="T5" fmla="*/ 0 h 3"/>
              <a:gd name="T6" fmla="*/ 0 w 9"/>
              <a:gd name="T7" fmla="*/ 2147483647 h 3"/>
              <a:gd name="T8" fmla="*/ 2147483647 w 9"/>
              <a:gd name="T9" fmla="*/ 2147483647 h 3"/>
              <a:gd name="T10" fmla="*/ 2147483647 w 9"/>
              <a:gd name="T11" fmla="*/ 2147483647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9"/>
              <a:gd name="T19" fmla="*/ 0 h 3"/>
              <a:gd name="T20" fmla="*/ 9 w 9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9" h="3">
                <a:moveTo>
                  <a:pt x="6" y="3"/>
                </a:moveTo>
                <a:lnTo>
                  <a:pt x="9" y="0"/>
                </a:lnTo>
                <a:lnTo>
                  <a:pt x="3" y="0"/>
                </a:lnTo>
                <a:lnTo>
                  <a:pt x="0" y="3"/>
                </a:lnTo>
                <a:lnTo>
                  <a:pt x="3" y="3"/>
                </a:lnTo>
                <a:lnTo>
                  <a:pt x="6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46" name="Freeform 649"/>
          <p:cNvSpPr>
            <a:spLocks/>
          </p:cNvSpPr>
          <p:nvPr/>
        </p:nvSpPr>
        <p:spPr bwMode="gray">
          <a:xfrm>
            <a:off x="3452622" y="1840550"/>
            <a:ext cx="76014" cy="30001"/>
          </a:xfrm>
          <a:custGeom>
            <a:avLst/>
            <a:gdLst>
              <a:gd name="T0" fmla="*/ 0 w 37"/>
              <a:gd name="T1" fmla="*/ 2147483647 h 20"/>
              <a:gd name="T2" fmla="*/ 0 w 37"/>
              <a:gd name="T3" fmla="*/ 2147483647 h 20"/>
              <a:gd name="T4" fmla="*/ 0 w 37"/>
              <a:gd name="T5" fmla="*/ 2147483647 h 20"/>
              <a:gd name="T6" fmla="*/ 0 w 37"/>
              <a:gd name="T7" fmla="*/ 2147483647 h 20"/>
              <a:gd name="T8" fmla="*/ 2147483647 w 37"/>
              <a:gd name="T9" fmla="*/ 2147483647 h 20"/>
              <a:gd name="T10" fmla="*/ 2147483647 w 37"/>
              <a:gd name="T11" fmla="*/ 2147483647 h 20"/>
              <a:gd name="T12" fmla="*/ 2147483647 w 37"/>
              <a:gd name="T13" fmla="*/ 2147483647 h 20"/>
              <a:gd name="T14" fmla="*/ 2147483647 w 37"/>
              <a:gd name="T15" fmla="*/ 2147483647 h 20"/>
              <a:gd name="T16" fmla="*/ 2147483647 w 37"/>
              <a:gd name="T17" fmla="*/ 2147483647 h 20"/>
              <a:gd name="T18" fmla="*/ 2147483647 w 37"/>
              <a:gd name="T19" fmla="*/ 2147483647 h 20"/>
              <a:gd name="T20" fmla="*/ 2147483647 w 37"/>
              <a:gd name="T21" fmla="*/ 2147483647 h 20"/>
              <a:gd name="T22" fmla="*/ 2147483647 w 37"/>
              <a:gd name="T23" fmla="*/ 2147483647 h 20"/>
              <a:gd name="T24" fmla="*/ 2147483647 w 37"/>
              <a:gd name="T25" fmla="*/ 2147483647 h 20"/>
              <a:gd name="T26" fmla="*/ 2147483647 w 37"/>
              <a:gd name="T27" fmla="*/ 2147483647 h 20"/>
              <a:gd name="T28" fmla="*/ 2147483647 w 37"/>
              <a:gd name="T29" fmla="*/ 0 h 20"/>
              <a:gd name="T30" fmla="*/ 2147483647 w 37"/>
              <a:gd name="T31" fmla="*/ 0 h 20"/>
              <a:gd name="T32" fmla="*/ 2147483647 w 37"/>
              <a:gd name="T33" fmla="*/ 0 h 20"/>
              <a:gd name="T34" fmla="*/ 2147483647 w 37"/>
              <a:gd name="T35" fmla="*/ 0 h 20"/>
              <a:gd name="T36" fmla="*/ 2147483647 w 37"/>
              <a:gd name="T37" fmla="*/ 0 h 20"/>
              <a:gd name="T38" fmla="*/ 2147483647 w 37"/>
              <a:gd name="T39" fmla="*/ 0 h 20"/>
              <a:gd name="T40" fmla="*/ 2147483647 w 37"/>
              <a:gd name="T41" fmla="*/ 0 h 20"/>
              <a:gd name="T42" fmla="*/ 2147483647 w 37"/>
              <a:gd name="T43" fmla="*/ 2147483647 h 20"/>
              <a:gd name="T44" fmla="*/ 2147483647 w 37"/>
              <a:gd name="T45" fmla="*/ 2147483647 h 20"/>
              <a:gd name="T46" fmla="*/ 2147483647 w 37"/>
              <a:gd name="T47" fmla="*/ 2147483647 h 20"/>
              <a:gd name="T48" fmla="*/ 2147483647 w 37"/>
              <a:gd name="T49" fmla="*/ 2147483647 h 20"/>
              <a:gd name="T50" fmla="*/ 0 w 37"/>
              <a:gd name="T51" fmla="*/ 2147483647 h 20"/>
              <a:gd name="T52" fmla="*/ 0 w 37"/>
              <a:gd name="T53" fmla="*/ 2147483647 h 20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37"/>
              <a:gd name="T82" fmla="*/ 0 h 20"/>
              <a:gd name="T83" fmla="*/ 37 w 37"/>
              <a:gd name="T84" fmla="*/ 20 h 20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37" h="20">
                <a:moveTo>
                  <a:pt x="0" y="12"/>
                </a:moveTo>
                <a:lnTo>
                  <a:pt x="0" y="12"/>
                </a:lnTo>
                <a:lnTo>
                  <a:pt x="0" y="17"/>
                </a:lnTo>
                <a:lnTo>
                  <a:pt x="9" y="20"/>
                </a:lnTo>
                <a:lnTo>
                  <a:pt x="14" y="20"/>
                </a:lnTo>
                <a:lnTo>
                  <a:pt x="20" y="17"/>
                </a:lnTo>
                <a:lnTo>
                  <a:pt x="29" y="14"/>
                </a:lnTo>
                <a:lnTo>
                  <a:pt x="32" y="6"/>
                </a:lnTo>
                <a:lnTo>
                  <a:pt x="37" y="3"/>
                </a:lnTo>
                <a:lnTo>
                  <a:pt x="32" y="0"/>
                </a:lnTo>
                <a:lnTo>
                  <a:pt x="29" y="0"/>
                </a:lnTo>
                <a:lnTo>
                  <a:pt x="26" y="0"/>
                </a:lnTo>
                <a:lnTo>
                  <a:pt x="17" y="0"/>
                </a:lnTo>
                <a:lnTo>
                  <a:pt x="14" y="3"/>
                </a:lnTo>
                <a:lnTo>
                  <a:pt x="9" y="6"/>
                </a:lnTo>
                <a:lnTo>
                  <a:pt x="6" y="9"/>
                </a:lnTo>
                <a:lnTo>
                  <a:pt x="0" y="1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47" name="Freeform 651"/>
          <p:cNvSpPr>
            <a:spLocks/>
          </p:cNvSpPr>
          <p:nvPr/>
        </p:nvSpPr>
        <p:spPr bwMode="gray">
          <a:xfrm>
            <a:off x="3434620" y="1806049"/>
            <a:ext cx="52009" cy="21001"/>
          </a:xfrm>
          <a:custGeom>
            <a:avLst/>
            <a:gdLst>
              <a:gd name="T0" fmla="*/ 2147483647 w 26"/>
              <a:gd name="T1" fmla="*/ 2147483647 h 14"/>
              <a:gd name="T2" fmla="*/ 2147483647 w 26"/>
              <a:gd name="T3" fmla="*/ 2147483647 h 14"/>
              <a:gd name="T4" fmla="*/ 2147483647 w 26"/>
              <a:gd name="T5" fmla="*/ 2147483647 h 14"/>
              <a:gd name="T6" fmla="*/ 2147483647 w 26"/>
              <a:gd name="T7" fmla="*/ 2147483647 h 14"/>
              <a:gd name="T8" fmla="*/ 2147483647 w 26"/>
              <a:gd name="T9" fmla="*/ 2147483647 h 14"/>
              <a:gd name="T10" fmla="*/ 2147483647 w 26"/>
              <a:gd name="T11" fmla="*/ 2147483647 h 14"/>
              <a:gd name="T12" fmla="*/ 0 w 26"/>
              <a:gd name="T13" fmla="*/ 2147483647 h 14"/>
              <a:gd name="T14" fmla="*/ 0 w 26"/>
              <a:gd name="T15" fmla="*/ 2147483647 h 14"/>
              <a:gd name="T16" fmla="*/ 2147483647 w 26"/>
              <a:gd name="T17" fmla="*/ 2147483647 h 14"/>
              <a:gd name="T18" fmla="*/ 2147483647 w 26"/>
              <a:gd name="T19" fmla="*/ 2147483647 h 14"/>
              <a:gd name="T20" fmla="*/ 2147483647 w 26"/>
              <a:gd name="T21" fmla="*/ 2147483647 h 14"/>
              <a:gd name="T22" fmla="*/ 2147483647 w 26"/>
              <a:gd name="T23" fmla="*/ 2147483647 h 14"/>
              <a:gd name="T24" fmla="*/ 2147483647 w 26"/>
              <a:gd name="T25" fmla="*/ 2147483647 h 14"/>
              <a:gd name="T26" fmla="*/ 2147483647 w 26"/>
              <a:gd name="T27" fmla="*/ 2147483647 h 14"/>
              <a:gd name="T28" fmla="*/ 2147483647 w 26"/>
              <a:gd name="T29" fmla="*/ 2147483647 h 14"/>
              <a:gd name="T30" fmla="*/ 2147483647 w 26"/>
              <a:gd name="T31" fmla="*/ 2147483647 h 14"/>
              <a:gd name="T32" fmla="*/ 2147483647 w 26"/>
              <a:gd name="T33" fmla="*/ 2147483647 h 14"/>
              <a:gd name="T34" fmla="*/ 2147483647 w 26"/>
              <a:gd name="T35" fmla="*/ 0 h 14"/>
              <a:gd name="T36" fmla="*/ 2147483647 w 26"/>
              <a:gd name="T37" fmla="*/ 0 h 14"/>
              <a:gd name="T38" fmla="*/ 2147483647 w 26"/>
              <a:gd name="T39" fmla="*/ 2147483647 h 14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26"/>
              <a:gd name="T61" fmla="*/ 0 h 14"/>
              <a:gd name="T62" fmla="*/ 26 w 26"/>
              <a:gd name="T63" fmla="*/ 14 h 14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26" h="14">
                <a:moveTo>
                  <a:pt x="18" y="3"/>
                </a:moveTo>
                <a:lnTo>
                  <a:pt x="15" y="3"/>
                </a:lnTo>
                <a:lnTo>
                  <a:pt x="12" y="9"/>
                </a:lnTo>
                <a:lnTo>
                  <a:pt x="6" y="9"/>
                </a:lnTo>
                <a:lnTo>
                  <a:pt x="0" y="12"/>
                </a:lnTo>
                <a:lnTo>
                  <a:pt x="0" y="14"/>
                </a:lnTo>
                <a:lnTo>
                  <a:pt x="9" y="14"/>
                </a:lnTo>
                <a:lnTo>
                  <a:pt x="12" y="12"/>
                </a:lnTo>
                <a:lnTo>
                  <a:pt x="18" y="9"/>
                </a:lnTo>
                <a:lnTo>
                  <a:pt x="21" y="6"/>
                </a:lnTo>
                <a:lnTo>
                  <a:pt x="21" y="3"/>
                </a:lnTo>
                <a:lnTo>
                  <a:pt x="26" y="3"/>
                </a:lnTo>
                <a:lnTo>
                  <a:pt x="26" y="0"/>
                </a:lnTo>
                <a:lnTo>
                  <a:pt x="21" y="0"/>
                </a:lnTo>
                <a:lnTo>
                  <a:pt x="18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48" name="Freeform 653"/>
          <p:cNvSpPr>
            <a:spLocks/>
          </p:cNvSpPr>
          <p:nvPr/>
        </p:nvSpPr>
        <p:spPr bwMode="gray">
          <a:xfrm>
            <a:off x="3266589" y="1792549"/>
            <a:ext cx="18003" cy="9000"/>
          </a:xfrm>
          <a:custGeom>
            <a:avLst/>
            <a:gdLst>
              <a:gd name="T0" fmla="*/ 0 w 9"/>
              <a:gd name="T1" fmla="*/ 2147483647 h 6"/>
              <a:gd name="T2" fmla="*/ 2147483647 w 9"/>
              <a:gd name="T3" fmla="*/ 2147483647 h 6"/>
              <a:gd name="T4" fmla="*/ 2147483647 w 9"/>
              <a:gd name="T5" fmla="*/ 2147483647 h 6"/>
              <a:gd name="T6" fmla="*/ 2147483647 w 9"/>
              <a:gd name="T7" fmla="*/ 2147483647 h 6"/>
              <a:gd name="T8" fmla="*/ 2147483647 w 9"/>
              <a:gd name="T9" fmla="*/ 2147483647 h 6"/>
              <a:gd name="T10" fmla="*/ 2147483647 w 9"/>
              <a:gd name="T11" fmla="*/ 0 h 6"/>
              <a:gd name="T12" fmla="*/ 0 w 9"/>
              <a:gd name="T13" fmla="*/ 2147483647 h 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"/>
              <a:gd name="T22" fmla="*/ 0 h 6"/>
              <a:gd name="T23" fmla="*/ 9 w 9"/>
              <a:gd name="T24" fmla="*/ 6 h 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" h="6">
                <a:moveTo>
                  <a:pt x="0" y="3"/>
                </a:moveTo>
                <a:lnTo>
                  <a:pt x="3" y="6"/>
                </a:lnTo>
                <a:lnTo>
                  <a:pt x="6" y="6"/>
                </a:lnTo>
                <a:lnTo>
                  <a:pt x="9" y="3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49" name="Freeform 654"/>
          <p:cNvSpPr>
            <a:spLocks/>
          </p:cNvSpPr>
          <p:nvPr/>
        </p:nvSpPr>
        <p:spPr bwMode="gray">
          <a:xfrm>
            <a:off x="3290593" y="1593044"/>
            <a:ext cx="94016" cy="34501"/>
          </a:xfrm>
          <a:custGeom>
            <a:avLst/>
            <a:gdLst>
              <a:gd name="T0" fmla="*/ 2147483647 w 46"/>
              <a:gd name="T1" fmla="*/ 2147483647 h 23"/>
              <a:gd name="T2" fmla="*/ 2147483647 w 46"/>
              <a:gd name="T3" fmla="*/ 2147483647 h 23"/>
              <a:gd name="T4" fmla="*/ 2147483647 w 46"/>
              <a:gd name="T5" fmla="*/ 2147483647 h 23"/>
              <a:gd name="T6" fmla="*/ 2147483647 w 46"/>
              <a:gd name="T7" fmla="*/ 2147483647 h 23"/>
              <a:gd name="T8" fmla="*/ 2147483647 w 46"/>
              <a:gd name="T9" fmla="*/ 2147483647 h 23"/>
              <a:gd name="T10" fmla="*/ 2147483647 w 46"/>
              <a:gd name="T11" fmla="*/ 2147483647 h 23"/>
              <a:gd name="T12" fmla="*/ 2147483647 w 46"/>
              <a:gd name="T13" fmla="*/ 2147483647 h 23"/>
              <a:gd name="T14" fmla="*/ 2147483647 w 46"/>
              <a:gd name="T15" fmla="*/ 2147483647 h 23"/>
              <a:gd name="T16" fmla="*/ 2147483647 w 46"/>
              <a:gd name="T17" fmla="*/ 2147483647 h 23"/>
              <a:gd name="T18" fmla="*/ 2147483647 w 46"/>
              <a:gd name="T19" fmla="*/ 2147483647 h 23"/>
              <a:gd name="T20" fmla="*/ 2147483647 w 46"/>
              <a:gd name="T21" fmla="*/ 2147483647 h 23"/>
              <a:gd name="T22" fmla="*/ 2147483647 w 46"/>
              <a:gd name="T23" fmla="*/ 2147483647 h 23"/>
              <a:gd name="T24" fmla="*/ 2147483647 w 46"/>
              <a:gd name="T25" fmla="*/ 2147483647 h 23"/>
              <a:gd name="T26" fmla="*/ 2147483647 w 46"/>
              <a:gd name="T27" fmla="*/ 2147483647 h 23"/>
              <a:gd name="T28" fmla="*/ 2147483647 w 46"/>
              <a:gd name="T29" fmla="*/ 2147483647 h 23"/>
              <a:gd name="T30" fmla="*/ 2147483647 w 46"/>
              <a:gd name="T31" fmla="*/ 2147483647 h 23"/>
              <a:gd name="T32" fmla="*/ 2147483647 w 46"/>
              <a:gd name="T33" fmla="*/ 2147483647 h 23"/>
              <a:gd name="T34" fmla="*/ 2147483647 w 46"/>
              <a:gd name="T35" fmla="*/ 2147483647 h 23"/>
              <a:gd name="T36" fmla="*/ 2147483647 w 46"/>
              <a:gd name="T37" fmla="*/ 2147483647 h 23"/>
              <a:gd name="T38" fmla="*/ 2147483647 w 46"/>
              <a:gd name="T39" fmla="*/ 2147483647 h 23"/>
              <a:gd name="T40" fmla="*/ 2147483647 w 46"/>
              <a:gd name="T41" fmla="*/ 2147483647 h 23"/>
              <a:gd name="T42" fmla="*/ 2147483647 w 46"/>
              <a:gd name="T43" fmla="*/ 2147483647 h 23"/>
              <a:gd name="T44" fmla="*/ 2147483647 w 46"/>
              <a:gd name="T45" fmla="*/ 2147483647 h 23"/>
              <a:gd name="T46" fmla="*/ 2147483647 w 46"/>
              <a:gd name="T47" fmla="*/ 2147483647 h 23"/>
              <a:gd name="T48" fmla="*/ 2147483647 w 46"/>
              <a:gd name="T49" fmla="*/ 2147483647 h 23"/>
              <a:gd name="T50" fmla="*/ 2147483647 w 46"/>
              <a:gd name="T51" fmla="*/ 2147483647 h 23"/>
              <a:gd name="T52" fmla="*/ 2147483647 w 46"/>
              <a:gd name="T53" fmla="*/ 2147483647 h 23"/>
              <a:gd name="T54" fmla="*/ 2147483647 w 46"/>
              <a:gd name="T55" fmla="*/ 2147483647 h 23"/>
              <a:gd name="T56" fmla="*/ 2147483647 w 46"/>
              <a:gd name="T57" fmla="*/ 2147483647 h 23"/>
              <a:gd name="T58" fmla="*/ 2147483647 w 46"/>
              <a:gd name="T59" fmla="*/ 2147483647 h 23"/>
              <a:gd name="T60" fmla="*/ 2147483647 w 46"/>
              <a:gd name="T61" fmla="*/ 2147483647 h 23"/>
              <a:gd name="T62" fmla="*/ 2147483647 w 46"/>
              <a:gd name="T63" fmla="*/ 2147483647 h 23"/>
              <a:gd name="T64" fmla="*/ 2147483647 w 46"/>
              <a:gd name="T65" fmla="*/ 0 h 23"/>
              <a:gd name="T66" fmla="*/ 2147483647 w 46"/>
              <a:gd name="T67" fmla="*/ 0 h 23"/>
              <a:gd name="T68" fmla="*/ 2147483647 w 46"/>
              <a:gd name="T69" fmla="*/ 2147483647 h 23"/>
              <a:gd name="T70" fmla="*/ 2147483647 w 46"/>
              <a:gd name="T71" fmla="*/ 2147483647 h 23"/>
              <a:gd name="T72" fmla="*/ 2147483647 w 46"/>
              <a:gd name="T73" fmla="*/ 2147483647 h 23"/>
              <a:gd name="T74" fmla="*/ 0 w 46"/>
              <a:gd name="T75" fmla="*/ 2147483647 h 23"/>
              <a:gd name="T76" fmla="*/ 0 w 46"/>
              <a:gd name="T77" fmla="*/ 2147483647 h 23"/>
              <a:gd name="T78" fmla="*/ 0 w 46"/>
              <a:gd name="T79" fmla="*/ 2147483647 h 23"/>
              <a:gd name="T80" fmla="*/ 2147483647 w 46"/>
              <a:gd name="T81" fmla="*/ 2147483647 h 23"/>
              <a:gd name="T82" fmla="*/ 2147483647 w 46"/>
              <a:gd name="T83" fmla="*/ 2147483647 h 23"/>
              <a:gd name="T84" fmla="*/ 2147483647 w 46"/>
              <a:gd name="T85" fmla="*/ 2147483647 h 2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46"/>
              <a:gd name="T130" fmla="*/ 0 h 23"/>
              <a:gd name="T131" fmla="*/ 46 w 46"/>
              <a:gd name="T132" fmla="*/ 23 h 23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46" h="23">
                <a:moveTo>
                  <a:pt x="3" y="18"/>
                </a:moveTo>
                <a:lnTo>
                  <a:pt x="3" y="18"/>
                </a:lnTo>
                <a:lnTo>
                  <a:pt x="8" y="15"/>
                </a:lnTo>
                <a:lnTo>
                  <a:pt x="8" y="18"/>
                </a:lnTo>
                <a:lnTo>
                  <a:pt x="8" y="21"/>
                </a:lnTo>
                <a:lnTo>
                  <a:pt x="14" y="23"/>
                </a:lnTo>
                <a:lnTo>
                  <a:pt x="23" y="23"/>
                </a:lnTo>
                <a:lnTo>
                  <a:pt x="34" y="23"/>
                </a:lnTo>
                <a:lnTo>
                  <a:pt x="40" y="23"/>
                </a:lnTo>
                <a:lnTo>
                  <a:pt x="46" y="18"/>
                </a:lnTo>
                <a:lnTo>
                  <a:pt x="37" y="15"/>
                </a:lnTo>
                <a:lnTo>
                  <a:pt x="28" y="18"/>
                </a:lnTo>
                <a:lnTo>
                  <a:pt x="28" y="15"/>
                </a:lnTo>
                <a:lnTo>
                  <a:pt x="31" y="15"/>
                </a:lnTo>
                <a:lnTo>
                  <a:pt x="34" y="12"/>
                </a:lnTo>
                <a:lnTo>
                  <a:pt x="37" y="9"/>
                </a:lnTo>
                <a:lnTo>
                  <a:pt x="40" y="6"/>
                </a:lnTo>
                <a:lnTo>
                  <a:pt x="37" y="6"/>
                </a:lnTo>
                <a:lnTo>
                  <a:pt x="28" y="6"/>
                </a:lnTo>
                <a:lnTo>
                  <a:pt x="23" y="3"/>
                </a:lnTo>
                <a:lnTo>
                  <a:pt x="14" y="3"/>
                </a:lnTo>
                <a:lnTo>
                  <a:pt x="11" y="0"/>
                </a:lnTo>
                <a:lnTo>
                  <a:pt x="8" y="0"/>
                </a:lnTo>
                <a:lnTo>
                  <a:pt x="8" y="3"/>
                </a:lnTo>
                <a:lnTo>
                  <a:pt x="3" y="6"/>
                </a:lnTo>
                <a:lnTo>
                  <a:pt x="0" y="9"/>
                </a:lnTo>
                <a:lnTo>
                  <a:pt x="0" y="15"/>
                </a:lnTo>
                <a:lnTo>
                  <a:pt x="3" y="1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532" name="Freeform 655"/>
          <p:cNvSpPr>
            <a:spLocks/>
          </p:cNvSpPr>
          <p:nvPr/>
        </p:nvSpPr>
        <p:spPr bwMode="gray">
          <a:xfrm>
            <a:off x="3338602" y="3633099"/>
            <a:ext cx="132024" cy="117003"/>
          </a:xfrm>
          <a:custGeom>
            <a:avLst/>
            <a:gdLst>
              <a:gd name="T0" fmla="*/ 2147483647 w 66"/>
              <a:gd name="T1" fmla="*/ 2147483647 h 77"/>
              <a:gd name="T2" fmla="*/ 2147483647 w 66"/>
              <a:gd name="T3" fmla="*/ 2147483647 h 77"/>
              <a:gd name="T4" fmla="*/ 2147483647 w 66"/>
              <a:gd name="T5" fmla="*/ 2147483647 h 77"/>
              <a:gd name="T6" fmla="*/ 2147483647 w 66"/>
              <a:gd name="T7" fmla="*/ 2147483647 h 77"/>
              <a:gd name="T8" fmla="*/ 2147483647 w 66"/>
              <a:gd name="T9" fmla="*/ 2147483647 h 77"/>
              <a:gd name="T10" fmla="*/ 2147483647 w 66"/>
              <a:gd name="T11" fmla="*/ 2147483647 h 77"/>
              <a:gd name="T12" fmla="*/ 2147483647 w 66"/>
              <a:gd name="T13" fmla="*/ 2147483647 h 77"/>
              <a:gd name="T14" fmla="*/ 2147483647 w 66"/>
              <a:gd name="T15" fmla="*/ 2147483647 h 77"/>
              <a:gd name="T16" fmla="*/ 2147483647 w 66"/>
              <a:gd name="T17" fmla="*/ 2147483647 h 77"/>
              <a:gd name="T18" fmla="*/ 2147483647 w 66"/>
              <a:gd name="T19" fmla="*/ 2147483647 h 77"/>
              <a:gd name="T20" fmla="*/ 2147483647 w 66"/>
              <a:gd name="T21" fmla="*/ 2147483647 h 77"/>
              <a:gd name="T22" fmla="*/ 2147483647 w 66"/>
              <a:gd name="T23" fmla="*/ 2147483647 h 77"/>
              <a:gd name="T24" fmla="*/ 2147483647 w 66"/>
              <a:gd name="T25" fmla="*/ 2147483647 h 77"/>
              <a:gd name="T26" fmla="*/ 2147483647 w 66"/>
              <a:gd name="T27" fmla="*/ 2147483647 h 77"/>
              <a:gd name="T28" fmla="*/ 2147483647 w 66"/>
              <a:gd name="T29" fmla="*/ 2147483647 h 77"/>
              <a:gd name="T30" fmla="*/ 2147483647 w 66"/>
              <a:gd name="T31" fmla="*/ 2147483647 h 77"/>
              <a:gd name="T32" fmla="*/ 2147483647 w 66"/>
              <a:gd name="T33" fmla="*/ 2147483647 h 77"/>
              <a:gd name="T34" fmla="*/ 2147483647 w 66"/>
              <a:gd name="T35" fmla="*/ 2147483647 h 77"/>
              <a:gd name="T36" fmla="*/ 2147483647 w 66"/>
              <a:gd name="T37" fmla="*/ 2147483647 h 77"/>
              <a:gd name="T38" fmla="*/ 2147483647 w 66"/>
              <a:gd name="T39" fmla="*/ 2147483647 h 77"/>
              <a:gd name="T40" fmla="*/ 2147483647 w 66"/>
              <a:gd name="T41" fmla="*/ 2147483647 h 77"/>
              <a:gd name="T42" fmla="*/ 2147483647 w 66"/>
              <a:gd name="T43" fmla="*/ 2147483647 h 77"/>
              <a:gd name="T44" fmla="*/ 2147483647 w 66"/>
              <a:gd name="T45" fmla="*/ 2147483647 h 77"/>
              <a:gd name="T46" fmla="*/ 2147483647 w 66"/>
              <a:gd name="T47" fmla="*/ 2147483647 h 77"/>
              <a:gd name="T48" fmla="*/ 2147483647 w 66"/>
              <a:gd name="T49" fmla="*/ 0 h 77"/>
              <a:gd name="T50" fmla="*/ 2147483647 w 66"/>
              <a:gd name="T51" fmla="*/ 0 h 77"/>
              <a:gd name="T52" fmla="*/ 2147483647 w 66"/>
              <a:gd name="T53" fmla="*/ 0 h 77"/>
              <a:gd name="T54" fmla="*/ 2147483647 w 66"/>
              <a:gd name="T55" fmla="*/ 0 h 77"/>
              <a:gd name="T56" fmla="*/ 2147483647 w 66"/>
              <a:gd name="T57" fmla="*/ 0 h 77"/>
              <a:gd name="T58" fmla="*/ 2147483647 w 66"/>
              <a:gd name="T59" fmla="*/ 2147483647 h 77"/>
              <a:gd name="T60" fmla="*/ 2147483647 w 66"/>
              <a:gd name="T61" fmla="*/ 2147483647 h 77"/>
              <a:gd name="T62" fmla="*/ 2147483647 w 66"/>
              <a:gd name="T63" fmla="*/ 0 h 77"/>
              <a:gd name="T64" fmla="*/ 2147483647 w 66"/>
              <a:gd name="T65" fmla="*/ 0 h 77"/>
              <a:gd name="T66" fmla="*/ 2147483647 w 66"/>
              <a:gd name="T67" fmla="*/ 0 h 77"/>
              <a:gd name="T68" fmla="*/ 2147483647 w 66"/>
              <a:gd name="T69" fmla="*/ 2147483647 h 77"/>
              <a:gd name="T70" fmla="*/ 2147483647 w 66"/>
              <a:gd name="T71" fmla="*/ 2147483647 h 77"/>
              <a:gd name="T72" fmla="*/ 2147483647 w 66"/>
              <a:gd name="T73" fmla="*/ 2147483647 h 77"/>
              <a:gd name="T74" fmla="*/ 2147483647 w 66"/>
              <a:gd name="T75" fmla="*/ 2147483647 h 77"/>
              <a:gd name="T76" fmla="*/ 0 w 66"/>
              <a:gd name="T77" fmla="*/ 2147483647 h 77"/>
              <a:gd name="T78" fmla="*/ 2147483647 w 66"/>
              <a:gd name="T79" fmla="*/ 2147483647 h 77"/>
              <a:gd name="T80" fmla="*/ 2147483647 w 66"/>
              <a:gd name="T81" fmla="*/ 2147483647 h 77"/>
              <a:gd name="T82" fmla="*/ 2147483647 w 66"/>
              <a:gd name="T83" fmla="*/ 2147483647 h 77"/>
              <a:gd name="T84" fmla="*/ 2147483647 w 66"/>
              <a:gd name="T85" fmla="*/ 2147483647 h 77"/>
              <a:gd name="T86" fmla="*/ 2147483647 w 66"/>
              <a:gd name="T87" fmla="*/ 2147483647 h 77"/>
              <a:gd name="T88" fmla="*/ 2147483647 w 66"/>
              <a:gd name="T89" fmla="*/ 2147483647 h 77"/>
              <a:gd name="T90" fmla="*/ 2147483647 w 66"/>
              <a:gd name="T91" fmla="*/ 2147483647 h 77"/>
              <a:gd name="T92" fmla="*/ 2147483647 w 66"/>
              <a:gd name="T93" fmla="*/ 2147483647 h 77"/>
              <a:gd name="T94" fmla="*/ 2147483647 w 66"/>
              <a:gd name="T95" fmla="*/ 2147483647 h 77"/>
              <a:gd name="T96" fmla="*/ 2147483647 w 66"/>
              <a:gd name="T97" fmla="*/ 2147483647 h 77"/>
              <a:gd name="T98" fmla="*/ 2147483647 w 66"/>
              <a:gd name="T99" fmla="*/ 2147483647 h 77"/>
              <a:gd name="T100" fmla="*/ 2147483647 w 66"/>
              <a:gd name="T101" fmla="*/ 2147483647 h 77"/>
              <a:gd name="T102" fmla="*/ 2147483647 w 66"/>
              <a:gd name="T103" fmla="*/ 2147483647 h 77"/>
              <a:gd name="T104" fmla="*/ 2147483647 w 66"/>
              <a:gd name="T105" fmla="*/ 2147483647 h 77"/>
              <a:gd name="T106" fmla="*/ 2147483647 w 66"/>
              <a:gd name="T107" fmla="*/ 2147483647 h 77"/>
              <a:gd name="T108" fmla="*/ 2147483647 w 66"/>
              <a:gd name="T109" fmla="*/ 2147483647 h 77"/>
              <a:gd name="T110" fmla="*/ 2147483647 w 66"/>
              <a:gd name="T111" fmla="*/ 2147483647 h 77"/>
              <a:gd name="T112" fmla="*/ 2147483647 w 66"/>
              <a:gd name="T113" fmla="*/ 2147483647 h 77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66"/>
              <a:gd name="T172" fmla="*/ 0 h 77"/>
              <a:gd name="T173" fmla="*/ 66 w 66"/>
              <a:gd name="T174" fmla="*/ 77 h 77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66" h="77">
                <a:moveTo>
                  <a:pt x="43" y="66"/>
                </a:moveTo>
                <a:lnTo>
                  <a:pt x="43" y="66"/>
                </a:lnTo>
                <a:lnTo>
                  <a:pt x="46" y="66"/>
                </a:lnTo>
                <a:lnTo>
                  <a:pt x="57" y="69"/>
                </a:lnTo>
                <a:lnTo>
                  <a:pt x="63" y="57"/>
                </a:lnTo>
                <a:lnTo>
                  <a:pt x="66" y="52"/>
                </a:lnTo>
                <a:lnTo>
                  <a:pt x="66" y="49"/>
                </a:lnTo>
                <a:lnTo>
                  <a:pt x="63" y="43"/>
                </a:lnTo>
                <a:lnTo>
                  <a:pt x="60" y="34"/>
                </a:lnTo>
                <a:lnTo>
                  <a:pt x="57" y="29"/>
                </a:lnTo>
                <a:lnTo>
                  <a:pt x="57" y="26"/>
                </a:lnTo>
                <a:lnTo>
                  <a:pt x="60" y="17"/>
                </a:lnTo>
                <a:lnTo>
                  <a:pt x="63" y="11"/>
                </a:lnTo>
                <a:lnTo>
                  <a:pt x="66" y="3"/>
                </a:lnTo>
                <a:lnTo>
                  <a:pt x="54" y="0"/>
                </a:lnTo>
                <a:lnTo>
                  <a:pt x="46" y="0"/>
                </a:lnTo>
                <a:lnTo>
                  <a:pt x="37" y="0"/>
                </a:lnTo>
                <a:lnTo>
                  <a:pt x="34" y="6"/>
                </a:lnTo>
                <a:lnTo>
                  <a:pt x="25" y="0"/>
                </a:lnTo>
                <a:lnTo>
                  <a:pt x="20" y="0"/>
                </a:lnTo>
                <a:lnTo>
                  <a:pt x="14" y="14"/>
                </a:lnTo>
                <a:lnTo>
                  <a:pt x="11" y="17"/>
                </a:lnTo>
                <a:lnTo>
                  <a:pt x="2" y="23"/>
                </a:lnTo>
                <a:lnTo>
                  <a:pt x="5" y="32"/>
                </a:lnTo>
                <a:lnTo>
                  <a:pt x="0" y="46"/>
                </a:lnTo>
                <a:lnTo>
                  <a:pt x="5" y="49"/>
                </a:lnTo>
                <a:lnTo>
                  <a:pt x="14" y="52"/>
                </a:lnTo>
                <a:lnTo>
                  <a:pt x="11" y="60"/>
                </a:lnTo>
                <a:lnTo>
                  <a:pt x="14" y="66"/>
                </a:lnTo>
                <a:lnTo>
                  <a:pt x="17" y="72"/>
                </a:lnTo>
                <a:lnTo>
                  <a:pt x="20" y="77"/>
                </a:lnTo>
                <a:lnTo>
                  <a:pt x="28" y="77"/>
                </a:lnTo>
                <a:lnTo>
                  <a:pt x="31" y="77"/>
                </a:lnTo>
                <a:lnTo>
                  <a:pt x="31" y="69"/>
                </a:lnTo>
                <a:lnTo>
                  <a:pt x="43" y="6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533" name="Freeform 657"/>
          <p:cNvSpPr>
            <a:spLocks/>
          </p:cNvSpPr>
          <p:nvPr/>
        </p:nvSpPr>
        <p:spPr bwMode="gray">
          <a:xfrm>
            <a:off x="3226582" y="3559597"/>
            <a:ext cx="146026" cy="208505"/>
          </a:xfrm>
          <a:custGeom>
            <a:avLst/>
            <a:gdLst>
              <a:gd name="T0" fmla="*/ 2147483647 w 72"/>
              <a:gd name="T1" fmla="*/ 2147483647 h 138"/>
              <a:gd name="T2" fmla="*/ 2147483647 w 72"/>
              <a:gd name="T3" fmla="*/ 2147483647 h 138"/>
              <a:gd name="T4" fmla="*/ 2147483647 w 72"/>
              <a:gd name="T5" fmla="*/ 2147483647 h 138"/>
              <a:gd name="T6" fmla="*/ 2147483647 w 72"/>
              <a:gd name="T7" fmla="*/ 2147483647 h 138"/>
              <a:gd name="T8" fmla="*/ 2147483647 w 72"/>
              <a:gd name="T9" fmla="*/ 2147483647 h 138"/>
              <a:gd name="T10" fmla="*/ 2147483647 w 72"/>
              <a:gd name="T11" fmla="*/ 2147483647 h 138"/>
              <a:gd name="T12" fmla="*/ 2147483647 w 72"/>
              <a:gd name="T13" fmla="*/ 2147483647 h 138"/>
              <a:gd name="T14" fmla="*/ 2147483647 w 72"/>
              <a:gd name="T15" fmla="*/ 2147483647 h 138"/>
              <a:gd name="T16" fmla="*/ 2147483647 w 72"/>
              <a:gd name="T17" fmla="*/ 2147483647 h 138"/>
              <a:gd name="T18" fmla="*/ 2147483647 w 72"/>
              <a:gd name="T19" fmla="*/ 2147483647 h 138"/>
              <a:gd name="T20" fmla="*/ 2147483647 w 72"/>
              <a:gd name="T21" fmla="*/ 2147483647 h 138"/>
              <a:gd name="T22" fmla="*/ 2147483647 w 72"/>
              <a:gd name="T23" fmla="*/ 2147483647 h 138"/>
              <a:gd name="T24" fmla="*/ 2147483647 w 72"/>
              <a:gd name="T25" fmla="*/ 2147483647 h 138"/>
              <a:gd name="T26" fmla="*/ 2147483647 w 72"/>
              <a:gd name="T27" fmla="*/ 2147483647 h 138"/>
              <a:gd name="T28" fmla="*/ 2147483647 w 72"/>
              <a:gd name="T29" fmla="*/ 2147483647 h 138"/>
              <a:gd name="T30" fmla="*/ 2147483647 w 72"/>
              <a:gd name="T31" fmla="*/ 2147483647 h 138"/>
              <a:gd name="T32" fmla="*/ 2147483647 w 72"/>
              <a:gd name="T33" fmla="*/ 2147483647 h 138"/>
              <a:gd name="T34" fmla="*/ 2147483647 w 72"/>
              <a:gd name="T35" fmla="*/ 2147483647 h 138"/>
              <a:gd name="T36" fmla="*/ 2147483647 w 72"/>
              <a:gd name="T37" fmla="*/ 2147483647 h 138"/>
              <a:gd name="T38" fmla="*/ 2147483647 w 72"/>
              <a:gd name="T39" fmla="*/ 2147483647 h 138"/>
              <a:gd name="T40" fmla="*/ 2147483647 w 72"/>
              <a:gd name="T41" fmla="*/ 2147483647 h 138"/>
              <a:gd name="T42" fmla="*/ 2147483647 w 72"/>
              <a:gd name="T43" fmla="*/ 0 h 138"/>
              <a:gd name="T44" fmla="*/ 2147483647 w 72"/>
              <a:gd name="T45" fmla="*/ 2147483647 h 138"/>
              <a:gd name="T46" fmla="*/ 2147483647 w 72"/>
              <a:gd name="T47" fmla="*/ 2147483647 h 138"/>
              <a:gd name="T48" fmla="*/ 2147483647 w 72"/>
              <a:gd name="T49" fmla="*/ 2147483647 h 138"/>
              <a:gd name="T50" fmla="*/ 0 w 72"/>
              <a:gd name="T51" fmla="*/ 2147483647 h 138"/>
              <a:gd name="T52" fmla="*/ 2147483647 w 72"/>
              <a:gd name="T53" fmla="*/ 2147483647 h 138"/>
              <a:gd name="T54" fmla="*/ 2147483647 w 72"/>
              <a:gd name="T55" fmla="*/ 2147483647 h 138"/>
              <a:gd name="T56" fmla="*/ 2147483647 w 72"/>
              <a:gd name="T57" fmla="*/ 2147483647 h 138"/>
              <a:gd name="T58" fmla="*/ 2147483647 w 72"/>
              <a:gd name="T59" fmla="*/ 2147483647 h 138"/>
              <a:gd name="T60" fmla="*/ 2147483647 w 72"/>
              <a:gd name="T61" fmla="*/ 2147483647 h 138"/>
              <a:gd name="T62" fmla="*/ 2147483647 w 72"/>
              <a:gd name="T63" fmla="*/ 2147483647 h 138"/>
              <a:gd name="T64" fmla="*/ 2147483647 w 72"/>
              <a:gd name="T65" fmla="*/ 2147483647 h 138"/>
              <a:gd name="T66" fmla="*/ 2147483647 w 72"/>
              <a:gd name="T67" fmla="*/ 2147483647 h 138"/>
              <a:gd name="T68" fmla="*/ 2147483647 w 72"/>
              <a:gd name="T69" fmla="*/ 2147483647 h 138"/>
              <a:gd name="T70" fmla="*/ 2147483647 w 72"/>
              <a:gd name="T71" fmla="*/ 2147483647 h 138"/>
              <a:gd name="T72" fmla="*/ 2147483647 w 72"/>
              <a:gd name="T73" fmla="*/ 2147483647 h 138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72"/>
              <a:gd name="T112" fmla="*/ 0 h 138"/>
              <a:gd name="T113" fmla="*/ 72 w 72"/>
              <a:gd name="T114" fmla="*/ 138 h 138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72" h="138">
                <a:moveTo>
                  <a:pt x="26" y="132"/>
                </a:moveTo>
                <a:lnTo>
                  <a:pt x="35" y="138"/>
                </a:lnTo>
                <a:lnTo>
                  <a:pt x="43" y="132"/>
                </a:lnTo>
                <a:lnTo>
                  <a:pt x="49" y="132"/>
                </a:lnTo>
                <a:lnTo>
                  <a:pt x="55" y="135"/>
                </a:lnTo>
                <a:lnTo>
                  <a:pt x="57" y="129"/>
                </a:lnTo>
                <a:lnTo>
                  <a:pt x="60" y="129"/>
                </a:lnTo>
                <a:lnTo>
                  <a:pt x="69" y="124"/>
                </a:lnTo>
                <a:lnTo>
                  <a:pt x="69" y="121"/>
                </a:lnTo>
                <a:lnTo>
                  <a:pt x="66" y="115"/>
                </a:lnTo>
                <a:lnTo>
                  <a:pt x="63" y="109"/>
                </a:lnTo>
                <a:lnTo>
                  <a:pt x="66" y="101"/>
                </a:lnTo>
                <a:lnTo>
                  <a:pt x="57" y="101"/>
                </a:lnTo>
                <a:lnTo>
                  <a:pt x="52" y="95"/>
                </a:lnTo>
                <a:lnTo>
                  <a:pt x="57" y="81"/>
                </a:lnTo>
                <a:lnTo>
                  <a:pt x="52" y="69"/>
                </a:lnTo>
                <a:lnTo>
                  <a:pt x="63" y="63"/>
                </a:lnTo>
                <a:lnTo>
                  <a:pt x="66" y="60"/>
                </a:lnTo>
                <a:lnTo>
                  <a:pt x="72" y="49"/>
                </a:lnTo>
                <a:lnTo>
                  <a:pt x="69" y="49"/>
                </a:lnTo>
                <a:lnTo>
                  <a:pt x="66" y="43"/>
                </a:lnTo>
                <a:lnTo>
                  <a:pt x="60" y="40"/>
                </a:lnTo>
                <a:lnTo>
                  <a:pt x="52" y="32"/>
                </a:lnTo>
                <a:lnTo>
                  <a:pt x="46" y="40"/>
                </a:lnTo>
                <a:lnTo>
                  <a:pt x="46" y="29"/>
                </a:lnTo>
                <a:lnTo>
                  <a:pt x="46" y="26"/>
                </a:lnTo>
                <a:lnTo>
                  <a:pt x="46" y="20"/>
                </a:lnTo>
                <a:lnTo>
                  <a:pt x="32" y="3"/>
                </a:lnTo>
                <a:lnTo>
                  <a:pt x="29" y="0"/>
                </a:lnTo>
                <a:lnTo>
                  <a:pt x="17" y="12"/>
                </a:lnTo>
                <a:lnTo>
                  <a:pt x="12" y="20"/>
                </a:lnTo>
                <a:lnTo>
                  <a:pt x="20" y="26"/>
                </a:lnTo>
                <a:lnTo>
                  <a:pt x="9" y="35"/>
                </a:lnTo>
                <a:lnTo>
                  <a:pt x="3" y="37"/>
                </a:lnTo>
                <a:lnTo>
                  <a:pt x="6" y="40"/>
                </a:lnTo>
                <a:lnTo>
                  <a:pt x="0" y="49"/>
                </a:lnTo>
                <a:lnTo>
                  <a:pt x="3" y="58"/>
                </a:lnTo>
                <a:lnTo>
                  <a:pt x="12" y="63"/>
                </a:lnTo>
                <a:lnTo>
                  <a:pt x="23" y="63"/>
                </a:lnTo>
                <a:lnTo>
                  <a:pt x="20" y="72"/>
                </a:lnTo>
                <a:lnTo>
                  <a:pt x="26" y="81"/>
                </a:lnTo>
                <a:lnTo>
                  <a:pt x="29" y="92"/>
                </a:lnTo>
                <a:lnTo>
                  <a:pt x="26" y="89"/>
                </a:lnTo>
                <a:lnTo>
                  <a:pt x="23" y="89"/>
                </a:lnTo>
                <a:lnTo>
                  <a:pt x="20" y="92"/>
                </a:lnTo>
                <a:lnTo>
                  <a:pt x="20" y="95"/>
                </a:lnTo>
                <a:lnTo>
                  <a:pt x="23" y="103"/>
                </a:lnTo>
                <a:lnTo>
                  <a:pt x="20" y="118"/>
                </a:lnTo>
                <a:lnTo>
                  <a:pt x="26" y="124"/>
                </a:lnTo>
                <a:lnTo>
                  <a:pt x="26" y="126"/>
                </a:lnTo>
                <a:lnTo>
                  <a:pt x="26" y="13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534" name="Freeform 658"/>
          <p:cNvSpPr>
            <a:spLocks/>
          </p:cNvSpPr>
          <p:nvPr/>
        </p:nvSpPr>
        <p:spPr bwMode="gray">
          <a:xfrm>
            <a:off x="2814508" y="3463595"/>
            <a:ext cx="458082" cy="325508"/>
          </a:xfrm>
          <a:custGeom>
            <a:avLst/>
            <a:gdLst>
              <a:gd name="T0" fmla="*/ 2147483647 w 227"/>
              <a:gd name="T1" fmla="*/ 2147483647 h 215"/>
              <a:gd name="T2" fmla="*/ 2147483647 w 227"/>
              <a:gd name="T3" fmla="*/ 2147483647 h 215"/>
              <a:gd name="T4" fmla="*/ 2147483647 w 227"/>
              <a:gd name="T5" fmla="*/ 2147483647 h 215"/>
              <a:gd name="T6" fmla="*/ 2147483647 w 227"/>
              <a:gd name="T7" fmla="*/ 2147483647 h 215"/>
              <a:gd name="T8" fmla="*/ 2147483647 w 227"/>
              <a:gd name="T9" fmla="*/ 2147483647 h 215"/>
              <a:gd name="T10" fmla="*/ 2147483647 w 227"/>
              <a:gd name="T11" fmla="*/ 2147483647 h 215"/>
              <a:gd name="T12" fmla="*/ 2147483647 w 227"/>
              <a:gd name="T13" fmla="*/ 2147483647 h 215"/>
              <a:gd name="T14" fmla="*/ 2147483647 w 227"/>
              <a:gd name="T15" fmla="*/ 2147483647 h 215"/>
              <a:gd name="T16" fmla="*/ 2147483647 w 227"/>
              <a:gd name="T17" fmla="*/ 2147483647 h 215"/>
              <a:gd name="T18" fmla="*/ 2147483647 w 227"/>
              <a:gd name="T19" fmla="*/ 2147483647 h 215"/>
              <a:gd name="T20" fmla="*/ 2147483647 w 227"/>
              <a:gd name="T21" fmla="*/ 2147483647 h 215"/>
              <a:gd name="T22" fmla="*/ 2147483647 w 227"/>
              <a:gd name="T23" fmla="*/ 2147483647 h 215"/>
              <a:gd name="T24" fmla="*/ 2147483647 w 227"/>
              <a:gd name="T25" fmla="*/ 2147483647 h 215"/>
              <a:gd name="T26" fmla="*/ 2147483647 w 227"/>
              <a:gd name="T27" fmla="*/ 2147483647 h 215"/>
              <a:gd name="T28" fmla="*/ 2147483647 w 227"/>
              <a:gd name="T29" fmla="*/ 2147483647 h 215"/>
              <a:gd name="T30" fmla="*/ 2147483647 w 227"/>
              <a:gd name="T31" fmla="*/ 2147483647 h 215"/>
              <a:gd name="T32" fmla="*/ 2147483647 w 227"/>
              <a:gd name="T33" fmla="*/ 2147483647 h 215"/>
              <a:gd name="T34" fmla="*/ 2147483647 w 227"/>
              <a:gd name="T35" fmla="*/ 2147483647 h 215"/>
              <a:gd name="T36" fmla="*/ 2147483647 w 227"/>
              <a:gd name="T37" fmla="*/ 2147483647 h 215"/>
              <a:gd name="T38" fmla="*/ 2147483647 w 227"/>
              <a:gd name="T39" fmla="*/ 2147483647 h 215"/>
              <a:gd name="T40" fmla="*/ 2147483647 w 227"/>
              <a:gd name="T41" fmla="*/ 2147483647 h 215"/>
              <a:gd name="T42" fmla="*/ 2147483647 w 227"/>
              <a:gd name="T43" fmla="*/ 2147483647 h 215"/>
              <a:gd name="T44" fmla="*/ 2147483647 w 227"/>
              <a:gd name="T45" fmla="*/ 2147483647 h 215"/>
              <a:gd name="T46" fmla="*/ 2147483647 w 227"/>
              <a:gd name="T47" fmla="*/ 2147483647 h 215"/>
              <a:gd name="T48" fmla="*/ 2147483647 w 227"/>
              <a:gd name="T49" fmla="*/ 2147483647 h 215"/>
              <a:gd name="T50" fmla="*/ 2147483647 w 227"/>
              <a:gd name="T51" fmla="*/ 2147483647 h 215"/>
              <a:gd name="T52" fmla="*/ 0 w 227"/>
              <a:gd name="T53" fmla="*/ 2147483647 h 215"/>
              <a:gd name="T54" fmla="*/ 2147483647 w 227"/>
              <a:gd name="T55" fmla="*/ 2147483647 h 215"/>
              <a:gd name="T56" fmla="*/ 2147483647 w 227"/>
              <a:gd name="T57" fmla="*/ 2147483647 h 215"/>
              <a:gd name="T58" fmla="*/ 2147483647 w 227"/>
              <a:gd name="T59" fmla="*/ 2147483647 h 215"/>
              <a:gd name="T60" fmla="*/ 2147483647 w 227"/>
              <a:gd name="T61" fmla="*/ 2147483647 h 215"/>
              <a:gd name="T62" fmla="*/ 2147483647 w 227"/>
              <a:gd name="T63" fmla="*/ 2147483647 h 215"/>
              <a:gd name="T64" fmla="*/ 2147483647 w 227"/>
              <a:gd name="T65" fmla="*/ 2147483647 h 215"/>
              <a:gd name="T66" fmla="*/ 2147483647 w 227"/>
              <a:gd name="T67" fmla="*/ 2147483647 h 215"/>
              <a:gd name="T68" fmla="*/ 2147483647 w 227"/>
              <a:gd name="T69" fmla="*/ 2147483647 h 215"/>
              <a:gd name="T70" fmla="*/ 2147483647 w 227"/>
              <a:gd name="T71" fmla="*/ 2147483647 h 215"/>
              <a:gd name="T72" fmla="*/ 2147483647 w 227"/>
              <a:gd name="T73" fmla="*/ 2147483647 h 215"/>
              <a:gd name="T74" fmla="*/ 2147483647 w 227"/>
              <a:gd name="T75" fmla="*/ 2147483647 h 215"/>
              <a:gd name="T76" fmla="*/ 2147483647 w 227"/>
              <a:gd name="T77" fmla="*/ 2147483647 h 215"/>
              <a:gd name="T78" fmla="*/ 2147483647 w 227"/>
              <a:gd name="T79" fmla="*/ 2147483647 h 215"/>
              <a:gd name="T80" fmla="*/ 2147483647 w 227"/>
              <a:gd name="T81" fmla="*/ 2147483647 h 215"/>
              <a:gd name="T82" fmla="*/ 2147483647 w 227"/>
              <a:gd name="T83" fmla="*/ 2147483647 h 215"/>
              <a:gd name="T84" fmla="*/ 2147483647 w 227"/>
              <a:gd name="T85" fmla="*/ 2147483647 h 215"/>
              <a:gd name="T86" fmla="*/ 2147483647 w 227"/>
              <a:gd name="T87" fmla="*/ 2147483647 h 215"/>
              <a:gd name="T88" fmla="*/ 2147483647 w 227"/>
              <a:gd name="T89" fmla="*/ 2147483647 h 215"/>
              <a:gd name="T90" fmla="*/ 2147483647 w 227"/>
              <a:gd name="T91" fmla="*/ 2147483647 h 215"/>
              <a:gd name="T92" fmla="*/ 2147483647 w 227"/>
              <a:gd name="T93" fmla="*/ 2147483647 h 215"/>
              <a:gd name="T94" fmla="*/ 2147483647 w 227"/>
              <a:gd name="T95" fmla="*/ 2147483647 h 215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227"/>
              <a:gd name="T145" fmla="*/ 0 h 215"/>
              <a:gd name="T146" fmla="*/ 227 w 227"/>
              <a:gd name="T147" fmla="*/ 215 h 215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227" h="215">
                <a:moveTo>
                  <a:pt x="152" y="175"/>
                </a:moveTo>
                <a:lnTo>
                  <a:pt x="152" y="175"/>
                </a:lnTo>
                <a:lnTo>
                  <a:pt x="152" y="172"/>
                </a:lnTo>
                <a:lnTo>
                  <a:pt x="150" y="172"/>
                </a:lnTo>
                <a:lnTo>
                  <a:pt x="150" y="169"/>
                </a:lnTo>
                <a:lnTo>
                  <a:pt x="150" y="161"/>
                </a:lnTo>
                <a:lnTo>
                  <a:pt x="138" y="146"/>
                </a:lnTo>
                <a:lnTo>
                  <a:pt x="155" y="144"/>
                </a:lnTo>
                <a:lnTo>
                  <a:pt x="155" y="146"/>
                </a:lnTo>
                <a:lnTo>
                  <a:pt x="155" y="152"/>
                </a:lnTo>
                <a:lnTo>
                  <a:pt x="164" y="149"/>
                </a:lnTo>
                <a:lnTo>
                  <a:pt x="173" y="155"/>
                </a:lnTo>
                <a:lnTo>
                  <a:pt x="175" y="149"/>
                </a:lnTo>
                <a:lnTo>
                  <a:pt x="187" y="146"/>
                </a:lnTo>
                <a:lnTo>
                  <a:pt x="195" y="141"/>
                </a:lnTo>
                <a:lnTo>
                  <a:pt x="204" y="138"/>
                </a:lnTo>
                <a:lnTo>
                  <a:pt x="210" y="135"/>
                </a:lnTo>
                <a:lnTo>
                  <a:pt x="213" y="129"/>
                </a:lnTo>
                <a:lnTo>
                  <a:pt x="207" y="121"/>
                </a:lnTo>
                <a:lnTo>
                  <a:pt x="198" y="112"/>
                </a:lnTo>
                <a:lnTo>
                  <a:pt x="204" y="103"/>
                </a:lnTo>
                <a:lnTo>
                  <a:pt x="201" y="98"/>
                </a:lnTo>
                <a:lnTo>
                  <a:pt x="204" y="98"/>
                </a:lnTo>
                <a:lnTo>
                  <a:pt x="210" y="95"/>
                </a:lnTo>
                <a:lnTo>
                  <a:pt x="218" y="89"/>
                </a:lnTo>
                <a:lnTo>
                  <a:pt x="213" y="83"/>
                </a:lnTo>
                <a:lnTo>
                  <a:pt x="218" y="75"/>
                </a:lnTo>
                <a:lnTo>
                  <a:pt x="227" y="63"/>
                </a:lnTo>
                <a:lnTo>
                  <a:pt x="224" y="60"/>
                </a:lnTo>
                <a:lnTo>
                  <a:pt x="213" y="60"/>
                </a:lnTo>
                <a:lnTo>
                  <a:pt x="204" y="63"/>
                </a:lnTo>
                <a:lnTo>
                  <a:pt x="201" y="60"/>
                </a:lnTo>
                <a:lnTo>
                  <a:pt x="207" y="55"/>
                </a:lnTo>
                <a:lnTo>
                  <a:pt x="213" y="46"/>
                </a:lnTo>
                <a:lnTo>
                  <a:pt x="210" y="43"/>
                </a:lnTo>
                <a:lnTo>
                  <a:pt x="204" y="40"/>
                </a:lnTo>
                <a:lnTo>
                  <a:pt x="201" y="34"/>
                </a:lnTo>
                <a:lnTo>
                  <a:pt x="198" y="40"/>
                </a:lnTo>
                <a:lnTo>
                  <a:pt x="193" y="34"/>
                </a:lnTo>
                <a:lnTo>
                  <a:pt x="187" y="34"/>
                </a:lnTo>
                <a:lnTo>
                  <a:pt x="184" y="29"/>
                </a:lnTo>
                <a:lnTo>
                  <a:pt x="181" y="26"/>
                </a:lnTo>
                <a:lnTo>
                  <a:pt x="187" y="23"/>
                </a:lnTo>
                <a:lnTo>
                  <a:pt x="193" y="23"/>
                </a:lnTo>
                <a:lnTo>
                  <a:pt x="195" y="20"/>
                </a:lnTo>
                <a:lnTo>
                  <a:pt x="178" y="17"/>
                </a:lnTo>
                <a:lnTo>
                  <a:pt x="158" y="20"/>
                </a:lnTo>
                <a:lnTo>
                  <a:pt x="152" y="26"/>
                </a:lnTo>
                <a:lnTo>
                  <a:pt x="147" y="32"/>
                </a:lnTo>
                <a:lnTo>
                  <a:pt x="135" y="29"/>
                </a:lnTo>
                <a:lnTo>
                  <a:pt x="124" y="23"/>
                </a:lnTo>
                <a:lnTo>
                  <a:pt x="115" y="20"/>
                </a:lnTo>
                <a:lnTo>
                  <a:pt x="98" y="23"/>
                </a:lnTo>
                <a:lnTo>
                  <a:pt x="86" y="20"/>
                </a:lnTo>
                <a:lnTo>
                  <a:pt x="89" y="14"/>
                </a:lnTo>
                <a:lnTo>
                  <a:pt x="95" y="17"/>
                </a:lnTo>
                <a:lnTo>
                  <a:pt x="95" y="14"/>
                </a:lnTo>
                <a:lnTo>
                  <a:pt x="92" y="11"/>
                </a:lnTo>
                <a:lnTo>
                  <a:pt x="86" y="11"/>
                </a:lnTo>
                <a:lnTo>
                  <a:pt x="78" y="6"/>
                </a:lnTo>
                <a:lnTo>
                  <a:pt x="69" y="3"/>
                </a:lnTo>
                <a:lnTo>
                  <a:pt x="58" y="6"/>
                </a:lnTo>
                <a:lnTo>
                  <a:pt x="52" y="6"/>
                </a:lnTo>
                <a:lnTo>
                  <a:pt x="40" y="11"/>
                </a:lnTo>
                <a:lnTo>
                  <a:pt x="35" y="14"/>
                </a:lnTo>
                <a:lnTo>
                  <a:pt x="32" y="20"/>
                </a:lnTo>
                <a:lnTo>
                  <a:pt x="38" y="37"/>
                </a:lnTo>
                <a:lnTo>
                  <a:pt x="38" y="46"/>
                </a:lnTo>
                <a:lnTo>
                  <a:pt x="35" y="49"/>
                </a:lnTo>
                <a:lnTo>
                  <a:pt x="26" y="49"/>
                </a:lnTo>
                <a:lnTo>
                  <a:pt x="23" y="40"/>
                </a:lnTo>
                <a:lnTo>
                  <a:pt x="23" y="37"/>
                </a:lnTo>
                <a:lnTo>
                  <a:pt x="20" y="34"/>
                </a:lnTo>
                <a:lnTo>
                  <a:pt x="29" y="26"/>
                </a:lnTo>
                <a:lnTo>
                  <a:pt x="29" y="11"/>
                </a:lnTo>
                <a:lnTo>
                  <a:pt x="26" y="6"/>
                </a:lnTo>
                <a:lnTo>
                  <a:pt x="35" y="0"/>
                </a:lnTo>
                <a:lnTo>
                  <a:pt x="38" y="0"/>
                </a:lnTo>
                <a:lnTo>
                  <a:pt x="23" y="6"/>
                </a:lnTo>
                <a:lnTo>
                  <a:pt x="20" y="14"/>
                </a:lnTo>
                <a:lnTo>
                  <a:pt x="12" y="26"/>
                </a:lnTo>
                <a:lnTo>
                  <a:pt x="6" y="40"/>
                </a:lnTo>
                <a:lnTo>
                  <a:pt x="0" y="49"/>
                </a:lnTo>
                <a:lnTo>
                  <a:pt x="3" y="46"/>
                </a:lnTo>
                <a:lnTo>
                  <a:pt x="9" y="52"/>
                </a:lnTo>
                <a:lnTo>
                  <a:pt x="9" y="55"/>
                </a:lnTo>
                <a:lnTo>
                  <a:pt x="12" y="60"/>
                </a:lnTo>
                <a:lnTo>
                  <a:pt x="15" y="69"/>
                </a:lnTo>
                <a:lnTo>
                  <a:pt x="12" y="72"/>
                </a:lnTo>
                <a:lnTo>
                  <a:pt x="9" y="75"/>
                </a:lnTo>
                <a:lnTo>
                  <a:pt x="9" y="80"/>
                </a:lnTo>
                <a:lnTo>
                  <a:pt x="12" y="83"/>
                </a:lnTo>
                <a:lnTo>
                  <a:pt x="18" y="89"/>
                </a:lnTo>
                <a:lnTo>
                  <a:pt x="23" y="89"/>
                </a:lnTo>
                <a:lnTo>
                  <a:pt x="32" y="92"/>
                </a:lnTo>
                <a:lnTo>
                  <a:pt x="35" y="92"/>
                </a:lnTo>
                <a:lnTo>
                  <a:pt x="38" y="92"/>
                </a:lnTo>
                <a:lnTo>
                  <a:pt x="52" y="95"/>
                </a:lnTo>
                <a:lnTo>
                  <a:pt x="58" y="98"/>
                </a:lnTo>
                <a:lnTo>
                  <a:pt x="61" y="100"/>
                </a:lnTo>
                <a:lnTo>
                  <a:pt x="61" y="103"/>
                </a:lnTo>
                <a:lnTo>
                  <a:pt x="66" y="106"/>
                </a:lnTo>
                <a:lnTo>
                  <a:pt x="75" y="109"/>
                </a:lnTo>
                <a:lnTo>
                  <a:pt x="81" y="109"/>
                </a:lnTo>
                <a:lnTo>
                  <a:pt x="92" y="106"/>
                </a:lnTo>
                <a:lnTo>
                  <a:pt x="95" y="106"/>
                </a:lnTo>
                <a:lnTo>
                  <a:pt x="98" y="109"/>
                </a:lnTo>
                <a:lnTo>
                  <a:pt x="98" y="115"/>
                </a:lnTo>
                <a:lnTo>
                  <a:pt x="92" y="126"/>
                </a:lnTo>
                <a:lnTo>
                  <a:pt x="92" y="138"/>
                </a:lnTo>
                <a:lnTo>
                  <a:pt x="92" y="144"/>
                </a:lnTo>
                <a:lnTo>
                  <a:pt x="95" y="149"/>
                </a:lnTo>
                <a:lnTo>
                  <a:pt x="95" y="155"/>
                </a:lnTo>
                <a:lnTo>
                  <a:pt x="95" y="164"/>
                </a:lnTo>
                <a:lnTo>
                  <a:pt x="95" y="166"/>
                </a:lnTo>
                <a:lnTo>
                  <a:pt x="89" y="175"/>
                </a:lnTo>
                <a:lnTo>
                  <a:pt x="101" y="184"/>
                </a:lnTo>
                <a:lnTo>
                  <a:pt x="101" y="204"/>
                </a:lnTo>
                <a:lnTo>
                  <a:pt x="106" y="210"/>
                </a:lnTo>
                <a:lnTo>
                  <a:pt x="115" y="215"/>
                </a:lnTo>
                <a:lnTo>
                  <a:pt x="124" y="207"/>
                </a:lnTo>
                <a:lnTo>
                  <a:pt x="127" y="204"/>
                </a:lnTo>
                <a:lnTo>
                  <a:pt x="127" y="207"/>
                </a:lnTo>
                <a:lnTo>
                  <a:pt x="127" y="212"/>
                </a:lnTo>
                <a:lnTo>
                  <a:pt x="135" y="204"/>
                </a:lnTo>
                <a:lnTo>
                  <a:pt x="144" y="198"/>
                </a:lnTo>
                <a:lnTo>
                  <a:pt x="147" y="198"/>
                </a:lnTo>
                <a:lnTo>
                  <a:pt x="147" y="201"/>
                </a:lnTo>
                <a:lnTo>
                  <a:pt x="150" y="189"/>
                </a:lnTo>
                <a:lnTo>
                  <a:pt x="161" y="187"/>
                </a:lnTo>
                <a:lnTo>
                  <a:pt x="161" y="184"/>
                </a:lnTo>
                <a:lnTo>
                  <a:pt x="152" y="178"/>
                </a:lnTo>
                <a:lnTo>
                  <a:pt x="152" y="17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535" name="Freeform 659"/>
          <p:cNvSpPr>
            <a:spLocks/>
          </p:cNvSpPr>
          <p:nvPr/>
        </p:nvSpPr>
        <p:spPr bwMode="gray">
          <a:xfrm>
            <a:off x="2600469" y="3442594"/>
            <a:ext cx="412074" cy="486013"/>
          </a:xfrm>
          <a:custGeom>
            <a:avLst/>
            <a:gdLst>
              <a:gd name="T0" fmla="*/ 2147483647 w 204"/>
              <a:gd name="T1" fmla="*/ 2147483647 h 321"/>
              <a:gd name="T2" fmla="*/ 2147483647 w 204"/>
              <a:gd name="T3" fmla="*/ 2147483647 h 321"/>
              <a:gd name="T4" fmla="*/ 2147483647 w 204"/>
              <a:gd name="T5" fmla="*/ 2147483647 h 321"/>
              <a:gd name="T6" fmla="*/ 2147483647 w 204"/>
              <a:gd name="T7" fmla="*/ 2147483647 h 321"/>
              <a:gd name="T8" fmla="*/ 2147483647 w 204"/>
              <a:gd name="T9" fmla="*/ 2147483647 h 321"/>
              <a:gd name="T10" fmla="*/ 2147483647 w 204"/>
              <a:gd name="T11" fmla="*/ 2147483647 h 321"/>
              <a:gd name="T12" fmla="*/ 2147483647 w 204"/>
              <a:gd name="T13" fmla="*/ 2147483647 h 321"/>
              <a:gd name="T14" fmla="*/ 2147483647 w 204"/>
              <a:gd name="T15" fmla="*/ 2147483647 h 321"/>
              <a:gd name="T16" fmla="*/ 2147483647 w 204"/>
              <a:gd name="T17" fmla="*/ 2147483647 h 321"/>
              <a:gd name="T18" fmla="*/ 2147483647 w 204"/>
              <a:gd name="T19" fmla="*/ 2147483647 h 321"/>
              <a:gd name="T20" fmla="*/ 2147483647 w 204"/>
              <a:gd name="T21" fmla="*/ 2147483647 h 321"/>
              <a:gd name="T22" fmla="*/ 2147483647 w 204"/>
              <a:gd name="T23" fmla="*/ 2147483647 h 321"/>
              <a:gd name="T24" fmla="*/ 2147483647 w 204"/>
              <a:gd name="T25" fmla="*/ 2147483647 h 321"/>
              <a:gd name="T26" fmla="*/ 2147483647 w 204"/>
              <a:gd name="T27" fmla="*/ 2147483647 h 321"/>
              <a:gd name="T28" fmla="*/ 2147483647 w 204"/>
              <a:gd name="T29" fmla="*/ 2147483647 h 321"/>
              <a:gd name="T30" fmla="*/ 2147483647 w 204"/>
              <a:gd name="T31" fmla="*/ 2147483647 h 321"/>
              <a:gd name="T32" fmla="*/ 2147483647 w 204"/>
              <a:gd name="T33" fmla="*/ 2147483647 h 321"/>
              <a:gd name="T34" fmla="*/ 2147483647 w 204"/>
              <a:gd name="T35" fmla="*/ 2147483647 h 321"/>
              <a:gd name="T36" fmla="*/ 2147483647 w 204"/>
              <a:gd name="T37" fmla="*/ 2147483647 h 321"/>
              <a:gd name="T38" fmla="*/ 2147483647 w 204"/>
              <a:gd name="T39" fmla="*/ 2147483647 h 321"/>
              <a:gd name="T40" fmla="*/ 2147483647 w 204"/>
              <a:gd name="T41" fmla="*/ 2147483647 h 321"/>
              <a:gd name="T42" fmla="*/ 2147483647 w 204"/>
              <a:gd name="T43" fmla="*/ 2147483647 h 321"/>
              <a:gd name="T44" fmla="*/ 2147483647 w 204"/>
              <a:gd name="T45" fmla="*/ 2147483647 h 321"/>
              <a:gd name="T46" fmla="*/ 2147483647 w 204"/>
              <a:gd name="T47" fmla="*/ 2147483647 h 321"/>
              <a:gd name="T48" fmla="*/ 2147483647 w 204"/>
              <a:gd name="T49" fmla="*/ 2147483647 h 321"/>
              <a:gd name="T50" fmla="*/ 2147483647 w 204"/>
              <a:gd name="T51" fmla="*/ 2147483647 h 321"/>
              <a:gd name="T52" fmla="*/ 2147483647 w 204"/>
              <a:gd name="T53" fmla="*/ 2147483647 h 321"/>
              <a:gd name="T54" fmla="*/ 2147483647 w 204"/>
              <a:gd name="T55" fmla="*/ 2147483647 h 321"/>
              <a:gd name="T56" fmla="*/ 2147483647 w 204"/>
              <a:gd name="T57" fmla="*/ 2147483647 h 321"/>
              <a:gd name="T58" fmla="*/ 2147483647 w 204"/>
              <a:gd name="T59" fmla="*/ 2147483647 h 321"/>
              <a:gd name="T60" fmla="*/ 2147483647 w 204"/>
              <a:gd name="T61" fmla="*/ 2147483647 h 321"/>
              <a:gd name="T62" fmla="*/ 2147483647 w 204"/>
              <a:gd name="T63" fmla="*/ 2147483647 h 321"/>
              <a:gd name="T64" fmla="*/ 2147483647 w 204"/>
              <a:gd name="T65" fmla="*/ 2147483647 h 321"/>
              <a:gd name="T66" fmla="*/ 2147483647 w 204"/>
              <a:gd name="T67" fmla="*/ 2147483647 h 321"/>
              <a:gd name="T68" fmla="*/ 2147483647 w 204"/>
              <a:gd name="T69" fmla="*/ 2147483647 h 321"/>
              <a:gd name="T70" fmla="*/ 2147483647 w 204"/>
              <a:gd name="T71" fmla="*/ 2147483647 h 321"/>
              <a:gd name="T72" fmla="*/ 2147483647 w 204"/>
              <a:gd name="T73" fmla="*/ 2147483647 h 321"/>
              <a:gd name="T74" fmla="*/ 2147483647 w 204"/>
              <a:gd name="T75" fmla="*/ 2147483647 h 321"/>
              <a:gd name="T76" fmla="*/ 0 w 204"/>
              <a:gd name="T77" fmla="*/ 2147483647 h 321"/>
              <a:gd name="T78" fmla="*/ 2147483647 w 204"/>
              <a:gd name="T79" fmla="*/ 2147483647 h 321"/>
              <a:gd name="T80" fmla="*/ 2147483647 w 204"/>
              <a:gd name="T81" fmla="*/ 2147483647 h 321"/>
              <a:gd name="T82" fmla="*/ 2147483647 w 204"/>
              <a:gd name="T83" fmla="*/ 2147483647 h 321"/>
              <a:gd name="T84" fmla="*/ 2147483647 w 204"/>
              <a:gd name="T85" fmla="*/ 2147483647 h 321"/>
              <a:gd name="T86" fmla="*/ 2147483647 w 204"/>
              <a:gd name="T87" fmla="*/ 2147483647 h 321"/>
              <a:gd name="T88" fmla="*/ 2147483647 w 204"/>
              <a:gd name="T89" fmla="*/ 2147483647 h 321"/>
              <a:gd name="T90" fmla="*/ 2147483647 w 204"/>
              <a:gd name="T91" fmla="*/ 2147483647 h 321"/>
              <a:gd name="T92" fmla="*/ 2147483647 w 204"/>
              <a:gd name="T93" fmla="*/ 2147483647 h 321"/>
              <a:gd name="T94" fmla="*/ 2147483647 w 204"/>
              <a:gd name="T95" fmla="*/ 2147483647 h 321"/>
              <a:gd name="T96" fmla="*/ 2147483647 w 204"/>
              <a:gd name="T97" fmla="*/ 2147483647 h 321"/>
              <a:gd name="T98" fmla="*/ 2147483647 w 204"/>
              <a:gd name="T99" fmla="*/ 2147483647 h 321"/>
              <a:gd name="T100" fmla="*/ 2147483647 w 204"/>
              <a:gd name="T101" fmla="*/ 2147483647 h 321"/>
              <a:gd name="T102" fmla="*/ 2147483647 w 204"/>
              <a:gd name="T103" fmla="*/ 2147483647 h 321"/>
              <a:gd name="T104" fmla="*/ 2147483647 w 204"/>
              <a:gd name="T105" fmla="*/ 2147483647 h 321"/>
              <a:gd name="T106" fmla="*/ 2147483647 w 204"/>
              <a:gd name="T107" fmla="*/ 2147483647 h 321"/>
              <a:gd name="T108" fmla="*/ 2147483647 w 204"/>
              <a:gd name="T109" fmla="*/ 2147483647 h 321"/>
              <a:gd name="T110" fmla="*/ 2147483647 w 204"/>
              <a:gd name="T111" fmla="*/ 2147483647 h 321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204"/>
              <a:gd name="T169" fmla="*/ 0 h 321"/>
              <a:gd name="T170" fmla="*/ 204 w 204"/>
              <a:gd name="T171" fmla="*/ 321 h 321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204" h="321">
                <a:moveTo>
                  <a:pt x="158" y="209"/>
                </a:moveTo>
                <a:lnTo>
                  <a:pt x="167" y="206"/>
                </a:lnTo>
                <a:lnTo>
                  <a:pt x="187" y="206"/>
                </a:lnTo>
                <a:lnTo>
                  <a:pt x="190" y="201"/>
                </a:lnTo>
                <a:lnTo>
                  <a:pt x="190" y="203"/>
                </a:lnTo>
                <a:lnTo>
                  <a:pt x="192" y="203"/>
                </a:lnTo>
                <a:lnTo>
                  <a:pt x="198" y="201"/>
                </a:lnTo>
                <a:lnTo>
                  <a:pt x="204" y="201"/>
                </a:lnTo>
                <a:lnTo>
                  <a:pt x="204" y="198"/>
                </a:lnTo>
                <a:lnTo>
                  <a:pt x="190" y="189"/>
                </a:lnTo>
                <a:lnTo>
                  <a:pt x="198" y="178"/>
                </a:lnTo>
                <a:lnTo>
                  <a:pt x="198" y="169"/>
                </a:lnTo>
                <a:lnTo>
                  <a:pt x="195" y="160"/>
                </a:lnTo>
                <a:lnTo>
                  <a:pt x="195" y="155"/>
                </a:lnTo>
                <a:lnTo>
                  <a:pt x="192" y="152"/>
                </a:lnTo>
                <a:lnTo>
                  <a:pt x="195" y="140"/>
                </a:lnTo>
                <a:lnTo>
                  <a:pt x="201" y="126"/>
                </a:lnTo>
                <a:lnTo>
                  <a:pt x="201" y="123"/>
                </a:lnTo>
                <a:lnTo>
                  <a:pt x="198" y="123"/>
                </a:lnTo>
                <a:lnTo>
                  <a:pt x="187" y="126"/>
                </a:lnTo>
                <a:lnTo>
                  <a:pt x="181" y="126"/>
                </a:lnTo>
                <a:lnTo>
                  <a:pt x="169" y="123"/>
                </a:lnTo>
                <a:lnTo>
                  <a:pt x="164" y="120"/>
                </a:lnTo>
                <a:lnTo>
                  <a:pt x="161" y="117"/>
                </a:lnTo>
                <a:lnTo>
                  <a:pt x="161" y="114"/>
                </a:lnTo>
                <a:lnTo>
                  <a:pt x="155" y="112"/>
                </a:lnTo>
                <a:lnTo>
                  <a:pt x="144" y="109"/>
                </a:lnTo>
                <a:lnTo>
                  <a:pt x="141" y="109"/>
                </a:lnTo>
                <a:lnTo>
                  <a:pt x="138" y="109"/>
                </a:lnTo>
                <a:lnTo>
                  <a:pt x="129" y="109"/>
                </a:lnTo>
                <a:lnTo>
                  <a:pt x="124" y="106"/>
                </a:lnTo>
                <a:lnTo>
                  <a:pt x="115" y="100"/>
                </a:lnTo>
                <a:lnTo>
                  <a:pt x="112" y="97"/>
                </a:lnTo>
                <a:lnTo>
                  <a:pt x="109" y="94"/>
                </a:lnTo>
                <a:lnTo>
                  <a:pt x="112" y="89"/>
                </a:lnTo>
                <a:lnTo>
                  <a:pt x="115" y="83"/>
                </a:lnTo>
                <a:lnTo>
                  <a:pt x="118" y="83"/>
                </a:lnTo>
                <a:lnTo>
                  <a:pt x="115" y="77"/>
                </a:lnTo>
                <a:lnTo>
                  <a:pt x="112" y="66"/>
                </a:lnTo>
                <a:lnTo>
                  <a:pt x="109" y="63"/>
                </a:lnTo>
                <a:lnTo>
                  <a:pt x="103" y="69"/>
                </a:lnTo>
                <a:lnTo>
                  <a:pt x="101" y="66"/>
                </a:lnTo>
                <a:lnTo>
                  <a:pt x="109" y="51"/>
                </a:lnTo>
                <a:lnTo>
                  <a:pt x="115" y="37"/>
                </a:lnTo>
                <a:lnTo>
                  <a:pt x="124" y="25"/>
                </a:lnTo>
                <a:lnTo>
                  <a:pt x="126" y="17"/>
                </a:lnTo>
                <a:lnTo>
                  <a:pt x="146" y="8"/>
                </a:lnTo>
                <a:lnTo>
                  <a:pt x="146" y="5"/>
                </a:lnTo>
                <a:lnTo>
                  <a:pt x="135" y="0"/>
                </a:lnTo>
                <a:lnTo>
                  <a:pt x="126" y="11"/>
                </a:lnTo>
                <a:lnTo>
                  <a:pt x="112" y="20"/>
                </a:lnTo>
                <a:lnTo>
                  <a:pt x="103" y="23"/>
                </a:lnTo>
                <a:lnTo>
                  <a:pt x="98" y="23"/>
                </a:lnTo>
                <a:lnTo>
                  <a:pt x="95" y="20"/>
                </a:lnTo>
                <a:lnTo>
                  <a:pt x="92" y="23"/>
                </a:lnTo>
                <a:lnTo>
                  <a:pt x="86" y="28"/>
                </a:lnTo>
                <a:lnTo>
                  <a:pt x="83" y="28"/>
                </a:lnTo>
                <a:lnTo>
                  <a:pt x="80" y="28"/>
                </a:lnTo>
                <a:lnTo>
                  <a:pt x="78" y="28"/>
                </a:lnTo>
                <a:lnTo>
                  <a:pt x="72" y="34"/>
                </a:lnTo>
                <a:lnTo>
                  <a:pt x="66" y="37"/>
                </a:lnTo>
                <a:lnTo>
                  <a:pt x="66" y="43"/>
                </a:lnTo>
                <a:lnTo>
                  <a:pt x="66" y="48"/>
                </a:lnTo>
                <a:lnTo>
                  <a:pt x="63" y="54"/>
                </a:lnTo>
                <a:lnTo>
                  <a:pt x="66" y="60"/>
                </a:lnTo>
                <a:lnTo>
                  <a:pt x="60" y="60"/>
                </a:lnTo>
                <a:lnTo>
                  <a:pt x="55" y="66"/>
                </a:lnTo>
                <a:lnTo>
                  <a:pt x="49" y="71"/>
                </a:lnTo>
                <a:lnTo>
                  <a:pt x="43" y="77"/>
                </a:lnTo>
                <a:lnTo>
                  <a:pt x="43" y="83"/>
                </a:lnTo>
                <a:lnTo>
                  <a:pt x="40" y="77"/>
                </a:lnTo>
                <a:lnTo>
                  <a:pt x="37" y="74"/>
                </a:lnTo>
                <a:lnTo>
                  <a:pt x="35" y="80"/>
                </a:lnTo>
                <a:lnTo>
                  <a:pt x="37" y="86"/>
                </a:lnTo>
                <a:lnTo>
                  <a:pt x="35" y="94"/>
                </a:lnTo>
                <a:lnTo>
                  <a:pt x="32" y="94"/>
                </a:lnTo>
                <a:lnTo>
                  <a:pt x="29" y="94"/>
                </a:lnTo>
                <a:lnTo>
                  <a:pt x="26" y="103"/>
                </a:lnTo>
                <a:lnTo>
                  <a:pt x="29" y="112"/>
                </a:lnTo>
                <a:lnTo>
                  <a:pt x="32" y="114"/>
                </a:lnTo>
                <a:lnTo>
                  <a:pt x="32" y="120"/>
                </a:lnTo>
                <a:lnTo>
                  <a:pt x="32" y="123"/>
                </a:lnTo>
                <a:lnTo>
                  <a:pt x="32" y="129"/>
                </a:lnTo>
                <a:lnTo>
                  <a:pt x="32" y="132"/>
                </a:lnTo>
                <a:lnTo>
                  <a:pt x="29" y="137"/>
                </a:lnTo>
                <a:lnTo>
                  <a:pt x="32" y="149"/>
                </a:lnTo>
                <a:lnTo>
                  <a:pt x="32" y="155"/>
                </a:lnTo>
                <a:lnTo>
                  <a:pt x="29" y="160"/>
                </a:lnTo>
                <a:lnTo>
                  <a:pt x="26" y="160"/>
                </a:lnTo>
                <a:lnTo>
                  <a:pt x="23" y="163"/>
                </a:lnTo>
                <a:lnTo>
                  <a:pt x="23" y="166"/>
                </a:lnTo>
                <a:lnTo>
                  <a:pt x="23" y="169"/>
                </a:lnTo>
                <a:lnTo>
                  <a:pt x="26" y="172"/>
                </a:lnTo>
                <a:lnTo>
                  <a:pt x="29" y="172"/>
                </a:lnTo>
                <a:lnTo>
                  <a:pt x="29" y="178"/>
                </a:lnTo>
                <a:lnTo>
                  <a:pt x="26" y="180"/>
                </a:lnTo>
                <a:lnTo>
                  <a:pt x="23" y="186"/>
                </a:lnTo>
                <a:lnTo>
                  <a:pt x="20" y="192"/>
                </a:lnTo>
                <a:lnTo>
                  <a:pt x="14" y="192"/>
                </a:lnTo>
                <a:lnTo>
                  <a:pt x="12" y="192"/>
                </a:lnTo>
                <a:lnTo>
                  <a:pt x="9" y="195"/>
                </a:lnTo>
                <a:lnTo>
                  <a:pt x="9" y="203"/>
                </a:lnTo>
                <a:lnTo>
                  <a:pt x="6" y="206"/>
                </a:lnTo>
                <a:lnTo>
                  <a:pt x="3" y="206"/>
                </a:lnTo>
                <a:lnTo>
                  <a:pt x="0" y="209"/>
                </a:lnTo>
                <a:lnTo>
                  <a:pt x="14" y="221"/>
                </a:lnTo>
                <a:lnTo>
                  <a:pt x="26" y="226"/>
                </a:lnTo>
                <a:lnTo>
                  <a:pt x="29" y="226"/>
                </a:lnTo>
                <a:lnTo>
                  <a:pt x="29" y="232"/>
                </a:lnTo>
                <a:lnTo>
                  <a:pt x="37" y="235"/>
                </a:lnTo>
                <a:lnTo>
                  <a:pt x="46" y="235"/>
                </a:lnTo>
                <a:lnTo>
                  <a:pt x="46" y="232"/>
                </a:lnTo>
                <a:lnTo>
                  <a:pt x="49" y="232"/>
                </a:lnTo>
                <a:lnTo>
                  <a:pt x="52" y="232"/>
                </a:lnTo>
                <a:lnTo>
                  <a:pt x="60" y="241"/>
                </a:lnTo>
                <a:lnTo>
                  <a:pt x="63" y="244"/>
                </a:lnTo>
                <a:lnTo>
                  <a:pt x="72" y="244"/>
                </a:lnTo>
                <a:lnTo>
                  <a:pt x="80" y="249"/>
                </a:lnTo>
                <a:lnTo>
                  <a:pt x="83" y="261"/>
                </a:lnTo>
                <a:lnTo>
                  <a:pt x="95" y="267"/>
                </a:lnTo>
                <a:lnTo>
                  <a:pt x="101" y="275"/>
                </a:lnTo>
                <a:lnTo>
                  <a:pt x="109" y="281"/>
                </a:lnTo>
                <a:lnTo>
                  <a:pt x="106" y="287"/>
                </a:lnTo>
                <a:lnTo>
                  <a:pt x="109" y="287"/>
                </a:lnTo>
                <a:lnTo>
                  <a:pt x="121" y="290"/>
                </a:lnTo>
                <a:lnTo>
                  <a:pt x="126" y="287"/>
                </a:lnTo>
                <a:lnTo>
                  <a:pt x="129" y="284"/>
                </a:lnTo>
                <a:lnTo>
                  <a:pt x="138" y="287"/>
                </a:lnTo>
                <a:lnTo>
                  <a:pt x="141" y="284"/>
                </a:lnTo>
                <a:lnTo>
                  <a:pt x="144" y="284"/>
                </a:lnTo>
                <a:lnTo>
                  <a:pt x="155" y="292"/>
                </a:lnTo>
                <a:lnTo>
                  <a:pt x="155" y="295"/>
                </a:lnTo>
                <a:lnTo>
                  <a:pt x="155" y="298"/>
                </a:lnTo>
                <a:lnTo>
                  <a:pt x="152" y="307"/>
                </a:lnTo>
                <a:lnTo>
                  <a:pt x="146" y="315"/>
                </a:lnTo>
                <a:lnTo>
                  <a:pt x="155" y="318"/>
                </a:lnTo>
                <a:lnTo>
                  <a:pt x="158" y="321"/>
                </a:lnTo>
                <a:lnTo>
                  <a:pt x="161" y="287"/>
                </a:lnTo>
                <a:lnTo>
                  <a:pt x="164" y="272"/>
                </a:lnTo>
                <a:lnTo>
                  <a:pt x="164" y="264"/>
                </a:lnTo>
                <a:lnTo>
                  <a:pt x="161" y="258"/>
                </a:lnTo>
                <a:lnTo>
                  <a:pt x="152" y="247"/>
                </a:lnTo>
                <a:lnTo>
                  <a:pt x="152" y="232"/>
                </a:lnTo>
                <a:lnTo>
                  <a:pt x="164" y="229"/>
                </a:lnTo>
                <a:lnTo>
                  <a:pt x="169" y="229"/>
                </a:lnTo>
                <a:lnTo>
                  <a:pt x="167" y="224"/>
                </a:lnTo>
                <a:lnTo>
                  <a:pt x="155" y="221"/>
                </a:lnTo>
                <a:lnTo>
                  <a:pt x="158" y="20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536" name="Freeform 660"/>
          <p:cNvSpPr>
            <a:spLocks/>
          </p:cNvSpPr>
          <p:nvPr/>
        </p:nvSpPr>
        <p:spPr bwMode="gray">
          <a:xfrm>
            <a:off x="2532457" y="3768102"/>
            <a:ext cx="196035" cy="190506"/>
          </a:xfrm>
          <a:custGeom>
            <a:avLst/>
            <a:gdLst>
              <a:gd name="T0" fmla="*/ 2147483647 w 97"/>
              <a:gd name="T1" fmla="*/ 2147483647 h 126"/>
              <a:gd name="T2" fmla="*/ 2147483647 w 97"/>
              <a:gd name="T3" fmla="*/ 2147483647 h 126"/>
              <a:gd name="T4" fmla="*/ 2147483647 w 97"/>
              <a:gd name="T5" fmla="*/ 2147483647 h 126"/>
              <a:gd name="T6" fmla="*/ 2147483647 w 97"/>
              <a:gd name="T7" fmla="*/ 2147483647 h 126"/>
              <a:gd name="T8" fmla="*/ 2147483647 w 97"/>
              <a:gd name="T9" fmla="*/ 2147483647 h 126"/>
              <a:gd name="T10" fmla="*/ 2147483647 w 97"/>
              <a:gd name="T11" fmla="*/ 2147483647 h 126"/>
              <a:gd name="T12" fmla="*/ 2147483647 w 97"/>
              <a:gd name="T13" fmla="*/ 2147483647 h 126"/>
              <a:gd name="T14" fmla="*/ 2147483647 w 97"/>
              <a:gd name="T15" fmla="*/ 2147483647 h 126"/>
              <a:gd name="T16" fmla="*/ 2147483647 w 97"/>
              <a:gd name="T17" fmla="*/ 2147483647 h 126"/>
              <a:gd name="T18" fmla="*/ 2147483647 w 97"/>
              <a:gd name="T19" fmla="*/ 2147483647 h 126"/>
              <a:gd name="T20" fmla="*/ 2147483647 w 97"/>
              <a:gd name="T21" fmla="*/ 2147483647 h 126"/>
              <a:gd name="T22" fmla="*/ 2147483647 w 97"/>
              <a:gd name="T23" fmla="*/ 2147483647 h 126"/>
              <a:gd name="T24" fmla="*/ 2147483647 w 97"/>
              <a:gd name="T25" fmla="*/ 2147483647 h 126"/>
              <a:gd name="T26" fmla="*/ 2147483647 w 97"/>
              <a:gd name="T27" fmla="*/ 2147483647 h 126"/>
              <a:gd name="T28" fmla="*/ 2147483647 w 97"/>
              <a:gd name="T29" fmla="*/ 2147483647 h 126"/>
              <a:gd name="T30" fmla="*/ 2147483647 w 97"/>
              <a:gd name="T31" fmla="*/ 2147483647 h 126"/>
              <a:gd name="T32" fmla="*/ 2147483647 w 97"/>
              <a:gd name="T33" fmla="*/ 2147483647 h 126"/>
              <a:gd name="T34" fmla="*/ 2147483647 w 97"/>
              <a:gd name="T35" fmla="*/ 2147483647 h 126"/>
              <a:gd name="T36" fmla="*/ 2147483647 w 97"/>
              <a:gd name="T37" fmla="*/ 2147483647 h 126"/>
              <a:gd name="T38" fmla="*/ 2147483647 w 97"/>
              <a:gd name="T39" fmla="*/ 2147483647 h 126"/>
              <a:gd name="T40" fmla="*/ 2147483647 w 97"/>
              <a:gd name="T41" fmla="*/ 2147483647 h 126"/>
              <a:gd name="T42" fmla="*/ 2147483647 w 97"/>
              <a:gd name="T43" fmla="*/ 2147483647 h 126"/>
              <a:gd name="T44" fmla="*/ 2147483647 w 97"/>
              <a:gd name="T45" fmla="*/ 0 h 126"/>
              <a:gd name="T46" fmla="*/ 2147483647 w 97"/>
              <a:gd name="T47" fmla="*/ 2147483647 h 126"/>
              <a:gd name="T48" fmla="*/ 2147483647 w 97"/>
              <a:gd name="T49" fmla="*/ 2147483647 h 126"/>
              <a:gd name="T50" fmla="*/ 2147483647 w 97"/>
              <a:gd name="T51" fmla="*/ 2147483647 h 126"/>
              <a:gd name="T52" fmla="*/ 2147483647 w 97"/>
              <a:gd name="T53" fmla="*/ 2147483647 h 126"/>
              <a:gd name="T54" fmla="*/ 2147483647 w 97"/>
              <a:gd name="T55" fmla="*/ 2147483647 h 126"/>
              <a:gd name="T56" fmla="*/ 2147483647 w 97"/>
              <a:gd name="T57" fmla="*/ 2147483647 h 126"/>
              <a:gd name="T58" fmla="*/ 2147483647 w 97"/>
              <a:gd name="T59" fmla="*/ 2147483647 h 126"/>
              <a:gd name="T60" fmla="*/ 2147483647 w 97"/>
              <a:gd name="T61" fmla="*/ 2147483647 h 126"/>
              <a:gd name="T62" fmla="*/ 2147483647 w 97"/>
              <a:gd name="T63" fmla="*/ 2147483647 h 126"/>
              <a:gd name="T64" fmla="*/ 2147483647 w 97"/>
              <a:gd name="T65" fmla="*/ 2147483647 h 126"/>
              <a:gd name="T66" fmla="*/ 0 w 97"/>
              <a:gd name="T67" fmla="*/ 2147483647 h 126"/>
              <a:gd name="T68" fmla="*/ 2147483647 w 97"/>
              <a:gd name="T69" fmla="*/ 2147483647 h 126"/>
              <a:gd name="T70" fmla="*/ 2147483647 w 97"/>
              <a:gd name="T71" fmla="*/ 2147483647 h 126"/>
              <a:gd name="T72" fmla="*/ 2147483647 w 97"/>
              <a:gd name="T73" fmla="*/ 2147483647 h 126"/>
              <a:gd name="T74" fmla="*/ 2147483647 w 97"/>
              <a:gd name="T75" fmla="*/ 2147483647 h 126"/>
              <a:gd name="T76" fmla="*/ 2147483647 w 97"/>
              <a:gd name="T77" fmla="*/ 2147483647 h 126"/>
              <a:gd name="T78" fmla="*/ 2147483647 w 97"/>
              <a:gd name="T79" fmla="*/ 2147483647 h 126"/>
              <a:gd name="T80" fmla="*/ 2147483647 w 97"/>
              <a:gd name="T81" fmla="*/ 2147483647 h 126"/>
              <a:gd name="T82" fmla="*/ 2147483647 w 97"/>
              <a:gd name="T83" fmla="*/ 2147483647 h 126"/>
              <a:gd name="T84" fmla="*/ 2147483647 w 97"/>
              <a:gd name="T85" fmla="*/ 2147483647 h 126"/>
              <a:gd name="T86" fmla="*/ 2147483647 w 97"/>
              <a:gd name="T87" fmla="*/ 2147483647 h 126"/>
              <a:gd name="T88" fmla="*/ 2147483647 w 97"/>
              <a:gd name="T89" fmla="*/ 2147483647 h 126"/>
              <a:gd name="T90" fmla="*/ 2147483647 w 97"/>
              <a:gd name="T91" fmla="*/ 2147483647 h 126"/>
              <a:gd name="T92" fmla="*/ 2147483647 w 97"/>
              <a:gd name="T93" fmla="*/ 2147483647 h 126"/>
              <a:gd name="T94" fmla="*/ 2147483647 w 97"/>
              <a:gd name="T95" fmla="*/ 2147483647 h 126"/>
              <a:gd name="T96" fmla="*/ 2147483647 w 97"/>
              <a:gd name="T97" fmla="*/ 2147483647 h 126"/>
              <a:gd name="T98" fmla="*/ 2147483647 w 97"/>
              <a:gd name="T99" fmla="*/ 2147483647 h 126"/>
              <a:gd name="T100" fmla="*/ 2147483647 w 97"/>
              <a:gd name="T101" fmla="*/ 2147483647 h 126"/>
              <a:gd name="T102" fmla="*/ 2147483647 w 97"/>
              <a:gd name="T103" fmla="*/ 2147483647 h 12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97"/>
              <a:gd name="T157" fmla="*/ 0 h 126"/>
              <a:gd name="T158" fmla="*/ 97 w 97"/>
              <a:gd name="T159" fmla="*/ 126 h 12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97" h="126">
                <a:moveTo>
                  <a:pt x="31" y="123"/>
                </a:moveTo>
                <a:lnTo>
                  <a:pt x="34" y="126"/>
                </a:lnTo>
                <a:lnTo>
                  <a:pt x="37" y="115"/>
                </a:lnTo>
                <a:lnTo>
                  <a:pt x="40" y="115"/>
                </a:lnTo>
                <a:lnTo>
                  <a:pt x="43" y="103"/>
                </a:lnTo>
                <a:lnTo>
                  <a:pt x="51" y="92"/>
                </a:lnTo>
                <a:lnTo>
                  <a:pt x="60" y="83"/>
                </a:lnTo>
                <a:lnTo>
                  <a:pt x="71" y="77"/>
                </a:lnTo>
                <a:lnTo>
                  <a:pt x="77" y="75"/>
                </a:lnTo>
                <a:lnTo>
                  <a:pt x="83" y="72"/>
                </a:lnTo>
                <a:lnTo>
                  <a:pt x="89" y="60"/>
                </a:lnTo>
                <a:lnTo>
                  <a:pt x="94" y="52"/>
                </a:lnTo>
                <a:lnTo>
                  <a:pt x="97" y="46"/>
                </a:lnTo>
                <a:lnTo>
                  <a:pt x="97" y="40"/>
                </a:lnTo>
                <a:lnTo>
                  <a:pt x="91" y="29"/>
                </a:lnTo>
                <a:lnTo>
                  <a:pt x="83" y="20"/>
                </a:lnTo>
                <a:lnTo>
                  <a:pt x="83" y="23"/>
                </a:lnTo>
                <a:lnTo>
                  <a:pt x="80" y="23"/>
                </a:lnTo>
                <a:lnTo>
                  <a:pt x="71" y="23"/>
                </a:lnTo>
                <a:lnTo>
                  <a:pt x="63" y="20"/>
                </a:lnTo>
                <a:lnTo>
                  <a:pt x="60" y="20"/>
                </a:lnTo>
                <a:lnTo>
                  <a:pt x="60" y="14"/>
                </a:lnTo>
                <a:lnTo>
                  <a:pt x="46" y="6"/>
                </a:lnTo>
                <a:lnTo>
                  <a:pt x="37" y="0"/>
                </a:lnTo>
                <a:lnTo>
                  <a:pt x="37" y="3"/>
                </a:lnTo>
                <a:lnTo>
                  <a:pt x="31" y="6"/>
                </a:lnTo>
                <a:lnTo>
                  <a:pt x="25" y="6"/>
                </a:lnTo>
                <a:lnTo>
                  <a:pt x="20" y="9"/>
                </a:lnTo>
                <a:lnTo>
                  <a:pt x="17" y="11"/>
                </a:lnTo>
                <a:lnTo>
                  <a:pt x="17" y="14"/>
                </a:lnTo>
                <a:lnTo>
                  <a:pt x="17" y="23"/>
                </a:lnTo>
                <a:lnTo>
                  <a:pt x="14" y="26"/>
                </a:lnTo>
                <a:lnTo>
                  <a:pt x="11" y="32"/>
                </a:lnTo>
                <a:lnTo>
                  <a:pt x="8" y="34"/>
                </a:lnTo>
                <a:lnTo>
                  <a:pt x="11" y="37"/>
                </a:lnTo>
                <a:lnTo>
                  <a:pt x="8" y="43"/>
                </a:lnTo>
                <a:lnTo>
                  <a:pt x="2" y="46"/>
                </a:lnTo>
                <a:lnTo>
                  <a:pt x="0" y="49"/>
                </a:lnTo>
                <a:lnTo>
                  <a:pt x="2" y="52"/>
                </a:lnTo>
                <a:lnTo>
                  <a:pt x="5" y="54"/>
                </a:lnTo>
                <a:lnTo>
                  <a:pt x="2" y="57"/>
                </a:lnTo>
                <a:lnTo>
                  <a:pt x="2" y="63"/>
                </a:lnTo>
                <a:lnTo>
                  <a:pt x="2" y="69"/>
                </a:lnTo>
                <a:lnTo>
                  <a:pt x="2" y="72"/>
                </a:lnTo>
                <a:lnTo>
                  <a:pt x="2" y="75"/>
                </a:lnTo>
                <a:lnTo>
                  <a:pt x="8" y="77"/>
                </a:lnTo>
                <a:lnTo>
                  <a:pt x="11" y="77"/>
                </a:lnTo>
                <a:lnTo>
                  <a:pt x="14" y="80"/>
                </a:lnTo>
                <a:lnTo>
                  <a:pt x="14" y="83"/>
                </a:lnTo>
                <a:lnTo>
                  <a:pt x="14" y="86"/>
                </a:lnTo>
                <a:lnTo>
                  <a:pt x="17" y="86"/>
                </a:lnTo>
                <a:lnTo>
                  <a:pt x="20" y="77"/>
                </a:lnTo>
                <a:lnTo>
                  <a:pt x="23" y="80"/>
                </a:lnTo>
                <a:lnTo>
                  <a:pt x="20" y="86"/>
                </a:lnTo>
                <a:lnTo>
                  <a:pt x="17" y="92"/>
                </a:lnTo>
                <a:lnTo>
                  <a:pt x="14" y="92"/>
                </a:lnTo>
                <a:lnTo>
                  <a:pt x="17" y="103"/>
                </a:lnTo>
                <a:lnTo>
                  <a:pt x="11" y="109"/>
                </a:lnTo>
                <a:lnTo>
                  <a:pt x="11" y="112"/>
                </a:lnTo>
                <a:lnTo>
                  <a:pt x="20" y="109"/>
                </a:lnTo>
                <a:lnTo>
                  <a:pt x="31" y="115"/>
                </a:lnTo>
                <a:lnTo>
                  <a:pt x="31" y="12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537" name="Freeform 666"/>
          <p:cNvSpPr>
            <a:spLocks/>
          </p:cNvSpPr>
          <p:nvPr/>
        </p:nvSpPr>
        <p:spPr bwMode="gray">
          <a:xfrm>
            <a:off x="2392431" y="2923579"/>
            <a:ext cx="10002" cy="4500"/>
          </a:xfrm>
          <a:custGeom>
            <a:avLst/>
            <a:gdLst>
              <a:gd name="T0" fmla="*/ 0 w 5"/>
              <a:gd name="T1" fmla="*/ 2147483647 h 3"/>
              <a:gd name="T2" fmla="*/ 2147483647 w 5"/>
              <a:gd name="T3" fmla="*/ 2147483647 h 3"/>
              <a:gd name="T4" fmla="*/ 2147483647 w 5"/>
              <a:gd name="T5" fmla="*/ 0 h 3"/>
              <a:gd name="T6" fmla="*/ 2147483647 w 5"/>
              <a:gd name="T7" fmla="*/ 0 h 3"/>
              <a:gd name="T8" fmla="*/ 0 w 5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3"/>
              <a:gd name="T17" fmla="*/ 5 w 5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3">
                <a:moveTo>
                  <a:pt x="0" y="3"/>
                </a:moveTo>
                <a:lnTo>
                  <a:pt x="3" y="3"/>
                </a:lnTo>
                <a:lnTo>
                  <a:pt x="5" y="0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538" name="Freeform 667"/>
          <p:cNvSpPr>
            <a:spLocks/>
          </p:cNvSpPr>
          <p:nvPr/>
        </p:nvSpPr>
        <p:spPr bwMode="gray">
          <a:xfrm>
            <a:off x="2286413" y="3264088"/>
            <a:ext cx="66011" cy="73502"/>
          </a:xfrm>
          <a:custGeom>
            <a:avLst/>
            <a:gdLst>
              <a:gd name="T0" fmla="*/ 2147483647 w 32"/>
              <a:gd name="T1" fmla="*/ 2147483647 h 49"/>
              <a:gd name="T2" fmla="*/ 2147483647 w 32"/>
              <a:gd name="T3" fmla="*/ 2147483647 h 49"/>
              <a:gd name="T4" fmla="*/ 2147483647 w 32"/>
              <a:gd name="T5" fmla="*/ 0 h 49"/>
              <a:gd name="T6" fmla="*/ 2147483647 w 32"/>
              <a:gd name="T7" fmla="*/ 2147483647 h 49"/>
              <a:gd name="T8" fmla="*/ 2147483647 w 32"/>
              <a:gd name="T9" fmla="*/ 2147483647 h 49"/>
              <a:gd name="T10" fmla="*/ 0 w 32"/>
              <a:gd name="T11" fmla="*/ 2147483647 h 49"/>
              <a:gd name="T12" fmla="*/ 2147483647 w 32"/>
              <a:gd name="T13" fmla="*/ 2147483647 h 49"/>
              <a:gd name="T14" fmla="*/ 2147483647 w 32"/>
              <a:gd name="T15" fmla="*/ 2147483647 h 49"/>
              <a:gd name="T16" fmla="*/ 2147483647 w 32"/>
              <a:gd name="T17" fmla="*/ 2147483647 h 49"/>
              <a:gd name="T18" fmla="*/ 2147483647 w 32"/>
              <a:gd name="T19" fmla="*/ 2147483647 h 49"/>
              <a:gd name="T20" fmla="*/ 2147483647 w 32"/>
              <a:gd name="T21" fmla="*/ 2147483647 h 49"/>
              <a:gd name="T22" fmla="*/ 2147483647 w 32"/>
              <a:gd name="T23" fmla="*/ 2147483647 h 49"/>
              <a:gd name="T24" fmla="*/ 2147483647 w 32"/>
              <a:gd name="T25" fmla="*/ 2147483647 h 49"/>
              <a:gd name="T26" fmla="*/ 2147483647 w 32"/>
              <a:gd name="T27" fmla="*/ 2147483647 h 49"/>
              <a:gd name="T28" fmla="*/ 2147483647 w 32"/>
              <a:gd name="T29" fmla="*/ 2147483647 h 49"/>
              <a:gd name="T30" fmla="*/ 2147483647 w 32"/>
              <a:gd name="T31" fmla="*/ 2147483647 h 49"/>
              <a:gd name="T32" fmla="*/ 2147483647 w 32"/>
              <a:gd name="T33" fmla="*/ 2147483647 h 49"/>
              <a:gd name="T34" fmla="*/ 2147483647 w 32"/>
              <a:gd name="T35" fmla="*/ 2147483647 h 49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32"/>
              <a:gd name="T55" fmla="*/ 0 h 49"/>
              <a:gd name="T56" fmla="*/ 32 w 32"/>
              <a:gd name="T57" fmla="*/ 49 h 49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32" h="49">
                <a:moveTo>
                  <a:pt x="32" y="6"/>
                </a:moveTo>
                <a:lnTo>
                  <a:pt x="32" y="6"/>
                </a:lnTo>
                <a:lnTo>
                  <a:pt x="20" y="0"/>
                </a:lnTo>
                <a:lnTo>
                  <a:pt x="14" y="11"/>
                </a:lnTo>
                <a:lnTo>
                  <a:pt x="9" y="11"/>
                </a:lnTo>
                <a:lnTo>
                  <a:pt x="0" y="49"/>
                </a:lnTo>
                <a:lnTo>
                  <a:pt x="6" y="46"/>
                </a:lnTo>
                <a:lnTo>
                  <a:pt x="17" y="37"/>
                </a:lnTo>
                <a:lnTo>
                  <a:pt x="20" y="29"/>
                </a:lnTo>
                <a:lnTo>
                  <a:pt x="17" y="26"/>
                </a:lnTo>
                <a:lnTo>
                  <a:pt x="17" y="23"/>
                </a:lnTo>
                <a:lnTo>
                  <a:pt x="17" y="20"/>
                </a:lnTo>
                <a:lnTo>
                  <a:pt x="26" y="14"/>
                </a:lnTo>
                <a:lnTo>
                  <a:pt x="32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539" name="Freeform 668"/>
          <p:cNvSpPr>
            <a:spLocks/>
          </p:cNvSpPr>
          <p:nvPr/>
        </p:nvSpPr>
        <p:spPr bwMode="gray">
          <a:xfrm>
            <a:off x="2472446" y="3150085"/>
            <a:ext cx="12002" cy="4501"/>
          </a:xfrm>
          <a:custGeom>
            <a:avLst/>
            <a:gdLst>
              <a:gd name="T0" fmla="*/ 2147483647 w 6"/>
              <a:gd name="T1" fmla="*/ 0 h 3"/>
              <a:gd name="T2" fmla="*/ 2147483647 w 6"/>
              <a:gd name="T3" fmla="*/ 0 h 3"/>
              <a:gd name="T4" fmla="*/ 0 w 6"/>
              <a:gd name="T5" fmla="*/ 2147483647 h 3"/>
              <a:gd name="T6" fmla="*/ 2147483647 w 6"/>
              <a:gd name="T7" fmla="*/ 2147483647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6" y="0"/>
                </a:moveTo>
                <a:lnTo>
                  <a:pt x="3" y="0"/>
                </a:lnTo>
                <a:lnTo>
                  <a:pt x="0" y="3"/>
                </a:lnTo>
                <a:lnTo>
                  <a:pt x="3" y="3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540" name="Freeform 669"/>
          <p:cNvSpPr>
            <a:spLocks/>
          </p:cNvSpPr>
          <p:nvPr/>
        </p:nvSpPr>
        <p:spPr bwMode="gray">
          <a:xfrm>
            <a:off x="2466445" y="3124585"/>
            <a:ext cx="360065" cy="103502"/>
          </a:xfrm>
          <a:custGeom>
            <a:avLst/>
            <a:gdLst>
              <a:gd name="T0" fmla="*/ 2147483647 w 178"/>
              <a:gd name="T1" fmla="*/ 2147483647 h 69"/>
              <a:gd name="T2" fmla="*/ 2147483647 w 178"/>
              <a:gd name="T3" fmla="*/ 2147483647 h 69"/>
              <a:gd name="T4" fmla="*/ 2147483647 w 178"/>
              <a:gd name="T5" fmla="*/ 2147483647 h 69"/>
              <a:gd name="T6" fmla="*/ 2147483647 w 178"/>
              <a:gd name="T7" fmla="*/ 2147483647 h 69"/>
              <a:gd name="T8" fmla="*/ 2147483647 w 178"/>
              <a:gd name="T9" fmla="*/ 2147483647 h 69"/>
              <a:gd name="T10" fmla="*/ 2147483647 w 178"/>
              <a:gd name="T11" fmla="*/ 2147483647 h 69"/>
              <a:gd name="T12" fmla="*/ 2147483647 w 178"/>
              <a:gd name="T13" fmla="*/ 2147483647 h 69"/>
              <a:gd name="T14" fmla="*/ 2147483647 w 178"/>
              <a:gd name="T15" fmla="*/ 2147483647 h 69"/>
              <a:gd name="T16" fmla="*/ 2147483647 w 178"/>
              <a:gd name="T17" fmla="*/ 2147483647 h 69"/>
              <a:gd name="T18" fmla="*/ 2147483647 w 178"/>
              <a:gd name="T19" fmla="*/ 2147483647 h 69"/>
              <a:gd name="T20" fmla="*/ 2147483647 w 178"/>
              <a:gd name="T21" fmla="*/ 2147483647 h 69"/>
              <a:gd name="T22" fmla="*/ 2147483647 w 178"/>
              <a:gd name="T23" fmla="*/ 2147483647 h 69"/>
              <a:gd name="T24" fmla="*/ 2147483647 w 178"/>
              <a:gd name="T25" fmla="*/ 2147483647 h 69"/>
              <a:gd name="T26" fmla="*/ 2147483647 w 178"/>
              <a:gd name="T27" fmla="*/ 2147483647 h 69"/>
              <a:gd name="T28" fmla="*/ 2147483647 w 178"/>
              <a:gd name="T29" fmla="*/ 2147483647 h 69"/>
              <a:gd name="T30" fmla="*/ 2147483647 w 178"/>
              <a:gd name="T31" fmla="*/ 2147483647 h 69"/>
              <a:gd name="T32" fmla="*/ 2147483647 w 178"/>
              <a:gd name="T33" fmla="*/ 2147483647 h 69"/>
              <a:gd name="T34" fmla="*/ 2147483647 w 178"/>
              <a:gd name="T35" fmla="*/ 2147483647 h 69"/>
              <a:gd name="T36" fmla="*/ 2147483647 w 178"/>
              <a:gd name="T37" fmla="*/ 2147483647 h 69"/>
              <a:gd name="T38" fmla="*/ 2147483647 w 178"/>
              <a:gd name="T39" fmla="*/ 2147483647 h 69"/>
              <a:gd name="T40" fmla="*/ 2147483647 w 178"/>
              <a:gd name="T41" fmla="*/ 2147483647 h 69"/>
              <a:gd name="T42" fmla="*/ 2147483647 w 178"/>
              <a:gd name="T43" fmla="*/ 2147483647 h 69"/>
              <a:gd name="T44" fmla="*/ 2147483647 w 178"/>
              <a:gd name="T45" fmla="*/ 2147483647 h 69"/>
              <a:gd name="T46" fmla="*/ 2147483647 w 178"/>
              <a:gd name="T47" fmla="*/ 2147483647 h 69"/>
              <a:gd name="T48" fmla="*/ 2147483647 w 178"/>
              <a:gd name="T49" fmla="*/ 2147483647 h 69"/>
              <a:gd name="T50" fmla="*/ 2147483647 w 178"/>
              <a:gd name="T51" fmla="*/ 2147483647 h 69"/>
              <a:gd name="T52" fmla="*/ 2147483647 w 178"/>
              <a:gd name="T53" fmla="*/ 2147483647 h 69"/>
              <a:gd name="T54" fmla="*/ 2147483647 w 178"/>
              <a:gd name="T55" fmla="*/ 2147483647 h 69"/>
              <a:gd name="T56" fmla="*/ 2147483647 w 178"/>
              <a:gd name="T57" fmla="*/ 2147483647 h 69"/>
              <a:gd name="T58" fmla="*/ 2147483647 w 178"/>
              <a:gd name="T59" fmla="*/ 2147483647 h 69"/>
              <a:gd name="T60" fmla="*/ 2147483647 w 178"/>
              <a:gd name="T61" fmla="*/ 2147483647 h 69"/>
              <a:gd name="T62" fmla="*/ 2147483647 w 178"/>
              <a:gd name="T63" fmla="*/ 2147483647 h 69"/>
              <a:gd name="T64" fmla="*/ 2147483647 w 178"/>
              <a:gd name="T65" fmla="*/ 2147483647 h 69"/>
              <a:gd name="T66" fmla="*/ 2147483647 w 178"/>
              <a:gd name="T67" fmla="*/ 0 h 69"/>
              <a:gd name="T68" fmla="*/ 2147483647 w 178"/>
              <a:gd name="T69" fmla="*/ 0 h 69"/>
              <a:gd name="T70" fmla="*/ 2147483647 w 178"/>
              <a:gd name="T71" fmla="*/ 0 h 69"/>
              <a:gd name="T72" fmla="*/ 2147483647 w 178"/>
              <a:gd name="T73" fmla="*/ 2147483647 h 69"/>
              <a:gd name="T74" fmla="*/ 2147483647 w 178"/>
              <a:gd name="T75" fmla="*/ 2147483647 h 69"/>
              <a:gd name="T76" fmla="*/ 2147483647 w 178"/>
              <a:gd name="T77" fmla="*/ 2147483647 h 69"/>
              <a:gd name="T78" fmla="*/ 2147483647 w 178"/>
              <a:gd name="T79" fmla="*/ 2147483647 h 69"/>
              <a:gd name="T80" fmla="*/ 2147483647 w 178"/>
              <a:gd name="T81" fmla="*/ 2147483647 h 69"/>
              <a:gd name="T82" fmla="*/ 2147483647 w 178"/>
              <a:gd name="T83" fmla="*/ 2147483647 h 69"/>
              <a:gd name="T84" fmla="*/ 0 w 178"/>
              <a:gd name="T85" fmla="*/ 2147483647 h 69"/>
              <a:gd name="T86" fmla="*/ 2147483647 w 178"/>
              <a:gd name="T87" fmla="*/ 2147483647 h 69"/>
              <a:gd name="T88" fmla="*/ 2147483647 w 178"/>
              <a:gd name="T89" fmla="*/ 2147483647 h 69"/>
              <a:gd name="T90" fmla="*/ 2147483647 w 178"/>
              <a:gd name="T91" fmla="*/ 2147483647 h 69"/>
              <a:gd name="T92" fmla="*/ 2147483647 w 178"/>
              <a:gd name="T93" fmla="*/ 2147483647 h 69"/>
              <a:gd name="T94" fmla="*/ 2147483647 w 178"/>
              <a:gd name="T95" fmla="*/ 2147483647 h 69"/>
              <a:gd name="T96" fmla="*/ 2147483647 w 178"/>
              <a:gd name="T97" fmla="*/ 2147483647 h 69"/>
              <a:gd name="T98" fmla="*/ 2147483647 w 178"/>
              <a:gd name="T99" fmla="*/ 2147483647 h 69"/>
              <a:gd name="T100" fmla="*/ 2147483647 w 178"/>
              <a:gd name="T101" fmla="*/ 2147483647 h 69"/>
              <a:gd name="T102" fmla="*/ 2147483647 w 178"/>
              <a:gd name="T103" fmla="*/ 2147483647 h 69"/>
              <a:gd name="T104" fmla="*/ 2147483647 w 178"/>
              <a:gd name="T105" fmla="*/ 2147483647 h 69"/>
              <a:gd name="T106" fmla="*/ 2147483647 w 178"/>
              <a:gd name="T107" fmla="*/ 2147483647 h 69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78"/>
              <a:gd name="T163" fmla="*/ 0 h 69"/>
              <a:gd name="T164" fmla="*/ 178 w 178"/>
              <a:gd name="T165" fmla="*/ 69 h 69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78" h="69">
                <a:moveTo>
                  <a:pt x="66" y="20"/>
                </a:moveTo>
                <a:lnTo>
                  <a:pt x="66" y="20"/>
                </a:lnTo>
                <a:lnTo>
                  <a:pt x="69" y="23"/>
                </a:lnTo>
                <a:lnTo>
                  <a:pt x="72" y="23"/>
                </a:lnTo>
                <a:lnTo>
                  <a:pt x="75" y="23"/>
                </a:lnTo>
                <a:lnTo>
                  <a:pt x="75" y="20"/>
                </a:lnTo>
                <a:lnTo>
                  <a:pt x="75" y="23"/>
                </a:lnTo>
                <a:lnTo>
                  <a:pt x="78" y="29"/>
                </a:lnTo>
                <a:lnTo>
                  <a:pt x="80" y="29"/>
                </a:lnTo>
                <a:lnTo>
                  <a:pt x="89" y="32"/>
                </a:lnTo>
                <a:lnTo>
                  <a:pt x="98" y="32"/>
                </a:lnTo>
                <a:lnTo>
                  <a:pt x="103" y="34"/>
                </a:lnTo>
                <a:lnTo>
                  <a:pt x="106" y="37"/>
                </a:lnTo>
                <a:lnTo>
                  <a:pt x="106" y="43"/>
                </a:lnTo>
                <a:lnTo>
                  <a:pt x="109" y="46"/>
                </a:lnTo>
                <a:lnTo>
                  <a:pt x="112" y="49"/>
                </a:lnTo>
                <a:lnTo>
                  <a:pt x="115" y="52"/>
                </a:lnTo>
                <a:lnTo>
                  <a:pt x="121" y="49"/>
                </a:lnTo>
                <a:lnTo>
                  <a:pt x="123" y="52"/>
                </a:lnTo>
                <a:lnTo>
                  <a:pt x="126" y="55"/>
                </a:lnTo>
                <a:lnTo>
                  <a:pt x="123" y="60"/>
                </a:lnTo>
                <a:lnTo>
                  <a:pt x="118" y="63"/>
                </a:lnTo>
                <a:lnTo>
                  <a:pt x="118" y="66"/>
                </a:lnTo>
                <a:lnTo>
                  <a:pt x="126" y="66"/>
                </a:lnTo>
                <a:lnTo>
                  <a:pt x="138" y="63"/>
                </a:lnTo>
                <a:lnTo>
                  <a:pt x="146" y="63"/>
                </a:lnTo>
                <a:lnTo>
                  <a:pt x="149" y="66"/>
                </a:lnTo>
                <a:lnTo>
                  <a:pt x="152" y="69"/>
                </a:lnTo>
                <a:lnTo>
                  <a:pt x="155" y="69"/>
                </a:lnTo>
                <a:lnTo>
                  <a:pt x="164" y="69"/>
                </a:lnTo>
                <a:lnTo>
                  <a:pt x="169" y="66"/>
                </a:lnTo>
                <a:lnTo>
                  <a:pt x="175" y="66"/>
                </a:lnTo>
                <a:lnTo>
                  <a:pt x="178" y="63"/>
                </a:lnTo>
                <a:lnTo>
                  <a:pt x="178" y="60"/>
                </a:lnTo>
                <a:lnTo>
                  <a:pt x="178" y="57"/>
                </a:lnTo>
                <a:lnTo>
                  <a:pt x="169" y="57"/>
                </a:lnTo>
                <a:lnTo>
                  <a:pt x="164" y="55"/>
                </a:lnTo>
                <a:lnTo>
                  <a:pt x="167" y="52"/>
                </a:lnTo>
                <a:lnTo>
                  <a:pt x="164" y="49"/>
                </a:lnTo>
                <a:lnTo>
                  <a:pt x="161" y="49"/>
                </a:lnTo>
                <a:lnTo>
                  <a:pt x="152" y="52"/>
                </a:lnTo>
                <a:lnTo>
                  <a:pt x="149" y="49"/>
                </a:lnTo>
                <a:lnTo>
                  <a:pt x="152" y="46"/>
                </a:lnTo>
                <a:lnTo>
                  <a:pt x="152" y="43"/>
                </a:lnTo>
                <a:lnTo>
                  <a:pt x="152" y="40"/>
                </a:lnTo>
                <a:lnTo>
                  <a:pt x="144" y="40"/>
                </a:lnTo>
                <a:lnTo>
                  <a:pt x="144" y="37"/>
                </a:lnTo>
                <a:lnTo>
                  <a:pt x="141" y="37"/>
                </a:lnTo>
                <a:lnTo>
                  <a:pt x="135" y="37"/>
                </a:lnTo>
                <a:lnTo>
                  <a:pt x="135" y="32"/>
                </a:lnTo>
                <a:lnTo>
                  <a:pt x="132" y="32"/>
                </a:lnTo>
                <a:lnTo>
                  <a:pt x="129" y="32"/>
                </a:lnTo>
                <a:lnTo>
                  <a:pt x="126" y="29"/>
                </a:lnTo>
                <a:lnTo>
                  <a:pt x="126" y="26"/>
                </a:lnTo>
                <a:lnTo>
                  <a:pt x="121" y="23"/>
                </a:lnTo>
                <a:lnTo>
                  <a:pt x="115" y="23"/>
                </a:lnTo>
                <a:lnTo>
                  <a:pt x="109" y="17"/>
                </a:lnTo>
                <a:lnTo>
                  <a:pt x="106" y="17"/>
                </a:lnTo>
                <a:lnTo>
                  <a:pt x="103" y="17"/>
                </a:lnTo>
                <a:lnTo>
                  <a:pt x="98" y="17"/>
                </a:lnTo>
                <a:lnTo>
                  <a:pt x="95" y="17"/>
                </a:lnTo>
                <a:lnTo>
                  <a:pt x="89" y="9"/>
                </a:lnTo>
                <a:lnTo>
                  <a:pt x="86" y="6"/>
                </a:lnTo>
                <a:lnTo>
                  <a:pt x="80" y="6"/>
                </a:lnTo>
                <a:lnTo>
                  <a:pt x="78" y="3"/>
                </a:lnTo>
                <a:lnTo>
                  <a:pt x="72" y="0"/>
                </a:lnTo>
                <a:lnTo>
                  <a:pt x="66" y="3"/>
                </a:lnTo>
                <a:lnTo>
                  <a:pt x="57" y="0"/>
                </a:lnTo>
                <a:lnTo>
                  <a:pt x="52" y="0"/>
                </a:lnTo>
                <a:lnTo>
                  <a:pt x="46" y="0"/>
                </a:lnTo>
                <a:lnTo>
                  <a:pt x="40" y="3"/>
                </a:lnTo>
                <a:lnTo>
                  <a:pt x="34" y="3"/>
                </a:lnTo>
                <a:lnTo>
                  <a:pt x="32" y="3"/>
                </a:lnTo>
                <a:lnTo>
                  <a:pt x="29" y="6"/>
                </a:lnTo>
                <a:lnTo>
                  <a:pt x="17" y="9"/>
                </a:lnTo>
                <a:lnTo>
                  <a:pt x="14" y="14"/>
                </a:lnTo>
                <a:lnTo>
                  <a:pt x="12" y="17"/>
                </a:lnTo>
                <a:lnTo>
                  <a:pt x="9" y="20"/>
                </a:lnTo>
                <a:lnTo>
                  <a:pt x="9" y="23"/>
                </a:lnTo>
                <a:lnTo>
                  <a:pt x="6" y="23"/>
                </a:lnTo>
                <a:lnTo>
                  <a:pt x="3" y="23"/>
                </a:lnTo>
                <a:lnTo>
                  <a:pt x="0" y="26"/>
                </a:lnTo>
                <a:lnTo>
                  <a:pt x="3" y="26"/>
                </a:lnTo>
                <a:lnTo>
                  <a:pt x="9" y="29"/>
                </a:lnTo>
                <a:lnTo>
                  <a:pt x="12" y="26"/>
                </a:lnTo>
                <a:lnTo>
                  <a:pt x="17" y="20"/>
                </a:lnTo>
                <a:lnTo>
                  <a:pt x="26" y="20"/>
                </a:lnTo>
                <a:lnTo>
                  <a:pt x="29" y="20"/>
                </a:lnTo>
                <a:lnTo>
                  <a:pt x="32" y="17"/>
                </a:lnTo>
                <a:lnTo>
                  <a:pt x="32" y="11"/>
                </a:lnTo>
                <a:lnTo>
                  <a:pt x="37" y="11"/>
                </a:lnTo>
                <a:lnTo>
                  <a:pt x="43" y="11"/>
                </a:lnTo>
                <a:lnTo>
                  <a:pt x="52" y="9"/>
                </a:lnTo>
                <a:lnTo>
                  <a:pt x="55" y="11"/>
                </a:lnTo>
                <a:lnTo>
                  <a:pt x="57" y="14"/>
                </a:lnTo>
                <a:lnTo>
                  <a:pt x="55" y="14"/>
                </a:lnTo>
                <a:lnTo>
                  <a:pt x="49" y="14"/>
                </a:lnTo>
                <a:lnTo>
                  <a:pt x="46" y="17"/>
                </a:lnTo>
                <a:lnTo>
                  <a:pt x="49" y="20"/>
                </a:lnTo>
                <a:lnTo>
                  <a:pt x="55" y="23"/>
                </a:lnTo>
                <a:lnTo>
                  <a:pt x="60" y="20"/>
                </a:lnTo>
                <a:lnTo>
                  <a:pt x="66" y="2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542" name="Freeform 671"/>
          <p:cNvSpPr>
            <a:spLocks/>
          </p:cNvSpPr>
          <p:nvPr/>
        </p:nvSpPr>
        <p:spPr bwMode="gray">
          <a:xfrm>
            <a:off x="2274411" y="3337591"/>
            <a:ext cx="220040" cy="87002"/>
          </a:xfrm>
          <a:custGeom>
            <a:avLst/>
            <a:gdLst>
              <a:gd name="T0" fmla="*/ 2147483647 w 109"/>
              <a:gd name="T1" fmla="*/ 2147483647 h 57"/>
              <a:gd name="T2" fmla="*/ 2147483647 w 109"/>
              <a:gd name="T3" fmla="*/ 2147483647 h 57"/>
              <a:gd name="T4" fmla="*/ 2147483647 w 109"/>
              <a:gd name="T5" fmla="*/ 2147483647 h 57"/>
              <a:gd name="T6" fmla="*/ 2147483647 w 109"/>
              <a:gd name="T7" fmla="*/ 2147483647 h 57"/>
              <a:gd name="T8" fmla="*/ 2147483647 w 109"/>
              <a:gd name="T9" fmla="*/ 2147483647 h 57"/>
              <a:gd name="T10" fmla="*/ 2147483647 w 109"/>
              <a:gd name="T11" fmla="*/ 2147483647 h 57"/>
              <a:gd name="T12" fmla="*/ 2147483647 w 109"/>
              <a:gd name="T13" fmla="*/ 2147483647 h 57"/>
              <a:gd name="T14" fmla="*/ 2147483647 w 109"/>
              <a:gd name="T15" fmla="*/ 2147483647 h 57"/>
              <a:gd name="T16" fmla="*/ 2147483647 w 109"/>
              <a:gd name="T17" fmla="*/ 2147483647 h 57"/>
              <a:gd name="T18" fmla="*/ 2147483647 w 109"/>
              <a:gd name="T19" fmla="*/ 2147483647 h 57"/>
              <a:gd name="T20" fmla="*/ 2147483647 w 109"/>
              <a:gd name="T21" fmla="*/ 2147483647 h 57"/>
              <a:gd name="T22" fmla="*/ 2147483647 w 109"/>
              <a:gd name="T23" fmla="*/ 2147483647 h 57"/>
              <a:gd name="T24" fmla="*/ 2147483647 w 109"/>
              <a:gd name="T25" fmla="*/ 2147483647 h 57"/>
              <a:gd name="T26" fmla="*/ 2147483647 w 109"/>
              <a:gd name="T27" fmla="*/ 2147483647 h 57"/>
              <a:gd name="T28" fmla="*/ 2147483647 w 109"/>
              <a:gd name="T29" fmla="*/ 2147483647 h 57"/>
              <a:gd name="T30" fmla="*/ 2147483647 w 109"/>
              <a:gd name="T31" fmla="*/ 2147483647 h 57"/>
              <a:gd name="T32" fmla="*/ 2147483647 w 109"/>
              <a:gd name="T33" fmla="*/ 0 h 57"/>
              <a:gd name="T34" fmla="*/ 2147483647 w 109"/>
              <a:gd name="T35" fmla="*/ 0 h 57"/>
              <a:gd name="T36" fmla="*/ 2147483647 w 109"/>
              <a:gd name="T37" fmla="*/ 2147483647 h 57"/>
              <a:gd name="T38" fmla="*/ 2147483647 w 109"/>
              <a:gd name="T39" fmla="*/ 0 h 57"/>
              <a:gd name="T40" fmla="*/ 2147483647 w 109"/>
              <a:gd name="T41" fmla="*/ 0 h 57"/>
              <a:gd name="T42" fmla="*/ 2147483647 w 109"/>
              <a:gd name="T43" fmla="*/ 0 h 57"/>
              <a:gd name="T44" fmla="*/ 2147483647 w 109"/>
              <a:gd name="T45" fmla="*/ 0 h 57"/>
              <a:gd name="T46" fmla="*/ 2147483647 w 109"/>
              <a:gd name="T47" fmla="*/ 0 h 57"/>
              <a:gd name="T48" fmla="*/ 2147483647 w 109"/>
              <a:gd name="T49" fmla="*/ 2147483647 h 57"/>
              <a:gd name="T50" fmla="*/ 2147483647 w 109"/>
              <a:gd name="T51" fmla="*/ 2147483647 h 57"/>
              <a:gd name="T52" fmla="*/ 2147483647 w 109"/>
              <a:gd name="T53" fmla="*/ 2147483647 h 57"/>
              <a:gd name="T54" fmla="*/ 2147483647 w 109"/>
              <a:gd name="T55" fmla="*/ 2147483647 h 57"/>
              <a:gd name="T56" fmla="*/ 2147483647 w 109"/>
              <a:gd name="T57" fmla="*/ 2147483647 h 57"/>
              <a:gd name="T58" fmla="*/ 2147483647 w 109"/>
              <a:gd name="T59" fmla="*/ 0 h 57"/>
              <a:gd name="T60" fmla="*/ 2147483647 w 109"/>
              <a:gd name="T61" fmla="*/ 2147483647 h 57"/>
              <a:gd name="T62" fmla="*/ 2147483647 w 109"/>
              <a:gd name="T63" fmla="*/ 2147483647 h 57"/>
              <a:gd name="T64" fmla="*/ 2147483647 w 109"/>
              <a:gd name="T65" fmla="*/ 2147483647 h 57"/>
              <a:gd name="T66" fmla="*/ 0 w 109"/>
              <a:gd name="T67" fmla="*/ 2147483647 h 57"/>
              <a:gd name="T68" fmla="*/ 2147483647 w 109"/>
              <a:gd name="T69" fmla="*/ 2147483647 h 57"/>
              <a:gd name="T70" fmla="*/ 2147483647 w 109"/>
              <a:gd name="T71" fmla="*/ 2147483647 h 57"/>
              <a:gd name="T72" fmla="*/ 2147483647 w 109"/>
              <a:gd name="T73" fmla="*/ 2147483647 h 57"/>
              <a:gd name="T74" fmla="*/ 2147483647 w 109"/>
              <a:gd name="T75" fmla="*/ 2147483647 h 57"/>
              <a:gd name="T76" fmla="*/ 2147483647 w 109"/>
              <a:gd name="T77" fmla="*/ 2147483647 h 57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109"/>
              <a:gd name="T118" fmla="*/ 0 h 57"/>
              <a:gd name="T119" fmla="*/ 109 w 109"/>
              <a:gd name="T120" fmla="*/ 57 h 57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109" h="57">
                <a:moveTo>
                  <a:pt x="29" y="57"/>
                </a:moveTo>
                <a:lnTo>
                  <a:pt x="29" y="57"/>
                </a:lnTo>
                <a:lnTo>
                  <a:pt x="41" y="48"/>
                </a:lnTo>
                <a:lnTo>
                  <a:pt x="49" y="40"/>
                </a:lnTo>
                <a:lnTo>
                  <a:pt x="61" y="37"/>
                </a:lnTo>
                <a:lnTo>
                  <a:pt x="66" y="31"/>
                </a:lnTo>
                <a:lnTo>
                  <a:pt x="75" y="17"/>
                </a:lnTo>
                <a:lnTo>
                  <a:pt x="84" y="26"/>
                </a:lnTo>
                <a:lnTo>
                  <a:pt x="98" y="20"/>
                </a:lnTo>
                <a:lnTo>
                  <a:pt x="109" y="17"/>
                </a:lnTo>
                <a:lnTo>
                  <a:pt x="107" y="11"/>
                </a:lnTo>
                <a:lnTo>
                  <a:pt x="98" y="14"/>
                </a:lnTo>
                <a:lnTo>
                  <a:pt x="95" y="8"/>
                </a:lnTo>
                <a:lnTo>
                  <a:pt x="92" y="3"/>
                </a:lnTo>
                <a:lnTo>
                  <a:pt x="86" y="0"/>
                </a:lnTo>
                <a:lnTo>
                  <a:pt x="86" y="3"/>
                </a:lnTo>
                <a:lnTo>
                  <a:pt x="84" y="0"/>
                </a:lnTo>
                <a:lnTo>
                  <a:pt x="75" y="0"/>
                </a:lnTo>
                <a:lnTo>
                  <a:pt x="63" y="0"/>
                </a:lnTo>
                <a:lnTo>
                  <a:pt x="55" y="3"/>
                </a:lnTo>
                <a:lnTo>
                  <a:pt x="55" y="8"/>
                </a:lnTo>
                <a:lnTo>
                  <a:pt x="49" y="3"/>
                </a:lnTo>
                <a:lnTo>
                  <a:pt x="43" y="3"/>
                </a:lnTo>
                <a:lnTo>
                  <a:pt x="35" y="3"/>
                </a:lnTo>
                <a:lnTo>
                  <a:pt x="26" y="0"/>
                </a:lnTo>
                <a:lnTo>
                  <a:pt x="23" y="3"/>
                </a:lnTo>
                <a:lnTo>
                  <a:pt x="23" y="5"/>
                </a:lnTo>
                <a:lnTo>
                  <a:pt x="3" y="20"/>
                </a:lnTo>
                <a:lnTo>
                  <a:pt x="0" y="28"/>
                </a:lnTo>
                <a:lnTo>
                  <a:pt x="12" y="40"/>
                </a:lnTo>
                <a:lnTo>
                  <a:pt x="26" y="37"/>
                </a:lnTo>
                <a:lnTo>
                  <a:pt x="32" y="46"/>
                </a:lnTo>
                <a:lnTo>
                  <a:pt x="26" y="54"/>
                </a:lnTo>
                <a:lnTo>
                  <a:pt x="29" y="5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461" name="Freeform 672"/>
          <p:cNvSpPr>
            <a:spLocks/>
          </p:cNvSpPr>
          <p:nvPr/>
        </p:nvSpPr>
        <p:spPr bwMode="gray">
          <a:xfrm>
            <a:off x="2774501" y="1831551"/>
            <a:ext cx="12002" cy="9000"/>
          </a:xfrm>
          <a:custGeom>
            <a:avLst/>
            <a:gdLst>
              <a:gd name="T0" fmla="*/ 2147483647 w 6"/>
              <a:gd name="T1" fmla="*/ 0 h 6"/>
              <a:gd name="T2" fmla="*/ 0 w 6"/>
              <a:gd name="T3" fmla="*/ 2147483647 h 6"/>
              <a:gd name="T4" fmla="*/ 0 w 6"/>
              <a:gd name="T5" fmla="*/ 2147483647 h 6"/>
              <a:gd name="T6" fmla="*/ 2147483647 w 6"/>
              <a:gd name="T7" fmla="*/ 2147483647 h 6"/>
              <a:gd name="T8" fmla="*/ 2147483647 w 6"/>
              <a:gd name="T9" fmla="*/ 2147483647 h 6"/>
              <a:gd name="T10" fmla="*/ 2147483647 w 6"/>
              <a:gd name="T11" fmla="*/ 2147483647 h 6"/>
              <a:gd name="T12" fmla="*/ 2147483647 w 6"/>
              <a:gd name="T13" fmla="*/ 0 h 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6"/>
              <a:gd name="T22" fmla="*/ 0 h 6"/>
              <a:gd name="T23" fmla="*/ 6 w 6"/>
              <a:gd name="T24" fmla="*/ 6 h 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6" h="6">
                <a:moveTo>
                  <a:pt x="3" y="0"/>
                </a:moveTo>
                <a:lnTo>
                  <a:pt x="0" y="3"/>
                </a:lnTo>
                <a:lnTo>
                  <a:pt x="0" y="6"/>
                </a:lnTo>
                <a:lnTo>
                  <a:pt x="3" y="6"/>
                </a:lnTo>
                <a:lnTo>
                  <a:pt x="6" y="6"/>
                </a:lnTo>
                <a:lnTo>
                  <a:pt x="6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62" name="Rectangle 673"/>
          <p:cNvSpPr>
            <a:spLocks noChangeArrowheads="1"/>
          </p:cNvSpPr>
          <p:nvPr/>
        </p:nvSpPr>
        <p:spPr bwMode="gray">
          <a:xfrm>
            <a:off x="2884520" y="1710046"/>
            <a:ext cx="6002" cy="4501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63" name="Freeform 674"/>
          <p:cNvSpPr>
            <a:spLocks/>
          </p:cNvSpPr>
          <p:nvPr/>
        </p:nvSpPr>
        <p:spPr bwMode="gray">
          <a:xfrm>
            <a:off x="2854515" y="1636545"/>
            <a:ext cx="24004" cy="9000"/>
          </a:xfrm>
          <a:custGeom>
            <a:avLst/>
            <a:gdLst>
              <a:gd name="T0" fmla="*/ 2147483647 w 12"/>
              <a:gd name="T1" fmla="*/ 2147483647 h 6"/>
              <a:gd name="T2" fmla="*/ 2147483647 w 12"/>
              <a:gd name="T3" fmla="*/ 2147483647 h 6"/>
              <a:gd name="T4" fmla="*/ 2147483647 w 12"/>
              <a:gd name="T5" fmla="*/ 2147483647 h 6"/>
              <a:gd name="T6" fmla="*/ 2147483647 w 12"/>
              <a:gd name="T7" fmla="*/ 2147483647 h 6"/>
              <a:gd name="T8" fmla="*/ 2147483647 w 12"/>
              <a:gd name="T9" fmla="*/ 0 h 6"/>
              <a:gd name="T10" fmla="*/ 2147483647 w 12"/>
              <a:gd name="T11" fmla="*/ 0 h 6"/>
              <a:gd name="T12" fmla="*/ 0 w 12"/>
              <a:gd name="T13" fmla="*/ 2147483647 h 6"/>
              <a:gd name="T14" fmla="*/ 2147483647 w 12"/>
              <a:gd name="T15" fmla="*/ 2147483647 h 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2"/>
              <a:gd name="T25" fmla="*/ 0 h 6"/>
              <a:gd name="T26" fmla="*/ 12 w 12"/>
              <a:gd name="T27" fmla="*/ 6 h 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2" h="6">
                <a:moveTo>
                  <a:pt x="3" y="6"/>
                </a:moveTo>
                <a:lnTo>
                  <a:pt x="12" y="6"/>
                </a:lnTo>
                <a:lnTo>
                  <a:pt x="9" y="3"/>
                </a:lnTo>
                <a:lnTo>
                  <a:pt x="6" y="0"/>
                </a:lnTo>
                <a:lnTo>
                  <a:pt x="0" y="3"/>
                </a:lnTo>
                <a:lnTo>
                  <a:pt x="3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64" name="Freeform 675"/>
          <p:cNvSpPr>
            <a:spLocks/>
          </p:cNvSpPr>
          <p:nvPr/>
        </p:nvSpPr>
        <p:spPr bwMode="gray">
          <a:xfrm>
            <a:off x="2700486" y="1654545"/>
            <a:ext cx="58011" cy="16500"/>
          </a:xfrm>
          <a:custGeom>
            <a:avLst/>
            <a:gdLst>
              <a:gd name="T0" fmla="*/ 2147483647 w 29"/>
              <a:gd name="T1" fmla="*/ 2147483647 h 11"/>
              <a:gd name="T2" fmla="*/ 2147483647 w 29"/>
              <a:gd name="T3" fmla="*/ 2147483647 h 11"/>
              <a:gd name="T4" fmla="*/ 2147483647 w 29"/>
              <a:gd name="T5" fmla="*/ 0 h 11"/>
              <a:gd name="T6" fmla="*/ 2147483647 w 29"/>
              <a:gd name="T7" fmla="*/ 0 h 11"/>
              <a:gd name="T8" fmla="*/ 2147483647 w 29"/>
              <a:gd name="T9" fmla="*/ 0 h 11"/>
              <a:gd name="T10" fmla="*/ 2147483647 w 29"/>
              <a:gd name="T11" fmla="*/ 0 h 11"/>
              <a:gd name="T12" fmla="*/ 2147483647 w 29"/>
              <a:gd name="T13" fmla="*/ 2147483647 h 11"/>
              <a:gd name="T14" fmla="*/ 2147483647 w 29"/>
              <a:gd name="T15" fmla="*/ 2147483647 h 11"/>
              <a:gd name="T16" fmla="*/ 2147483647 w 29"/>
              <a:gd name="T17" fmla="*/ 2147483647 h 11"/>
              <a:gd name="T18" fmla="*/ 0 w 29"/>
              <a:gd name="T19" fmla="*/ 2147483647 h 11"/>
              <a:gd name="T20" fmla="*/ 0 w 29"/>
              <a:gd name="T21" fmla="*/ 2147483647 h 11"/>
              <a:gd name="T22" fmla="*/ 2147483647 w 29"/>
              <a:gd name="T23" fmla="*/ 2147483647 h 11"/>
              <a:gd name="T24" fmla="*/ 2147483647 w 29"/>
              <a:gd name="T25" fmla="*/ 2147483647 h 11"/>
              <a:gd name="T26" fmla="*/ 2147483647 w 29"/>
              <a:gd name="T27" fmla="*/ 2147483647 h 11"/>
              <a:gd name="T28" fmla="*/ 2147483647 w 29"/>
              <a:gd name="T29" fmla="*/ 2147483647 h 11"/>
              <a:gd name="T30" fmla="*/ 2147483647 w 29"/>
              <a:gd name="T31" fmla="*/ 2147483647 h 11"/>
              <a:gd name="T32" fmla="*/ 2147483647 w 29"/>
              <a:gd name="T33" fmla="*/ 2147483647 h 11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29"/>
              <a:gd name="T52" fmla="*/ 0 h 11"/>
              <a:gd name="T53" fmla="*/ 29 w 29"/>
              <a:gd name="T54" fmla="*/ 11 h 11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29" h="11">
                <a:moveTo>
                  <a:pt x="17" y="8"/>
                </a:moveTo>
                <a:lnTo>
                  <a:pt x="17" y="8"/>
                </a:lnTo>
                <a:lnTo>
                  <a:pt x="29" y="0"/>
                </a:lnTo>
                <a:lnTo>
                  <a:pt x="26" y="0"/>
                </a:lnTo>
                <a:lnTo>
                  <a:pt x="23" y="0"/>
                </a:lnTo>
                <a:lnTo>
                  <a:pt x="14" y="2"/>
                </a:lnTo>
                <a:lnTo>
                  <a:pt x="6" y="5"/>
                </a:lnTo>
                <a:lnTo>
                  <a:pt x="0" y="8"/>
                </a:lnTo>
                <a:lnTo>
                  <a:pt x="3" y="8"/>
                </a:lnTo>
                <a:lnTo>
                  <a:pt x="6" y="11"/>
                </a:lnTo>
                <a:lnTo>
                  <a:pt x="11" y="8"/>
                </a:lnTo>
                <a:lnTo>
                  <a:pt x="17" y="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65" name="Freeform 676"/>
          <p:cNvSpPr>
            <a:spLocks/>
          </p:cNvSpPr>
          <p:nvPr/>
        </p:nvSpPr>
        <p:spPr bwMode="gray">
          <a:xfrm>
            <a:off x="2386431" y="1689046"/>
            <a:ext cx="314056" cy="87002"/>
          </a:xfrm>
          <a:custGeom>
            <a:avLst/>
            <a:gdLst>
              <a:gd name="T0" fmla="*/ 2147483647 w 155"/>
              <a:gd name="T1" fmla="*/ 2147483647 h 57"/>
              <a:gd name="T2" fmla="*/ 2147483647 w 155"/>
              <a:gd name="T3" fmla="*/ 2147483647 h 57"/>
              <a:gd name="T4" fmla="*/ 2147483647 w 155"/>
              <a:gd name="T5" fmla="*/ 2147483647 h 57"/>
              <a:gd name="T6" fmla="*/ 2147483647 w 155"/>
              <a:gd name="T7" fmla="*/ 2147483647 h 57"/>
              <a:gd name="T8" fmla="*/ 2147483647 w 155"/>
              <a:gd name="T9" fmla="*/ 2147483647 h 57"/>
              <a:gd name="T10" fmla="*/ 2147483647 w 155"/>
              <a:gd name="T11" fmla="*/ 2147483647 h 57"/>
              <a:gd name="T12" fmla="*/ 2147483647 w 155"/>
              <a:gd name="T13" fmla="*/ 2147483647 h 57"/>
              <a:gd name="T14" fmla="*/ 2147483647 w 155"/>
              <a:gd name="T15" fmla="*/ 2147483647 h 57"/>
              <a:gd name="T16" fmla="*/ 2147483647 w 155"/>
              <a:gd name="T17" fmla="*/ 2147483647 h 57"/>
              <a:gd name="T18" fmla="*/ 2147483647 w 155"/>
              <a:gd name="T19" fmla="*/ 2147483647 h 57"/>
              <a:gd name="T20" fmla="*/ 2147483647 w 155"/>
              <a:gd name="T21" fmla="*/ 2147483647 h 57"/>
              <a:gd name="T22" fmla="*/ 2147483647 w 155"/>
              <a:gd name="T23" fmla="*/ 2147483647 h 57"/>
              <a:gd name="T24" fmla="*/ 2147483647 w 155"/>
              <a:gd name="T25" fmla="*/ 2147483647 h 57"/>
              <a:gd name="T26" fmla="*/ 2147483647 w 155"/>
              <a:gd name="T27" fmla="*/ 2147483647 h 57"/>
              <a:gd name="T28" fmla="*/ 2147483647 w 155"/>
              <a:gd name="T29" fmla="*/ 2147483647 h 57"/>
              <a:gd name="T30" fmla="*/ 2147483647 w 155"/>
              <a:gd name="T31" fmla="*/ 2147483647 h 57"/>
              <a:gd name="T32" fmla="*/ 2147483647 w 155"/>
              <a:gd name="T33" fmla="*/ 2147483647 h 57"/>
              <a:gd name="T34" fmla="*/ 2147483647 w 155"/>
              <a:gd name="T35" fmla="*/ 2147483647 h 57"/>
              <a:gd name="T36" fmla="*/ 2147483647 w 155"/>
              <a:gd name="T37" fmla="*/ 2147483647 h 57"/>
              <a:gd name="T38" fmla="*/ 2147483647 w 155"/>
              <a:gd name="T39" fmla="*/ 2147483647 h 57"/>
              <a:gd name="T40" fmla="*/ 2147483647 w 155"/>
              <a:gd name="T41" fmla="*/ 2147483647 h 57"/>
              <a:gd name="T42" fmla="*/ 2147483647 w 155"/>
              <a:gd name="T43" fmla="*/ 2147483647 h 57"/>
              <a:gd name="T44" fmla="*/ 2147483647 w 155"/>
              <a:gd name="T45" fmla="*/ 2147483647 h 57"/>
              <a:gd name="T46" fmla="*/ 2147483647 w 155"/>
              <a:gd name="T47" fmla="*/ 2147483647 h 57"/>
              <a:gd name="T48" fmla="*/ 2147483647 w 155"/>
              <a:gd name="T49" fmla="*/ 2147483647 h 57"/>
              <a:gd name="T50" fmla="*/ 2147483647 w 155"/>
              <a:gd name="T51" fmla="*/ 2147483647 h 57"/>
              <a:gd name="T52" fmla="*/ 2147483647 w 155"/>
              <a:gd name="T53" fmla="*/ 2147483647 h 57"/>
              <a:gd name="T54" fmla="*/ 2147483647 w 155"/>
              <a:gd name="T55" fmla="*/ 2147483647 h 57"/>
              <a:gd name="T56" fmla="*/ 2147483647 w 155"/>
              <a:gd name="T57" fmla="*/ 2147483647 h 57"/>
              <a:gd name="T58" fmla="*/ 2147483647 w 155"/>
              <a:gd name="T59" fmla="*/ 2147483647 h 57"/>
              <a:gd name="T60" fmla="*/ 2147483647 w 155"/>
              <a:gd name="T61" fmla="*/ 2147483647 h 57"/>
              <a:gd name="T62" fmla="*/ 2147483647 w 155"/>
              <a:gd name="T63" fmla="*/ 2147483647 h 57"/>
              <a:gd name="T64" fmla="*/ 2147483647 w 155"/>
              <a:gd name="T65" fmla="*/ 2147483647 h 57"/>
              <a:gd name="T66" fmla="*/ 2147483647 w 155"/>
              <a:gd name="T67" fmla="*/ 2147483647 h 57"/>
              <a:gd name="T68" fmla="*/ 2147483647 w 155"/>
              <a:gd name="T69" fmla="*/ 2147483647 h 57"/>
              <a:gd name="T70" fmla="*/ 2147483647 w 155"/>
              <a:gd name="T71" fmla="*/ 2147483647 h 57"/>
              <a:gd name="T72" fmla="*/ 2147483647 w 155"/>
              <a:gd name="T73" fmla="*/ 2147483647 h 57"/>
              <a:gd name="T74" fmla="*/ 2147483647 w 155"/>
              <a:gd name="T75" fmla="*/ 2147483647 h 57"/>
              <a:gd name="T76" fmla="*/ 2147483647 w 155"/>
              <a:gd name="T77" fmla="*/ 2147483647 h 57"/>
              <a:gd name="T78" fmla="*/ 2147483647 w 155"/>
              <a:gd name="T79" fmla="*/ 2147483647 h 57"/>
              <a:gd name="T80" fmla="*/ 2147483647 w 155"/>
              <a:gd name="T81" fmla="*/ 2147483647 h 57"/>
              <a:gd name="T82" fmla="*/ 2147483647 w 155"/>
              <a:gd name="T83" fmla="*/ 0 h 57"/>
              <a:gd name="T84" fmla="*/ 2147483647 w 155"/>
              <a:gd name="T85" fmla="*/ 2147483647 h 57"/>
              <a:gd name="T86" fmla="*/ 2147483647 w 155"/>
              <a:gd name="T87" fmla="*/ 2147483647 h 57"/>
              <a:gd name="T88" fmla="*/ 2147483647 w 155"/>
              <a:gd name="T89" fmla="*/ 2147483647 h 57"/>
              <a:gd name="T90" fmla="*/ 2147483647 w 155"/>
              <a:gd name="T91" fmla="*/ 2147483647 h 57"/>
              <a:gd name="T92" fmla="*/ 2147483647 w 155"/>
              <a:gd name="T93" fmla="*/ 2147483647 h 57"/>
              <a:gd name="T94" fmla="*/ 2147483647 w 155"/>
              <a:gd name="T95" fmla="*/ 2147483647 h 57"/>
              <a:gd name="T96" fmla="*/ 2147483647 w 155"/>
              <a:gd name="T97" fmla="*/ 2147483647 h 57"/>
              <a:gd name="T98" fmla="*/ 2147483647 w 155"/>
              <a:gd name="T99" fmla="*/ 2147483647 h 57"/>
              <a:gd name="T100" fmla="*/ 2147483647 w 155"/>
              <a:gd name="T101" fmla="*/ 2147483647 h 57"/>
              <a:gd name="T102" fmla="*/ 2147483647 w 155"/>
              <a:gd name="T103" fmla="*/ 2147483647 h 57"/>
              <a:gd name="T104" fmla="*/ 0 w 155"/>
              <a:gd name="T105" fmla="*/ 2147483647 h 57"/>
              <a:gd name="T106" fmla="*/ 0 w 155"/>
              <a:gd name="T107" fmla="*/ 2147483647 h 57"/>
              <a:gd name="T108" fmla="*/ 0 w 155"/>
              <a:gd name="T109" fmla="*/ 2147483647 h 57"/>
              <a:gd name="T110" fmla="*/ 2147483647 w 155"/>
              <a:gd name="T111" fmla="*/ 2147483647 h 57"/>
              <a:gd name="T112" fmla="*/ 2147483647 w 155"/>
              <a:gd name="T113" fmla="*/ 2147483647 h 57"/>
              <a:gd name="T114" fmla="*/ 2147483647 w 155"/>
              <a:gd name="T115" fmla="*/ 2147483647 h 57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155"/>
              <a:gd name="T175" fmla="*/ 0 h 57"/>
              <a:gd name="T176" fmla="*/ 155 w 155"/>
              <a:gd name="T177" fmla="*/ 57 h 57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155" h="57">
                <a:moveTo>
                  <a:pt x="14" y="46"/>
                </a:moveTo>
                <a:lnTo>
                  <a:pt x="14" y="46"/>
                </a:lnTo>
                <a:lnTo>
                  <a:pt x="11" y="51"/>
                </a:lnTo>
                <a:lnTo>
                  <a:pt x="11" y="54"/>
                </a:lnTo>
                <a:lnTo>
                  <a:pt x="11" y="57"/>
                </a:lnTo>
                <a:lnTo>
                  <a:pt x="17" y="54"/>
                </a:lnTo>
                <a:lnTo>
                  <a:pt x="31" y="54"/>
                </a:lnTo>
                <a:lnTo>
                  <a:pt x="43" y="51"/>
                </a:lnTo>
                <a:lnTo>
                  <a:pt x="54" y="48"/>
                </a:lnTo>
                <a:lnTo>
                  <a:pt x="69" y="37"/>
                </a:lnTo>
                <a:lnTo>
                  <a:pt x="72" y="37"/>
                </a:lnTo>
                <a:lnTo>
                  <a:pt x="77" y="34"/>
                </a:lnTo>
                <a:lnTo>
                  <a:pt x="83" y="34"/>
                </a:lnTo>
                <a:lnTo>
                  <a:pt x="92" y="31"/>
                </a:lnTo>
                <a:lnTo>
                  <a:pt x="100" y="28"/>
                </a:lnTo>
                <a:lnTo>
                  <a:pt x="118" y="25"/>
                </a:lnTo>
                <a:lnTo>
                  <a:pt x="132" y="23"/>
                </a:lnTo>
                <a:lnTo>
                  <a:pt x="149" y="20"/>
                </a:lnTo>
                <a:lnTo>
                  <a:pt x="155" y="14"/>
                </a:lnTo>
                <a:lnTo>
                  <a:pt x="146" y="8"/>
                </a:lnTo>
                <a:lnTo>
                  <a:pt x="135" y="5"/>
                </a:lnTo>
                <a:lnTo>
                  <a:pt x="126" y="5"/>
                </a:lnTo>
                <a:lnTo>
                  <a:pt x="123" y="8"/>
                </a:lnTo>
                <a:lnTo>
                  <a:pt x="120" y="8"/>
                </a:lnTo>
                <a:lnTo>
                  <a:pt x="115" y="5"/>
                </a:lnTo>
                <a:lnTo>
                  <a:pt x="112" y="2"/>
                </a:lnTo>
                <a:lnTo>
                  <a:pt x="106" y="2"/>
                </a:lnTo>
                <a:lnTo>
                  <a:pt x="86" y="2"/>
                </a:lnTo>
                <a:lnTo>
                  <a:pt x="72" y="2"/>
                </a:lnTo>
                <a:lnTo>
                  <a:pt x="66" y="0"/>
                </a:lnTo>
                <a:lnTo>
                  <a:pt x="63" y="2"/>
                </a:lnTo>
                <a:lnTo>
                  <a:pt x="60" y="17"/>
                </a:lnTo>
                <a:lnTo>
                  <a:pt x="40" y="23"/>
                </a:lnTo>
                <a:lnTo>
                  <a:pt x="29" y="28"/>
                </a:lnTo>
                <a:lnTo>
                  <a:pt x="11" y="37"/>
                </a:lnTo>
                <a:lnTo>
                  <a:pt x="3" y="40"/>
                </a:lnTo>
                <a:lnTo>
                  <a:pt x="0" y="40"/>
                </a:lnTo>
                <a:lnTo>
                  <a:pt x="0" y="43"/>
                </a:lnTo>
                <a:lnTo>
                  <a:pt x="8" y="46"/>
                </a:lnTo>
                <a:lnTo>
                  <a:pt x="14" y="4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66" name="Freeform 677"/>
          <p:cNvSpPr>
            <a:spLocks/>
          </p:cNvSpPr>
          <p:nvPr/>
        </p:nvSpPr>
        <p:spPr bwMode="gray">
          <a:xfrm>
            <a:off x="2634476" y="1620044"/>
            <a:ext cx="226040" cy="46502"/>
          </a:xfrm>
          <a:custGeom>
            <a:avLst/>
            <a:gdLst>
              <a:gd name="T0" fmla="*/ 2147483647 w 112"/>
              <a:gd name="T1" fmla="*/ 2147483647 h 31"/>
              <a:gd name="T2" fmla="*/ 2147483647 w 112"/>
              <a:gd name="T3" fmla="*/ 2147483647 h 31"/>
              <a:gd name="T4" fmla="*/ 2147483647 w 112"/>
              <a:gd name="T5" fmla="*/ 2147483647 h 31"/>
              <a:gd name="T6" fmla="*/ 2147483647 w 112"/>
              <a:gd name="T7" fmla="*/ 2147483647 h 31"/>
              <a:gd name="T8" fmla="*/ 2147483647 w 112"/>
              <a:gd name="T9" fmla="*/ 2147483647 h 31"/>
              <a:gd name="T10" fmla="*/ 2147483647 w 112"/>
              <a:gd name="T11" fmla="*/ 2147483647 h 31"/>
              <a:gd name="T12" fmla="*/ 2147483647 w 112"/>
              <a:gd name="T13" fmla="*/ 2147483647 h 31"/>
              <a:gd name="T14" fmla="*/ 2147483647 w 112"/>
              <a:gd name="T15" fmla="*/ 2147483647 h 31"/>
              <a:gd name="T16" fmla="*/ 2147483647 w 112"/>
              <a:gd name="T17" fmla="*/ 2147483647 h 31"/>
              <a:gd name="T18" fmla="*/ 2147483647 w 112"/>
              <a:gd name="T19" fmla="*/ 2147483647 h 31"/>
              <a:gd name="T20" fmla="*/ 2147483647 w 112"/>
              <a:gd name="T21" fmla="*/ 2147483647 h 31"/>
              <a:gd name="T22" fmla="*/ 2147483647 w 112"/>
              <a:gd name="T23" fmla="*/ 2147483647 h 31"/>
              <a:gd name="T24" fmla="*/ 2147483647 w 112"/>
              <a:gd name="T25" fmla="*/ 2147483647 h 31"/>
              <a:gd name="T26" fmla="*/ 2147483647 w 112"/>
              <a:gd name="T27" fmla="*/ 2147483647 h 31"/>
              <a:gd name="T28" fmla="*/ 2147483647 w 112"/>
              <a:gd name="T29" fmla="*/ 2147483647 h 31"/>
              <a:gd name="T30" fmla="*/ 2147483647 w 112"/>
              <a:gd name="T31" fmla="*/ 2147483647 h 31"/>
              <a:gd name="T32" fmla="*/ 2147483647 w 112"/>
              <a:gd name="T33" fmla="*/ 2147483647 h 31"/>
              <a:gd name="T34" fmla="*/ 2147483647 w 112"/>
              <a:gd name="T35" fmla="*/ 2147483647 h 31"/>
              <a:gd name="T36" fmla="*/ 2147483647 w 112"/>
              <a:gd name="T37" fmla="*/ 2147483647 h 31"/>
              <a:gd name="T38" fmla="*/ 2147483647 w 112"/>
              <a:gd name="T39" fmla="*/ 2147483647 h 31"/>
              <a:gd name="T40" fmla="*/ 2147483647 w 112"/>
              <a:gd name="T41" fmla="*/ 2147483647 h 31"/>
              <a:gd name="T42" fmla="*/ 2147483647 w 112"/>
              <a:gd name="T43" fmla="*/ 2147483647 h 31"/>
              <a:gd name="T44" fmla="*/ 2147483647 w 112"/>
              <a:gd name="T45" fmla="*/ 0 h 31"/>
              <a:gd name="T46" fmla="*/ 2147483647 w 112"/>
              <a:gd name="T47" fmla="*/ 2147483647 h 31"/>
              <a:gd name="T48" fmla="*/ 2147483647 w 112"/>
              <a:gd name="T49" fmla="*/ 2147483647 h 31"/>
              <a:gd name="T50" fmla="*/ 2147483647 w 112"/>
              <a:gd name="T51" fmla="*/ 2147483647 h 31"/>
              <a:gd name="T52" fmla="*/ 2147483647 w 112"/>
              <a:gd name="T53" fmla="*/ 2147483647 h 31"/>
              <a:gd name="T54" fmla="*/ 2147483647 w 112"/>
              <a:gd name="T55" fmla="*/ 2147483647 h 31"/>
              <a:gd name="T56" fmla="*/ 2147483647 w 112"/>
              <a:gd name="T57" fmla="*/ 2147483647 h 31"/>
              <a:gd name="T58" fmla="*/ 2147483647 w 112"/>
              <a:gd name="T59" fmla="*/ 2147483647 h 31"/>
              <a:gd name="T60" fmla="*/ 2147483647 w 112"/>
              <a:gd name="T61" fmla="*/ 2147483647 h 31"/>
              <a:gd name="T62" fmla="*/ 2147483647 w 112"/>
              <a:gd name="T63" fmla="*/ 2147483647 h 31"/>
              <a:gd name="T64" fmla="*/ 0 w 112"/>
              <a:gd name="T65" fmla="*/ 2147483647 h 31"/>
              <a:gd name="T66" fmla="*/ 2147483647 w 112"/>
              <a:gd name="T67" fmla="*/ 2147483647 h 31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112"/>
              <a:gd name="T103" fmla="*/ 0 h 31"/>
              <a:gd name="T104" fmla="*/ 112 w 112"/>
              <a:gd name="T105" fmla="*/ 31 h 31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112" h="31">
                <a:moveTo>
                  <a:pt x="12" y="25"/>
                </a:moveTo>
                <a:lnTo>
                  <a:pt x="12" y="25"/>
                </a:lnTo>
                <a:lnTo>
                  <a:pt x="12" y="28"/>
                </a:lnTo>
                <a:lnTo>
                  <a:pt x="12" y="31"/>
                </a:lnTo>
                <a:lnTo>
                  <a:pt x="20" y="25"/>
                </a:lnTo>
                <a:lnTo>
                  <a:pt x="26" y="23"/>
                </a:lnTo>
                <a:lnTo>
                  <a:pt x="26" y="28"/>
                </a:lnTo>
                <a:lnTo>
                  <a:pt x="32" y="25"/>
                </a:lnTo>
                <a:lnTo>
                  <a:pt x="38" y="20"/>
                </a:lnTo>
                <a:lnTo>
                  <a:pt x="43" y="20"/>
                </a:lnTo>
                <a:lnTo>
                  <a:pt x="43" y="23"/>
                </a:lnTo>
                <a:lnTo>
                  <a:pt x="49" y="23"/>
                </a:lnTo>
                <a:lnTo>
                  <a:pt x="58" y="20"/>
                </a:lnTo>
                <a:lnTo>
                  <a:pt x="61" y="17"/>
                </a:lnTo>
                <a:lnTo>
                  <a:pt x="69" y="14"/>
                </a:lnTo>
                <a:lnTo>
                  <a:pt x="69" y="17"/>
                </a:lnTo>
                <a:lnTo>
                  <a:pt x="63" y="20"/>
                </a:lnTo>
                <a:lnTo>
                  <a:pt x="66" y="23"/>
                </a:lnTo>
                <a:lnTo>
                  <a:pt x="72" y="20"/>
                </a:lnTo>
                <a:lnTo>
                  <a:pt x="78" y="20"/>
                </a:lnTo>
                <a:lnTo>
                  <a:pt x="86" y="20"/>
                </a:lnTo>
                <a:lnTo>
                  <a:pt x="92" y="17"/>
                </a:lnTo>
                <a:lnTo>
                  <a:pt x="92" y="14"/>
                </a:lnTo>
                <a:lnTo>
                  <a:pt x="95" y="11"/>
                </a:lnTo>
                <a:lnTo>
                  <a:pt x="98" y="11"/>
                </a:lnTo>
                <a:lnTo>
                  <a:pt x="101" y="8"/>
                </a:lnTo>
                <a:lnTo>
                  <a:pt x="107" y="8"/>
                </a:lnTo>
                <a:lnTo>
                  <a:pt x="112" y="5"/>
                </a:lnTo>
                <a:lnTo>
                  <a:pt x="112" y="3"/>
                </a:lnTo>
                <a:lnTo>
                  <a:pt x="107" y="3"/>
                </a:lnTo>
                <a:lnTo>
                  <a:pt x="104" y="0"/>
                </a:lnTo>
                <a:lnTo>
                  <a:pt x="101" y="3"/>
                </a:lnTo>
                <a:lnTo>
                  <a:pt x="101" y="5"/>
                </a:lnTo>
                <a:lnTo>
                  <a:pt x="92" y="5"/>
                </a:lnTo>
                <a:lnTo>
                  <a:pt x="75" y="5"/>
                </a:lnTo>
                <a:lnTo>
                  <a:pt x="66" y="8"/>
                </a:lnTo>
                <a:lnTo>
                  <a:pt x="55" y="11"/>
                </a:lnTo>
                <a:lnTo>
                  <a:pt x="49" y="14"/>
                </a:lnTo>
                <a:lnTo>
                  <a:pt x="43" y="17"/>
                </a:lnTo>
                <a:lnTo>
                  <a:pt x="26" y="20"/>
                </a:lnTo>
                <a:lnTo>
                  <a:pt x="9" y="20"/>
                </a:lnTo>
                <a:lnTo>
                  <a:pt x="0" y="25"/>
                </a:lnTo>
                <a:lnTo>
                  <a:pt x="12" y="2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67" name="Freeform 678"/>
          <p:cNvSpPr>
            <a:spLocks/>
          </p:cNvSpPr>
          <p:nvPr/>
        </p:nvSpPr>
        <p:spPr bwMode="gray">
          <a:xfrm>
            <a:off x="2652478" y="1861551"/>
            <a:ext cx="12002" cy="1500"/>
          </a:xfrm>
          <a:custGeom>
            <a:avLst/>
            <a:gdLst>
              <a:gd name="T0" fmla="*/ 2147483647 w 6"/>
              <a:gd name="T1" fmla="*/ 0 h 1"/>
              <a:gd name="T2" fmla="*/ 2147483647 w 6"/>
              <a:gd name="T3" fmla="*/ 0 h 1"/>
              <a:gd name="T4" fmla="*/ 0 w 6"/>
              <a:gd name="T5" fmla="*/ 0 h 1"/>
              <a:gd name="T6" fmla="*/ 2147483647 w 6"/>
              <a:gd name="T7" fmla="*/ 0 h 1"/>
              <a:gd name="T8" fmla="*/ 2147483647 w 6"/>
              <a:gd name="T9" fmla="*/ 0 h 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1"/>
              <a:gd name="T17" fmla="*/ 6 w 6"/>
              <a:gd name="T18" fmla="*/ 1 h 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1">
                <a:moveTo>
                  <a:pt x="6" y="0"/>
                </a:moveTo>
                <a:lnTo>
                  <a:pt x="3" y="0"/>
                </a:lnTo>
                <a:lnTo>
                  <a:pt x="0" y="0"/>
                </a:lnTo>
                <a:lnTo>
                  <a:pt x="3" y="0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68" name="Freeform 679"/>
          <p:cNvSpPr>
            <a:spLocks/>
          </p:cNvSpPr>
          <p:nvPr/>
        </p:nvSpPr>
        <p:spPr bwMode="gray">
          <a:xfrm>
            <a:off x="2850514" y="1827050"/>
            <a:ext cx="16003" cy="9000"/>
          </a:xfrm>
          <a:custGeom>
            <a:avLst/>
            <a:gdLst>
              <a:gd name="T0" fmla="*/ 2147483647 w 8"/>
              <a:gd name="T1" fmla="*/ 2147483647 h 6"/>
              <a:gd name="T2" fmla="*/ 0 w 8"/>
              <a:gd name="T3" fmla="*/ 2147483647 h 6"/>
              <a:gd name="T4" fmla="*/ 2147483647 w 8"/>
              <a:gd name="T5" fmla="*/ 2147483647 h 6"/>
              <a:gd name="T6" fmla="*/ 2147483647 w 8"/>
              <a:gd name="T7" fmla="*/ 2147483647 h 6"/>
              <a:gd name="T8" fmla="*/ 2147483647 w 8"/>
              <a:gd name="T9" fmla="*/ 0 h 6"/>
              <a:gd name="T10" fmla="*/ 2147483647 w 8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8"/>
              <a:gd name="T19" fmla="*/ 0 h 6"/>
              <a:gd name="T20" fmla="*/ 8 w 8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8" h="6">
                <a:moveTo>
                  <a:pt x="2" y="3"/>
                </a:moveTo>
                <a:lnTo>
                  <a:pt x="0" y="3"/>
                </a:lnTo>
                <a:lnTo>
                  <a:pt x="5" y="6"/>
                </a:lnTo>
                <a:lnTo>
                  <a:pt x="8" y="3"/>
                </a:lnTo>
                <a:lnTo>
                  <a:pt x="5" y="0"/>
                </a:lnTo>
                <a:lnTo>
                  <a:pt x="2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69" name="Freeform 680"/>
          <p:cNvSpPr>
            <a:spLocks/>
          </p:cNvSpPr>
          <p:nvPr/>
        </p:nvSpPr>
        <p:spPr bwMode="gray">
          <a:xfrm>
            <a:off x="2890522" y="1836050"/>
            <a:ext cx="4001" cy="9000"/>
          </a:xfrm>
          <a:custGeom>
            <a:avLst/>
            <a:gdLst>
              <a:gd name="T0" fmla="*/ 0 w 2"/>
              <a:gd name="T1" fmla="*/ 2147483647 h 6"/>
              <a:gd name="T2" fmla="*/ 2147483647 w 2"/>
              <a:gd name="T3" fmla="*/ 2147483647 h 6"/>
              <a:gd name="T4" fmla="*/ 2147483647 w 2"/>
              <a:gd name="T5" fmla="*/ 0 h 6"/>
              <a:gd name="T6" fmla="*/ 0 w 2"/>
              <a:gd name="T7" fmla="*/ 2147483647 h 6"/>
              <a:gd name="T8" fmla="*/ 0 w 2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"/>
              <a:gd name="T16" fmla="*/ 0 h 6"/>
              <a:gd name="T17" fmla="*/ 2 w 2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" h="6">
                <a:moveTo>
                  <a:pt x="0" y="6"/>
                </a:moveTo>
                <a:lnTo>
                  <a:pt x="2" y="3"/>
                </a:lnTo>
                <a:lnTo>
                  <a:pt x="2" y="0"/>
                </a:lnTo>
                <a:lnTo>
                  <a:pt x="0" y="3"/>
                </a:lnTo>
                <a:lnTo>
                  <a:pt x="0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70" name="Freeform 681"/>
          <p:cNvSpPr>
            <a:spLocks/>
          </p:cNvSpPr>
          <p:nvPr/>
        </p:nvSpPr>
        <p:spPr bwMode="gray">
          <a:xfrm>
            <a:off x="2594468" y="1840550"/>
            <a:ext cx="6000" cy="1500"/>
          </a:xfrm>
          <a:custGeom>
            <a:avLst/>
            <a:gdLst>
              <a:gd name="T0" fmla="*/ 0 w 3"/>
              <a:gd name="T1" fmla="*/ 0 h 1"/>
              <a:gd name="T2" fmla="*/ 2147483647 w 3"/>
              <a:gd name="T3" fmla="*/ 0 h 1"/>
              <a:gd name="T4" fmla="*/ 2147483647 w 3"/>
              <a:gd name="T5" fmla="*/ 0 h 1"/>
              <a:gd name="T6" fmla="*/ 2147483647 w 3"/>
              <a:gd name="T7" fmla="*/ 0 h 1"/>
              <a:gd name="T8" fmla="*/ 0 w 3"/>
              <a:gd name="T9" fmla="*/ 0 h 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1"/>
              <a:gd name="T17" fmla="*/ 3 w 3"/>
              <a:gd name="T18" fmla="*/ 1 h 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1">
                <a:moveTo>
                  <a:pt x="0" y="0"/>
                </a:move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71" name="Freeform 686"/>
          <p:cNvSpPr>
            <a:spLocks/>
          </p:cNvSpPr>
          <p:nvPr/>
        </p:nvSpPr>
        <p:spPr bwMode="gray">
          <a:xfrm>
            <a:off x="2634475" y="1866050"/>
            <a:ext cx="24004" cy="13501"/>
          </a:xfrm>
          <a:custGeom>
            <a:avLst/>
            <a:gdLst>
              <a:gd name="T0" fmla="*/ 2147483647 w 12"/>
              <a:gd name="T1" fmla="*/ 2147483647 h 9"/>
              <a:gd name="T2" fmla="*/ 2147483647 w 12"/>
              <a:gd name="T3" fmla="*/ 2147483647 h 9"/>
              <a:gd name="T4" fmla="*/ 2147483647 w 12"/>
              <a:gd name="T5" fmla="*/ 2147483647 h 9"/>
              <a:gd name="T6" fmla="*/ 0 w 12"/>
              <a:gd name="T7" fmla="*/ 2147483647 h 9"/>
              <a:gd name="T8" fmla="*/ 2147483647 w 12"/>
              <a:gd name="T9" fmla="*/ 2147483647 h 9"/>
              <a:gd name="T10" fmla="*/ 2147483647 w 12"/>
              <a:gd name="T11" fmla="*/ 2147483647 h 9"/>
              <a:gd name="T12" fmla="*/ 2147483647 w 12"/>
              <a:gd name="T13" fmla="*/ 2147483647 h 9"/>
              <a:gd name="T14" fmla="*/ 2147483647 w 12"/>
              <a:gd name="T15" fmla="*/ 0 h 9"/>
              <a:gd name="T16" fmla="*/ 2147483647 w 12"/>
              <a:gd name="T17" fmla="*/ 2147483647 h 9"/>
              <a:gd name="T18" fmla="*/ 2147483647 w 12"/>
              <a:gd name="T19" fmla="*/ 2147483647 h 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2"/>
              <a:gd name="T31" fmla="*/ 0 h 9"/>
              <a:gd name="T32" fmla="*/ 12 w 12"/>
              <a:gd name="T33" fmla="*/ 9 h 9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2" h="9">
                <a:moveTo>
                  <a:pt x="6" y="3"/>
                </a:moveTo>
                <a:lnTo>
                  <a:pt x="3" y="3"/>
                </a:lnTo>
                <a:lnTo>
                  <a:pt x="3" y="6"/>
                </a:lnTo>
                <a:lnTo>
                  <a:pt x="0" y="9"/>
                </a:lnTo>
                <a:lnTo>
                  <a:pt x="6" y="9"/>
                </a:lnTo>
                <a:lnTo>
                  <a:pt x="9" y="6"/>
                </a:lnTo>
                <a:lnTo>
                  <a:pt x="12" y="6"/>
                </a:lnTo>
                <a:lnTo>
                  <a:pt x="9" y="0"/>
                </a:lnTo>
                <a:lnTo>
                  <a:pt x="9" y="3"/>
                </a:lnTo>
                <a:lnTo>
                  <a:pt x="6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72" name="Rectangle 690"/>
          <p:cNvSpPr>
            <a:spLocks noChangeArrowheads="1"/>
          </p:cNvSpPr>
          <p:nvPr/>
        </p:nvSpPr>
        <p:spPr bwMode="gray">
          <a:xfrm>
            <a:off x="2520454" y="1849551"/>
            <a:ext cx="6002" cy="15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73" name="Freeform 18"/>
          <p:cNvSpPr>
            <a:spLocks/>
          </p:cNvSpPr>
          <p:nvPr/>
        </p:nvSpPr>
        <p:spPr bwMode="gray">
          <a:xfrm>
            <a:off x="3558642" y="1875051"/>
            <a:ext cx="74013" cy="25501"/>
          </a:xfrm>
          <a:custGeom>
            <a:avLst/>
            <a:gdLst>
              <a:gd name="T0" fmla="*/ 2147483647 w 37"/>
              <a:gd name="T1" fmla="*/ 2147483647 h 17"/>
              <a:gd name="T2" fmla="*/ 2147483647 w 37"/>
              <a:gd name="T3" fmla="*/ 2147483647 h 17"/>
              <a:gd name="T4" fmla="*/ 0 w 37"/>
              <a:gd name="T5" fmla="*/ 2147483647 h 17"/>
              <a:gd name="T6" fmla="*/ 2147483647 w 37"/>
              <a:gd name="T7" fmla="*/ 2147483647 h 17"/>
              <a:gd name="T8" fmla="*/ 2147483647 w 37"/>
              <a:gd name="T9" fmla="*/ 2147483647 h 17"/>
              <a:gd name="T10" fmla="*/ 2147483647 w 37"/>
              <a:gd name="T11" fmla="*/ 2147483647 h 17"/>
              <a:gd name="T12" fmla="*/ 2147483647 w 37"/>
              <a:gd name="T13" fmla="*/ 2147483647 h 17"/>
              <a:gd name="T14" fmla="*/ 2147483647 w 37"/>
              <a:gd name="T15" fmla="*/ 2147483647 h 17"/>
              <a:gd name="T16" fmla="*/ 2147483647 w 37"/>
              <a:gd name="T17" fmla="*/ 2147483647 h 17"/>
              <a:gd name="T18" fmla="*/ 2147483647 w 37"/>
              <a:gd name="T19" fmla="*/ 2147483647 h 17"/>
              <a:gd name="T20" fmla="*/ 2147483647 w 37"/>
              <a:gd name="T21" fmla="*/ 0 h 17"/>
              <a:gd name="T22" fmla="*/ 2147483647 w 37"/>
              <a:gd name="T23" fmla="*/ 0 h 17"/>
              <a:gd name="T24" fmla="*/ 2147483647 w 37"/>
              <a:gd name="T25" fmla="*/ 0 h 17"/>
              <a:gd name="T26" fmla="*/ 2147483647 w 37"/>
              <a:gd name="T27" fmla="*/ 2147483647 h 17"/>
              <a:gd name="T28" fmla="*/ 2147483647 w 37"/>
              <a:gd name="T29" fmla="*/ 2147483647 h 17"/>
              <a:gd name="T30" fmla="*/ 2147483647 w 37"/>
              <a:gd name="T31" fmla="*/ 2147483647 h 17"/>
              <a:gd name="T32" fmla="*/ 2147483647 w 37"/>
              <a:gd name="T33" fmla="*/ 2147483647 h 17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37"/>
              <a:gd name="T52" fmla="*/ 0 h 17"/>
              <a:gd name="T53" fmla="*/ 37 w 37"/>
              <a:gd name="T54" fmla="*/ 17 h 17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37" h="17">
                <a:moveTo>
                  <a:pt x="14" y="6"/>
                </a:moveTo>
                <a:lnTo>
                  <a:pt x="14" y="6"/>
                </a:lnTo>
                <a:lnTo>
                  <a:pt x="0" y="6"/>
                </a:lnTo>
                <a:lnTo>
                  <a:pt x="11" y="6"/>
                </a:lnTo>
                <a:lnTo>
                  <a:pt x="14" y="9"/>
                </a:lnTo>
                <a:lnTo>
                  <a:pt x="8" y="17"/>
                </a:lnTo>
                <a:lnTo>
                  <a:pt x="23" y="14"/>
                </a:lnTo>
                <a:lnTo>
                  <a:pt x="34" y="14"/>
                </a:lnTo>
                <a:lnTo>
                  <a:pt x="37" y="6"/>
                </a:lnTo>
                <a:lnTo>
                  <a:pt x="23" y="0"/>
                </a:lnTo>
                <a:lnTo>
                  <a:pt x="20" y="3"/>
                </a:lnTo>
                <a:lnTo>
                  <a:pt x="17" y="6"/>
                </a:lnTo>
                <a:lnTo>
                  <a:pt x="14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74" name="Freeform 538"/>
          <p:cNvSpPr>
            <a:spLocks/>
          </p:cNvSpPr>
          <p:nvPr/>
        </p:nvSpPr>
        <p:spPr bwMode="gray">
          <a:xfrm>
            <a:off x="3446621" y="2341564"/>
            <a:ext cx="72013" cy="25500"/>
          </a:xfrm>
          <a:custGeom>
            <a:avLst/>
            <a:gdLst>
              <a:gd name="T0" fmla="*/ 2147483647 w 35"/>
              <a:gd name="T1" fmla="*/ 2147483647 h 17"/>
              <a:gd name="T2" fmla="*/ 2147483647 w 35"/>
              <a:gd name="T3" fmla="*/ 2147483647 h 17"/>
              <a:gd name="T4" fmla="*/ 2147483647 w 35"/>
              <a:gd name="T5" fmla="*/ 2147483647 h 17"/>
              <a:gd name="T6" fmla="*/ 2147483647 w 35"/>
              <a:gd name="T7" fmla="*/ 2147483647 h 17"/>
              <a:gd name="T8" fmla="*/ 2147483647 w 35"/>
              <a:gd name="T9" fmla="*/ 2147483647 h 17"/>
              <a:gd name="T10" fmla="*/ 2147483647 w 35"/>
              <a:gd name="T11" fmla="*/ 2147483647 h 17"/>
              <a:gd name="T12" fmla="*/ 2147483647 w 35"/>
              <a:gd name="T13" fmla="*/ 2147483647 h 17"/>
              <a:gd name="T14" fmla="*/ 2147483647 w 35"/>
              <a:gd name="T15" fmla="*/ 2147483647 h 17"/>
              <a:gd name="T16" fmla="*/ 2147483647 w 35"/>
              <a:gd name="T17" fmla="*/ 0 h 17"/>
              <a:gd name="T18" fmla="*/ 2147483647 w 35"/>
              <a:gd name="T19" fmla="*/ 0 h 17"/>
              <a:gd name="T20" fmla="*/ 2147483647 w 35"/>
              <a:gd name="T21" fmla="*/ 0 h 17"/>
              <a:gd name="T22" fmla="*/ 2147483647 w 35"/>
              <a:gd name="T23" fmla="*/ 0 h 17"/>
              <a:gd name="T24" fmla="*/ 2147483647 w 35"/>
              <a:gd name="T25" fmla="*/ 0 h 17"/>
              <a:gd name="T26" fmla="*/ 2147483647 w 35"/>
              <a:gd name="T27" fmla="*/ 0 h 17"/>
              <a:gd name="T28" fmla="*/ 0 w 35"/>
              <a:gd name="T29" fmla="*/ 0 h 17"/>
              <a:gd name="T30" fmla="*/ 0 w 35"/>
              <a:gd name="T31" fmla="*/ 0 h 17"/>
              <a:gd name="T32" fmla="*/ 2147483647 w 35"/>
              <a:gd name="T33" fmla="*/ 2147483647 h 17"/>
              <a:gd name="T34" fmla="*/ 2147483647 w 35"/>
              <a:gd name="T35" fmla="*/ 2147483647 h 17"/>
              <a:gd name="T36" fmla="*/ 2147483647 w 35"/>
              <a:gd name="T37" fmla="*/ 2147483647 h 17"/>
              <a:gd name="T38" fmla="*/ 2147483647 w 35"/>
              <a:gd name="T39" fmla="*/ 2147483647 h 17"/>
              <a:gd name="T40" fmla="*/ 2147483647 w 35"/>
              <a:gd name="T41" fmla="*/ 2147483647 h 17"/>
              <a:gd name="T42" fmla="*/ 2147483647 w 35"/>
              <a:gd name="T43" fmla="*/ 2147483647 h 17"/>
              <a:gd name="T44" fmla="*/ 2147483647 w 35"/>
              <a:gd name="T45" fmla="*/ 2147483647 h 17"/>
              <a:gd name="T46" fmla="*/ 2147483647 w 35"/>
              <a:gd name="T47" fmla="*/ 2147483647 h 17"/>
              <a:gd name="T48" fmla="*/ 2147483647 w 35"/>
              <a:gd name="T49" fmla="*/ 2147483647 h 17"/>
              <a:gd name="T50" fmla="*/ 2147483647 w 35"/>
              <a:gd name="T51" fmla="*/ 2147483647 h 17"/>
              <a:gd name="T52" fmla="*/ 2147483647 w 35"/>
              <a:gd name="T53" fmla="*/ 2147483647 h 17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35"/>
              <a:gd name="T82" fmla="*/ 0 h 17"/>
              <a:gd name="T83" fmla="*/ 35 w 35"/>
              <a:gd name="T84" fmla="*/ 17 h 17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35" h="17">
                <a:moveTo>
                  <a:pt x="35" y="17"/>
                </a:moveTo>
                <a:lnTo>
                  <a:pt x="35" y="17"/>
                </a:lnTo>
                <a:lnTo>
                  <a:pt x="35" y="15"/>
                </a:lnTo>
                <a:lnTo>
                  <a:pt x="32" y="12"/>
                </a:lnTo>
                <a:lnTo>
                  <a:pt x="26" y="6"/>
                </a:lnTo>
                <a:lnTo>
                  <a:pt x="23" y="3"/>
                </a:lnTo>
                <a:lnTo>
                  <a:pt x="17" y="0"/>
                </a:lnTo>
                <a:lnTo>
                  <a:pt x="9" y="0"/>
                </a:lnTo>
                <a:lnTo>
                  <a:pt x="6" y="0"/>
                </a:lnTo>
                <a:lnTo>
                  <a:pt x="0" y="0"/>
                </a:lnTo>
                <a:lnTo>
                  <a:pt x="6" y="6"/>
                </a:lnTo>
                <a:lnTo>
                  <a:pt x="9" y="6"/>
                </a:lnTo>
                <a:lnTo>
                  <a:pt x="9" y="12"/>
                </a:lnTo>
                <a:lnTo>
                  <a:pt x="15" y="15"/>
                </a:lnTo>
                <a:lnTo>
                  <a:pt x="20" y="17"/>
                </a:lnTo>
                <a:lnTo>
                  <a:pt x="26" y="17"/>
                </a:lnTo>
                <a:lnTo>
                  <a:pt x="32" y="17"/>
                </a:lnTo>
                <a:lnTo>
                  <a:pt x="35" y="1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75" name="Freeform 586"/>
          <p:cNvSpPr>
            <a:spLocks/>
          </p:cNvSpPr>
          <p:nvPr/>
        </p:nvSpPr>
        <p:spPr bwMode="gray">
          <a:xfrm>
            <a:off x="3482628" y="2406065"/>
            <a:ext cx="30005" cy="13501"/>
          </a:xfrm>
          <a:custGeom>
            <a:avLst/>
            <a:gdLst>
              <a:gd name="T0" fmla="*/ 2147483647 w 15"/>
              <a:gd name="T1" fmla="*/ 2147483647 h 9"/>
              <a:gd name="T2" fmla="*/ 2147483647 w 15"/>
              <a:gd name="T3" fmla="*/ 2147483647 h 9"/>
              <a:gd name="T4" fmla="*/ 0 w 15"/>
              <a:gd name="T5" fmla="*/ 2147483647 h 9"/>
              <a:gd name="T6" fmla="*/ 2147483647 w 15"/>
              <a:gd name="T7" fmla="*/ 2147483647 h 9"/>
              <a:gd name="T8" fmla="*/ 2147483647 w 15"/>
              <a:gd name="T9" fmla="*/ 2147483647 h 9"/>
              <a:gd name="T10" fmla="*/ 2147483647 w 15"/>
              <a:gd name="T11" fmla="*/ 2147483647 h 9"/>
              <a:gd name="T12" fmla="*/ 2147483647 w 15"/>
              <a:gd name="T13" fmla="*/ 2147483647 h 9"/>
              <a:gd name="T14" fmla="*/ 2147483647 w 15"/>
              <a:gd name="T15" fmla="*/ 2147483647 h 9"/>
              <a:gd name="T16" fmla="*/ 2147483647 w 15"/>
              <a:gd name="T17" fmla="*/ 2147483647 h 9"/>
              <a:gd name="T18" fmla="*/ 2147483647 w 15"/>
              <a:gd name="T19" fmla="*/ 0 h 9"/>
              <a:gd name="T20" fmla="*/ 2147483647 w 15"/>
              <a:gd name="T21" fmla="*/ 0 h 9"/>
              <a:gd name="T22" fmla="*/ 2147483647 w 15"/>
              <a:gd name="T23" fmla="*/ 0 h 9"/>
              <a:gd name="T24" fmla="*/ 2147483647 w 15"/>
              <a:gd name="T25" fmla="*/ 0 h 9"/>
              <a:gd name="T26" fmla="*/ 2147483647 w 15"/>
              <a:gd name="T27" fmla="*/ 2147483647 h 9"/>
              <a:gd name="T28" fmla="*/ 2147483647 w 15"/>
              <a:gd name="T29" fmla="*/ 2147483647 h 9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5"/>
              <a:gd name="T46" fmla="*/ 0 h 9"/>
              <a:gd name="T47" fmla="*/ 15 w 15"/>
              <a:gd name="T48" fmla="*/ 9 h 9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5" h="9">
                <a:moveTo>
                  <a:pt x="6" y="3"/>
                </a:moveTo>
                <a:lnTo>
                  <a:pt x="6" y="3"/>
                </a:lnTo>
                <a:lnTo>
                  <a:pt x="0" y="9"/>
                </a:lnTo>
                <a:lnTo>
                  <a:pt x="3" y="9"/>
                </a:lnTo>
                <a:lnTo>
                  <a:pt x="6" y="6"/>
                </a:lnTo>
                <a:lnTo>
                  <a:pt x="9" y="6"/>
                </a:lnTo>
                <a:lnTo>
                  <a:pt x="12" y="3"/>
                </a:lnTo>
                <a:lnTo>
                  <a:pt x="15" y="0"/>
                </a:lnTo>
                <a:lnTo>
                  <a:pt x="9" y="0"/>
                </a:lnTo>
                <a:lnTo>
                  <a:pt x="6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76" name="Freeform 587"/>
          <p:cNvSpPr>
            <a:spLocks/>
          </p:cNvSpPr>
          <p:nvPr/>
        </p:nvSpPr>
        <p:spPr bwMode="gray">
          <a:xfrm>
            <a:off x="3400613" y="2424065"/>
            <a:ext cx="78015" cy="30001"/>
          </a:xfrm>
          <a:custGeom>
            <a:avLst/>
            <a:gdLst>
              <a:gd name="T0" fmla="*/ 2147483647 w 38"/>
              <a:gd name="T1" fmla="*/ 2147483647 h 20"/>
              <a:gd name="T2" fmla="*/ 2147483647 w 38"/>
              <a:gd name="T3" fmla="*/ 2147483647 h 20"/>
              <a:gd name="T4" fmla="*/ 2147483647 w 38"/>
              <a:gd name="T5" fmla="*/ 2147483647 h 20"/>
              <a:gd name="T6" fmla="*/ 2147483647 w 38"/>
              <a:gd name="T7" fmla="*/ 2147483647 h 20"/>
              <a:gd name="T8" fmla="*/ 2147483647 w 38"/>
              <a:gd name="T9" fmla="*/ 2147483647 h 20"/>
              <a:gd name="T10" fmla="*/ 2147483647 w 38"/>
              <a:gd name="T11" fmla="*/ 2147483647 h 20"/>
              <a:gd name="T12" fmla="*/ 2147483647 w 38"/>
              <a:gd name="T13" fmla="*/ 2147483647 h 20"/>
              <a:gd name="T14" fmla="*/ 2147483647 w 38"/>
              <a:gd name="T15" fmla="*/ 2147483647 h 20"/>
              <a:gd name="T16" fmla="*/ 2147483647 w 38"/>
              <a:gd name="T17" fmla="*/ 2147483647 h 20"/>
              <a:gd name="T18" fmla="*/ 2147483647 w 38"/>
              <a:gd name="T19" fmla="*/ 2147483647 h 20"/>
              <a:gd name="T20" fmla="*/ 2147483647 w 38"/>
              <a:gd name="T21" fmla="*/ 2147483647 h 20"/>
              <a:gd name="T22" fmla="*/ 2147483647 w 38"/>
              <a:gd name="T23" fmla="*/ 2147483647 h 20"/>
              <a:gd name="T24" fmla="*/ 2147483647 w 38"/>
              <a:gd name="T25" fmla="*/ 2147483647 h 20"/>
              <a:gd name="T26" fmla="*/ 2147483647 w 38"/>
              <a:gd name="T27" fmla="*/ 2147483647 h 20"/>
              <a:gd name="T28" fmla="*/ 2147483647 w 38"/>
              <a:gd name="T29" fmla="*/ 2147483647 h 20"/>
              <a:gd name="T30" fmla="*/ 2147483647 w 38"/>
              <a:gd name="T31" fmla="*/ 0 h 20"/>
              <a:gd name="T32" fmla="*/ 2147483647 w 38"/>
              <a:gd name="T33" fmla="*/ 2147483647 h 20"/>
              <a:gd name="T34" fmla="*/ 0 w 38"/>
              <a:gd name="T35" fmla="*/ 2147483647 h 20"/>
              <a:gd name="T36" fmla="*/ 2147483647 w 38"/>
              <a:gd name="T37" fmla="*/ 2147483647 h 20"/>
              <a:gd name="T38" fmla="*/ 2147483647 w 38"/>
              <a:gd name="T39" fmla="*/ 2147483647 h 20"/>
              <a:gd name="T40" fmla="*/ 2147483647 w 38"/>
              <a:gd name="T41" fmla="*/ 2147483647 h 20"/>
              <a:gd name="T42" fmla="*/ 2147483647 w 38"/>
              <a:gd name="T43" fmla="*/ 2147483647 h 20"/>
              <a:gd name="T44" fmla="*/ 2147483647 w 38"/>
              <a:gd name="T45" fmla="*/ 2147483647 h 20"/>
              <a:gd name="T46" fmla="*/ 2147483647 w 38"/>
              <a:gd name="T47" fmla="*/ 2147483647 h 20"/>
              <a:gd name="T48" fmla="*/ 2147483647 w 38"/>
              <a:gd name="T49" fmla="*/ 2147483647 h 20"/>
              <a:gd name="T50" fmla="*/ 2147483647 w 38"/>
              <a:gd name="T51" fmla="*/ 2147483647 h 20"/>
              <a:gd name="T52" fmla="*/ 2147483647 w 38"/>
              <a:gd name="T53" fmla="*/ 2147483647 h 20"/>
              <a:gd name="T54" fmla="*/ 2147483647 w 38"/>
              <a:gd name="T55" fmla="*/ 2147483647 h 20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38"/>
              <a:gd name="T85" fmla="*/ 0 h 20"/>
              <a:gd name="T86" fmla="*/ 38 w 38"/>
              <a:gd name="T87" fmla="*/ 20 h 20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38" h="20">
                <a:moveTo>
                  <a:pt x="20" y="20"/>
                </a:moveTo>
                <a:lnTo>
                  <a:pt x="20" y="20"/>
                </a:lnTo>
                <a:lnTo>
                  <a:pt x="26" y="20"/>
                </a:lnTo>
                <a:lnTo>
                  <a:pt x="26" y="14"/>
                </a:lnTo>
                <a:lnTo>
                  <a:pt x="32" y="14"/>
                </a:lnTo>
                <a:lnTo>
                  <a:pt x="38" y="11"/>
                </a:lnTo>
                <a:lnTo>
                  <a:pt x="32" y="11"/>
                </a:lnTo>
                <a:lnTo>
                  <a:pt x="20" y="11"/>
                </a:lnTo>
                <a:lnTo>
                  <a:pt x="15" y="11"/>
                </a:lnTo>
                <a:lnTo>
                  <a:pt x="12" y="8"/>
                </a:lnTo>
                <a:lnTo>
                  <a:pt x="9" y="8"/>
                </a:lnTo>
                <a:lnTo>
                  <a:pt x="9" y="6"/>
                </a:lnTo>
                <a:lnTo>
                  <a:pt x="9" y="0"/>
                </a:lnTo>
                <a:lnTo>
                  <a:pt x="3" y="3"/>
                </a:lnTo>
                <a:lnTo>
                  <a:pt x="0" y="8"/>
                </a:lnTo>
                <a:lnTo>
                  <a:pt x="3" y="11"/>
                </a:lnTo>
                <a:lnTo>
                  <a:pt x="6" y="14"/>
                </a:lnTo>
                <a:lnTo>
                  <a:pt x="9" y="14"/>
                </a:lnTo>
                <a:lnTo>
                  <a:pt x="9" y="17"/>
                </a:lnTo>
                <a:lnTo>
                  <a:pt x="15" y="17"/>
                </a:lnTo>
                <a:lnTo>
                  <a:pt x="17" y="17"/>
                </a:lnTo>
                <a:lnTo>
                  <a:pt x="20" y="2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77" name="Freeform 599"/>
          <p:cNvSpPr>
            <a:spLocks/>
          </p:cNvSpPr>
          <p:nvPr/>
        </p:nvSpPr>
        <p:spPr bwMode="gray">
          <a:xfrm>
            <a:off x="3500631" y="2511068"/>
            <a:ext cx="12002" cy="4501"/>
          </a:xfrm>
          <a:custGeom>
            <a:avLst/>
            <a:gdLst>
              <a:gd name="T0" fmla="*/ 2147483647 w 6"/>
              <a:gd name="T1" fmla="*/ 0 h 3"/>
              <a:gd name="T2" fmla="*/ 0 w 6"/>
              <a:gd name="T3" fmla="*/ 2147483647 h 3"/>
              <a:gd name="T4" fmla="*/ 2147483647 w 6"/>
              <a:gd name="T5" fmla="*/ 2147483647 h 3"/>
              <a:gd name="T6" fmla="*/ 2147483647 w 6"/>
              <a:gd name="T7" fmla="*/ 2147483647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3" y="0"/>
                </a:moveTo>
                <a:lnTo>
                  <a:pt x="0" y="3"/>
                </a:lnTo>
                <a:lnTo>
                  <a:pt x="3" y="3"/>
                </a:lnTo>
                <a:lnTo>
                  <a:pt x="6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78" name="Freeform 634"/>
          <p:cNvSpPr>
            <a:spLocks/>
          </p:cNvSpPr>
          <p:nvPr/>
        </p:nvSpPr>
        <p:spPr bwMode="gray">
          <a:xfrm>
            <a:off x="3650659" y="2424066"/>
            <a:ext cx="10001" cy="9000"/>
          </a:xfrm>
          <a:custGeom>
            <a:avLst/>
            <a:gdLst>
              <a:gd name="T0" fmla="*/ 0 w 5"/>
              <a:gd name="T1" fmla="*/ 2147483647 h 6"/>
              <a:gd name="T2" fmla="*/ 2147483647 w 5"/>
              <a:gd name="T3" fmla="*/ 2147483647 h 6"/>
              <a:gd name="T4" fmla="*/ 2147483647 w 5"/>
              <a:gd name="T5" fmla="*/ 0 h 6"/>
              <a:gd name="T6" fmla="*/ 2147483647 w 5"/>
              <a:gd name="T7" fmla="*/ 0 h 6"/>
              <a:gd name="T8" fmla="*/ 0 w 5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6"/>
              <a:gd name="T17" fmla="*/ 5 w 5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6">
                <a:moveTo>
                  <a:pt x="0" y="6"/>
                </a:moveTo>
                <a:lnTo>
                  <a:pt x="3" y="6"/>
                </a:lnTo>
                <a:lnTo>
                  <a:pt x="5" y="0"/>
                </a:lnTo>
                <a:lnTo>
                  <a:pt x="3" y="0"/>
                </a:lnTo>
                <a:lnTo>
                  <a:pt x="0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79" name="Freeform 635"/>
          <p:cNvSpPr>
            <a:spLocks/>
          </p:cNvSpPr>
          <p:nvPr/>
        </p:nvSpPr>
        <p:spPr bwMode="gray">
          <a:xfrm>
            <a:off x="3732673" y="2310063"/>
            <a:ext cx="6002" cy="4501"/>
          </a:xfrm>
          <a:custGeom>
            <a:avLst/>
            <a:gdLst>
              <a:gd name="T0" fmla="*/ 0 w 3"/>
              <a:gd name="T1" fmla="*/ 2147483647 h 3"/>
              <a:gd name="T2" fmla="*/ 2147483647 w 3"/>
              <a:gd name="T3" fmla="*/ 2147483647 h 3"/>
              <a:gd name="T4" fmla="*/ 0 w 3"/>
              <a:gd name="T5" fmla="*/ 0 h 3"/>
              <a:gd name="T6" fmla="*/ 0 w 3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0" y="3"/>
                </a:move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80" name="Freeform 636"/>
          <p:cNvSpPr>
            <a:spLocks/>
          </p:cNvSpPr>
          <p:nvPr/>
        </p:nvSpPr>
        <p:spPr bwMode="gray">
          <a:xfrm>
            <a:off x="3574645" y="2293563"/>
            <a:ext cx="204037" cy="142503"/>
          </a:xfrm>
          <a:custGeom>
            <a:avLst/>
            <a:gdLst>
              <a:gd name="T0" fmla="*/ 2147483647 w 101"/>
              <a:gd name="T1" fmla="*/ 2147483647 h 94"/>
              <a:gd name="T2" fmla="*/ 2147483647 w 101"/>
              <a:gd name="T3" fmla="*/ 2147483647 h 94"/>
              <a:gd name="T4" fmla="*/ 2147483647 w 101"/>
              <a:gd name="T5" fmla="*/ 2147483647 h 94"/>
              <a:gd name="T6" fmla="*/ 2147483647 w 101"/>
              <a:gd name="T7" fmla="*/ 2147483647 h 94"/>
              <a:gd name="T8" fmla="*/ 2147483647 w 101"/>
              <a:gd name="T9" fmla="*/ 2147483647 h 94"/>
              <a:gd name="T10" fmla="*/ 2147483647 w 101"/>
              <a:gd name="T11" fmla="*/ 2147483647 h 94"/>
              <a:gd name="T12" fmla="*/ 2147483647 w 101"/>
              <a:gd name="T13" fmla="*/ 2147483647 h 94"/>
              <a:gd name="T14" fmla="*/ 2147483647 w 101"/>
              <a:gd name="T15" fmla="*/ 2147483647 h 94"/>
              <a:gd name="T16" fmla="*/ 2147483647 w 101"/>
              <a:gd name="T17" fmla="*/ 2147483647 h 94"/>
              <a:gd name="T18" fmla="*/ 2147483647 w 101"/>
              <a:gd name="T19" fmla="*/ 2147483647 h 94"/>
              <a:gd name="T20" fmla="*/ 2147483647 w 101"/>
              <a:gd name="T21" fmla="*/ 2147483647 h 94"/>
              <a:gd name="T22" fmla="*/ 2147483647 w 101"/>
              <a:gd name="T23" fmla="*/ 2147483647 h 94"/>
              <a:gd name="T24" fmla="*/ 2147483647 w 101"/>
              <a:gd name="T25" fmla="*/ 2147483647 h 94"/>
              <a:gd name="T26" fmla="*/ 2147483647 w 101"/>
              <a:gd name="T27" fmla="*/ 2147483647 h 94"/>
              <a:gd name="T28" fmla="*/ 2147483647 w 101"/>
              <a:gd name="T29" fmla="*/ 2147483647 h 94"/>
              <a:gd name="T30" fmla="*/ 2147483647 w 101"/>
              <a:gd name="T31" fmla="*/ 2147483647 h 94"/>
              <a:gd name="T32" fmla="*/ 2147483647 w 101"/>
              <a:gd name="T33" fmla="*/ 2147483647 h 94"/>
              <a:gd name="T34" fmla="*/ 2147483647 w 101"/>
              <a:gd name="T35" fmla="*/ 2147483647 h 94"/>
              <a:gd name="T36" fmla="*/ 2147483647 w 101"/>
              <a:gd name="T37" fmla="*/ 2147483647 h 94"/>
              <a:gd name="T38" fmla="*/ 2147483647 w 101"/>
              <a:gd name="T39" fmla="*/ 2147483647 h 94"/>
              <a:gd name="T40" fmla="*/ 2147483647 w 101"/>
              <a:gd name="T41" fmla="*/ 0 h 94"/>
              <a:gd name="T42" fmla="*/ 2147483647 w 101"/>
              <a:gd name="T43" fmla="*/ 0 h 94"/>
              <a:gd name="T44" fmla="*/ 2147483647 w 101"/>
              <a:gd name="T45" fmla="*/ 2147483647 h 94"/>
              <a:gd name="T46" fmla="*/ 2147483647 w 101"/>
              <a:gd name="T47" fmla="*/ 2147483647 h 94"/>
              <a:gd name="T48" fmla="*/ 2147483647 w 101"/>
              <a:gd name="T49" fmla="*/ 2147483647 h 94"/>
              <a:gd name="T50" fmla="*/ 2147483647 w 101"/>
              <a:gd name="T51" fmla="*/ 2147483647 h 94"/>
              <a:gd name="T52" fmla="*/ 2147483647 w 101"/>
              <a:gd name="T53" fmla="*/ 2147483647 h 94"/>
              <a:gd name="T54" fmla="*/ 2147483647 w 101"/>
              <a:gd name="T55" fmla="*/ 2147483647 h 94"/>
              <a:gd name="T56" fmla="*/ 2147483647 w 101"/>
              <a:gd name="T57" fmla="*/ 2147483647 h 94"/>
              <a:gd name="T58" fmla="*/ 2147483647 w 101"/>
              <a:gd name="T59" fmla="*/ 2147483647 h 94"/>
              <a:gd name="T60" fmla="*/ 2147483647 w 101"/>
              <a:gd name="T61" fmla="*/ 2147483647 h 94"/>
              <a:gd name="T62" fmla="*/ 0 w 101"/>
              <a:gd name="T63" fmla="*/ 2147483647 h 94"/>
              <a:gd name="T64" fmla="*/ 2147483647 w 101"/>
              <a:gd name="T65" fmla="*/ 2147483647 h 94"/>
              <a:gd name="T66" fmla="*/ 2147483647 w 101"/>
              <a:gd name="T67" fmla="*/ 2147483647 h 94"/>
              <a:gd name="T68" fmla="*/ 2147483647 w 101"/>
              <a:gd name="T69" fmla="*/ 2147483647 h 94"/>
              <a:gd name="T70" fmla="*/ 2147483647 w 101"/>
              <a:gd name="T71" fmla="*/ 2147483647 h 94"/>
              <a:gd name="T72" fmla="*/ 2147483647 w 101"/>
              <a:gd name="T73" fmla="*/ 2147483647 h 94"/>
              <a:gd name="T74" fmla="*/ 2147483647 w 101"/>
              <a:gd name="T75" fmla="*/ 2147483647 h 94"/>
              <a:gd name="T76" fmla="*/ 2147483647 w 101"/>
              <a:gd name="T77" fmla="*/ 2147483647 h 94"/>
              <a:gd name="T78" fmla="*/ 2147483647 w 101"/>
              <a:gd name="T79" fmla="*/ 2147483647 h 94"/>
              <a:gd name="T80" fmla="*/ 2147483647 w 101"/>
              <a:gd name="T81" fmla="*/ 2147483647 h 94"/>
              <a:gd name="T82" fmla="*/ 2147483647 w 101"/>
              <a:gd name="T83" fmla="*/ 2147483647 h 94"/>
              <a:gd name="T84" fmla="*/ 2147483647 w 101"/>
              <a:gd name="T85" fmla="*/ 2147483647 h 94"/>
              <a:gd name="T86" fmla="*/ 2147483647 w 101"/>
              <a:gd name="T87" fmla="*/ 2147483647 h 94"/>
              <a:gd name="T88" fmla="*/ 2147483647 w 101"/>
              <a:gd name="T89" fmla="*/ 2147483647 h 94"/>
              <a:gd name="T90" fmla="*/ 2147483647 w 101"/>
              <a:gd name="T91" fmla="*/ 2147483647 h 94"/>
              <a:gd name="T92" fmla="*/ 2147483647 w 101"/>
              <a:gd name="T93" fmla="*/ 2147483647 h 94"/>
              <a:gd name="T94" fmla="*/ 2147483647 w 101"/>
              <a:gd name="T95" fmla="*/ 2147483647 h 94"/>
              <a:gd name="T96" fmla="*/ 2147483647 w 101"/>
              <a:gd name="T97" fmla="*/ 2147483647 h 94"/>
              <a:gd name="T98" fmla="*/ 2147483647 w 101"/>
              <a:gd name="T99" fmla="*/ 2147483647 h 94"/>
              <a:gd name="T100" fmla="*/ 2147483647 w 101"/>
              <a:gd name="T101" fmla="*/ 2147483647 h 94"/>
              <a:gd name="T102" fmla="*/ 2147483647 w 101"/>
              <a:gd name="T103" fmla="*/ 2147483647 h 94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101"/>
              <a:gd name="T157" fmla="*/ 0 h 94"/>
              <a:gd name="T158" fmla="*/ 101 w 101"/>
              <a:gd name="T159" fmla="*/ 94 h 94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101" h="94">
                <a:moveTo>
                  <a:pt x="95" y="63"/>
                </a:moveTo>
                <a:lnTo>
                  <a:pt x="101" y="57"/>
                </a:lnTo>
                <a:lnTo>
                  <a:pt x="98" y="54"/>
                </a:lnTo>
                <a:lnTo>
                  <a:pt x="95" y="57"/>
                </a:lnTo>
                <a:lnTo>
                  <a:pt x="89" y="63"/>
                </a:lnTo>
                <a:lnTo>
                  <a:pt x="86" y="63"/>
                </a:lnTo>
                <a:lnTo>
                  <a:pt x="84" y="63"/>
                </a:lnTo>
                <a:lnTo>
                  <a:pt x="86" y="60"/>
                </a:lnTo>
                <a:lnTo>
                  <a:pt x="89" y="57"/>
                </a:lnTo>
                <a:lnTo>
                  <a:pt x="89" y="54"/>
                </a:lnTo>
                <a:lnTo>
                  <a:pt x="92" y="51"/>
                </a:lnTo>
                <a:lnTo>
                  <a:pt x="89" y="51"/>
                </a:lnTo>
                <a:lnTo>
                  <a:pt x="95" y="46"/>
                </a:lnTo>
                <a:lnTo>
                  <a:pt x="98" y="43"/>
                </a:lnTo>
                <a:lnTo>
                  <a:pt x="92" y="40"/>
                </a:lnTo>
                <a:lnTo>
                  <a:pt x="92" y="34"/>
                </a:lnTo>
                <a:lnTo>
                  <a:pt x="89" y="37"/>
                </a:lnTo>
                <a:lnTo>
                  <a:pt x="89" y="40"/>
                </a:lnTo>
                <a:lnTo>
                  <a:pt x="86" y="40"/>
                </a:lnTo>
                <a:lnTo>
                  <a:pt x="81" y="37"/>
                </a:lnTo>
                <a:lnTo>
                  <a:pt x="78" y="40"/>
                </a:lnTo>
                <a:lnTo>
                  <a:pt x="75" y="46"/>
                </a:lnTo>
                <a:lnTo>
                  <a:pt x="72" y="43"/>
                </a:lnTo>
                <a:lnTo>
                  <a:pt x="75" y="37"/>
                </a:lnTo>
                <a:lnTo>
                  <a:pt x="72" y="40"/>
                </a:lnTo>
                <a:lnTo>
                  <a:pt x="66" y="37"/>
                </a:lnTo>
                <a:lnTo>
                  <a:pt x="69" y="34"/>
                </a:lnTo>
                <a:lnTo>
                  <a:pt x="72" y="31"/>
                </a:lnTo>
                <a:lnTo>
                  <a:pt x="69" y="28"/>
                </a:lnTo>
                <a:lnTo>
                  <a:pt x="63" y="25"/>
                </a:lnTo>
                <a:lnTo>
                  <a:pt x="58" y="31"/>
                </a:lnTo>
                <a:lnTo>
                  <a:pt x="55" y="34"/>
                </a:lnTo>
                <a:lnTo>
                  <a:pt x="52" y="37"/>
                </a:lnTo>
                <a:lnTo>
                  <a:pt x="52" y="34"/>
                </a:lnTo>
                <a:lnTo>
                  <a:pt x="55" y="28"/>
                </a:lnTo>
                <a:lnTo>
                  <a:pt x="58" y="25"/>
                </a:lnTo>
                <a:lnTo>
                  <a:pt x="66" y="17"/>
                </a:lnTo>
                <a:lnTo>
                  <a:pt x="75" y="11"/>
                </a:lnTo>
                <a:lnTo>
                  <a:pt x="78" y="5"/>
                </a:lnTo>
                <a:lnTo>
                  <a:pt x="81" y="5"/>
                </a:lnTo>
                <a:lnTo>
                  <a:pt x="84" y="3"/>
                </a:lnTo>
                <a:lnTo>
                  <a:pt x="84" y="0"/>
                </a:lnTo>
                <a:lnTo>
                  <a:pt x="81" y="0"/>
                </a:lnTo>
                <a:lnTo>
                  <a:pt x="69" y="3"/>
                </a:lnTo>
                <a:lnTo>
                  <a:pt x="63" y="8"/>
                </a:lnTo>
                <a:lnTo>
                  <a:pt x="58" y="14"/>
                </a:lnTo>
                <a:lnTo>
                  <a:pt x="52" y="17"/>
                </a:lnTo>
                <a:lnTo>
                  <a:pt x="46" y="23"/>
                </a:lnTo>
                <a:lnTo>
                  <a:pt x="35" y="37"/>
                </a:lnTo>
                <a:lnTo>
                  <a:pt x="32" y="40"/>
                </a:lnTo>
                <a:lnTo>
                  <a:pt x="29" y="43"/>
                </a:lnTo>
                <a:lnTo>
                  <a:pt x="29" y="46"/>
                </a:lnTo>
                <a:lnTo>
                  <a:pt x="29" y="48"/>
                </a:lnTo>
                <a:lnTo>
                  <a:pt x="26" y="48"/>
                </a:lnTo>
                <a:lnTo>
                  <a:pt x="23" y="48"/>
                </a:lnTo>
                <a:lnTo>
                  <a:pt x="18" y="51"/>
                </a:lnTo>
                <a:lnTo>
                  <a:pt x="15" y="54"/>
                </a:lnTo>
                <a:lnTo>
                  <a:pt x="12" y="54"/>
                </a:lnTo>
                <a:lnTo>
                  <a:pt x="6" y="57"/>
                </a:lnTo>
                <a:lnTo>
                  <a:pt x="9" y="60"/>
                </a:lnTo>
                <a:lnTo>
                  <a:pt x="15" y="60"/>
                </a:lnTo>
                <a:lnTo>
                  <a:pt x="3" y="69"/>
                </a:lnTo>
                <a:lnTo>
                  <a:pt x="0" y="74"/>
                </a:lnTo>
                <a:lnTo>
                  <a:pt x="9" y="74"/>
                </a:lnTo>
                <a:lnTo>
                  <a:pt x="15" y="74"/>
                </a:lnTo>
                <a:lnTo>
                  <a:pt x="20" y="74"/>
                </a:lnTo>
                <a:lnTo>
                  <a:pt x="32" y="77"/>
                </a:lnTo>
                <a:lnTo>
                  <a:pt x="41" y="77"/>
                </a:lnTo>
                <a:lnTo>
                  <a:pt x="49" y="74"/>
                </a:lnTo>
                <a:lnTo>
                  <a:pt x="52" y="71"/>
                </a:lnTo>
                <a:lnTo>
                  <a:pt x="49" y="77"/>
                </a:lnTo>
                <a:lnTo>
                  <a:pt x="46" y="80"/>
                </a:lnTo>
                <a:lnTo>
                  <a:pt x="55" y="77"/>
                </a:lnTo>
                <a:lnTo>
                  <a:pt x="58" y="74"/>
                </a:lnTo>
                <a:lnTo>
                  <a:pt x="63" y="74"/>
                </a:lnTo>
                <a:lnTo>
                  <a:pt x="61" y="80"/>
                </a:lnTo>
                <a:lnTo>
                  <a:pt x="55" y="83"/>
                </a:lnTo>
                <a:lnTo>
                  <a:pt x="49" y="86"/>
                </a:lnTo>
                <a:lnTo>
                  <a:pt x="46" y="89"/>
                </a:lnTo>
                <a:lnTo>
                  <a:pt x="49" y="89"/>
                </a:lnTo>
                <a:lnTo>
                  <a:pt x="55" y="89"/>
                </a:lnTo>
                <a:lnTo>
                  <a:pt x="63" y="83"/>
                </a:lnTo>
                <a:lnTo>
                  <a:pt x="63" y="80"/>
                </a:lnTo>
                <a:lnTo>
                  <a:pt x="66" y="80"/>
                </a:lnTo>
                <a:lnTo>
                  <a:pt x="72" y="80"/>
                </a:lnTo>
                <a:lnTo>
                  <a:pt x="75" y="77"/>
                </a:lnTo>
                <a:lnTo>
                  <a:pt x="75" y="74"/>
                </a:lnTo>
                <a:lnTo>
                  <a:pt x="84" y="69"/>
                </a:lnTo>
                <a:lnTo>
                  <a:pt x="81" y="71"/>
                </a:lnTo>
                <a:lnTo>
                  <a:pt x="81" y="80"/>
                </a:lnTo>
                <a:lnTo>
                  <a:pt x="72" y="89"/>
                </a:lnTo>
                <a:lnTo>
                  <a:pt x="75" y="89"/>
                </a:lnTo>
                <a:lnTo>
                  <a:pt x="81" y="86"/>
                </a:lnTo>
                <a:lnTo>
                  <a:pt x="81" y="89"/>
                </a:lnTo>
                <a:lnTo>
                  <a:pt x="81" y="94"/>
                </a:lnTo>
                <a:lnTo>
                  <a:pt x="84" y="92"/>
                </a:lnTo>
                <a:lnTo>
                  <a:pt x="86" y="94"/>
                </a:lnTo>
                <a:lnTo>
                  <a:pt x="89" y="92"/>
                </a:lnTo>
                <a:lnTo>
                  <a:pt x="95" y="83"/>
                </a:lnTo>
                <a:lnTo>
                  <a:pt x="101" y="74"/>
                </a:lnTo>
                <a:lnTo>
                  <a:pt x="98" y="74"/>
                </a:lnTo>
                <a:lnTo>
                  <a:pt x="92" y="77"/>
                </a:lnTo>
                <a:lnTo>
                  <a:pt x="92" y="74"/>
                </a:lnTo>
                <a:lnTo>
                  <a:pt x="95" y="69"/>
                </a:lnTo>
                <a:lnTo>
                  <a:pt x="101" y="66"/>
                </a:lnTo>
                <a:lnTo>
                  <a:pt x="92" y="66"/>
                </a:lnTo>
                <a:lnTo>
                  <a:pt x="86" y="77"/>
                </a:lnTo>
                <a:lnTo>
                  <a:pt x="86" y="74"/>
                </a:lnTo>
                <a:lnTo>
                  <a:pt x="86" y="69"/>
                </a:lnTo>
                <a:lnTo>
                  <a:pt x="95" y="6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81" name="Freeform 637"/>
          <p:cNvSpPr>
            <a:spLocks/>
          </p:cNvSpPr>
          <p:nvPr/>
        </p:nvSpPr>
        <p:spPr bwMode="gray">
          <a:xfrm>
            <a:off x="3754677" y="2280062"/>
            <a:ext cx="2000" cy="4501"/>
          </a:xfrm>
          <a:custGeom>
            <a:avLst/>
            <a:gdLst>
              <a:gd name="T0" fmla="*/ 0 w 1"/>
              <a:gd name="T1" fmla="*/ 2147483647 h 3"/>
              <a:gd name="T2" fmla="*/ 0 w 1"/>
              <a:gd name="T3" fmla="*/ 0 h 3"/>
              <a:gd name="T4" fmla="*/ 0 w 1"/>
              <a:gd name="T5" fmla="*/ 2147483647 h 3"/>
              <a:gd name="T6" fmla="*/ 0 w 1"/>
              <a:gd name="T7" fmla="*/ 2147483647 h 3"/>
              <a:gd name="T8" fmla="*/ 0 w 1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"/>
              <a:gd name="T16" fmla="*/ 0 h 3"/>
              <a:gd name="T17" fmla="*/ 1 w 1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" h="3">
                <a:moveTo>
                  <a:pt x="0" y="3"/>
                </a:move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82" name="Freeform 638"/>
          <p:cNvSpPr>
            <a:spLocks/>
          </p:cNvSpPr>
          <p:nvPr/>
        </p:nvSpPr>
        <p:spPr bwMode="gray">
          <a:xfrm>
            <a:off x="3702668" y="1954553"/>
            <a:ext cx="6000" cy="16500"/>
          </a:xfrm>
          <a:custGeom>
            <a:avLst/>
            <a:gdLst>
              <a:gd name="T0" fmla="*/ 0 w 3"/>
              <a:gd name="T1" fmla="*/ 2147483647 h 11"/>
              <a:gd name="T2" fmla="*/ 2147483647 w 3"/>
              <a:gd name="T3" fmla="*/ 2147483647 h 11"/>
              <a:gd name="T4" fmla="*/ 2147483647 w 3"/>
              <a:gd name="T5" fmla="*/ 2147483647 h 11"/>
              <a:gd name="T6" fmla="*/ 2147483647 w 3"/>
              <a:gd name="T7" fmla="*/ 0 h 11"/>
              <a:gd name="T8" fmla="*/ 0 w 3"/>
              <a:gd name="T9" fmla="*/ 0 h 11"/>
              <a:gd name="T10" fmla="*/ 0 w 3"/>
              <a:gd name="T11" fmla="*/ 2147483647 h 11"/>
              <a:gd name="T12" fmla="*/ 0 w 3"/>
              <a:gd name="T13" fmla="*/ 2147483647 h 11"/>
              <a:gd name="T14" fmla="*/ 0 w 3"/>
              <a:gd name="T15" fmla="*/ 2147483647 h 1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"/>
              <a:gd name="T25" fmla="*/ 0 h 11"/>
              <a:gd name="T26" fmla="*/ 3 w 3"/>
              <a:gd name="T27" fmla="*/ 11 h 11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" h="11">
                <a:moveTo>
                  <a:pt x="0" y="11"/>
                </a:moveTo>
                <a:lnTo>
                  <a:pt x="3" y="8"/>
                </a:lnTo>
                <a:lnTo>
                  <a:pt x="3" y="3"/>
                </a:lnTo>
                <a:lnTo>
                  <a:pt x="3" y="0"/>
                </a:lnTo>
                <a:lnTo>
                  <a:pt x="0" y="0"/>
                </a:lnTo>
                <a:lnTo>
                  <a:pt x="0" y="5"/>
                </a:lnTo>
                <a:lnTo>
                  <a:pt x="0" y="1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83" name="Freeform 640"/>
          <p:cNvSpPr>
            <a:spLocks/>
          </p:cNvSpPr>
          <p:nvPr/>
        </p:nvSpPr>
        <p:spPr bwMode="gray">
          <a:xfrm>
            <a:off x="3726672" y="2406066"/>
            <a:ext cx="6000" cy="9000"/>
          </a:xfrm>
          <a:custGeom>
            <a:avLst/>
            <a:gdLst>
              <a:gd name="T0" fmla="*/ 0 w 3"/>
              <a:gd name="T1" fmla="*/ 2147483647 h 6"/>
              <a:gd name="T2" fmla="*/ 2147483647 w 3"/>
              <a:gd name="T3" fmla="*/ 2147483647 h 6"/>
              <a:gd name="T4" fmla="*/ 2147483647 w 3"/>
              <a:gd name="T5" fmla="*/ 0 h 6"/>
              <a:gd name="T6" fmla="*/ 0 w 3"/>
              <a:gd name="T7" fmla="*/ 2147483647 h 6"/>
              <a:gd name="T8" fmla="*/ 0 w 3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0" y="6"/>
                </a:moveTo>
                <a:lnTo>
                  <a:pt x="3" y="3"/>
                </a:lnTo>
                <a:lnTo>
                  <a:pt x="3" y="0"/>
                </a:lnTo>
                <a:lnTo>
                  <a:pt x="0" y="3"/>
                </a:lnTo>
                <a:lnTo>
                  <a:pt x="0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84" name="Freeform 641"/>
          <p:cNvSpPr>
            <a:spLocks/>
          </p:cNvSpPr>
          <p:nvPr/>
        </p:nvSpPr>
        <p:spPr bwMode="gray">
          <a:xfrm>
            <a:off x="3632654" y="2005555"/>
            <a:ext cx="24004" cy="18000"/>
          </a:xfrm>
          <a:custGeom>
            <a:avLst/>
            <a:gdLst>
              <a:gd name="T0" fmla="*/ 2147483647 w 12"/>
              <a:gd name="T1" fmla="*/ 2147483647 h 12"/>
              <a:gd name="T2" fmla="*/ 0 w 12"/>
              <a:gd name="T3" fmla="*/ 2147483647 h 12"/>
              <a:gd name="T4" fmla="*/ 2147483647 w 12"/>
              <a:gd name="T5" fmla="*/ 2147483647 h 12"/>
              <a:gd name="T6" fmla="*/ 2147483647 w 12"/>
              <a:gd name="T7" fmla="*/ 2147483647 h 12"/>
              <a:gd name="T8" fmla="*/ 2147483647 w 12"/>
              <a:gd name="T9" fmla="*/ 2147483647 h 12"/>
              <a:gd name="T10" fmla="*/ 2147483647 w 12"/>
              <a:gd name="T11" fmla="*/ 2147483647 h 12"/>
              <a:gd name="T12" fmla="*/ 2147483647 w 12"/>
              <a:gd name="T13" fmla="*/ 0 h 12"/>
              <a:gd name="T14" fmla="*/ 2147483647 w 12"/>
              <a:gd name="T15" fmla="*/ 2147483647 h 1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2"/>
              <a:gd name="T25" fmla="*/ 0 h 12"/>
              <a:gd name="T26" fmla="*/ 12 w 12"/>
              <a:gd name="T27" fmla="*/ 12 h 1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2" h="12">
                <a:moveTo>
                  <a:pt x="6" y="6"/>
                </a:moveTo>
                <a:lnTo>
                  <a:pt x="0" y="9"/>
                </a:lnTo>
                <a:lnTo>
                  <a:pt x="3" y="12"/>
                </a:lnTo>
                <a:lnTo>
                  <a:pt x="9" y="12"/>
                </a:lnTo>
                <a:lnTo>
                  <a:pt x="12" y="9"/>
                </a:lnTo>
                <a:lnTo>
                  <a:pt x="12" y="3"/>
                </a:lnTo>
                <a:lnTo>
                  <a:pt x="9" y="0"/>
                </a:lnTo>
                <a:lnTo>
                  <a:pt x="6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85" name="Freeform 642"/>
          <p:cNvSpPr>
            <a:spLocks/>
          </p:cNvSpPr>
          <p:nvPr/>
        </p:nvSpPr>
        <p:spPr bwMode="gray">
          <a:xfrm>
            <a:off x="3690666" y="1927553"/>
            <a:ext cx="12002" cy="18000"/>
          </a:xfrm>
          <a:custGeom>
            <a:avLst/>
            <a:gdLst>
              <a:gd name="T0" fmla="*/ 2147483647 w 5"/>
              <a:gd name="T1" fmla="*/ 2147483647 h 12"/>
              <a:gd name="T2" fmla="*/ 2147483647 w 5"/>
              <a:gd name="T3" fmla="*/ 2147483647 h 12"/>
              <a:gd name="T4" fmla="*/ 2147483647 w 5"/>
              <a:gd name="T5" fmla="*/ 2147483647 h 12"/>
              <a:gd name="T6" fmla="*/ 0 w 5"/>
              <a:gd name="T7" fmla="*/ 0 h 12"/>
              <a:gd name="T8" fmla="*/ 2147483647 w 5"/>
              <a:gd name="T9" fmla="*/ 2147483647 h 12"/>
              <a:gd name="T10" fmla="*/ 2147483647 w 5"/>
              <a:gd name="T11" fmla="*/ 2147483647 h 12"/>
              <a:gd name="T12" fmla="*/ 2147483647 w 5"/>
              <a:gd name="T13" fmla="*/ 2147483647 h 12"/>
              <a:gd name="T14" fmla="*/ 2147483647 w 5"/>
              <a:gd name="T15" fmla="*/ 2147483647 h 12"/>
              <a:gd name="T16" fmla="*/ 2147483647 w 5"/>
              <a:gd name="T17" fmla="*/ 2147483647 h 1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"/>
              <a:gd name="T28" fmla="*/ 0 h 12"/>
              <a:gd name="T29" fmla="*/ 5 w 5"/>
              <a:gd name="T30" fmla="*/ 12 h 1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" h="12">
                <a:moveTo>
                  <a:pt x="5" y="6"/>
                </a:moveTo>
                <a:lnTo>
                  <a:pt x="5" y="3"/>
                </a:lnTo>
                <a:lnTo>
                  <a:pt x="3" y="3"/>
                </a:lnTo>
                <a:lnTo>
                  <a:pt x="0" y="0"/>
                </a:lnTo>
                <a:lnTo>
                  <a:pt x="3" y="6"/>
                </a:lnTo>
                <a:lnTo>
                  <a:pt x="3" y="9"/>
                </a:lnTo>
                <a:lnTo>
                  <a:pt x="3" y="12"/>
                </a:lnTo>
                <a:lnTo>
                  <a:pt x="5" y="9"/>
                </a:lnTo>
                <a:lnTo>
                  <a:pt x="5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86" name="Freeform 643"/>
          <p:cNvSpPr>
            <a:spLocks/>
          </p:cNvSpPr>
          <p:nvPr/>
        </p:nvSpPr>
        <p:spPr bwMode="gray">
          <a:xfrm>
            <a:off x="3726672" y="2406065"/>
            <a:ext cx="6000" cy="1501"/>
          </a:xfrm>
          <a:custGeom>
            <a:avLst/>
            <a:gdLst>
              <a:gd name="T0" fmla="*/ 2147483647 w 3"/>
              <a:gd name="T1" fmla="*/ 0 h 1"/>
              <a:gd name="T2" fmla="*/ 0 w 3"/>
              <a:gd name="T3" fmla="*/ 0 h 1"/>
              <a:gd name="T4" fmla="*/ 2147483647 w 3"/>
              <a:gd name="T5" fmla="*/ 0 h 1"/>
              <a:gd name="T6" fmla="*/ 2147483647 w 3"/>
              <a:gd name="T7" fmla="*/ 0 h 1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1"/>
              <a:gd name="T14" fmla="*/ 3 w 3"/>
              <a:gd name="T15" fmla="*/ 1 h 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1">
                <a:moveTo>
                  <a:pt x="3" y="0"/>
                </a:moveTo>
                <a:lnTo>
                  <a:pt x="0" y="0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87" name="Freeform 647"/>
          <p:cNvSpPr>
            <a:spLocks/>
          </p:cNvSpPr>
          <p:nvPr/>
        </p:nvSpPr>
        <p:spPr bwMode="gray">
          <a:xfrm>
            <a:off x="3528636" y="2041556"/>
            <a:ext cx="24004" cy="18000"/>
          </a:xfrm>
          <a:custGeom>
            <a:avLst/>
            <a:gdLst>
              <a:gd name="T0" fmla="*/ 0 w 12"/>
              <a:gd name="T1" fmla="*/ 2147483647 h 12"/>
              <a:gd name="T2" fmla="*/ 0 w 12"/>
              <a:gd name="T3" fmla="*/ 2147483647 h 12"/>
              <a:gd name="T4" fmla="*/ 2147483647 w 12"/>
              <a:gd name="T5" fmla="*/ 2147483647 h 12"/>
              <a:gd name="T6" fmla="*/ 2147483647 w 12"/>
              <a:gd name="T7" fmla="*/ 2147483647 h 12"/>
              <a:gd name="T8" fmla="*/ 2147483647 w 12"/>
              <a:gd name="T9" fmla="*/ 0 h 12"/>
              <a:gd name="T10" fmla="*/ 2147483647 w 12"/>
              <a:gd name="T11" fmla="*/ 2147483647 h 12"/>
              <a:gd name="T12" fmla="*/ 2147483647 w 12"/>
              <a:gd name="T13" fmla="*/ 2147483647 h 12"/>
              <a:gd name="T14" fmla="*/ 0 w 12"/>
              <a:gd name="T15" fmla="*/ 2147483647 h 1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2"/>
              <a:gd name="T25" fmla="*/ 0 h 12"/>
              <a:gd name="T26" fmla="*/ 12 w 12"/>
              <a:gd name="T27" fmla="*/ 12 h 1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2" h="12">
                <a:moveTo>
                  <a:pt x="0" y="6"/>
                </a:moveTo>
                <a:lnTo>
                  <a:pt x="0" y="12"/>
                </a:lnTo>
                <a:lnTo>
                  <a:pt x="9" y="6"/>
                </a:lnTo>
                <a:lnTo>
                  <a:pt x="12" y="3"/>
                </a:lnTo>
                <a:lnTo>
                  <a:pt x="9" y="0"/>
                </a:lnTo>
                <a:lnTo>
                  <a:pt x="9" y="3"/>
                </a:lnTo>
                <a:lnTo>
                  <a:pt x="3" y="3"/>
                </a:lnTo>
                <a:lnTo>
                  <a:pt x="0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88" name="Freeform 650"/>
          <p:cNvSpPr>
            <a:spLocks/>
          </p:cNvSpPr>
          <p:nvPr/>
        </p:nvSpPr>
        <p:spPr bwMode="gray">
          <a:xfrm>
            <a:off x="3354605" y="1959053"/>
            <a:ext cx="18003" cy="12000"/>
          </a:xfrm>
          <a:custGeom>
            <a:avLst/>
            <a:gdLst>
              <a:gd name="T0" fmla="*/ 2147483647 w 9"/>
              <a:gd name="T1" fmla="*/ 2147483647 h 8"/>
              <a:gd name="T2" fmla="*/ 2147483647 w 9"/>
              <a:gd name="T3" fmla="*/ 2147483647 h 8"/>
              <a:gd name="T4" fmla="*/ 2147483647 w 9"/>
              <a:gd name="T5" fmla="*/ 2147483647 h 8"/>
              <a:gd name="T6" fmla="*/ 2147483647 w 9"/>
              <a:gd name="T7" fmla="*/ 0 h 8"/>
              <a:gd name="T8" fmla="*/ 0 w 9"/>
              <a:gd name="T9" fmla="*/ 2147483647 h 8"/>
              <a:gd name="T10" fmla="*/ 0 w 9"/>
              <a:gd name="T11" fmla="*/ 2147483647 h 8"/>
              <a:gd name="T12" fmla="*/ 2147483647 w 9"/>
              <a:gd name="T13" fmla="*/ 2147483647 h 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"/>
              <a:gd name="T22" fmla="*/ 0 h 8"/>
              <a:gd name="T23" fmla="*/ 9 w 9"/>
              <a:gd name="T24" fmla="*/ 8 h 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" h="8">
                <a:moveTo>
                  <a:pt x="6" y="8"/>
                </a:moveTo>
                <a:lnTo>
                  <a:pt x="9" y="8"/>
                </a:lnTo>
                <a:lnTo>
                  <a:pt x="9" y="5"/>
                </a:lnTo>
                <a:lnTo>
                  <a:pt x="3" y="0"/>
                </a:lnTo>
                <a:lnTo>
                  <a:pt x="0" y="2"/>
                </a:lnTo>
                <a:lnTo>
                  <a:pt x="0" y="5"/>
                </a:lnTo>
                <a:lnTo>
                  <a:pt x="6" y="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89" name="Freeform 652"/>
          <p:cNvSpPr>
            <a:spLocks/>
          </p:cNvSpPr>
          <p:nvPr/>
        </p:nvSpPr>
        <p:spPr bwMode="gray">
          <a:xfrm>
            <a:off x="3348603" y="1950053"/>
            <a:ext cx="18004" cy="4501"/>
          </a:xfrm>
          <a:custGeom>
            <a:avLst/>
            <a:gdLst>
              <a:gd name="T0" fmla="*/ 2147483647 w 9"/>
              <a:gd name="T1" fmla="*/ 0 h 3"/>
              <a:gd name="T2" fmla="*/ 0 w 9"/>
              <a:gd name="T3" fmla="*/ 0 h 3"/>
              <a:gd name="T4" fmla="*/ 2147483647 w 9"/>
              <a:gd name="T5" fmla="*/ 2147483647 h 3"/>
              <a:gd name="T6" fmla="*/ 2147483647 w 9"/>
              <a:gd name="T7" fmla="*/ 2147483647 h 3"/>
              <a:gd name="T8" fmla="*/ 2147483647 w 9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3"/>
              <a:gd name="T17" fmla="*/ 9 w 9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3">
                <a:moveTo>
                  <a:pt x="6" y="0"/>
                </a:moveTo>
                <a:lnTo>
                  <a:pt x="0" y="0"/>
                </a:lnTo>
                <a:lnTo>
                  <a:pt x="3" y="3"/>
                </a:lnTo>
                <a:lnTo>
                  <a:pt x="9" y="3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90" name="Freeform 656"/>
          <p:cNvSpPr>
            <a:spLocks/>
          </p:cNvSpPr>
          <p:nvPr/>
        </p:nvSpPr>
        <p:spPr bwMode="gray">
          <a:xfrm>
            <a:off x="2984537" y="2245561"/>
            <a:ext cx="34007" cy="18000"/>
          </a:xfrm>
          <a:custGeom>
            <a:avLst/>
            <a:gdLst>
              <a:gd name="T0" fmla="*/ 2147483647 w 17"/>
              <a:gd name="T1" fmla="*/ 2147483647 h 12"/>
              <a:gd name="T2" fmla="*/ 0 w 17"/>
              <a:gd name="T3" fmla="*/ 2147483647 h 12"/>
              <a:gd name="T4" fmla="*/ 2147483647 w 17"/>
              <a:gd name="T5" fmla="*/ 2147483647 h 12"/>
              <a:gd name="T6" fmla="*/ 2147483647 w 17"/>
              <a:gd name="T7" fmla="*/ 2147483647 h 12"/>
              <a:gd name="T8" fmla="*/ 2147483647 w 17"/>
              <a:gd name="T9" fmla="*/ 2147483647 h 12"/>
              <a:gd name="T10" fmla="*/ 2147483647 w 17"/>
              <a:gd name="T11" fmla="*/ 2147483647 h 12"/>
              <a:gd name="T12" fmla="*/ 2147483647 w 17"/>
              <a:gd name="T13" fmla="*/ 2147483647 h 12"/>
              <a:gd name="T14" fmla="*/ 2147483647 w 17"/>
              <a:gd name="T15" fmla="*/ 2147483647 h 12"/>
              <a:gd name="T16" fmla="*/ 2147483647 w 17"/>
              <a:gd name="T17" fmla="*/ 0 h 12"/>
              <a:gd name="T18" fmla="*/ 2147483647 w 17"/>
              <a:gd name="T19" fmla="*/ 2147483647 h 1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7"/>
              <a:gd name="T31" fmla="*/ 0 h 12"/>
              <a:gd name="T32" fmla="*/ 17 w 17"/>
              <a:gd name="T33" fmla="*/ 12 h 1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7" h="12">
                <a:moveTo>
                  <a:pt x="2" y="3"/>
                </a:moveTo>
                <a:lnTo>
                  <a:pt x="0" y="6"/>
                </a:lnTo>
                <a:lnTo>
                  <a:pt x="2" y="9"/>
                </a:lnTo>
                <a:lnTo>
                  <a:pt x="8" y="9"/>
                </a:lnTo>
                <a:lnTo>
                  <a:pt x="8" y="12"/>
                </a:lnTo>
                <a:lnTo>
                  <a:pt x="14" y="12"/>
                </a:lnTo>
                <a:lnTo>
                  <a:pt x="17" y="9"/>
                </a:lnTo>
                <a:lnTo>
                  <a:pt x="14" y="3"/>
                </a:lnTo>
                <a:lnTo>
                  <a:pt x="8" y="0"/>
                </a:lnTo>
                <a:lnTo>
                  <a:pt x="2" y="3"/>
                </a:lnTo>
                <a:close/>
              </a:path>
            </a:pathLst>
          </a:custGeom>
          <a:solidFill>
            <a:srgbClr val="999999"/>
          </a:solidFill>
          <a:ln w="11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91" name="Freeform 661"/>
          <p:cNvSpPr>
            <a:spLocks/>
          </p:cNvSpPr>
          <p:nvPr/>
        </p:nvSpPr>
        <p:spPr bwMode="gray">
          <a:xfrm>
            <a:off x="3100558" y="2154058"/>
            <a:ext cx="58011" cy="21001"/>
          </a:xfrm>
          <a:custGeom>
            <a:avLst/>
            <a:gdLst>
              <a:gd name="T0" fmla="*/ 2147483647 w 29"/>
              <a:gd name="T1" fmla="*/ 2147483647 h 14"/>
              <a:gd name="T2" fmla="*/ 2147483647 w 29"/>
              <a:gd name="T3" fmla="*/ 2147483647 h 14"/>
              <a:gd name="T4" fmla="*/ 0 w 29"/>
              <a:gd name="T5" fmla="*/ 2147483647 h 14"/>
              <a:gd name="T6" fmla="*/ 2147483647 w 29"/>
              <a:gd name="T7" fmla="*/ 2147483647 h 14"/>
              <a:gd name="T8" fmla="*/ 2147483647 w 29"/>
              <a:gd name="T9" fmla="*/ 2147483647 h 14"/>
              <a:gd name="T10" fmla="*/ 2147483647 w 29"/>
              <a:gd name="T11" fmla="*/ 2147483647 h 14"/>
              <a:gd name="T12" fmla="*/ 2147483647 w 29"/>
              <a:gd name="T13" fmla="*/ 2147483647 h 14"/>
              <a:gd name="T14" fmla="*/ 2147483647 w 29"/>
              <a:gd name="T15" fmla="*/ 2147483647 h 14"/>
              <a:gd name="T16" fmla="*/ 2147483647 w 29"/>
              <a:gd name="T17" fmla="*/ 2147483647 h 14"/>
              <a:gd name="T18" fmla="*/ 2147483647 w 29"/>
              <a:gd name="T19" fmla="*/ 2147483647 h 14"/>
              <a:gd name="T20" fmla="*/ 2147483647 w 29"/>
              <a:gd name="T21" fmla="*/ 2147483647 h 14"/>
              <a:gd name="T22" fmla="*/ 2147483647 w 29"/>
              <a:gd name="T23" fmla="*/ 0 h 14"/>
              <a:gd name="T24" fmla="*/ 2147483647 w 29"/>
              <a:gd name="T25" fmla="*/ 0 h 14"/>
              <a:gd name="T26" fmla="*/ 2147483647 w 29"/>
              <a:gd name="T27" fmla="*/ 2147483647 h 14"/>
              <a:gd name="T28" fmla="*/ 2147483647 w 29"/>
              <a:gd name="T29" fmla="*/ 2147483647 h 1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29"/>
              <a:gd name="T46" fmla="*/ 0 h 14"/>
              <a:gd name="T47" fmla="*/ 29 w 29"/>
              <a:gd name="T48" fmla="*/ 14 h 14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29" h="14">
                <a:moveTo>
                  <a:pt x="9" y="3"/>
                </a:moveTo>
                <a:lnTo>
                  <a:pt x="6" y="8"/>
                </a:lnTo>
                <a:lnTo>
                  <a:pt x="0" y="11"/>
                </a:lnTo>
                <a:lnTo>
                  <a:pt x="9" y="14"/>
                </a:lnTo>
                <a:lnTo>
                  <a:pt x="11" y="8"/>
                </a:lnTo>
                <a:lnTo>
                  <a:pt x="14" y="14"/>
                </a:lnTo>
                <a:lnTo>
                  <a:pt x="17" y="8"/>
                </a:lnTo>
                <a:lnTo>
                  <a:pt x="20" y="8"/>
                </a:lnTo>
                <a:lnTo>
                  <a:pt x="23" y="8"/>
                </a:lnTo>
                <a:lnTo>
                  <a:pt x="29" y="3"/>
                </a:lnTo>
                <a:lnTo>
                  <a:pt x="23" y="3"/>
                </a:lnTo>
                <a:lnTo>
                  <a:pt x="20" y="0"/>
                </a:lnTo>
                <a:lnTo>
                  <a:pt x="17" y="0"/>
                </a:lnTo>
                <a:lnTo>
                  <a:pt x="11" y="3"/>
                </a:lnTo>
                <a:lnTo>
                  <a:pt x="9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92" name="Freeform 662"/>
          <p:cNvSpPr>
            <a:spLocks/>
          </p:cNvSpPr>
          <p:nvPr/>
        </p:nvSpPr>
        <p:spPr bwMode="gray">
          <a:xfrm>
            <a:off x="3028546" y="2280062"/>
            <a:ext cx="12002" cy="4501"/>
          </a:xfrm>
          <a:custGeom>
            <a:avLst/>
            <a:gdLst>
              <a:gd name="T0" fmla="*/ 2147483647 w 6"/>
              <a:gd name="T1" fmla="*/ 2147483647 h 3"/>
              <a:gd name="T2" fmla="*/ 2147483647 w 6"/>
              <a:gd name="T3" fmla="*/ 0 h 3"/>
              <a:gd name="T4" fmla="*/ 2147483647 w 6"/>
              <a:gd name="T5" fmla="*/ 0 h 3"/>
              <a:gd name="T6" fmla="*/ 2147483647 w 6"/>
              <a:gd name="T7" fmla="*/ 0 h 3"/>
              <a:gd name="T8" fmla="*/ 0 w 6"/>
              <a:gd name="T9" fmla="*/ 2147483647 h 3"/>
              <a:gd name="T10" fmla="*/ 2147483647 w 6"/>
              <a:gd name="T11" fmla="*/ 2147483647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3"/>
              <a:gd name="T20" fmla="*/ 6 w 6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3">
                <a:moveTo>
                  <a:pt x="3" y="3"/>
                </a:move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93" name="Freeform 663"/>
          <p:cNvSpPr>
            <a:spLocks/>
          </p:cNvSpPr>
          <p:nvPr/>
        </p:nvSpPr>
        <p:spPr bwMode="gray">
          <a:xfrm>
            <a:off x="3146568" y="2124057"/>
            <a:ext cx="6000" cy="7501"/>
          </a:xfrm>
          <a:custGeom>
            <a:avLst/>
            <a:gdLst>
              <a:gd name="T0" fmla="*/ 2147483647 w 3"/>
              <a:gd name="T1" fmla="*/ 0 h 5"/>
              <a:gd name="T2" fmla="*/ 0 w 3"/>
              <a:gd name="T3" fmla="*/ 0 h 5"/>
              <a:gd name="T4" fmla="*/ 0 w 3"/>
              <a:gd name="T5" fmla="*/ 2147483647 h 5"/>
              <a:gd name="T6" fmla="*/ 0 w 3"/>
              <a:gd name="T7" fmla="*/ 2147483647 h 5"/>
              <a:gd name="T8" fmla="*/ 2147483647 w 3"/>
              <a:gd name="T9" fmla="*/ 0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5"/>
              <a:gd name="T17" fmla="*/ 3 w 3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5">
                <a:moveTo>
                  <a:pt x="3" y="0"/>
                </a:moveTo>
                <a:lnTo>
                  <a:pt x="0" y="0"/>
                </a:lnTo>
                <a:lnTo>
                  <a:pt x="0" y="5"/>
                </a:lnTo>
                <a:lnTo>
                  <a:pt x="0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94" name="Freeform 664"/>
          <p:cNvSpPr>
            <a:spLocks/>
          </p:cNvSpPr>
          <p:nvPr/>
        </p:nvSpPr>
        <p:spPr bwMode="gray">
          <a:xfrm>
            <a:off x="3040548" y="2241060"/>
            <a:ext cx="6002" cy="13501"/>
          </a:xfrm>
          <a:custGeom>
            <a:avLst/>
            <a:gdLst>
              <a:gd name="T0" fmla="*/ 2147483647 w 3"/>
              <a:gd name="T1" fmla="*/ 2147483647 h 9"/>
              <a:gd name="T2" fmla="*/ 2147483647 w 3"/>
              <a:gd name="T3" fmla="*/ 2147483647 h 9"/>
              <a:gd name="T4" fmla="*/ 2147483647 w 3"/>
              <a:gd name="T5" fmla="*/ 0 h 9"/>
              <a:gd name="T6" fmla="*/ 0 w 3"/>
              <a:gd name="T7" fmla="*/ 0 h 9"/>
              <a:gd name="T8" fmla="*/ 2147483647 w 3"/>
              <a:gd name="T9" fmla="*/ 2147483647 h 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9"/>
              <a:gd name="T17" fmla="*/ 3 w 3"/>
              <a:gd name="T18" fmla="*/ 9 h 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9">
                <a:moveTo>
                  <a:pt x="3" y="6"/>
                </a:moveTo>
                <a:lnTo>
                  <a:pt x="3" y="9"/>
                </a:lnTo>
                <a:lnTo>
                  <a:pt x="3" y="0"/>
                </a:lnTo>
                <a:lnTo>
                  <a:pt x="0" y="0"/>
                </a:lnTo>
                <a:lnTo>
                  <a:pt x="3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95" name="Freeform 665"/>
          <p:cNvSpPr>
            <a:spLocks/>
          </p:cNvSpPr>
          <p:nvPr/>
        </p:nvSpPr>
        <p:spPr bwMode="gray">
          <a:xfrm>
            <a:off x="3122564" y="2140559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2147483647 h 6"/>
              <a:gd name="T4" fmla="*/ 0 w 6"/>
              <a:gd name="T5" fmla="*/ 2147483647 h 6"/>
              <a:gd name="T6" fmla="*/ 2147483647 w 6"/>
              <a:gd name="T7" fmla="*/ 2147483647 h 6"/>
              <a:gd name="T8" fmla="*/ 2147483647 w 6"/>
              <a:gd name="T9" fmla="*/ 0 h 6"/>
              <a:gd name="T10" fmla="*/ 2147483647 w 6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6"/>
              <a:gd name="T20" fmla="*/ 6 w 6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6">
                <a:moveTo>
                  <a:pt x="3" y="3"/>
                </a:moveTo>
                <a:lnTo>
                  <a:pt x="3" y="3"/>
                </a:lnTo>
                <a:lnTo>
                  <a:pt x="0" y="6"/>
                </a:lnTo>
                <a:lnTo>
                  <a:pt x="3" y="6"/>
                </a:lnTo>
                <a:lnTo>
                  <a:pt x="6" y="0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96" name="Rectangle 682"/>
          <p:cNvSpPr>
            <a:spLocks noChangeArrowheads="1"/>
          </p:cNvSpPr>
          <p:nvPr/>
        </p:nvSpPr>
        <p:spPr bwMode="gray">
          <a:xfrm>
            <a:off x="3412615" y="1984554"/>
            <a:ext cx="12002" cy="45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97" name="Freeform 683"/>
          <p:cNvSpPr>
            <a:spLocks/>
          </p:cNvSpPr>
          <p:nvPr/>
        </p:nvSpPr>
        <p:spPr bwMode="gray">
          <a:xfrm>
            <a:off x="3152568" y="1980054"/>
            <a:ext cx="62012" cy="21001"/>
          </a:xfrm>
          <a:custGeom>
            <a:avLst/>
            <a:gdLst>
              <a:gd name="T0" fmla="*/ 2147483647 w 31"/>
              <a:gd name="T1" fmla="*/ 2147483647 h 14"/>
              <a:gd name="T2" fmla="*/ 2147483647 w 31"/>
              <a:gd name="T3" fmla="*/ 0 h 14"/>
              <a:gd name="T4" fmla="*/ 2147483647 w 31"/>
              <a:gd name="T5" fmla="*/ 0 h 14"/>
              <a:gd name="T6" fmla="*/ 2147483647 w 31"/>
              <a:gd name="T7" fmla="*/ 0 h 14"/>
              <a:gd name="T8" fmla="*/ 2147483647 w 31"/>
              <a:gd name="T9" fmla="*/ 2147483647 h 14"/>
              <a:gd name="T10" fmla="*/ 2147483647 w 31"/>
              <a:gd name="T11" fmla="*/ 0 h 14"/>
              <a:gd name="T12" fmla="*/ 2147483647 w 31"/>
              <a:gd name="T13" fmla="*/ 0 h 14"/>
              <a:gd name="T14" fmla="*/ 2147483647 w 31"/>
              <a:gd name="T15" fmla="*/ 2147483647 h 14"/>
              <a:gd name="T16" fmla="*/ 0 w 31"/>
              <a:gd name="T17" fmla="*/ 2147483647 h 14"/>
              <a:gd name="T18" fmla="*/ 2147483647 w 31"/>
              <a:gd name="T19" fmla="*/ 2147483647 h 14"/>
              <a:gd name="T20" fmla="*/ 2147483647 w 31"/>
              <a:gd name="T21" fmla="*/ 2147483647 h 14"/>
              <a:gd name="T22" fmla="*/ 2147483647 w 31"/>
              <a:gd name="T23" fmla="*/ 2147483647 h 14"/>
              <a:gd name="T24" fmla="*/ 2147483647 w 31"/>
              <a:gd name="T25" fmla="*/ 2147483647 h 14"/>
              <a:gd name="T26" fmla="*/ 2147483647 w 31"/>
              <a:gd name="T27" fmla="*/ 2147483647 h 14"/>
              <a:gd name="T28" fmla="*/ 2147483647 w 31"/>
              <a:gd name="T29" fmla="*/ 2147483647 h 14"/>
              <a:gd name="T30" fmla="*/ 2147483647 w 31"/>
              <a:gd name="T31" fmla="*/ 2147483647 h 14"/>
              <a:gd name="T32" fmla="*/ 2147483647 w 31"/>
              <a:gd name="T33" fmla="*/ 2147483647 h 1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31"/>
              <a:gd name="T52" fmla="*/ 0 h 14"/>
              <a:gd name="T53" fmla="*/ 31 w 31"/>
              <a:gd name="T54" fmla="*/ 14 h 14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31" h="14">
                <a:moveTo>
                  <a:pt x="31" y="3"/>
                </a:moveTo>
                <a:lnTo>
                  <a:pt x="31" y="0"/>
                </a:lnTo>
                <a:lnTo>
                  <a:pt x="28" y="0"/>
                </a:lnTo>
                <a:lnTo>
                  <a:pt x="23" y="0"/>
                </a:lnTo>
                <a:lnTo>
                  <a:pt x="20" y="3"/>
                </a:lnTo>
                <a:lnTo>
                  <a:pt x="14" y="0"/>
                </a:lnTo>
                <a:lnTo>
                  <a:pt x="11" y="0"/>
                </a:lnTo>
                <a:lnTo>
                  <a:pt x="3" y="9"/>
                </a:lnTo>
                <a:lnTo>
                  <a:pt x="0" y="11"/>
                </a:lnTo>
                <a:lnTo>
                  <a:pt x="6" y="14"/>
                </a:lnTo>
                <a:lnTo>
                  <a:pt x="8" y="14"/>
                </a:lnTo>
                <a:lnTo>
                  <a:pt x="14" y="11"/>
                </a:lnTo>
                <a:lnTo>
                  <a:pt x="26" y="6"/>
                </a:lnTo>
                <a:lnTo>
                  <a:pt x="31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98" name="Freeform 684"/>
          <p:cNvSpPr>
            <a:spLocks/>
          </p:cNvSpPr>
          <p:nvPr/>
        </p:nvSpPr>
        <p:spPr bwMode="gray">
          <a:xfrm>
            <a:off x="3250586" y="2035556"/>
            <a:ext cx="16003" cy="6000"/>
          </a:xfrm>
          <a:custGeom>
            <a:avLst/>
            <a:gdLst>
              <a:gd name="T0" fmla="*/ 2147483647 w 8"/>
              <a:gd name="T1" fmla="*/ 2147483647 h 3"/>
              <a:gd name="T2" fmla="*/ 2147483647 w 8"/>
              <a:gd name="T3" fmla="*/ 0 h 3"/>
              <a:gd name="T4" fmla="*/ 2147483647 w 8"/>
              <a:gd name="T5" fmla="*/ 0 h 3"/>
              <a:gd name="T6" fmla="*/ 0 w 8"/>
              <a:gd name="T7" fmla="*/ 2147483647 h 3"/>
              <a:gd name="T8" fmla="*/ 2147483647 w 8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"/>
              <a:gd name="T16" fmla="*/ 0 h 3"/>
              <a:gd name="T17" fmla="*/ 8 w 8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" h="3">
                <a:moveTo>
                  <a:pt x="5" y="3"/>
                </a:moveTo>
                <a:lnTo>
                  <a:pt x="8" y="0"/>
                </a:lnTo>
                <a:lnTo>
                  <a:pt x="2" y="0"/>
                </a:lnTo>
                <a:lnTo>
                  <a:pt x="0" y="3"/>
                </a:lnTo>
                <a:lnTo>
                  <a:pt x="5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99" name="Freeform 685"/>
          <p:cNvSpPr>
            <a:spLocks/>
          </p:cNvSpPr>
          <p:nvPr/>
        </p:nvSpPr>
        <p:spPr bwMode="gray">
          <a:xfrm>
            <a:off x="3232582" y="1993555"/>
            <a:ext cx="40007" cy="21001"/>
          </a:xfrm>
          <a:custGeom>
            <a:avLst/>
            <a:gdLst>
              <a:gd name="T0" fmla="*/ 2147483647 w 20"/>
              <a:gd name="T1" fmla="*/ 2147483647 h 14"/>
              <a:gd name="T2" fmla="*/ 2147483647 w 20"/>
              <a:gd name="T3" fmla="*/ 0 h 14"/>
              <a:gd name="T4" fmla="*/ 2147483647 w 20"/>
              <a:gd name="T5" fmla="*/ 0 h 14"/>
              <a:gd name="T6" fmla="*/ 2147483647 w 20"/>
              <a:gd name="T7" fmla="*/ 2147483647 h 14"/>
              <a:gd name="T8" fmla="*/ 0 w 20"/>
              <a:gd name="T9" fmla="*/ 2147483647 h 14"/>
              <a:gd name="T10" fmla="*/ 2147483647 w 20"/>
              <a:gd name="T11" fmla="*/ 2147483647 h 14"/>
              <a:gd name="T12" fmla="*/ 2147483647 w 20"/>
              <a:gd name="T13" fmla="*/ 2147483647 h 14"/>
              <a:gd name="T14" fmla="*/ 2147483647 w 20"/>
              <a:gd name="T15" fmla="*/ 2147483647 h 14"/>
              <a:gd name="T16" fmla="*/ 2147483647 w 20"/>
              <a:gd name="T17" fmla="*/ 2147483647 h 1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0"/>
              <a:gd name="T28" fmla="*/ 0 h 14"/>
              <a:gd name="T29" fmla="*/ 20 w 20"/>
              <a:gd name="T30" fmla="*/ 14 h 1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0" h="14">
                <a:moveTo>
                  <a:pt x="20" y="2"/>
                </a:moveTo>
                <a:lnTo>
                  <a:pt x="17" y="0"/>
                </a:lnTo>
                <a:lnTo>
                  <a:pt x="11" y="0"/>
                </a:lnTo>
                <a:lnTo>
                  <a:pt x="6" y="5"/>
                </a:lnTo>
                <a:lnTo>
                  <a:pt x="0" y="11"/>
                </a:lnTo>
                <a:lnTo>
                  <a:pt x="3" y="14"/>
                </a:lnTo>
                <a:lnTo>
                  <a:pt x="9" y="11"/>
                </a:lnTo>
                <a:lnTo>
                  <a:pt x="17" y="5"/>
                </a:lnTo>
                <a:lnTo>
                  <a:pt x="20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00" name="Freeform 687"/>
          <p:cNvSpPr>
            <a:spLocks/>
          </p:cNvSpPr>
          <p:nvPr/>
        </p:nvSpPr>
        <p:spPr bwMode="gray">
          <a:xfrm>
            <a:off x="3186575" y="2062556"/>
            <a:ext cx="6000" cy="4500"/>
          </a:xfrm>
          <a:custGeom>
            <a:avLst/>
            <a:gdLst>
              <a:gd name="T0" fmla="*/ 2147483647 w 3"/>
              <a:gd name="T1" fmla="*/ 0 h 3"/>
              <a:gd name="T2" fmla="*/ 0 w 3"/>
              <a:gd name="T3" fmla="*/ 2147483647 h 3"/>
              <a:gd name="T4" fmla="*/ 0 w 3"/>
              <a:gd name="T5" fmla="*/ 2147483647 h 3"/>
              <a:gd name="T6" fmla="*/ 2147483647 w 3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3" y="0"/>
                </a:moveTo>
                <a:lnTo>
                  <a:pt x="0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01" name="Freeform 688"/>
          <p:cNvSpPr>
            <a:spLocks/>
          </p:cNvSpPr>
          <p:nvPr/>
        </p:nvSpPr>
        <p:spPr bwMode="gray">
          <a:xfrm>
            <a:off x="3092557" y="1897552"/>
            <a:ext cx="192035" cy="78002"/>
          </a:xfrm>
          <a:custGeom>
            <a:avLst/>
            <a:gdLst>
              <a:gd name="T0" fmla="*/ 2147483647 w 95"/>
              <a:gd name="T1" fmla="*/ 2147483647 h 52"/>
              <a:gd name="T2" fmla="*/ 2147483647 w 95"/>
              <a:gd name="T3" fmla="*/ 2147483647 h 52"/>
              <a:gd name="T4" fmla="*/ 2147483647 w 95"/>
              <a:gd name="T5" fmla="*/ 2147483647 h 52"/>
              <a:gd name="T6" fmla="*/ 2147483647 w 95"/>
              <a:gd name="T7" fmla="*/ 2147483647 h 52"/>
              <a:gd name="T8" fmla="*/ 2147483647 w 95"/>
              <a:gd name="T9" fmla="*/ 2147483647 h 52"/>
              <a:gd name="T10" fmla="*/ 2147483647 w 95"/>
              <a:gd name="T11" fmla="*/ 2147483647 h 52"/>
              <a:gd name="T12" fmla="*/ 2147483647 w 95"/>
              <a:gd name="T13" fmla="*/ 2147483647 h 52"/>
              <a:gd name="T14" fmla="*/ 2147483647 w 95"/>
              <a:gd name="T15" fmla="*/ 2147483647 h 52"/>
              <a:gd name="T16" fmla="*/ 2147483647 w 95"/>
              <a:gd name="T17" fmla="*/ 2147483647 h 52"/>
              <a:gd name="T18" fmla="*/ 2147483647 w 95"/>
              <a:gd name="T19" fmla="*/ 2147483647 h 52"/>
              <a:gd name="T20" fmla="*/ 2147483647 w 95"/>
              <a:gd name="T21" fmla="*/ 2147483647 h 52"/>
              <a:gd name="T22" fmla="*/ 2147483647 w 95"/>
              <a:gd name="T23" fmla="*/ 2147483647 h 52"/>
              <a:gd name="T24" fmla="*/ 2147483647 w 95"/>
              <a:gd name="T25" fmla="*/ 2147483647 h 52"/>
              <a:gd name="T26" fmla="*/ 2147483647 w 95"/>
              <a:gd name="T27" fmla="*/ 2147483647 h 52"/>
              <a:gd name="T28" fmla="*/ 2147483647 w 95"/>
              <a:gd name="T29" fmla="*/ 2147483647 h 52"/>
              <a:gd name="T30" fmla="*/ 2147483647 w 95"/>
              <a:gd name="T31" fmla="*/ 2147483647 h 52"/>
              <a:gd name="T32" fmla="*/ 2147483647 w 95"/>
              <a:gd name="T33" fmla="*/ 0 h 52"/>
              <a:gd name="T34" fmla="*/ 2147483647 w 95"/>
              <a:gd name="T35" fmla="*/ 2147483647 h 52"/>
              <a:gd name="T36" fmla="*/ 2147483647 w 95"/>
              <a:gd name="T37" fmla="*/ 2147483647 h 52"/>
              <a:gd name="T38" fmla="*/ 2147483647 w 95"/>
              <a:gd name="T39" fmla="*/ 2147483647 h 52"/>
              <a:gd name="T40" fmla="*/ 2147483647 w 95"/>
              <a:gd name="T41" fmla="*/ 2147483647 h 52"/>
              <a:gd name="T42" fmla="*/ 2147483647 w 95"/>
              <a:gd name="T43" fmla="*/ 2147483647 h 52"/>
              <a:gd name="T44" fmla="*/ 2147483647 w 95"/>
              <a:gd name="T45" fmla="*/ 2147483647 h 52"/>
              <a:gd name="T46" fmla="*/ 2147483647 w 95"/>
              <a:gd name="T47" fmla="*/ 2147483647 h 52"/>
              <a:gd name="T48" fmla="*/ 2147483647 w 95"/>
              <a:gd name="T49" fmla="*/ 2147483647 h 52"/>
              <a:gd name="T50" fmla="*/ 2147483647 w 95"/>
              <a:gd name="T51" fmla="*/ 2147483647 h 52"/>
              <a:gd name="T52" fmla="*/ 2147483647 w 95"/>
              <a:gd name="T53" fmla="*/ 2147483647 h 52"/>
              <a:gd name="T54" fmla="*/ 0 w 95"/>
              <a:gd name="T55" fmla="*/ 2147483647 h 52"/>
              <a:gd name="T56" fmla="*/ 2147483647 w 95"/>
              <a:gd name="T57" fmla="*/ 2147483647 h 52"/>
              <a:gd name="T58" fmla="*/ 2147483647 w 95"/>
              <a:gd name="T59" fmla="*/ 2147483647 h 52"/>
              <a:gd name="T60" fmla="*/ 2147483647 w 95"/>
              <a:gd name="T61" fmla="*/ 2147483647 h 52"/>
              <a:gd name="T62" fmla="*/ 2147483647 w 95"/>
              <a:gd name="T63" fmla="*/ 2147483647 h 52"/>
              <a:gd name="T64" fmla="*/ 2147483647 w 95"/>
              <a:gd name="T65" fmla="*/ 2147483647 h 52"/>
              <a:gd name="T66" fmla="*/ 2147483647 w 95"/>
              <a:gd name="T67" fmla="*/ 2147483647 h 52"/>
              <a:gd name="T68" fmla="*/ 2147483647 w 95"/>
              <a:gd name="T69" fmla="*/ 2147483647 h 52"/>
              <a:gd name="T70" fmla="*/ 2147483647 w 95"/>
              <a:gd name="T71" fmla="*/ 2147483647 h 52"/>
              <a:gd name="T72" fmla="*/ 2147483647 w 95"/>
              <a:gd name="T73" fmla="*/ 2147483647 h 52"/>
              <a:gd name="T74" fmla="*/ 2147483647 w 95"/>
              <a:gd name="T75" fmla="*/ 2147483647 h 52"/>
              <a:gd name="T76" fmla="*/ 2147483647 w 95"/>
              <a:gd name="T77" fmla="*/ 2147483647 h 52"/>
              <a:gd name="T78" fmla="*/ 2147483647 w 95"/>
              <a:gd name="T79" fmla="*/ 2147483647 h 52"/>
              <a:gd name="T80" fmla="*/ 2147483647 w 95"/>
              <a:gd name="T81" fmla="*/ 2147483647 h 52"/>
              <a:gd name="T82" fmla="*/ 2147483647 w 95"/>
              <a:gd name="T83" fmla="*/ 2147483647 h 52"/>
              <a:gd name="T84" fmla="*/ 2147483647 w 95"/>
              <a:gd name="T85" fmla="*/ 2147483647 h 52"/>
              <a:gd name="T86" fmla="*/ 2147483647 w 95"/>
              <a:gd name="T87" fmla="*/ 2147483647 h 5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95"/>
              <a:gd name="T133" fmla="*/ 0 h 52"/>
              <a:gd name="T134" fmla="*/ 95 w 95"/>
              <a:gd name="T135" fmla="*/ 52 h 5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95" h="52">
                <a:moveTo>
                  <a:pt x="95" y="41"/>
                </a:moveTo>
                <a:lnTo>
                  <a:pt x="89" y="35"/>
                </a:lnTo>
                <a:lnTo>
                  <a:pt x="78" y="35"/>
                </a:lnTo>
                <a:lnTo>
                  <a:pt x="83" y="29"/>
                </a:lnTo>
                <a:lnTo>
                  <a:pt x="78" y="23"/>
                </a:lnTo>
                <a:lnTo>
                  <a:pt x="72" y="20"/>
                </a:lnTo>
                <a:lnTo>
                  <a:pt x="69" y="20"/>
                </a:lnTo>
                <a:lnTo>
                  <a:pt x="69" y="15"/>
                </a:lnTo>
                <a:lnTo>
                  <a:pt x="63" y="18"/>
                </a:lnTo>
                <a:lnTo>
                  <a:pt x="60" y="12"/>
                </a:lnTo>
                <a:lnTo>
                  <a:pt x="55" y="15"/>
                </a:lnTo>
                <a:lnTo>
                  <a:pt x="52" y="18"/>
                </a:lnTo>
                <a:lnTo>
                  <a:pt x="49" y="12"/>
                </a:lnTo>
                <a:lnTo>
                  <a:pt x="55" y="6"/>
                </a:lnTo>
                <a:lnTo>
                  <a:pt x="57" y="9"/>
                </a:lnTo>
                <a:lnTo>
                  <a:pt x="60" y="6"/>
                </a:lnTo>
                <a:lnTo>
                  <a:pt x="60" y="0"/>
                </a:lnTo>
                <a:lnTo>
                  <a:pt x="55" y="3"/>
                </a:lnTo>
                <a:lnTo>
                  <a:pt x="46" y="3"/>
                </a:lnTo>
                <a:lnTo>
                  <a:pt x="40" y="9"/>
                </a:lnTo>
                <a:lnTo>
                  <a:pt x="37" y="15"/>
                </a:lnTo>
                <a:lnTo>
                  <a:pt x="32" y="18"/>
                </a:lnTo>
                <a:lnTo>
                  <a:pt x="26" y="26"/>
                </a:lnTo>
                <a:lnTo>
                  <a:pt x="20" y="29"/>
                </a:lnTo>
                <a:lnTo>
                  <a:pt x="20" y="35"/>
                </a:lnTo>
                <a:lnTo>
                  <a:pt x="12" y="38"/>
                </a:lnTo>
                <a:lnTo>
                  <a:pt x="3" y="41"/>
                </a:lnTo>
                <a:lnTo>
                  <a:pt x="0" y="43"/>
                </a:lnTo>
                <a:lnTo>
                  <a:pt x="9" y="43"/>
                </a:lnTo>
                <a:lnTo>
                  <a:pt x="17" y="43"/>
                </a:lnTo>
                <a:lnTo>
                  <a:pt x="20" y="41"/>
                </a:lnTo>
                <a:lnTo>
                  <a:pt x="17" y="46"/>
                </a:lnTo>
                <a:lnTo>
                  <a:pt x="17" y="52"/>
                </a:lnTo>
                <a:lnTo>
                  <a:pt x="32" y="49"/>
                </a:lnTo>
                <a:lnTo>
                  <a:pt x="52" y="38"/>
                </a:lnTo>
                <a:lnTo>
                  <a:pt x="57" y="32"/>
                </a:lnTo>
                <a:lnTo>
                  <a:pt x="60" y="35"/>
                </a:lnTo>
                <a:lnTo>
                  <a:pt x="66" y="38"/>
                </a:lnTo>
                <a:lnTo>
                  <a:pt x="63" y="43"/>
                </a:lnTo>
                <a:lnTo>
                  <a:pt x="69" y="43"/>
                </a:lnTo>
                <a:lnTo>
                  <a:pt x="75" y="43"/>
                </a:lnTo>
                <a:lnTo>
                  <a:pt x="80" y="46"/>
                </a:lnTo>
                <a:lnTo>
                  <a:pt x="89" y="43"/>
                </a:lnTo>
                <a:lnTo>
                  <a:pt x="95" y="4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02" name="Freeform 689"/>
          <p:cNvSpPr>
            <a:spLocks noEditPoints="1"/>
          </p:cNvSpPr>
          <p:nvPr/>
        </p:nvSpPr>
        <p:spPr bwMode="gray">
          <a:xfrm>
            <a:off x="1528275" y="1696547"/>
            <a:ext cx="2232402" cy="879024"/>
          </a:xfrm>
          <a:custGeom>
            <a:avLst/>
            <a:gdLst>
              <a:gd name="T0" fmla="*/ 2147483647 w 1105"/>
              <a:gd name="T1" fmla="*/ 2147483647 h 580"/>
              <a:gd name="T2" fmla="*/ 2147483647 w 1105"/>
              <a:gd name="T3" fmla="*/ 2147483647 h 580"/>
              <a:gd name="T4" fmla="*/ 2147483647 w 1105"/>
              <a:gd name="T5" fmla="*/ 2147483647 h 580"/>
              <a:gd name="T6" fmla="*/ 2147483647 w 1105"/>
              <a:gd name="T7" fmla="*/ 2147483647 h 580"/>
              <a:gd name="T8" fmla="*/ 2147483647 w 1105"/>
              <a:gd name="T9" fmla="*/ 2147483647 h 580"/>
              <a:gd name="T10" fmla="*/ 2147483647 w 1105"/>
              <a:gd name="T11" fmla="*/ 2147483647 h 580"/>
              <a:gd name="T12" fmla="*/ 2147483647 w 1105"/>
              <a:gd name="T13" fmla="*/ 2147483647 h 580"/>
              <a:gd name="T14" fmla="*/ 2147483647 w 1105"/>
              <a:gd name="T15" fmla="*/ 2147483647 h 580"/>
              <a:gd name="T16" fmla="*/ 2147483647 w 1105"/>
              <a:gd name="T17" fmla="*/ 2147483647 h 580"/>
              <a:gd name="T18" fmla="*/ 2147483647 w 1105"/>
              <a:gd name="T19" fmla="*/ 2147483647 h 580"/>
              <a:gd name="T20" fmla="*/ 2147483647 w 1105"/>
              <a:gd name="T21" fmla="*/ 2147483647 h 580"/>
              <a:gd name="T22" fmla="*/ 2147483647 w 1105"/>
              <a:gd name="T23" fmla="*/ 2147483647 h 580"/>
              <a:gd name="T24" fmla="*/ 2147483647 w 1105"/>
              <a:gd name="T25" fmla="*/ 2147483647 h 580"/>
              <a:gd name="T26" fmla="*/ 2147483647 w 1105"/>
              <a:gd name="T27" fmla="*/ 2147483647 h 580"/>
              <a:gd name="T28" fmla="*/ 2147483647 w 1105"/>
              <a:gd name="T29" fmla="*/ 2147483647 h 580"/>
              <a:gd name="T30" fmla="*/ 2147483647 w 1105"/>
              <a:gd name="T31" fmla="*/ 2147483647 h 580"/>
              <a:gd name="T32" fmla="*/ 2147483647 w 1105"/>
              <a:gd name="T33" fmla="*/ 2147483647 h 580"/>
              <a:gd name="T34" fmla="*/ 2147483647 w 1105"/>
              <a:gd name="T35" fmla="*/ 2147483647 h 580"/>
              <a:gd name="T36" fmla="*/ 2147483647 w 1105"/>
              <a:gd name="T37" fmla="*/ 2147483647 h 580"/>
              <a:gd name="T38" fmla="*/ 2147483647 w 1105"/>
              <a:gd name="T39" fmla="*/ 2147483647 h 580"/>
              <a:gd name="T40" fmla="*/ 2147483647 w 1105"/>
              <a:gd name="T41" fmla="*/ 2147483647 h 580"/>
              <a:gd name="T42" fmla="*/ 2147483647 w 1105"/>
              <a:gd name="T43" fmla="*/ 2147483647 h 580"/>
              <a:gd name="T44" fmla="*/ 2147483647 w 1105"/>
              <a:gd name="T45" fmla="*/ 2147483647 h 580"/>
              <a:gd name="T46" fmla="*/ 2147483647 w 1105"/>
              <a:gd name="T47" fmla="*/ 2147483647 h 580"/>
              <a:gd name="T48" fmla="*/ 2147483647 w 1105"/>
              <a:gd name="T49" fmla="*/ 2147483647 h 580"/>
              <a:gd name="T50" fmla="*/ 2147483647 w 1105"/>
              <a:gd name="T51" fmla="*/ 2147483647 h 580"/>
              <a:gd name="T52" fmla="*/ 2147483647 w 1105"/>
              <a:gd name="T53" fmla="*/ 2147483647 h 580"/>
              <a:gd name="T54" fmla="*/ 2147483647 w 1105"/>
              <a:gd name="T55" fmla="*/ 2147483647 h 580"/>
              <a:gd name="T56" fmla="*/ 2147483647 w 1105"/>
              <a:gd name="T57" fmla="*/ 2147483647 h 580"/>
              <a:gd name="T58" fmla="*/ 2147483647 w 1105"/>
              <a:gd name="T59" fmla="*/ 2147483647 h 580"/>
              <a:gd name="T60" fmla="*/ 2147483647 w 1105"/>
              <a:gd name="T61" fmla="*/ 2147483647 h 580"/>
              <a:gd name="T62" fmla="*/ 2147483647 w 1105"/>
              <a:gd name="T63" fmla="*/ 2147483647 h 580"/>
              <a:gd name="T64" fmla="*/ 2147483647 w 1105"/>
              <a:gd name="T65" fmla="*/ 2147483647 h 580"/>
              <a:gd name="T66" fmla="*/ 2147483647 w 1105"/>
              <a:gd name="T67" fmla="*/ 2147483647 h 580"/>
              <a:gd name="T68" fmla="*/ 2147483647 w 1105"/>
              <a:gd name="T69" fmla="*/ 2147483647 h 580"/>
              <a:gd name="T70" fmla="*/ 2147483647 w 1105"/>
              <a:gd name="T71" fmla="*/ 2147483647 h 580"/>
              <a:gd name="T72" fmla="*/ 2147483647 w 1105"/>
              <a:gd name="T73" fmla="*/ 2147483647 h 580"/>
              <a:gd name="T74" fmla="*/ 2147483647 w 1105"/>
              <a:gd name="T75" fmla="*/ 2147483647 h 580"/>
              <a:gd name="T76" fmla="*/ 2147483647 w 1105"/>
              <a:gd name="T77" fmla="*/ 2147483647 h 580"/>
              <a:gd name="T78" fmla="*/ 2147483647 w 1105"/>
              <a:gd name="T79" fmla="*/ 2147483647 h 580"/>
              <a:gd name="T80" fmla="*/ 2147483647 w 1105"/>
              <a:gd name="T81" fmla="*/ 0 h 580"/>
              <a:gd name="T82" fmla="*/ 2147483647 w 1105"/>
              <a:gd name="T83" fmla="*/ 2147483647 h 580"/>
              <a:gd name="T84" fmla="*/ 2147483647 w 1105"/>
              <a:gd name="T85" fmla="*/ 2147483647 h 580"/>
              <a:gd name="T86" fmla="*/ 2147483647 w 1105"/>
              <a:gd name="T87" fmla="*/ 2147483647 h 580"/>
              <a:gd name="T88" fmla="*/ 2147483647 w 1105"/>
              <a:gd name="T89" fmla="*/ 2147483647 h 580"/>
              <a:gd name="T90" fmla="*/ 2147483647 w 1105"/>
              <a:gd name="T91" fmla="*/ 2147483647 h 580"/>
              <a:gd name="T92" fmla="*/ 2147483647 w 1105"/>
              <a:gd name="T93" fmla="*/ 2147483647 h 580"/>
              <a:gd name="T94" fmla="*/ 2147483647 w 1105"/>
              <a:gd name="T95" fmla="*/ 2147483647 h 580"/>
              <a:gd name="T96" fmla="*/ 2147483647 w 1105"/>
              <a:gd name="T97" fmla="*/ 2147483647 h 580"/>
              <a:gd name="T98" fmla="*/ 2147483647 w 1105"/>
              <a:gd name="T99" fmla="*/ 2147483647 h 580"/>
              <a:gd name="T100" fmla="*/ 2147483647 w 1105"/>
              <a:gd name="T101" fmla="*/ 2147483647 h 580"/>
              <a:gd name="T102" fmla="*/ 2147483647 w 1105"/>
              <a:gd name="T103" fmla="*/ 2147483647 h 580"/>
              <a:gd name="T104" fmla="*/ 2147483647 w 1105"/>
              <a:gd name="T105" fmla="*/ 2147483647 h 580"/>
              <a:gd name="T106" fmla="*/ 2147483647 w 1105"/>
              <a:gd name="T107" fmla="*/ 2147483647 h 580"/>
              <a:gd name="T108" fmla="*/ 2147483647 w 1105"/>
              <a:gd name="T109" fmla="*/ 2147483647 h 580"/>
              <a:gd name="T110" fmla="*/ 2147483647 w 1105"/>
              <a:gd name="T111" fmla="*/ 2147483647 h 580"/>
              <a:gd name="T112" fmla="*/ 2147483647 w 1105"/>
              <a:gd name="T113" fmla="*/ 2147483647 h 580"/>
              <a:gd name="T114" fmla="*/ 2147483647 w 1105"/>
              <a:gd name="T115" fmla="*/ 2147483647 h 580"/>
              <a:gd name="T116" fmla="*/ 2147483647 w 1105"/>
              <a:gd name="T117" fmla="*/ 2147483647 h 580"/>
              <a:gd name="T118" fmla="*/ 2147483647 w 1105"/>
              <a:gd name="T119" fmla="*/ 2147483647 h 580"/>
              <a:gd name="T120" fmla="*/ 2147483647 w 1105"/>
              <a:gd name="T121" fmla="*/ 2147483647 h 580"/>
              <a:gd name="T122" fmla="*/ 2147483647 w 1105"/>
              <a:gd name="T123" fmla="*/ 2147483647 h 580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105"/>
              <a:gd name="T187" fmla="*/ 0 h 580"/>
              <a:gd name="T188" fmla="*/ 1105 w 1105"/>
              <a:gd name="T189" fmla="*/ 580 h 580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105" h="580">
                <a:moveTo>
                  <a:pt x="3" y="233"/>
                </a:moveTo>
                <a:lnTo>
                  <a:pt x="3" y="233"/>
                </a:lnTo>
                <a:lnTo>
                  <a:pt x="11" y="233"/>
                </a:lnTo>
                <a:lnTo>
                  <a:pt x="14" y="233"/>
                </a:lnTo>
                <a:lnTo>
                  <a:pt x="17" y="233"/>
                </a:lnTo>
                <a:lnTo>
                  <a:pt x="23" y="233"/>
                </a:lnTo>
                <a:lnTo>
                  <a:pt x="29" y="233"/>
                </a:lnTo>
                <a:lnTo>
                  <a:pt x="17" y="239"/>
                </a:lnTo>
                <a:lnTo>
                  <a:pt x="20" y="247"/>
                </a:lnTo>
                <a:lnTo>
                  <a:pt x="20" y="256"/>
                </a:lnTo>
                <a:lnTo>
                  <a:pt x="29" y="253"/>
                </a:lnTo>
                <a:lnTo>
                  <a:pt x="43" y="247"/>
                </a:lnTo>
                <a:lnTo>
                  <a:pt x="63" y="241"/>
                </a:lnTo>
                <a:lnTo>
                  <a:pt x="63" y="253"/>
                </a:lnTo>
                <a:lnTo>
                  <a:pt x="66" y="259"/>
                </a:lnTo>
                <a:lnTo>
                  <a:pt x="63" y="259"/>
                </a:lnTo>
                <a:lnTo>
                  <a:pt x="63" y="262"/>
                </a:lnTo>
                <a:lnTo>
                  <a:pt x="66" y="264"/>
                </a:lnTo>
                <a:lnTo>
                  <a:pt x="63" y="279"/>
                </a:lnTo>
                <a:lnTo>
                  <a:pt x="57" y="302"/>
                </a:lnTo>
                <a:lnTo>
                  <a:pt x="72" y="310"/>
                </a:lnTo>
                <a:lnTo>
                  <a:pt x="72" y="313"/>
                </a:lnTo>
                <a:lnTo>
                  <a:pt x="60" y="325"/>
                </a:lnTo>
                <a:lnTo>
                  <a:pt x="40" y="336"/>
                </a:lnTo>
                <a:lnTo>
                  <a:pt x="37" y="342"/>
                </a:lnTo>
                <a:lnTo>
                  <a:pt x="37" y="348"/>
                </a:lnTo>
                <a:lnTo>
                  <a:pt x="32" y="353"/>
                </a:lnTo>
                <a:lnTo>
                  <a:pt x="32" y="348"/>
                </a:lnTo>
                <a:lnTo>
                  <a:pt x="29" y="345"/>
                </a:lnTo>
                <a:lnTo>
                  <a:pt x="26" y="345"/>
                </a:lnTo>
                <a:lnTo>
                  <a:pt x="23" y="351"/>
                </a:lnTo>
                <a:lnTo>
                  <a:pt x="23" y="356"/>
                </a:lnTo>
                <a:lnTo>
                  <a:pt x="23" y="365"/>
                </a:lnTo>
                <a:lnTo>
                  <a:pt x="29" y="365"/>
                </a:lnTo>
                <a:lnTo>
                  <a:pt x="32" y="365"/>
                </a:lnTo>
                <a:lnTo>
                  <a:pt x="26" y="374"/>
                </a:lnTo>
                <a:lnTo>
                  <a:pt x="29" y="382"/>
                </a:lnTo>
                <a:lnTo>
                  <a:pt x="32" y="379"/>
                </a:lnTo>
                <a:lnTo>
                  <a:pt x="34" y="374"/>
                </a:lnTo>
                <a:lnTo>
                  <a:pt x="40" y="371"/>
                </a:lnTo>
                <a:lnTo>
                  <a:pt x="43" y="376"/>
                </a:lnTo>
                <a:lnTo>
                  <a:pt x="34" y="385"/>
                </a:lnTo>
                <a:lnTo>
                  <a:pt x="29" y="394"/>
                </a:lnTo>
                <a:lnTo>
                  <a:pt x="29" y="399"/>
                </a:lnTo>
                <a:lnTo>
                  <a:pt x="26" y="402"/>
                </a:lnTo>
                <a:lnTo>
                  <a:pt x="26" y="405"/>
                </a:lnTo>
                <a:lnTo>
                  <a:pt x="26" y="408"/>
                </a:lnTo>
                <a:lnTo>
                  <a:pt x="37" y="408"/>
                </a:lnTo>
                <a:lnTo>
                  <a:pt x="43" y="402"/>
                </a:lnTo>
                <a:lnTo>
                  <a:pt x="43" y="411"/>
                </a:lnTo>
                <a:lnTo>
                  <a:pt x="43" y="414"/>
                </a:lnTo>
                <a:lnTo>
                  <a:pt x="49" y="405"/>
                </a:lnTo>
                <a:lnTo>
                  <a:pt x="49" y="414"/>
                </a:lnTo>
                <a:lnTo>
                  <a:pt x="49" y="419"/>
                </a:lnTo>
                <a:lnTo>
                  <a:pt x="55" y="419"/>
                </a:lnTo>
                <a:lnTo>
                  <a:pt x="57" y="414"/>
                </a:lnTo>
                <a:lnTo>
                  <a:pt x="60" y="414"/>
                </a:lnTo>
                <a:lnTo>
                  <a:pt x="60" y="417"/>
                </a:lnTo>
                <a:lnTo>
                  <a:pt x="55" y="425"/>
                </a:lnTo>
                <a:lnTo>
                  <a:pt x="52" y="431"/>
                </a:lnTo>
                <a:lnTo>
                  <a:pt x="52" y="434"/>
                </a:lnTo>
                <a:lnTo>
                  <a:pt x="60" y="425"/>
                </a:lnTo>
                <a:lnTo>
                  <a:pt x="66" y="419"/>
                </a:lnTo>
                <a:lnTo>
                  <a:pt x="63" y="425"/>
                </a:lnTo>
                <a:lnTo>
                  <a:pt x="60" y="431"/>
                </a:lnTo>
                <a:lnTo>
                  <a:pt x="63" y="434"/>
                </a:lnTo>
                <a:lnTo>
                  <a:pt x="66" y="431"/>
                </a:lnTo>
                <a:lnTo>
                  <a:pt x="72" y="428"/>
                </a:lnTo>
                <a:lnTo>
                  <a:pt x="75" y="428"/>
                </a:lnTo>
                <a:lnTo>
                  <a:pt x="63" y="437"/>
                </a:lnTo>
                <a:lnTo>
                  <a:pt x="60" y="440"/>
                </a:lnTo>
                <a:lnTo>
                  <a:pt x="479" y="442"/>
                </a:lnTo>
                <a:lnTo>
                  <a:pt x="491" y="431"/>
                </a:lnTo>
                <a:lnTo>
                  <a:pt x="491" y="445"/>
                </a:lnTo>
                <a:lnTo>
                  <a:pt x="499" y="448"/>
                </a:lnTo>
                <a:lnTo>
                  <a:pt x="511" y="448"/>
                </a:lnTo>
                <a:lnTo>
                  <a:pt x="525" y="457"/>
                </a:lnTo>
                <a:lnTo>
                  <a:pt x="540" y="457"/>
                </a:lnTo>
                <a:lnTo>
                  <a:pt x="554" y="460"/>
                </a:lnTo>
                <a:lnTo>
                  <a:pt x="571" y="457"/>
                </a:lnTo>
                <a:lnTo>
                  <a:pt x="577" y="451"/>
                </a:lnTo>
                <a:lnTo>
                  <a:pt x="620" y="486"/>
                </a:lnTo>
                <a:lnTo>
                  <a:pt x="620" y="488"/>
                </a:lnTo>
                <a:lnTo>
                  <a:pt x="626" y="488"/>
                </a:lnTo>
                <a:lnTo>
                  <a:pt x="626" y="491"/>
                </a:lnTo>
                <a:lnTo>
                  <a:pt x="626" y="497"/>
                </a:lnTo>
                <a:lnTo>
                  <a:pt x="637" y="497"/>
                </a:lnTo>
                <a:lnTo>
                  <a:pt x="634" y="500"/>
                </a:lnTo>
                <a:lnTo>
                  <a:pt x="632" y="503"/>
                </a:lnTo>
                <a:lnTo>
                  <a:pt x="640" y="514"/>
                </a:lnTo>
                <a:lnTo>
                  <a:pt x="637" y="529"/>
                </a:lnTo>
                <a:lnTo>
                  <a:pt x="634" y="540"/>
                </a:lnTo>
                <a:lnTo>
                  <a:pt x="632" y="549"/>
                </a:lnTo>
                <a:lnTo>
                  <a:pt x="614" y="569"/>
                </a:lnTo>
                <a:lnTo>
                  <a:pt x="603" y="575"/>
                </a:lnTo>
                <a:lnTo>
                  <a:pt x="611" y="580"/>
                </a:lnTo>
                <a:lnTo>
                  <a:pt x="637" y="569"/>
                </a:lnTo>
                <a:lnTo>
                  <a:pt x="675" y="560"/>
                </a:lnTo>
                <a:lnTo>
                  <a:pt x="675" y="543"/>
                </a:lnTo>
                <a:lnTo>
                  <a:pt x="712" y="546"/>
                </a:lnTo>
                <a:lnTo>
                  <a:pt x="732" y="529"/>
                </a:lnTo>
                <a:lnTo>
                  <a:pt x="752" y="517"/>
                </a:lnTo>
                <a:lnTo>
                  <a:pt x="807" y="517"/>
                </a:lnTo>
                <a:lnTo>
                  <a:pt x="818" y="511"/>
                </a:lnTo>
                <a:lnTo>
                  <a:pt x="832" y="503"/>
                </a:lnTo>
                <a:lnTo>
                  <a:pt x="838" y="488"/>
                </a:lnTo>
                <a:lnTo>
                  <a:pt x="861" y="468"/>
                </a:lnTo>
                <a:lnTo>
                  <a:pt x="864" y="471"/>
                </a:lnTo>
                <a:lnTo>
                  <a:pt x="864" y="474"/>
                </a:lnTo>
                <a:lnTo>
                  <a:pt x="878" y="477"/>
                </a:lnTo>
                <a:lnTo>
                  <a:pt x="878" y="486"/>
                </a:lnTo>
                <a:lnTo>
                  <a:pt x="870" y="506"/>
                </a:lnTo>
                <a:lnTo>
                  <a:pt x="878" y="506"/>
                </a:lnTo>
                <a:lnTo>
                  <a:pt x="873" y="517"/>
                </a:lnTo>
                <a:lnTo>
                  <a:pt x="873" y="526"/>
                </a:lnTo>
                <a:lnTo>
                  <a:pt x="878" y="526"/>
                </a:lnTo>
                <a:lnTo>
                  <a:pt x="881" y="523"/>
                </a:lnTo>
                <a:lnTo>
                  <a:pt x="884" y="520"/>
                </a:lnTo>
                <a:lnTo>
                  <a:pt x="890" y="517"/>
                </a:lnTo>
                <a:lnTo>
                  <a:pt x="898" y="514"/>
                </a:lnTo>
                <a:lnTo>
                  <a:pt x="904" y="508"/>
                </a:lnTo>
                <a:lnTo>
                  <a:pt x="919" y="503"/>
                </a:lnTo>
                <a:lnTo>
                  <a:pt x="921" y="503"/>
                </a:lnTo>
                <a:lnTo>
                  <a:pt x="913" y="511"/>
                </a:lnTo>
                <a:lnTo>
                  <a:pt x="921" y="511"/>
                </a:lnTo>
                <a:lnTo>
                  <a:pt x="927" y="511"/>
                </a:lnTo>
                <a:lnTo>
                  <a:pt x="921" y="517"/>
                </a:lnTo>
                <a:lnTo>
                  <a:pt x="916" y="514"/>
                </a:lnTo>
                <a:lnTo>
                  <a:pt x="901" y="520"/>
                </a:lnTo>
                <a:lnTo>
                  <a:pt x="896" y="526"/>
                </a:lnTo>
                <a:lnTo>
                  <a:pt x="884" y="531"/>
                </a:lnTo>
                <a:lnTo>
                  <a:pt x="884" y="537"/>
                </a:lnTo>
                <a:lnTo>
                  <a:pt x="881" y="543"/>
                </a:lnTo>
                <a:lnTo>
                  <a:pt x="884" y="546"/>
                </a:lnTo>
                <a:lnTo>
                  <a:pt x="887" y="549"/>
                </a:lnTo>
                <a:lnTo>
                  <a:pt x="898" y="543"/>
                </a:lnTo>
                <a:lnTo>
                  <a:pt x="910" y="534"/>
                </a:lnTo>
                <a:lnTo>
                  <a:pt x="919" y="529"/>
                </a:lnTo>
                <a:lnTo>
                  <a:pt x="921" y="531"/>
                </a:lnTo>
                <a:lnTo>
                  <a:pt x="930" y="526"/>
                </a:lnTo>
                <a:lnTo>
                  <a:pt x="944" y="523"/>
                </a:lnTo>
                <a:lnTo>
                  <a:pt x="959" y="517"/>
                </a:lnTo>
                <a:lnTo>
                  <a:pt x="967" y="514"/>
                </a:lnTo>
                <a:lnTo>
                  <a:pt x="970" y="511"/>
                </a:lnTo>
                <a:lnTo>
                  <a:pt x="967" y="508"/>
                </a:lnTo>
                <a:lnTo>
                  <a:pt x="976" y="508"/>
                </a:lnTo>
                <a:lnTo>
                  <a:pt x="987" y="506"/>
                </a:lnTo>
                <a:lnTo>
                  <a:pt x="993" y="497"/>
                </a:lnTo>
                <a:lnTo>
                  <a:pt x="987" y="491"/>
                </a:lnTo>
                <a:lnTo>
                  <a:pt x="990" y="486"/>
                </a:lnTo>
                <a:lnTo>
                  <a:pt x="987" y="480"/>
                </a:lnTo>
                <a:lnTo>
                  <a:pt x="973" y="491"/>
                </a:lnTo>
                <a:lnTo>
                  <a:pt x="967" y="500"/>
                </a:lnTo>
                <a:lnTo>
                  <a:pt x="962" y="506"/>
                </a:lnTo>
                <a:lnTo>
                  <a:pt x="959" y="503"/>
                </a:lnTo>
                <a:lnTo>
                  <a:pt x="950" y="506"/>
                </a:lnTo>
                <a:lnTo>
                  <a:pt x="942" y="503"/>
                </a:lnTo>
                <a:lnTo>
                  <a:pt x="930" y="500"/>
                </a:lnTo>
                <a:lnTo>
                  <a:pt x="933" y="497"/>
                </a:lnTo>
                <a:lnTo>
                  <a:pt x="924" y="494"/>
                </a:lnTo>
                <a:lnTo>
                  <a:pt x="921" y="488"/>
                </a:lnTo>
                <a:lnTo>
                  <a:pt x="924" y="480"/>
                </a:lnTo>
                <a:lnTo>
                  <a:pt x="924" y="474"/>
                </a:lnTo>
                <a:lnTo>
                  <a:pt x="936" y="465"/>
                </a:lnTo>
                <a:lnTo>
                  <a:pt x="930" y="465"/>
                </a:lnTo>
                <a:lnTo>
                  <a:pt x="924" y="465"/>
                </a:lnTo>
                <a:lnTo>
                  <a:pt x="919" y="468"/>
                </a:lnTo>
                <a:lnTo>
                  <a:pt x="916" y="465"/>
                </a:lnTo>
                <a:lnTo>
                  <a:pt x="904" y="463"/>
                </a:lnTo>
                <a:lnTo>
                  <a:pt x="904" y="457"/>
                </a:lnTo>
                <a:lnTo>
                  <a:pt x="913" y="457"/>
                </a:lnTo>
                <a:lnTo>
                  <a:pt x="919" y="460"/>
                </a:lnTo>
                <a:lnTo>
                  <a:pt x="924" y="463"/>
                </a:lnTo>
                <a:lnTo>
                  <a:pt x="933" y="457"/>
                </a:lnTo>
                <a:lnTo>
                  <a:pt x="942" y="454"/>
                </a:lnTo>
                <a:lnTo>
                  <a:pt x="944" y="442"/>
                </a:lnTo>
                <a:lnTo>
                  <a:pt x="939" y="440"/>
                </a:lnTo>
                <a:lnTo>
                  <a:pt x="927" y="440"/>
                </a:lnTo>
                <a:lnTo>
                  <a:pt x="910" y="442"/>
                </a:lnTo>
                <a:lnTo>
                  <a:pt x="881" y="451"/>
                </a:lnTo>
                <a:lnTo>
                  <a:pt x="864" y="460"/>
                </a:lnTo>
                <a:lnTo>
                  <a:pt x="853" y="468"/>
                </a:lnTo>
                <a:lnTo>
                  <a:pt x="841" y="480"/>
                </a:lnTo>
                <a:lnTo>
                  <a:pt x="835" y="480"/>
                </a:lnTo>
                <a:lnTo>
                  <a:pt x="827" y="483"/>
                </a:lnTo>
                <a:lnTo>
                  <a:pt x="830" y="477"/>
                </a:lnTo>
                <a:lnTo>
                  <a:pt x="841" y="474"/>
                </a:lnTo>
                <a:lnTo>
                  <a:pt x="853" y="463"/>
                </a:lnTo>
                <a:lnTo>
                  <a:pt x="867" y="454"/>
                </a:lnTo>
                <a:lnTo>
                  <a:pt x="878" y="442"/>
                </a:lnTo>
                <a:lnTo>
                  <a:pt x="890" y="437"/>
                </a:lnTo>
                <a:lnTo>
                  <a:pt x="896" y="437"/>
                </a:lnTo>
                <a:lnTo>
                  <a:pt x="901" y="440"/>
                </a:lnTo>
                <a:lnTo>
                  <a:pt x="904" y="437"/>
                </a:lnTo>
                <a:lnTo>
                  <a:pt x="907" y="431"/>
                </a:lnTo>
                <a:lnTo>
                  <a:pt x="910" y="431"/>
                </a:lnTo>
                <a:lnTo>
                  <a:pt x="913" y="428"/>
                </a:lnTo>
                <a:lnTo>
                  <a:pt x="921" y="422"/>
                </a:lnTo>
                <a:lnTo>
                  <a:pt x="927" y="419"/>
                </a:lnTo>
                <a:lnTo>
                  <a:pt x="950" y="419"/>
                </a:lnTo>
                <a:lnTo>
                  <a:pt x="970" y="419"/>
                </a:lnTo>
                <a:lnTo>
                  <a:pt x="979" y="419"/>
                </a:lnTo>
                <a:lnTo>
                  <a:pt x="990" y="419"/>
                </a:lnTo>
                <a:lnTo>
                  <a:pt x="996" y="422"/>
                </a:lnTo>
                <a:lnTo>
                  <a:pt x="1005" y="422"/>
                </a:lnTo>
                <a:lnTo>
                  <a:pt x="1013" y="419"/>
                </a:lnTo>
                <a:lnTo>
                  <a:pt x="1022" y="419"/>
                </a:lnTo>
                <a:lnTo>
                  <a:pt x="1033" y="411"/>
                </a:lnTo>
                <a:lnTo>
                  <a:pt x="1039" y="405"/>
                </a:lnTo>
                <a:lnTo>
                  <a:pt x="1048" y="402"/>
                </a:lnTo>
                <a:lnTo>
                  <a:pt x="1056" y="399"/>
                </a:lnTo>
                <a:lnTo>
                  <a:pt x="1065" y="397"/>
                </a:lnTo>
                <a:lnTo>
                  <a:pt x="1074" y="397"/>
                </a:lnTo>
                <a:lnTo>
                  <a:pt x="1085" y="391"/>
                </a:lnTo>
                <a:lnTo>
                  <a:pt x="1097" y="385"/>
                </a:lnTo>
                <a:lnTo>
                  <a:pt x="1099" y="382"/>
                </a:lnTo>
                <a:lnTo>
                  <a:pt x="1099" y="379"/>
                </a:lnTo>
                <a:lnTo>
                  <a:pt x="1099" y="371"/>
                </a:lnTo>
                <a:lnTo>
                  <a:pt x="1105" y="365"/>
                </a:lnTo>
                <a:lnTo>
                  <a:pt x="1105" y="356"/>
                </a:lnTo>
                <a:lnTo>
                  <a:pt x="1097" y="353"/>
                </a:lnTo>
                <a:lnTo>
                  <a:pt x="1088" y="348"/>
                </a:lnTo>
                <a:lnTo>
                  <a:pt x="1079" y="345"/>
                </a:lnTo>
                <a:lnTo>
                  <a:pt x="1076" y="342"/>
                </a:lnTo>
                <a:lnTo>
                  <a:pt x="1088" y="342"/>
                </a:lnTo>
                <a:lnTo>
                  <a:pt x="1094" y="339"/>
                </a:lnTo>
                <a:lnTo>
                  <a:pt x="1088" y="336"/>
                </a:lnTo>
                <a:lnTo>
                  <a:pt x="1088" y="330"/>
                </a:lnTo>
                <a:lnTo>
                  <a:pt x="1079" y="333"/>
                </a:lnTo>
                <a:lnTo>
                  <a:pt x="1071" y="333"/>
                </a:lnTo>
                <a:lnTo>
                  <a:pt x="1065" y="336"/>
                </a:lnTo>
                <a:lnTo>
                  <a:pt x="1059" y="336"/>
                </a:lnTo>
                <a:lnTo>
                  <a:pt x="1062" y="333"/>
                </a:lnTo>
                <a:lnTo>
                  <a:pt x="1065" y="328"/>
                </a:lnTo>
                <a:lnTo>
                  <a:pt x="1071" y="328"/>
                </a:lnTo>
                <a:lnTo>
                  <a:pt x="1068" y="325"/>
                </a:lnTo>
                <a:lnTo>
                  <a:pt x="1062" y="325"/>
                </a:lnTo>
                <a:lnTo>
                  <a:pt x="1059" y="325"/>
                </a:lnTo>
                <a:lnTo>
                  <a:pt x="1056" y="328"/>
                </a:lnTo>
                <a:lnTo>
                  <a:pt x="1054" y="330"/>
                </a:lnTo>
                <a:lnTo>
                  <a:pt x="1054" y="328"/>
                </a:lnTo>
                <a:lnTo>
                  <a:pt x="1059" y="322"/>
                </a:lnTo>
                <a:lnTo>
                  <a:pt x="1059" y="316"/>
                </a:lnTo>
                <a:lnTo>
                  <a:pt x="1054" y="316"/>
                </a:lnTo>
                <a:lnTo>
                  <a:pt x="1051" y="313"/>
                </a:lnTo>
                <a:lnTo>
                  <a:pt x="1054" y="310"/>
                </a:lnTo>
                <a:lnTo>
                  <a:pt x="1054" y="308"/>
                </a:lnTo>
                <a:lnTo>
                  <a:pt x="1048" y="310"/>
                </a:lnTo>
                <a:lnTo>
                  <a:pt x="1048" y="308"/>
                </a:lnTo>
                <a:lnTo>
                  <a:pt x="1051" y="305"/>
                </a:lnTo>
                <a:lnTo>
                  <a:pt x="1054" y="305"/>
                </a:lnTo>
                <a:lnTo>
                  <a:pt x="1054" y="299"/>
                </a:lnTo>
                <a:lnTo>
                  <a:pt x="1056" y="296"/>
                </a:lnTo>
                <a:lnTo>
                  <a:pt x="1056" y="290"/>
                </a:lnTo>
                <a:lnTo>
                  <a:pt x="1051" y="290"/>
                </a:lnTo>
                <a:lnTo>
                  <a:pt x="1056" y="285"/>
                </a:lnTo>
                <a:lnTo>
                  <a:pt x="1056" y="279"/>
                </a:lnTo>
                <a:lnTo>
                  <a:pt x="1059" y="282"/>
                </a:lnTo>
                <a:lnTo>
                  <a:pt x="1059" y="279"/>
                </a:lnTo>
                <a:lnTo>
                  <a:pt x="1054" y="276"/>
                </a:lnTo>
                <a:lnTo>
                  <a:pt x="1054" y="267"/>
                </a:lnTo>
                <a:lnTo>
                  <a:pt x="1051" y="264"/>
                </a:lnTo>
                <a:lnTo>
                  <a:pt x="1051" y="259"/>
                </a:lnTo>
                <a:lnTo>
                  <a:pt x="1048" y="256"/>
                </a:lnTo>
                <a:lnTo>
                  <a:pt x="1048" y="250"/>
                </a:lnTo>
                <a:lnTo>
                  <a:pt x="1045" y="247"/>
                </a:lnTo>
                <a:lnTo>
                  <a:pt x="1045" y="244"/>
                </a:lnTo>
                <a:lnTo>
                  <a:pt x="1048" y="241"/>
                </a:lnTo>
                <a:lnTo>
                  <a:pt x="1042" y="239"/>
                </a:lnTo>
                <a:lnTo>
                  <a:pt x="1045" y="233"/>
                </a:lnTo>
                <a:lnTo>
                  <a:pt x="1045" y="230"/>
                </a:lnTo>
                <a:lnTo>
                  <a:pt x="1051" y="224"/>
                </a:lnTo>
                <a:lnTo>
                  <a:pt x="1048" y="224"/>
                </a:lnTo>
                <a:lnTo>
                  <a:pt x="1042" y="227"/>
                </a:lnTo>
                <a:lnTo>
                  <a:pt x="1039" y="233"/>
                </a:lnTo>
                <a:lnTo>
                  <a:pt x="1031" y="241"/>
                </a:lnTo>
                <a:lnTo>
                  <a:pt x="1025" y="244"/>
                </a:lnTo>
                <a:lnTo>
                  <a:pt x="1022" y="250"/>
                </a:lnTo>
                <a:lnTo>
                  <a:pt x="1016" y="253"/>
                </a:lnTo>
                <a:lnTo>
                  <a:pt x="1013" y="256"/>
                </a:lnTo>
                <a:lnTo>
                  <a:pt x="1010" y="259"/>
                </a:lnTo>
                <a:lnTo>
                  <a:pt x="1008" y="262"/>
                </a:lnTo>
                <a:lnTo>
                  <a:pt x="1005" y="262"/>
                </a:lnTo>
                <a:lnTo>
                  <a:pt x="1002" y="259"/>
                </a:lnTo>
                <a:lnTo>
                  <a:pt x="999" y="262"/>
                </a:lnTo>
                <a:lnTo>
                  <a:pt x="987" y="270"/>
                </a:lnTo>
                <a:lnTo>
                  <a:pt x="979" y="270"/>
                </a:lnTo>
                <a:lnTo>
                  <a:pt x="976" y="264"/>
                </a:lnTo>
                <a:lnTo>
                  <a:pt x="973" y="267"/>
                </a:lnTo>
                <a:lnTo>
                  <a:pt x="973" y="262"/>
                </a:lnTo>
                <a:lnTo>
                  <a:pt x="967" y="259"/>
                </a:lnTo>
                <a:lnTo>
                  <a:pt x="962" y="262"/>
                </a:lnTo>
                <a:lnTo>
                  <a:pt x="967" y="256"/>
                </a:lnTo>
                <a:lnTo>
                  <a:pt x="965" y="250"/>
                </a:lnTo>
                <a:lnTo>
                  <a:pt x="962" y="250"/>
                </a:lnTo>
                <a:lnTo>
                  <a:pt x="967" y="244"/>
                </a:lnTo>
                <a:lnTo>
                  <a:pt x="967" y="239"/>
                </a:lnTo>
                <a:lnTo>
                  <a:pt x="970" y="236"/>
                </a:lnTo>
                <a:lnTo>
                  <a:pt x="976" y="230"/>
                </a:lnTo>
                <a:lnTo>
                  <a:pt x="985" y="221"/>
                </a:lnTo>
                <a:lnTo>
                  <a:pt x="973" y="221"/>
                </a:lnTo>
                <a:lnTo>
                  <a:pt x="970" y="219"/>
                </a:lnTo>
                <a:lnTo>
                  <a:pt x="965" y="221"/>
                </a:lnTo>
                <a:lnTo>
                  <a:pt x="956" y="216"/>
                </a:lnTo>
                <a:lnTo>
                  <a:pt x="953" y="216"/>
                </a:lnTo>
                <a:lnTo>
                  <a:pt x="956" y="213"/>
                </a:lnTo>
                <a:lnTo>
                  <a:pt x="959" y="207"/>
                </a:lnTo>
                <a:lnTo>
                  <a:pt x="953" y="204"/>
                </a:lnTo>
                <a:lnTo>
                  <a:pt x="947" y="198"/>
                </a:lnTo>
                <a:lnTo>
                  <a:pt x="939" y="193"/>
                </a:lnTo>
                <a:lnTo>
                  <a:pt x="930" y="198"/>
                </a:lnTo>
                <a:lnTo>
                  <a:pt x="921" y="201"/>
                </a:lnTo>
                <a:lnTo>
                  <a:pt x="913" y="198"/>
                </a:lnTo>
                <a:lnTo>
                  <a:pt x="907" y="198"/>
                </a:lnTo>
                <a:lnTo>
                  <a:pt x="896" y="193"/>
                </a:lnTo>
                <a:lnTo>
                  <a:pt x="881" y="193"/>
                </a:lnTo>
                <a:lnTo>
                  <a:pt x="878" y="198"/>
                </a:lnTo>
                <a:lnTo>
                  <a:pt x="876" y="207"/>
                </a:lnTo>
                <a:lnTo>
                  <a:pt x="878" y="210"/>
                </a:lnTo>
                <a:lnTo>
                  <a:pt x="873" y="216"/>
                </a:lnTo>
                <a:lnTo>
                  <a:pt x="864" y="224"/>
                </a:lnTo>
                <a:lnTo>
                  <a:pt x="867" y="227"/>
                </a:lnTo>
                <a:lnTo>
                  <a:pt x="864" y="233"/>
                </a:lnTo>
                <a:lnTo>
                  <a:pt x="861" y="239"/>
                </a:lnTo>
                <a:lnTo>
                  <a:pt x="858" y="244"/>
                </a:lnTo>
                <a:lnTo>
                  <a:pt x="844" y="253"/>
                </a:lnTo>
                <a:lnTo>
                  <a:pt x="835" y="259"/>
                </a:lnTo>
                <a:lnTo>
                  <a:pt x="830" y="264"/>
                </a:lnTo>
                <a:lnTo>
                  <a:pt x="838" y="273"/>
                </a:lnTo>
                <a:lnTo>
                  <a:pt x="841" y="276"/>
                </a:lnTo>
                <a:lnTo>
                  <a:pt x="844" y="279"/>
                </a:lnTo>
                <a:lnTo>
                  <a:pt x="841" y="287"/>
                </a:lnTo>
                <a:lnTo>
                  <a:pt x="841" y="296"/>
                </a:lnTo>
                <a:lnTo>
                  <a:pt x="835" y="305"/>
                </a:lnTo>
                <a:lnTo>
                  <a:pt x="832" y="308"/>
                </a:lnTo>
                <a:lnTo>
                  <a:pt x="830" y="310"/>
                </a:lnTo>
                <a:lnTo>
                  <a:pt x="807" y="325"/>
                </a:lnTo>
                <a:lnTo>
                  <a:pt x="789" y="333"/>
                </a:lnTo>
                <a:lnTo>
                  <a:pt x="781" y="333"/>
                </a:lnTo>
                <a:lnTo>
                  <a:pt x="775" y="333"/>
                </a:lnTo>
                <a:lnTo>
                  <a:pt x="772" y="336"/>
                </a:lnTo>
                <a:lnTo>
                  <a:pt x="772" y="345"/>
                </a:lnTo>
                <a:lnTo>
                  <a:pt x="772" y="348"/>
                </a:lnTo>
                <a:lnTo>
                  <a:pt x="772" y="351"/>
                </a:lnTo>
                <a:lnTo>
                  <a:pt x="769" y="356"/>
                </a:lnTo>
                <a:lnTo>
                  <a:pt x="766" y="368"/>
                </a:lnTo>
                <a:lnTo>
                  <a:pt x="766" y="371"/>
                </a:lnTo>
                <a:lnTo>
                  <a:pt x="764" y="376"/>
                </a:lnTo>
                <a:lnTo>
                  <a:pt x="764" y="382"/>
                </a:lnTo>
                <a:lnTo>
                  <a:pt x="761" y="385"/>
                </a:lnTo>
                <a:lnTo>
                  <a:pt x="749" y="391"/>
                </a:lnTo>
                <a:lnTo>
                  <a:pt x="749" y="399"/>
                </a:lnTo>
                <a:lnTo>
                  <a:pt x="746" y="399"/>
                </a:lnTo>
                <a:lnTo>
                  <a:pt x="743" y="397"/>
                </a:lnTo>
                <a:lnTo>
                  <a:pt x="735" y="399"/>
                </a:lnTo>
                <a:lnTo>
                  <a:pt x="735" y="405"/>
                </a:lnTo>
                <a:lnTo>
                  <a:pt x="732" y="399"/>
                </a:lnTo>
                <a:lnTo>
                  <a:pt x="721" y="402"/>
                </a:lnTo>
                <a:lnTo>
                  <a:pt x="723" y="397"/>
                </a:lnTo>
                <a:lnTo>
                  <a:pt x="726" y="385"/>
                </a:lnTo>
                <a:lnTo>
                  <a:pt x="718" y="382"/>
                </a:lnTo>
                <a:lnTo>
                  <a:pt x="721" y="376"/>
                </a:lnTo>
                <a:lnTo>
                  <a:pt x="715" y="371"/>
                </a:lnTo>
                <a:lnTo>
                  <a:pt x="715" y="365"/>
                </a:lnTo>
                <a:lnTo>
                  <a:pt x="723" y="359"/>
                </a:lnTo>
                <a:lnTo>
                  <a:pt x="726" y="351"/>
                </a:lnTo>
                <a:lnTo>
                  <a:pt x="729" y="342"/>
                </a:lnTo>
                <a:lnTo>
                  <a:pt x="732" y="336"/>
                </a:lnTo>
                <a:lnTo>
                  <a:pt x="735" y="333"/>
                </a:lnTo>
                <a:lnTo>
                  <a:pt x="738" y="328"/>
                </a:lnTo>
                <a:lnTo>
                  <a:pt x="735" y="328"/>
                </a:lnTo>
                <a:lnTo>
                  <a:pt x="726" y="325"/>
                </a:lnTo>
                <a:lnTo>
                  <a:pt x="712" y="325"/>
                </a:lnTo>
                <a:lnTo>
                  <a:pt x="700" y="325"/>
                </a:lnTo>
                <a:lnTo>
                  <a:pt x="698" y="322"/>
                </a:lnTo>
                <a:lnTo>
                  <a:pt x="695" y="319"/>
                </a:lnTo>
                <a:lnTo>
                  <a:pt x="680" y="313"/>
                </a:lnTo>
                <a:lnTo>
                  <a:pt x="675" y="310"/>
                </a:lnTo>
                <a:lnTo>
                  <a:pt x="666" y="299"/>
                </a:lnTo>
                <a:lnTo>
                  <a:pt x="663" y="296"/>
                </a:lnTo>
                <a:lnTo>
                  <a:pt x="657" y="293"/>
                </a:lnTo>
                <a:lnTo>
                  <a:pt x="649" y="290"/>
                </a:lnTo>
                <a:lnTo>
                  <a:pt x="643" y="290"/>
                </a:lnTo>
                <a:lnTo>
                  <a:pt x="626" y="290"/>
                </a:lnTo>
                <a:lnTo>
                  <a:pt x="617" y="293"/>
                </a:lnTo>
                <a:lnTo>
                  <a:pt x="611" y="296"/>
                </a:lnTo>
                <a:lnTo>
                  <a:pt x="620" y="285"/>
                </a:lnTo>
                <a:lnTo>
                  <a:pt x="626" y="270"/>
                </a:lnTo>
                <a:lnTo>
                  <a:pt x="629" y="262"/>
                </a:lnTo>
                <a:lnTo>
                  <a:pt x="617" y="262"/>
                </a:lnTo>
                <a:lnTo>
                  <a:pt x="611" y="262"/>
                </a:lnTo>
                <a:lnTo>
                  <a:pt x="611" y="256"/>
                </a:lnTo>
                <a:lnTo>
                  <a:pt x="623" y="241"/>
                </a:lnTo>
                <a:lnTo>
                  <a:pt x="637" y="227"/>
                </a:lnTo>
                <a:lnTo>
                  <a:pt x="652" y="219"/>
                </a:lnTo>
                <a:lnTo>
                  <a:pt x="669" y="210"/>
                </a:lnTo>
                <a:lnTo>
                  <a:pt x="677" y="201"/>
                </a:lnTo>
                <a:lnTo>
                  <a:pt x="686" y="198"/>
                </a:lnTo>
                <a:lnTo>
                  <a:pt x="692" y="196"/>
                </a:lnTo>
                <a:lnTo>
                  <a:pt x="698" y="196"/>
                </a:lnTo>
                <a:lnTo>
                  <a:pt x="695" y="190"/>
                </a:lnTo>
                <a:lnTo>
                  <a:pt x="703" y="190"/>
                </a:lnTo>
                <a:lnTo>
                  <a:pt x="723" y="187"/>
                </a:lnTo>
                <a:lnTo>
                  <a:pt x="721" y="178"/>
                </a:lnTo>
                <a:lnTo>
                  <a:pt x="706" y="175"/>
                </a:lnTo>
                <a:lnTo>
                  <a:pt x="695" y="175"/>
                </a:lnTo>
                <a:lnTo>
                  <a:pt x="692" y="167"/>
                </a:lnTo>
                <a:lnTo>
                  <a:pt x="709" y="173"/>
                </a:lnTo>
                <a:lnTo>
                  <a:pt x="723" y="175"/>
                </a:lnTo>
                <a:lnTo>
                  <a:pt x="726" y="178"/>
                </a:lnTo>
                <a:lnTo>
                  <a:pt x="729" y="178"/>
                </a:lnTo>
                <a:lnTo>
                  <a:pt x="735" y="175"/>
                </a:lnTo>
                <a:lnTo>
                  <a:pt x="743" y="167"/>
                </a:lnTo>
                <a:lnTo>
                  <a:pt x="752" y="170"/>
                </a:lnTo>
                <a:lnTo>
                  <a:pt x="775" y="164"/>
                </a:lnTo>
                <a:lnTo>
                  <a:pt x="789" y="158"/>
                </a:lnTo>
                <a:lnTo>
                  <a:pt x="795" y="150"/>
                </a:lnTo>
                <a:lnTo>
                  <a:pt x="778" y="144"/>
                </a:lnTo>
                <a:lnTo>
                  <a:pt x="769" y="138"/>
                </a:lnTo>
                <a:lnTo>
                  <a:pt x="758" y="138"/>
                </a:lnTo>
                <a:lnTo>
                  <a:pt x="746" y="132"/>
                </a:lnTo>
                <a:lnTo>
                  <a:pt x="758" y="135"/>
                </a:lnTo>
                <a:lnTo>
                  <a:pt x="766" y="132"/>
                </a:lnTo>
                <a:lnTo>
                  <a:pt x="775" y="135"/>
                </a:lnTo>
                <a:lnTo>
                  <a:pt x="781" y="138"/>
                </a:lnTo>
                <a:lnTo>
                  <a:pt x="787" y="144"/>
                </a:lnTo>
                <a:lnTo>
                  <a:pt x="798" y="147"/>
                </a:lnTo>
                <a:lnTo>
                  <a:pt x="807" y="141"/>
                </a:lnTo>
                <a:lnTo>
                  <a:pt x="815" y="138"/>
                </a:lnTo>
                <a:lnTo>
                  <a:pt x="824" y="132"/>
                </a:lnTo>
                <a:lnTo>
                  <a:pt x="821" y="130"/>
                </a:lnTo>
                <a:lnTo>
                  <a:pt x="821" y="124"/>
                </a:lnTo>
                <a:lnTo>
                  <a:pt x="835" y="127"/>
                </a:lnTo>
                <a:lnTo>
                  <a:pt x="835" y="130"/>
                </a:lnTo>
                <a:lnTo>
                  <a:pt x="841" y="132"/>
                </a:lnTo>
                <a:lnTo>
                  <a:pt x="844" y="138"/>
                </a:lnTo>
                <a:lnTo>
                  <a:pt x="850" y="141"/>
                </a:lnTo>
                <a:lnTo>
                  <a:pt x="855" y="138"/>
                </a:lnTo>
                <a:lnTo>
                  <a:pt x="850" y="135"/>
                </a:lnTo>
                <a:lnTo>
                  <a:pt x="847" y="132"/>
                </a:lnTo>
                <a:lnTo>
                  <a:pt x="847" y="130"/>
                </a:lnTo>
                <a:lnTo>
                  <a:pt x="850" y="132"/>
                </a:lnTo>
                <a:lnTo>
                  <a:pt x="853" y="132"/>
                </a:lnTo>
                <a:lnTo>
                  <a:pt x="855" y="124"/>
                </a:lnTo>
                <a:lnTo>
                  <a:pt x="855" y="121"/>
                </a:lnTo>
                <a:lnTo>
                  <a:pt x="858" y="127"/>
                </a:lnTo>
                <a:lnTo>
                  <a:pt x="861" y="130"/>
                </a:lnTo>
                <a:lnTo>
                  <a:pt x="864" y="124"/>
                </a:lnTo>
                <a:lnTo>
                  <a:pt x="873" y="124"/>
                </a:lnTo>
                <a:lnTo>
                  <a:pt x="881" y="121"/>
                </a:lnTo>
                <a:lnTo>
                  <a:pt x="890" y="118"/>
                </a:lnTo>
                <a:lnTo>
                  <a:pt x="898" y="112"/>
                </a:lnTo>
                <a:lnTo>
                  <a:pt x="901" y="107"/>
                </a:lnTo>
                <a:lnTo>
                  <a:pt x="898" y="101"/>
                </a:lnTo>
                <a:lnTo>
                  <a:pt x="898" y="95"/>
                </a:lnTo>
                <a:lnTo>
                  <a:pt x="901" y="92"/>
                </a:lnTo>
                <a:lnTo>
                  <a:pt x="907" y="92"/>
                </a:lnTo>
                <a:lnTo>
                  <a:pt x="916" y="92"/>
                </a:lnTo>
                <a:lnTo>
                  <a:pt x="919" y="86"/>
                </a:lnTo>
                <a:lnTo>
                  <a:pt x="924" y="81"/>
                </a:lnTo>
                <a:lnTo>
                  <a:pt x="916" y="78"/>
                </a:lnTo>
                <a:lnTo>
                  <a:pt x="910" y="75"/>
                </a:lnTo>
                <a:lnTo>
                  <a:pt x="919" y="72"/>
                </a:lnTo>
                <a:lnTo>
                  <a:pt x="913" y="69"/>
                </a:lnTo>
                <a:lnTo>
                  <a:pt x="907" y="72"/>
                </a:lnTo>
                <a:lnTo>
                  <a:pt x="901" y="72"/>
                </a:lnTo>
                <a:lnTo>
                  <a:pt x="901" y="69"/>
                </a:lnTo>
                <a:lnTo>
                  <a:pt x="898" y="69"/>
                </a:lnTo>
                <a:lnTo>
                  <a:pt x="893" y="69"/>
                </a:lnTo>
                <a:lnTo>
                  <a:pt x="884" y="69"/>
                </a:lnTo>
                <a:lnTo>
                  <a:pt x="878" y="72"/>
                </a:lnTo>
                <a:lnTo>
                  <a:pt x="876" y="78"/>
                </a:lnTo>
                <a:lnTo>
                  <a:pt x="876" y="81"/>
                </a:lnTo>
                <a:lnTo>
                  <a:pt x="878" y="84"/>
                </a:lnTo>
                <a:lnTo>
                  <a:pt x="873" y="86"/>
                </a:lnTo>
                <a:lnTo>
                  <a:pt x="870" y="86"/>
                </a:lnTo>
                <a:lnTo>
                  <a:pt x="864" y="86"/>
                </a:lnTo>
                <a:lnTo>
                  <a:pt x="861" y="89"/>
                </a:lnTo>
                <a:lnTo>
                  <a:pt x="858" y="92"/>
                </a:lnTo>
                <a:lnTo>
                  <a:pt x="855" y="98"/>
                </a:lnTo>
                <a:lnTo>
                  <a:pt x="847" y="101"/>
                </a:lnTo>
                <a:lnTo>
                  <a:pt x="844" y="104"/>
                </a:lnTo>
                <a:lnTo>
                  <a:pt x="841" y="104"/>
                </a:lnTo>
                <a:lnTo>
                  <a:pt x="844" y="101"/>
                </a:lnTo>
                <a:lnTo>
                  <a:pt x="844" y="95"/>
                </a:lnTo>
                <a:lnTo>
                  <a:pt x="838" y="101"/>
                </a:lnTo>
                <a:lnTo>
                  <a:pt x="835" y="104"/>
                </a:lnTo>
                <a:lnTo>
                  <a:pt x="838" y="104"/>
                </a:lnTo>
                <a:lnTo>
                  <a:pt x="835" y="109"/>
                </a:lnTo>
                <a:lnTo>
                  <a:pt x="832" y="109"/>
                </a:lnTo>
                <a:lnTo>
                  <a:pt x="827" y="112"/>
                </a:lnTo>
                <a:lnTo>
                  <a:pt x="824" y="112"/>
                </a:lnTo>
                <a:lnTo>
                  <a:pt x="821" y="112"/>
                </a:lnTo>
                <a:lnTo>
                  <a:pt x="818" y="104"/>
                </a:lnTo>
                <a:lnTo>
                  <a:pt x="821" y="98"/>
                </a:lnTo>
                <a:lnTo>
                  <a:pt x="824" y="95"/>
                </a:lnTo>
                <a:lnTo>
                  <a:pt x="827" y="95"/>
                </a:lnTo>
                <a:lnTo>
                  <a:pt x="832" y="95"/>
                </a:lnTo>
                <a:lnTo>
                  <a:pt x="832" y="86"/>
                </a:lnTo>
                <a:lnTo>
                  <a:pt x="832" y="84"/>
                </a:lnTo>
                <a:lnTo>
                  <a:pt x="827" y="81"/>
                </a:lnTo>
                <a:lnTo>
                  <a:pt x="821" y="81"/>
                </a:lnTo>
                <a:lnTo>
                  <a:pt x="815" y="84"/>
                </a:lnTo>
                <a:lnTo>
                  <a:pt x="812" y="89"/>
                </a:lnTo>
                <a:lnTo>
                  <a:pt x="807" y="92"/>
                </a:lnTo>
                <a:lnTo>
                  <a:pt x="801" y="95"/>
                </a:lnTo>
                <a:lnTo>
                  <a:pt x="798" y="95"/>
                </a:lnTo>
                <a:lnTo>
                  <a:pt x="798" y="92"/>
                </a:lnTo>
                <a:lnTo>
                  <a:pt x="801" y="86"/>
                </a:lnTo>
                <a:lnTo>
                  <a:pt x="804" y="84"/>
                </a:lnTo>
                <a:lnTo>
                  <a:pt x="807" y="78"/>
                </a:lnTo>
                <a:lnTo>
                  <a:pt x="812" y="78"/>
                </a:lnTo>
                <a:lnTo>
                  <a:pt x="810" y="84"/>
                </a:lnTo>
                <a:lnTo>
                  <a:pt x="815" y="81"/>
                </a:lnTo>
                <a:lnTo>
                  <a:pt x="815" y="78"/>
                </a:lnTo>
                <a:lnTo>
                  <a:pt x="815" y="75"/>
                </a:lnTo>
                <a:lnTo>
                  <a:pt x="812" y="75"/>
                </a:lnTo>
                <a:lnTo>
                  <a:pt x="807" y="72"/>
                </a:lnTo>
                <a:lnTo>
                  <a:pt x="804" y="72"/>
                </a:lnTo>
                <a:lnTo>
                  <a:pt x="798" y="75"/>
                </a:lnTo>
                <a:lnTo>
                  <a:pt x="792" y="75"/>
                </a:lnTo>
                <a:lnTo>
                  <a:pt x="789" y="72"/>
                </a:lnTo>
                <a:lnTo>
                  <a:pt x="798" y="69"/>
                </a:lnTo>
                <a:lnTo>
                  <a:pt x="801" y="69"/>
                </a:lnTo>
                <a:lnTo>
                  <a:pt x="801" y="63"/>
                </a:lnTo>
                <a:lnTo>
                  <a:pt x="807" y="66"/>
                </a:lnTo>
                <a:lnTo>
                  <a:pt x="812" y="63"/>
                </a:lnTo>
                <a:lnTo>
                  <a:pt x="807" y="58"/>
                </a:lnTo>
                <a:lnTo>
                  <a:pt x="804" y="52"/>
                </a:lnTo>
                <a:lnTo>
                  <a:pt x="812" y="46"/>
                </a:lnTo>
                <a:lnTo>
                  <a:pt x="810" y="43"/>
                </a:lnTo>
                <a:lnTo>
                  <a:pt x="807" y="38"/>
                </a:lnTo>
                <a:lnTo>
                  <a:pt x="801" y="38"/>
                </a:lnTo>
                <a:lnTo>
                  <a:pt x="807" y="35"/>
                </a:lnTo>
                <a:lnTo>
                  <a:pt x="815" y="32"/>
                </a:lnTo>
                <a:lnTo>
                  <a:pt x="824" y="29"/>
                </a:lnTo>
                <a:lnTo>
                  <a:pt x="824" y="26"/>
                </a:lnTo>
                <a:lnTo>
                  <a:pt x="821" y="23"/>
                </a:lnTo>
                <a:lnTo>
                  <a:pt x="832" y="23"/>
                </a:lnTo>
                <a:lnTo>
                  <a:pt x="844" y="23"/>
                </a:lnTo>
                <a:lnTo>
                  <a:pt x="847" y="20"/>
                </a:lnTo>
                <a:lnTo>
                  <a:pt x="850" y="20"/>
                </a:lnTo>
                <a:lnTo>
                  <a:pt x="853" y="20"/>
                </a:lnTo>
                <a:lnTo>
                  <a:pt x="864" y="15"/>
                </a:lnTo>
                <a:lnTo>
                  <a:pt x="873" y="9"/>
                </a:lnTo>
                <a:lnTo>
                  <a:pt x="876" y="9"/>
                </a:lnTo>
                <a:lnTo>
                  <a:pt x="878" y="9"/>
                </a:lnTo>
                <a:lnTo>
                  <a:pt x="881" y="9"/>
                </a:lnTo>
                <a:lnTo>
                  <a:pt x="884" y="6"/>
                </a:lnTo>
                <a:lnTo>
                  <a:pt x="884" y="3"/>
                </a:lnTo>
                <a:lnTo>
                  <a:pt x="873" y="3"/>
                </a:lnTo>
                <a:lnTo>
                  <a:pt x="870" y="3"/>
                </a:lnTo>
                <a:lnTo>
                  <a:pt x="861" y="3"/>
                </a:lnTo>
                <a:lnTo>
                  <a:pt x="858" y="3"/>
                </a:lnTo>
                <a:lnTo>
                  <a:pt x="850" y="0"/>
                </a:lnTo>
                <a:lnTo>
                  <a:pt x="844" y="3"/>
                </a:lnTo>
                <a:lnTo>
                  <a:pt x="838" y="3"/>
                </a:lnTo>
                <a:lnTo>
                  <a:pt x="835" y="3"/>
                </a:lnTo>
                <a:lnTo>
                  <a:pt x="832" y="3"/>
                </a:lnTo>
                <a:lnTo>
                  <a:pt x="830" y="3"/>
                </a:lnTo>
                <a:lnTo>
                  <a:pt x="827" y="6"/>
                </a:lnTo>
                <a:lnTo>
                  <a:pt x="824" y="9"/>
                </a:lnTo>
                <a:lnTo>
                  <a:pt x="824" y="6"/>
                </a:lnTo>
                <a:lnTo>
                  <a:pt x="821" y="6"/>
                </a:lnTo>
                <a:lnTo>
                  <a:pt x="818" y="6"/>
                </a:lnTo>
                <a:lnTo>
                  <a:pt x="815" y="12"/>
                </a:lnTo>
                <a:lnTo>
                  <a:pt x="812" y="15"/>
                </a:lnTo>
                <a:lnTo>
                  <a:pt x="807" y="18"/>
                </a:lnTo>
                <a:lnTo>
                  <a:pt x="804" y="18"/>
                </a:lnTo>
                <a:lnTo>
                  <a:pt x="804" y="20"/>
                </a:lnTo>
                <a:lnTo>
                  <a:pt x="801" y="23"/>
                </a:lnTo>
                <a:lnTo>
                  <a:pt x="804" y="26"/>
                </a:lnTo>
                <a:lnTo>
                  <a:pt x="801" y="29"/>
                </a:lnTo>
                <a:lnTo>
                  <a:pt x="798" y="35"/>
                </a:lnTo>
                <a:lnTo>
                  <a:pt x="787" y="41"/>
                </a:lnTo>
                <a:lnTo>
                  <a:pt x="778" y="41"/>
                </a:lnTo>
                <a:lnTo>
                  <a:pt x="781" y="43"/>
                </a:lnTo>
                <a:lnTo>
                  <a:pt x="781" y="46"/>
                </a:lnTo>
                <a:lnTo>
                  <a:pt x="781" y="49"/>
                </a:lnTo>
                <a:lnTo>
                  <a:pt x="778" y="49"/>
                </a:lnTo>
                <a:lnTo>
                  <a:pt x="775" y="46"/>
                </a:lnTo>
                <a:lnTo>
                  <a:pt x="775" y="43"/>
                </a:lnTo>
                <a:lnTo>
                  <a:pt x="761" y="52"/>
                </a:lnTo>
                <a:lnTo>
                  <a:pt x="758" y="55"/>
                </a:lnTo>
                <a:lnTo>
                  <a:pt x="764" y="55"/>
                </a:lnTo>
                <a:lnTo>
                  <a:pt x="766" y="55"/>
                </a:lnTo>
                <a:lnTo>
                  <a:pt x="766" y="58"/>
                </a:lnTo>
                <a:lnTo>
                  <a:pt x="761" y="61"/>
                </a:lnTo>
                <a:lnTo>
                  <a:pt x="755" y="61"/>
                </a:lnTo>
                <a:lnTo>
                  <a:pt x="752" y="63"/>
                </a:lnTo>
                <a:lnTo>
                  <a:pt x="749" y="66"/>
                </a:lnTo>
                <a:lnTo>
                  <a:pt x="749" y="69"/>
                </a:lnTo>
                <a:lnTo>
                  <a:pt x="752" y="72"/>
                </a:lnTo>
                <a:lnTo>
                  <a:pt x="755" y="72"/>
                </a:lnTo>
                <a:lnTo>
                  <a:pt x="764" y="72"/>
                </a:lnTo>
                <a:lnTo>
                  <a:pt x="766" y="78"/>
                </a:lnTo>
                <a:lnTo>
                  <a:pt x="769" y="75"/>
                </a:lnTo>
                <a:lnTo>
                  <a:pt x="772" y="75"/>
                </a:lnTo>
                <a:lnTo>
                  <a:pt x="775" y="78"/>
                </a:lnTo>
                <a:lnTo>
                  <a:pt x="772" y="78"/>
                </a:lnTo>
                <a:lnTo>
                  <a:pt x="766" y="78"/>
                </a:lnTo>
                <a:lnTo>
                  <a:pt x="764" y="81"/>
                </a:lnTo>
                <a:lnTo>
                  <a:pt x="764" y="84"/>
                </a:lnTo>
                <a:lnTo>
                  <a:pt x="766" y="86"/>
                </a:lnTo>
                <a:lnTo>
                  <a:pt x="766" y="89"/>
                </a:lnTo>
                <a:lnTo>
                  <a:pt x="766" y="92"/>
                </a:lnTo>
                <a:lnTo>
                  <a:pt x="743" y="98"/>
                </a:lnTo>
                <a:lnTo>
                  <a:pt x="735" y="98"/>
                </a:lnTo>
                <a:lnTo>
                  <a:pt x="729" y="101"/>
                </a:lnTo>
                <a:lnTo>
                  <a:pt x="726" y="104"/>
                </a:lnTo>
                <a:lnTo>
                  <a:pt x="723" y="107"/>
                </a:lnTo>
                <a:lnTo>
                  <a:pt x="721" y="115"/>
                </a:lnTo>
                <a:lnTo>
                  <a:pt x="712" y="118"/>
                </a:lnTo>
                <a:lnTo>
                  <a:pt x="709" y="118"/>
                </a:lnTo>
                <a:lnTo>
                  <a:pt x="715" y="115"/>
                </a:lnTo>
                <a:lnTo>
                  <a:pt x="712" y="112"/>
                </a:lnTo>
                <a:lnTo>
                  <a:pt x="715" y="104"/>
                </a:lnTo>
                <a:lnTo>
                  <a:pt x="726" y="98"/>
                </a:lnTo>
                <a:lnTo>
                  <a:pt x="721" y="95"/>
                </a:lnTo>
                <a:lnTo>
                  <a:pt x="715" y="95"/>
                </a:lnTo>
                <a:lnTo>
                  <a:pt x="715" y="92"/>
                </a:lnTo>
                <a:lnTo>
                  <a:pt x="721" y="92"/>
                </a:lnTo>
                <a:lnTo>
                  <a:pt x="732" y="92"/>
                </a:lnTo>
                <a:lnTo>
                  <a:pt x="743" y="86"/>
                </a:lnTo>
                <a:lnTo>
                  <a:pt x="741" y="84"/>
                </a:lnTo>
                <a:lnTo>
                  <a:pt x="741" y="81"/>
                </a:lnTo>
                <a:lnTo>
                  <a:pt x="743" y="78"/>
                </a:lnTo>
                <a:lnTo>
                  <a:pt x="749" y="78"/>
                </a:lnTo>
                <a:lnTo>
                  <a:pt x="752" y="78"/>
                </a:lnTo>
                <a:lnTo>
                  <a:pt x="752" y="75"/>
                </a:lnTo>
                <a:lnTo>
                  <a:pt x="749" y="75"/>
                </a:lnTo>
                <a:lnTo>
                  <a:pt x="743" y="72"/>
                </a:lnTo>
                <a:lnTo>
                  <a:pt x="741" y="72"/>
                </a:lnTo>
                <a:lnTo>
                  <a:pt x="738" y="75"/>
                </a:lnTo>
                <a:lnTo>
                  <a:pt x="732" y="72"/>
                </a:lnTo>
                <a:lnTo>
                  <a:pt x="729" y="69"/>
                </a:lnTo>
                <a:lnTo>
                  <a:pt x="723" y="69"/>
                </a:lnTo>
                <a:lnTo>
                  <a:pt x="718" y="72"/>
                </a:lnTo>
                <a:lnTo>
                  <a:pt x="712" y="75"/>
                </a:lnTo>
                <a:lnTo>
                  <a:pt x="712" y="78"/>
                </a:lnTo>
                <a:lnTo>
                  <a:pt x="706" y="81"/>
                </a:lnTo>
                <a:lnTo>
                  <a:pt x="700" y="81"/>
                </a:lnTo>
                <a:lnTo>
                  <a:pt x="698" y="81"/>
                </a:lnTo>
                <a:lnTo>
                  <a:pt x="695" y="84"/>
                </a:lnTo>
                <a:lnTo>
                  <a:pt x="695" y="86"/>
                </a:lnTo>
                <a:lnTo>
                  <a:pt x="695" y="89"/>
                </a:lnTo>
                <a:lnTo>
                  <a:pt x="698" y="86"/>
                </a:lnTo>
                <a:lnTo>
                  <a:pt x="700" y="84"/>
                </a:lnTo>
                <a:lnTo>
                  <a:pt x="700" y="86"/>
                </a:lnTo>
                <a:lnTo>
                  <a:pt x="706" y="89"/>
                </a:lnTo>
                <a:lnTo>
                  <a:pt x="706" y="92"/>
                </a:lnTo>
                <a:lnTo>
                  <a:pt x="703" y="95"/>
                </a:lnTo>
                <a:lnTo>
                  <a:pt x="698" y="95"/>
                </a:lnTo>
                <a:lnTo>
                  <a:pt x="695" y="95"/>
                </a:lnTo>
                <a:lnTo>
                  <a:pt x="692" y="101"/>
                </a:lnTo>
                <a:lnTo>
                  <a:pt x="695" y="101"/>
                </a:lnTo>
                <a:lnTo>
                  <a:pt x="700" y="101"/>
                </a:lnTo>
                <a:lnTo>
                  <a:pt x="703" y="104"/>
                </a:lnTo>
                <a:lnTo>
                  <a:pt x="698" y="107"/>
                </a:lnTo>
                <a:lnTo>
                  <a:pt x="695" y="104"/>
                </a:lnTo>
                <a:lnTo>
                  <a:pt x="686" y="104"/>
                </a:lnTo>
                <a:lnTo>
                  <a:pt x="677" y="104"/>
                </a:lnTo>
                <a:lnTo>
                  <a:pt x="672" y="104"/>
                </a:lnTo>
                <a:lnTo>
                  <a:pt x="666" y="101"/>
                </a:lnTo>
                <a:lnTo>
                  <a:pt x="663" y="104"/>
                </a:lnTo>
                <a:lnTo>
                  <a:pt x="655" y="104"/>
                </a:lnTo>
                <a:lnTo>
                  <a:pt x="649" y="104"/>
                </a:lnTo>
                <a:lnTo>
                  <a:pt x="637" y="104"/>
                </a:lnTo>
                <a:lnTo>
                  <a:pt x="632" y="98"/>
                </a:lnTo>
                <a:lnTo>
                  <a:pt x="626" y="101"/>
                </a:lnTo>
                <a:lnTo>
                  <a:pt x="617" y="98"/>
                </a:lnTo>
                <a:lnTo>
                  <a:pt x="614" y="95"/>
                </a:lnTo>
                <a:lnTo>
                  <a:pt x="611" y="95"/>
                </a:lnTo>
                <a:lnTo>
                  <a:pt x="611" y="92"/>
                </a:lnTo>
                <a:lnTo>
                  <a:pt x="614" y="89"/>
                </a:lnTo>
                <a:lnTo>
                  <a:pt x="611" y="86"/>
                </a:lnTo>
                <a:lnTo>
                  <a:pt x="609" y="84"/>
                </a:lnTo>
                <a:lnTo>
                  <a:pt x="603" y="86"/>
                </a:lnTo>
                <a:lnTo>
                  <a:pt x="591" y="89"/>
                </a:lnTo>
                <a:lnTo>
                  <a:pt x="580" y="89"/>
                </a:lnTo>
                <a:lnTo>
                  <a:pt x="574" y="92"/>
                </a:lnTo>
                <a:lnTo>
                  <a:pt x="568" y="95"/>
                </a:lnTo>
                <a:lnTo>
                  <a:pt x="566" y="98"/>
                </a:lnTo>
                <a:lnTo>
                  <a:pt x="571" y="98"/>
                </a:lnTo>
                <a:lnTo>
                  <a:pt x="577" y="98"/>
                </a:lnTo>
                <a:lnTo>
                  <a:pt x="583" y="95"/>
                </a:lnTo>
                <a:lnTo>
                  <a:pt x="583" y="98"/>
                </a:lnTo>
                <a:lnTo>
                  <a:pt x="591" y="95"/>
                </a:lnTo>
                <a:lnTo>
                  <a:pt x="594" y="95"/>
                </a:lnTo>
                <a:lnTo>
                  <a:pt x="588" y="98"/>
                </a:lnTo>
                <a:lnTo>
                  <a:pt x="580" y="98"/>
                </a:lnTo>
                <a:lnTo>
                  <a:pt x="574" y="101"/>
                </a:lnTo>
                <a:lnTo>
                  <a:pt x="571" y="104"/>
                </a:lnTo>
                <a:lnTo>
                  <a:pt x="568" y="101"/>
                </a:lnTo>
                <a:lnTo>
                  <a:pt x="563" y="109"/>
                </a:lnTo>
                <a:lnTo>
                  <a:pt x="566" y="107"/>
                </a:lnTo>
                <a:lnTo>
                  <a:pt x="563" y="112"/>
                </a:lnTo>
                <a:lnTo>
                  <a:pt x="563" y="118"/>
                </a:lnTo>
                <a:lnTo>
                  <a:pt x="557" y="118"/>
                </a:lnTo>
                <a:lnTo>
                  <a:pt x="554" y="124"/>
                </a:lnTo>
                <a:lnTo>
                  <a:pt x="551" y="130"/>
                </a:lnTo>
                <a:lnTo>
                  <a:pt x="548" y="121"/>
                </a:lnTo>
                <a:lnTo>
                  <a:pt x="545" y="118"/>
                </a:lnTo>
                <a:lnTo>
                  <a:pt x="551" y="115"/>
                </a:lnTo>
                <a:lnTo>
                  <a:pt x="557" y="112"/>
                </a:lnTo>
                <a:lnTo>
                  <a:pt x="554" y="107"/>
                </a:lnTo>
                <a:lnTo>
                  <a:pt x="551" y="107"/>
                </a:lnTo>
                <a:lnTo>
                  <a:pt x="554" y="104"/>
                </a:lnTo>
                <a:lnTo>
                  <a:pt x="545" y="104"/>
                </a:lnTo>
                <a:lnTo>
                  <a:pt x="554" y="95"/>
                </a:lnTo>
                <a:lnTo>
                  <a:pt x="551" y="95"/>
                </a:lnTo>
                <a:lnTo>
                  <a:pt x="537" y="101"/>
                </a:lnTo>
                <a:lnTo>
                  <a:pt x="514" y="104"/>
                </a:lnTo>
                <a:lnTo>
                  <a:pt x="508" y="107"/>
                </a:lnTo>
                <a:lnTo>
                  <a:pt x="499" y="107"/>
                </a:lnTo>
                <a:lnTo>
                  <a:pt x="482" y="104"/>
                </a:lnTo>
                <a:lnTo>
                  <a:pt x="477" y="101"/>
                </a:lnTo>
                <a:lnTo>
                  <a:pt x="474" y="101"/>
                </a:lnTo>
                <a:lnTo>
                  <a:pt x="488" y="98"/>
                </a:lnTo>
                <a:lnTo>
                  <a:pt x="497" y="98"/>
                </a:lnTo>
                <a:lnTo>
                  <a:pt x="502" y="95"/>
                </a:lnTo>
                <a:lnTo>
                  <a:pt x="499" y="92"/>
                </a:lnTo>
                <a:lnTo>
                  <a:pt x="497" y="86"/>
                </a:lnTo>
                <a:lnTo>
                  <a:pt x="494" y="84"/>
                </a:lnTo>
                <a:lnTo>
                  <a:pt x="488" y="84"/>
                </a:lnTo>
                <a:lnTo>
                  <a:pt x="485" y="86"/>
                </a:lnTo>
                <a:lnTo>
                  <a:pt x="479" y="86"/>
                </a:lnTo>
                <a:lnTo>
                  <a:pt x="468" y="84"/>
                </a:lnTo>
                <a:lnTo>
                  <a:pt x="442" y="78"/>
                </a:lnTo>
                <a:lnTo>
                  <a:pt x="442" y="75"/>
                </a:lnTo>
                <a:lnTo>
                  <a:pt x="442" y="72"/>
                </a:lnTo>
                <a:lnTo>
                  <a:pt x="436" y="72"/>
                </a:lnTo>
                <a:lnTo>
                  <a:pt x="422" y="69"/>
                </a:lnTo>
                <a:lnTo>
                  <a:pt x="416" y="72"/>
                </a:lnTo>
                <a:lnTo>
                  <a:pt x="411" y="72"/>
                </a:lnTo>
                <a:lnTo>
                  <a:pt x="399" y="78"/>
                </a:lnTo>
                <a:lnTo>
                  <a:pt x="390" y="78"/>
                </a:lnTo>
                <a:lnTo>
                  <a:pt x="399" y="72"/>
                </a:lnTo>
                <a:lnTo>
                  <a:pt x="399" y="69"/>
                </a:lnTo>
                <a:lnTo>
                  <a:pt x="405" y="63"/>
                </a:lnTo>
                <a:lnTo>
                  <a:pt x="396" y="66"/>
                </a:lnTo>
                <a:lnTo>
                  <a:pt x="393" y="66"/>
                </a:lnTo>
                <a:lnTo>
                  <a:pt x="390" y="69"/>
                </a:lnTo>
                <a:lnTo>
                  <a:pt x="382" y="75"/>
                </a:lnTo>
                <a:lnTo>
                  <a:pt x="376" y="78"/>
                </a:lnTo>
                <a:lnTo>
                  <a:pt x="373" y="78"/>
                </a:lnTo>
                <a:lnTo>
                  <a:pt x="373" y="72"/>
                </a:lnTo>
                <a:lnTo>
                  <a:pt x="373" y="66"/>
                </a:lnTo>
                <a:lnTo>
                  <a:pt x="370" y="61"/>
                </a:lnTo>
                <a:lnTo>
                  <a:pt x="370" y="58"/>
                </a:lnTo>
                <a:lnTo>
                  <a:pt x="367" y="58"/>
                </a:lnTo>
                <a:lnTo>
                  <a:pt x="365" y="61"/>
                </a:lnTo>
                <a:lnTo>
                  <a:pt x="362" y="66"/>
                </a:lnTo>
                <a:lnTo>
                  <a:pt x="350" y="66"/>
                </a:lnTo>
                <a:lnTo>
                  <a:pt x="344" y="72"/>
                </a:lnTo>
                <a:lnTo>
                  <a:pt x="339" y="72"/>
                </a:lnTo>
                <a:lnTo>
                  <a:pt x="336" y="66"/>
                </a:lnTo>
                <a:lnTo>
                  <a:pt x="344" y="63"/>
                </a:lnTo>
                <a:lnTo>
                  <a:pt x="336" y="63"/>
                </a:lnTo>
                <a:lnTo>
                  <a:pt x="324" y="66"/>
                </a:lnTo>
                <a:lnTo>
                  <a:pt x="316" y="69"/>
                </a:lnTo>
                <a:lnTo>
                  <a:pt x="310" y="69"/>
                </a:lnTo>
                <a:lnTo>
                  <a:pt x="301" y="72"/>
                </a:lnTo>
                <a:lnTo>
                  <a:pt x="304" y="75"/>
                </a:lnTo>
                <a:lnTo>
                  <a:pt x="307" y="75"/>
                </a:lnTo>
                <a:lnTo>
                  <a:pt x="310" y="75"/>
                </a:lnTo>
                <a:lnTo>
                  <a:pt x="310" y="78"/>
                </a:lnTo>
                <a:lnTo>
                  <a:pt x="307" y="78"/>
                </a:lnTo>
                <a:lnTo>
                  <a:pt x="304" y="78"/>
                </a:lnTo>
                <a:lnTo>
                  <a:pt x="299" y="75"/>
                </a:lnTo>
                <a:lnTo>
                  <a:pt x="296" y="72"/>
                </a:lnTo>
                <a:lnTo>
                  <a:pt x="290" y="75"/>
                </a:lnTo>
                <a:lnTo>
                  <a:pt x="284" y="75"/>
                </a:lnTo>
                <a:lnTo>
                  <a:pt x="278" y="75"/>
                </a:lnTo>
                <a:lnTo>
                  <a:pt x="276" y="78"/>
                </a:lnTo>
                <a:lnTo>
                  <a:pt x="270" y="81"/>
                </a:lnTo>
                <a:lnTo>
                  <a:pt x="255" y="86"/>
                </a:lnTo>
                <a:lnTo>
                  <a:pt x="253" y="84"/>
                </a:lnTo>
                <a:lnTo>
                  <a:pt x="264" y="81"/>
                </a:lnTo>
                <a:lnTo>
                  <a:pt x="273" y="75"/>
                </a:lnTo>
                <a:lnTo>
                  <a:pt x="270" y="72"/>
                </a:lnTo>
                <a:lnTo>
                  <a:pt x="261" y="75"/>
                </a:lnTo>
                <a:lnTo>
                  <a:pt x="258" y="72"/>
                </a:lnTo>
                <a:lnTo>
                  <a:pt x="253" y="78"/>
                </a:lnTo>
                <a:lnTo>
                  <a:pt x="247" y="81"/>
                </a:lnTo>
                <a:lnTo>
                  <a:pt x="241" y="84"/>
                </a:lnTo>
                <a:lnTo>
                  <a:pt x="233" y="84"/>
                </a:lnTo>
                <a:lnTo>
                  <a:pt x="227" y="86"/>
                </a:lnTo>
                <a:lnTo>
                  <a:pt x="221" y="86"/>
                </a:lnTo>
                <a:lnTo>
                  <a:pt x="215" y="81"/>
                </a:lnTo>
                <a:lnTo>
                  <a:pt x="210" y="78"/>
                </a:lnTo>
                <a:lnTo>
                  <a:pt x="212" y="75"/>
                </a:lnTo>
                <a:lnTo>
                  <a:pt x="212" y="72"/>
                </a:lnTo>
                <a:lnTo>
                  <a:pt x="207" y="75"/>
                </a:lnTo>
                <a:lnTo>
                  <a:pt x="201" y="72"/>
                </a:lnTo>
                <a:lnTo>
                  <a:pt x="189" y="72"/>
                </a:lnTo>
                <a:lnTo>
                  <a:pt x="0" y="233"/>
                </a:lnTo>
                <a:lnTo>
                  <a:pt x="3" y="233"/>
                </a:lnTo>
                <a:close/>
                <a:moveTo>
                  <a:pt x="600" y="92"/>
                </a:moveTo>
                <a:lnTo>
                  <a:pt x="606" y="89"/>
                </a:lnTo>
                <a:lnTo>
                  <a:pt x="609" y="92"/>
                </a:lnTo>
                <a:lnTo>
                  <a:pt x="597" y="95"/>
                </a:lnTo>
                <a:lnTo>
                  <a:pt x="600" y="92"/>
                </a:lnTo>
                <a:close/>
                <a:moveTo>
                  <a:pt x="465" y="84"/>
                </a:moveTo>
                <a:lnTo>
                  <a:pt x="465" y="84"/>
                </a:lnTo>
                <a:lnTo>
                  <a:pt x="468" y="84"/>
                </a:lnTo>
                <a:lnTo>
                  <a:pt x="465" y="84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03" name="Freeform 691"/>
          <p:cNvSpPr>
            <a:spLocks/>
          </p:cNvSpPr>
          <p:nvPr/>
        </p:nvSpPr>
        <p:spPr bwMode="gray">
          <a:xfrm>
            <a:off x="3320599" y="1966554"/>
            <a:ext cx="28005" cy="9000"/>
          </a:xfrm>
          <a:custGeom>
            <a:avLst/>
            <a:gdLst>
              <a:gd name="T0" fmla="*/ 2147483647 w 14"/>
              <a:gd name="T1" fmla="*/ 0 h 6"/>
              <a:gd name="T2" fmla="*/ 0 w 14"/>
              <a:gd name="T3" fmla="*/ 2147483647 h 6"/>
              <a:gd name="T4" fmla="*/ 2147483647 w 14"/>
              <a:gd name="T5" fmla="*/ 2147483647 h 6"/>
              <a:gd name="T6" fmla="*/ 2147483647 w 14"/>
              <a:gd name="T7" fmla="*/ 2147483647 h 6"/>
              <a:gd name="T8" fmla="*/ 2147483647 w 14"/>
              <a:gd name="T9" fmla="*/ 2147483647 h 6"/>
              <a:gd name="T10" fmla="*/ 2147483647 w 14"/>
              <a:gd name="T11" fmla="*/ 0 h 6"/>
              <a:gd name="T12" fmla="*/ 2147483647 w 14"/>
              <a:gd name="T13" fmla="*/ 0 h 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4"/>
              <a:gd name="T22" fmla="*/ 0 h 6"/>
              <a:gd name="T23" fmla="*/ 14 w 14"/>
              <a:gd name="T24" fmla="*/ 6 h 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4" h="6">
                <a:moveTo>
                  <a:pt x="6" y="0"/>
                </a:moveTo>
                <a:lnTo>
                  <a:pt x="0" y="3"/>
                </a:lnTo>
                <a:lnTo>
                  <a:pt x="3" y="6"/>
                </a:lnTo>
                <a:lnTo>
                  <a:pt x="9" y="6"/>
                </a:lnTo>
                <a:lnTo>
                  <a:pt x="14" y="3"/>
                </a:lnTo>
                <a:lnTo>
                  <a:pt x="11" y="0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04" name="Freeform 692"/>
          <p:cNvSpPr>
            <a:spLocks/>
          </p:cNvSpPr>
          <p:nvPr/>
        </p:nvSpPr>
        <p:spPr bwMode="gray">
          <a:xfrm>
            <a:off x="3046550" y="1824049"/>
            <a:ext cx="18003" cy="7501"/>
          </a:xfrm>
          <a:custGeom>
            <a:avLst/>
            <a:gdLst>
              <a:gd name="T0" fmla="*/ 0 w 9"/>
              <a:gd name="T1" fmla="*/ 2147483647 h 5"/>
              <a:gd name="T2" fmla="*/ 2147483647 w 9"/>
              <a:gd name="T3" fmla="*/ 2147483647 h 5"/>
              <a:gd name="T4" fmla="*/ 2147483647 w 9"/>
              <a:gd name="T5" fmla="*/ 2147483647 h 5"/>
              <a:gd name="T6" fmla="*/ 2147483647 w 9"/>
              <a:gd name="T7" fmla="*/ 0 h 5"/>
              <a:gd name="T8" fmla="*/ 2147483647 w 9"/>
              <a:gd name="T9" fmla="*/ 0 h 5"/>
              <a:gd name="T10" fmla="*/ 0 w 9"/>
              <a:gd name="T11" fmla="*/ 2147483647 h 5"/>
              <a:gd name="T12" fmla="*/ 0 w 9"/>
              <a:gd name="T13" fmla="*/ 2147483647 h 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"/>
              <a:gd name="T22" fmla="*/ 0 h 5"/>
              <a:gd name="T23" fmla="*/ 9 w 9"/>
              <a:gd name="T24" fmla="*/ 5 h 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" h="5">
                <a:moveTo>
                  <a:pt x="0" y="5"/>
                </a:moveTo>
                <a:lnTo>
                  <a:pt x="6" y="5"/>
                </a:lnTo>
                <a:lnTo>
                  <a:pt x="9" y="2"/>
                </a:lnTo>
                <a:lnTo>
                  <a:pt x="9" y="0"/>
                </a:lnTo>
                <a:lnTo>
                  <a:pt x="3" y="0"/>
                </a:lnTo>
                <a:lnTo>
                  <a:pt x="0" y="2"/>
                </a:lnTo>
                <a:lnTo>
                  <a:pt x="0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587" name="Freeform 693"/>
          <p:cNvSpPr>
            <a:spLocks/>
          </p:cNvSpPr>
          <p:nvPr/>
        </p:nvSpPr>
        <p:spPr bwMode="gray">
          <a:xfrm>
            <a:off x="600108" y="1762549"/>
            <a:ext cx="1306236" cy="453012"/>
          </a:xfrm>
          <a:custGeom>
            <a:avLst/>
            <a:gdLst>
              <a:gd name="T0" fmla="*/ 2147483647 w 646"/>
              <a:gd name="T1" fmla="*/ 2147483647 h 299"/>
              <a:gd name="T2" fmla="*/ 2147483647 w 646"/>
              <a:gd name="T3" fmla="*/ 2147483647 h 299"/>
              <a:gd name="T4" fmla="*/ 2147483647 w 646"/>
              <a:gd name="T5" fmla="*/ 2147483647 h 299"/>
              <a:gd name="T6" fmla="*/ 2147483647 w 646"/>
              <a:gd name="T7" fmla="*/ 2147483647 h 299"/>
              <a:gd name="T8" fmla="*/ 2147483647 w 646"/>
              <a:gd name="T9" fmla="*/ 2147483647 h 299"/>
              <a:gd name="T10" fmla="*/ 2147483647 w 646"/>
              <a:gd name="T11" fmla="*/ 2147483647 h 299"/>
              <a:gd name="T12" fmla="*/ 2147483647 w 646"/>
              <a:gd name="T13" fmla="*/ 2147483647 h 299"/>
              <a:gd name="T14" fmla="*/ 2147483647 w 646"/>
              <a:gd name="T15" fmla="*/ 2147483647 h 299"/>
              <a:gd name="T16" fmla="*/ 2147483647 w 646"/>
              <a:gd name="T17" fmla="*/ 2147483647 h 299"/>
              <a:gd name="T18" fmla="*/ 2147483647 w 646"/>
              <a:gd name="T19" fmla="*/ 2147483647 h 299"/>
              <a:gd name="T20" fmla="*/ 2147483647 w 646"/>
              <a:gd name="T21" fmla="*/ 2147483647 h 299"/>
              <a:gd name="T22" fmla="*/ 2147483647 w 646"/>
              <a:gd name="T23" fmla="*/ 2147483647 h 299"/>
              <a:gd name="T24" fmla="*/ 2147483647 w 646"/>
              <a:gd name="T25" fmla="*/ 2147483647 h 299"/>
              <a:gd name="T26" fmla="*/ 2147483647 w 646"/>
              <a:gd name="T27" fmla="*/ 2147483647 h 299"/>
              <a:gd name="T28" fmla="*/ 2147483647 w 646"/>
              <a:gd name="T29" fmla="*/ 2147483647 h 299"/>
              <a:gd name="T30" fmla="*/ 2147483647 w 646"/>
              <a:gd name="T31" fmla="*/ 2147483647 h 299"/>
              <a:gd name="T32" fmla="*/ 2147483647 w 646"/>
              <a:gd name="T33" fmla="*/ 0 h 299"/>
              <a:gd name="T34" fmla="*/ 2147483647 w 646"/>
              <a:gd name="T35" fmla="*/ 2147483647 h 299"/>
              <a:gd name="T36" fmla="*/ 2147483647 w 646"/>
              <a:gd name="T37" fmla="*/ 2147483647 h 299"/>
              <a:gd name="T38" fmla="*/ 2147483647 w 646"/>
              <a:gd name="T39" fmla="*/ 2147483647 h 299"/>
              <a:gd name="T40" fmla="*/ 2147483647 w 646"/>
              <a:gd name="T41" fmla="*/ 2147483647 h 299"/>
              <a:gd name="T42" fmla="*/ 2147483647 w 646"/>
              <a:gd name="T43" fmla="*/ 2147483647 h 299"/>
              <a:gd name="T44" fmla="*/ 2147483647 w 646"/>
              <a:gd name="T45" fmla="*/ 2147483647 h 299"/>
              <a:gd name="T46" fmla="*/ 2147483647 w 646"/>
              <a:gd name="T47" fmla="*/ 2147483647 h 299"/>
              <a:gd name="T48" fmla="*/ 2147483647 w 646"/>
              <a:gd name="T49" fmla="*/ 2147483647 h 299"/>
              <a:gd name="T50" fmla="*/ 2147483647 w 646"/>
              <a:gd name="T51" fmla="*/ 2147483647 h 299"/>
              <a:gd name="T52" fmla="*/ 2147483647 w 646"/>
              <a:gd name="T53" fmla="*/ 2147483647 h 299"/>
              <a:gd name="T54" fmla="*/ 2147483647 w 646"/>
              <a:gd name="T55" fmla="*/ 2147483647 h 299"/>
              <a:gd name="T56" fmla="*/ 2147483647 w 646"/>
              <a:gd name="T57" fmla="*/ 2147483647 h 299"/>
              <a:gd name="T58" fmla="*/ 2147483647 w 646"/>
              <a:gd name="T59" fmla="*/ 2147483647 h 299"/>
              <a:gd name="T60" fmla="*/ 2147483647 w 646"/>
              <a:gd name="T61" fmla="*/ 2147483647 h 299"/>
              <a:gd name="T62" fmla="*/ 2147483647 w 646"/>
              <a:gd name="T63" fmla="*/ 2147483647 h 299"/>
              <a:gd name="T64" fmla="*/ 2147483647 w 646"/>
              <a:gd name="T65" fmla="*/ 2147483647 h 299"/>
              <a:gd name="T66" fmla="*/ 2147483647 w 646"/>
              <a:gd name="T67" fmla="*/ 2147483647 h 299"/>
              <a:gd name="T68" fmla="*/ 2147483647 w 646"/>
              <a:gd name="T69" fmla="*/ 2147483647 h 299"/>
              <a:gd name="T70" fmla="*/ 2147483647 w 646"/>
              <a:gd name="T71" fmla="*/ 2147483647 h 299"/>
              <a:gd name="T72" fmla="*/ 2147483647 w 646"/>
              <a:gd name="T73" fmla="*/ 2147483647 h 299"/>
              <a:gd name="T74" fmla="*/ 2147483647 w 646"/>
              <a:gd name="T75" fmla="*/ 2147483647 h 299"/>
              <a:gd name="T76" fmla="*/ 2147483647 w 646"/>
              <a:gd name="T77" fmla="*/ 2147483647 h 299"/>
              <a:gd name="T78" fmla="*/ 2147483647 w 646"/>
              <a:gd name="T79" fmla="*/ 2147483647 h 299"/>
              <a:gd name="T80" fmla="*/ 2147483647 w 646"/>
              <a:gd name="T81" fmla="*/ 2147483647 h 299"/>
              <a:gd name="T82" fmla="*/ 2147483647 w 646"/>
              <a:gd name="T83" fmla="*/ 2147483647 h 299"/>
              <a:gd name="T84" fmla="*/ 2147483647 w 646"/>
              <a:gd name="T85" fmla="*/ 2147483647 h 299"/>
              <a:gd name="T86" fmla="*/ 2147483647 w 646"/>
              <a:gd name="T87" fmla="*/ 2147483647 h 299"/>
              <a:gd name="T88" fmla="*/ 2147483647 w 646"/>
              <a:gd name="T89" fmla="*/ 2147483647 h 299"/>
              <a:gd name="T90" fmla="*/ 2147483647 w 646"/>
              <a:gd name="T91" fmla="*/ 2147483647 h 299"/>
              <a:gd name="T92" fmla="*/ 2147483647 w 646"/>
              <a:gd name="T93" fmla="*/ 2147483647 h 299"/>
              <a:gd name="T94" fmla="*/ 2147483647 w 646"/>
              <a:gd name="T95" fmla="*/ 2147483647 h 299"/>
              <a:gd name="T96" fmla="*/ 2147483647 w 646"/>
              <a:gd name="T97" fmla="*/ 2147483647 h 299"/>
              <a:gd name="T98" fmla="*/ 2147483647 w 646"/>
              <a:gd name="T99" fmla="*/ 2147483647 h 299"/>
              <a:gd name="T100" fmla="*/ 2147483647 w 646"/>
              <a:gd name="T101" fmla="*/ 2147483647 h 299"/>
              <a:gd name="T102" fmla="*/ 2147483647 w 646"/>
              <a:gd name="T103" fmla="*/ 2147483647 h 299"/>
              <a:gd name="T104" fmla="*/ 2147483647 w 646"/>
              <a:gd name="T105" fmla="*/ 2147483647 h 299"/>
              <a:gd name="T106" fmla="*/ 2147483647 w 646"/>
              <a:gd name="T107" fmla="*/ 2147483647 h 299"/>
              <a:gd name="T108" fmla="*/ 2147483647 w 646"/>
              <a:gd name="T109" fmla="*/ 2147483647 h 299"/>
              <a:gd name="T110" fmla="*/ 2147483647 w 646"/>
              <a:gd name="T111" fmla="*/ 2147483647 h 299"/>
              <a:gd name="T112" fmla="*/ 2147483647 w 646"/>
              <a:gd name="T113" fmla="*/ 2147483647 h 299"/>
              <a:gd name="T114" fmla="*/ 2147483647 w 646"/>
              <a:gd name="T115" fmla="*/ 2147483647 h 299"/>
              <a:gd name="T116" fmla="*/ 2147483647 w 646"/>
              <a:gd name="T117" fmla="*/ 2147483647 h 299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646"/>
              <a:gd name="T178" fmla="*/ 0 h 299"/>
              <a:gd name="T179" fmla="*/ 646 w 646"/>
              <a:gd name="T180" fmla="*/ 299 h 299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646" h="299">
                <a:moveTo>
                  <a:pt x="402" y="187"/>
                </a:moveTo>
                <a:lnTo>
                  <a:pt x="402" y="187"/>
                </a:lnTo>
                <a:lnTo>
                  <a:pt x="402" y="190"/>
                </a:lnTo>
                <a:lnTo>
                  <a:pt x="402" y="193"/>
                </a:lnTo>
                <a:lnTo>
                  <a:pt x="404" y="196"/>
                </a:lnTo>
                <a:lnTo>
                  <a:pt x="404" y="198"/>
                </a:lnTo>
                <a:lnTo>
                  <a:pt x="396" y="201"/>
                </a:lnTo>
                <a:lnTo>
                  <a:pt x="407" y="198"/>
                </a:lnTo>
                <a:lnTo>
                  <a:pt x="413" y="198"/>
                </a:lnTo>
                <a:lnTo>
                  <a:pt x="425" y="196"/>
                </a:lnTo>
                <a:lnTo>
                  <a:pt x="442" y="201"/>
                </a:lnTo>
                <a:lnTo>
                  <a:pt x="448" y="201"/>
                </a:lnTo>
                <a:lnTo>
                  <a:pt x="453" y="201"/>
                </a:lnTo>
                <a:lnTo>
                  <a:pt x="459" y="201"/>
                </a:lnTo>
                <a:lnTo>
                  <a:pt x="462" y="198"/>
                </a:lnTo>
                <a:lnTo>
                  <a:pt x="468" y="201"/>
                </a:lnTo>
                <a:lnTo>
                  <a:pt x="462" y="201"/>
                </a:lnTo>
                <a:lnTo>
                  <a:pt x="456" y="204"/>
                </a:lnTo>
                <a:lnTo>
                  <a:pt x="462" y="210"/>
                </a:lnTo>
                <a:lnTo>
                  <a:pt x="462" y="213"/>
                </a:lnTo>
                <a:lnTo>
                  <a:pt x="465" y="213"/>
                </a:lnTo>
                <a:lnTo>
                  <a:pt x="468" y="213"/>
                </a:lnTo>
                <a:lnTo>
                  <a:pt x="470" y="216"/>
                </a:lnTo>
                <a:lnTo>
                  <a:pt x="468" y="224"/>
                </a:lnTo>
                <a:lnTo>
                  <a:pt x="473" y="227"/>
                </a:lnTo>
                <a:lnTo>
                  <a:pt x="479" y="227"/>
                </a:lnTo>
                <a:lnTo>
                  <a:pt x="485" y="219"/>
                </a:lnTo>
                <a:lnTo>
                  <a:pt x="491" y="219"/>
                </a:lnTo>
                <a:lnTo>
                  <a:pt x="488" y="227"/>
                </a:lnTo>
                <a:lnTo>
                  <a:pt x="482" y="230"/>
                </a:lnTo>
                <a:lnTo>
                  <a:pt x="473" y="233"/>
                </a:lnTo>
                <a:lnTo>
                  <a:pt x="470" y="236"/>
                </a:lnTo>
                <a:lnTo>
                  <a:pt x="468" y="247"/>
                </a:lnTo>
                <a:lnTo>
                  <a:pt x="462" y="253"/>
                </a:lnTo>
                <a:lnTo>
                  <a:pt x="470" y="247"/>
                </a:lnTo>
                <a:lnTo>
                  <a:pt x="468" y="256"/>
                </a:lnTo>
                <a:lnTo>
                  <a:pt x="465" y="262"/>
                </a:lnTo>
                <a:lnTo>
                  <a:pt x="465" y="265"/>
                </a:lnTo>
                <a:lnTo>
                  <a:pt x="479" y="247"/>
                </a:lnTo>
                <a:lnTo>
                  <a:pt x="491" y="233"/>
                </a:lnTo>
                <a:lnTo>
                  <a:pt x="496" y="230"/>
                </a:lnTo>
                <a:lnTo>
                  <a:pt x="496" y="233"/>
                </a:lnTo>
                <a:lnTo>
                  <a:pt x="491" y="242"/>
                </a:lnTo>
                <a:lnTo>
                  <a:pt x="482" y="250"/>
                </a:lnTo>
                <a:lnTo>
                  <a:pt x="493" y="247"/>
                </a:lnTo>
                <a:lnTo>
                  <a:pt x="499" y="242"/>
                </a:lnTo>
                <a:lnTo>
                  <a:pt x="505" y="233"/>
                </a:lnTo>
                <a:lnTo>
                  <a:pt x="508" y="236"/>
                </a:lnTo>
                <a:lnTo>
                  <a:pt x="499" y="250"/>
                </a:lnTo>
                <a:lnTo>
                  <a:pt x="493" y="250"/>
                </a:lnTo>
                <a:lnTo>
                  <a:pt x="488" y="253"/>
                </a:lnTo>
                <a:lnTo>
                  <a:pt x="482" y="262"/>
                </a:lnTo>
                <a:lnTo>
                  <a:pt x="476" y="270"/>
                </a:lnTo>
                <a:lnTo>
                  <a:pt x="473" y="276"/>
                </a:lnTo>
                <a:lnTo>
                  <a:pt x="482" y="270"/>
                </a:lnTo>
                <a:lnTo>
                  <a:pt x="482" y="273"/>
                </a:lnTo>
                <a:lnTo>
                  <a:pt x="479" y="276"/>
                </a:lnTo>
                <a:lnTo>
                  <a:pt x="473" y="282"/>
                </a:lnTo>
                <a:lnTo>
                  <a:pt x="468" y="276"/>
                </a:lnTo>
                <a:lnTo>
                  <a:pt x="465" y="285"/>
                </a:lnTo>
                <a:lnTo>
                  <a:pt x="468" y="285"/>
                </a:lnTo>
                <a:lnTo>
                  <a:pt x="465" y="290"/>
                </a:lnTo>
                <a:lnTo>
                  <a:pt x="468" y="290"/>
                </a:lnTo>
                <a:lnTo>
                  <a:pt x="470" y="287"/>
                </a:lnTo>
                <a:lnTo>
                  <a:pt x="473" y="285"/>
                </a:lnTo>
                <a:lnTo>
                  <a:pt x="473" y="287"/>
                </a:lnTo>
                <a:lnTo>
                  <a:pt x="473" y="293"/>
                </a:lnTo>
                <a:lnTo>
                  <a:pt x="476" y="293"/>
                </a:lnTo>
                <a:lnTo>
                  <a:pt x="482" y="290"/>
                </a:lnTo>
                <a:lnTo>
                  <a:pt x="485" y="282"/>
                </a:lnTo>
                <a:lnTo>
                  <a:pt x="488" y="279"/>
                </a:lnTo>
                <a:lnTo>
                  <a:pt x="488" y="276"/>
                </a:lnTo>
                <a:lnTo>
                  <a:pt x="488" y="267"/>
                </a:lnTo>
                <a:lnTo>
                  <a:pt x="491" y="259"/>
                </a:lnTo>
                <a:lnTo>
                  <a:pt x="491" y="267"/>
                </a:lnTo>
                <a:lnTo>
                  <a:pt x="499" y="259"/>
                </a:lnTo>
                <a:lnTo>
                  <a:pt x="499" y="253"/>
                </a:lnTo>
                <a:lnTo>
                  <a:pt x="502" y="259"/>
                </a:lnTo>
                <a:lnTo>
                  <a:pt x="496" y="267"/>
                </a:lnTo>
                <a:lnTo>
                  <a:pt x="493" y="270"/>
                </a:lnTo>
                <a:lnTo>
                  <a:pt x="499" y="267"/>
                </a:lnTo>
                <a:lnTo>
                  <a:pt x="496" y="273"/>
                </a:lnTo>
                <a:lnTo>
                  <a:pt x="491" y="279"/>
                </a:lnTo>
                <a:lnTo>
                  <a:pt x="496" y="276"/>
                </a:lnTo>
                <a:lnTo>
                  <a:pt x="491" y="282"/>
                </a:lnTo>
                <a:lnTo>
                  <a:pt x="488" y="285"/>
                </a:lnTo>
                <a:lnTo>
                  <a:pt x="491" y="290"/>
                </a:lnTo>
                <a:lnTo>
                  <a:pt x="493" y="287"/>
                </a:lnTo>
                <a:lnTo>
                  <a:pt x="496" y="279"/>
                </a:lnTo>
                <a:lnTo>
                  <a:pt x="502" y="270"/>
                </a:lnTo>
                <a:lnTo>
                  <a:pt x="505" y="276"/>
                </a:lnTo>
                <a:lnTo>
                  <a:pt x="496" y="279"/>
                </a:lnTo>
                <a:lnTo>
                  <a:pt x="502" y="282"/>
                </a:lnTo>
                <a:lnTo>
                  <a:pt x="508" y="282"/>
                </a:lnTo>
                <a:lnTo>
                  <a:pt x="505" y="285"/>
                </a:lnTo>
                <a:lnTo>
                  <a:pt x="496" y="290"/>
                </a:lnTo>
                <a:lnTo>
                  <a:pt x="516" y="279"/>
                </a:lnTo>
                <a:lnTo>
                  <a:pt x="525" y="270"/>
                </a:lnTo>
                <a:lnTo>
                  <a:pt x="511" y="259"/>
                </a:lnTo>
                <a:lnTo>
                  <a:pt x="519" y="236"/>
                </a:lnTo>
                <a:lnTo>
                  <a:pt x="522" y="221"/>
                </a:lnTo>
                <a:lnTo>
                  <a:pt x="516" y="216"/>
                </a:lnTo>
                <a:lnTo>
                  <a:pt x="519" y="213"/>
                </a:lnTo>
                <a:lnTo>
                  <a:pt x="516" y="210"/>
                </a:lnTo>
                <a:lnTo>
                  <a:pt x="516" y="201"/>
                </a:lnTo>
                <a:lnTo>
                  <a:pt x="505" y="207"/>
                </a:lnTo>
                <a:lnTo>
                  <a:pt x="488" y="213"/>
                </a:lnTo>
                <a:lnTo>
                  <a:pt x="473" y="216"/>
                </a:lnTo>
                <a:lnTo>
                  <a:pt x="476" y="204"/>
                </a:lnTo>
                <a:lnTo>
                  <a:pt x="470" y="193"/>
                </a:lnTo>
                <a:lnTo>
                  <a:pt x="473" y="193"/>
                </a:lnTo>
                <a:lnTo>
                  <a:pt x="470" y="193"/>
                </a:lnTo>
                <a:lnTo>
                  <a:pt x="462" y="193"/>
                </a:lnTo>
                <a:lnTo>
                  <a:pt x="450" y="196"/>
                </a:lnTo>
                <a:lnTo>
                  <a:pt x="646" y="29"/>
                </a:lnTo>
                <a:lnTo>
                  <a:pt x="643" y="29"/>
                </a:lnTo>
                <a:lnTo>
                  <a:pt x="634" y="23"/>
                </a:lnTo>
                <a:lnTo>
                  <a:pt x="628" y="23"/>
                </a:lnTo>
                <a:lnTo>
                  <a:pt x="623" y="23"/>
                </a:lnTo>
                <a:lnTo>
                  <a:pt x="608" y="26"/>
                </a:lnTo>
                <a:lnTo>
                  <a:pt x="600" y="23"/>
                </a:lnTo>
                <a:lnTo>
                  <a:pt x="591" y="20"/>
                </a:lnTo>
                <a:lnTo>
                  <a:pt x="585" y="23"/>
                </a:lnTo>
                <a:lnTo>
                  <a:pt x="580" y="20"/>
                </a:lnTo>
                <a:lnTo>
                  <a:pt x="574" y="18"/>
                </a:lnTo>
                <a:lnTo>
                  <a:pt x="571" y="18"/>
                </a:lnTo>
                <a:lnTo>
                  <a:pt x="559" y="18"/>
                </a:lnTo>
                <a:lnTo>
                  <a:pt x="545" y="18"/>
                </a:lnTo>
                <a:lnTo>
                  <a:pt x="528" y="15"/>
                </a:lnTo>
                <a:lnTo>
                  <a:pt x="537" y="9"/>
                </a:lnTo>
                <a:lnTo>
                  <a:pt x="522" y="9"/>
                </a:lnTo>
                <a:lnTo>
                  <a:pt x="511" y="12"/>
                </a:lnTo>
                <a:lnTo>
                  <a:pt x="511" y="6"/>
                </a:lnTo>
                <a:lnTo>
                  <a:pt x="496" y="12"/>
                </a:lnTo>
                <a:lnTo>
                  <a:pt x="488" y="9"/>
                </a:lnTo>
                <a:lnTo>
                  <a:pt x="499" y="9"/>
                </a:lnTo>
                <a:lnTo>
                  <a:pt x="502" y="3"/>
                </a:lnTo>
                <a:lnTo>
                  <a:pt x="499" y="0"/>
                </a:lnTo>
                <a:lnTo>
                  <a:pt x="491" y="3"/>
                </a:lnTo>
                <a:lnTo>
                  <a:pt x="479" y="6"/>
                </a:lnTo>
                <a:lnTo>
                  <a:pt x="473" y="9"/>
                </a:lnTo>
                <a:lnTo>
                  <a:pt x="465" y="12"/>
                </a:lnTo>
                <a:lnTo>
                  <a:pt x="453" y="12"/>
                </a:lnTo>
                <a:lnTo>
                  <a:pt x="445" y="12"/>
                </a:lnTo>
                <a:lnTo>
                  <a:pt x="442" y="12"/>
                </a:lnTo>
                <a:lnTo>
                  <a:pt x="433" y="18"/>
                </a:lnTo>
                <a:lnTo>
                  <a:pt x="427" y="18"/>
                </a:lnTo>
                <a:lnTo>
                  <a:pt x="419" y="18"/>
                </a:lnTo>
                <a:lnTo>
                  <a:pt x="413" y="18"/>
                </a:lnTo>
                <a:lnTo>
                  <a:pt x="404" y="18"/>
                </a:lnTo>
                <a:lnTo>
                  <a:pt x="384" y="26"/>
                </a:lnTo>
                <a:lnTo>
                  <a:pt x="370" y="32"/>
                </a:lnTo>
                <a:lnTo>
                  <a:pt x="361" y="38"/>
                </a:lnTo>
                <a:lnTo>
                  <a:pt x="356" y="41"/>
                </a:lnTo>
                <a:lnTo>
                  <a:pt x="347" y="41"/>
                </a:lnTo>
                <a:lnTo>
                  <a:pt x="321" y="43"/>
                </a:lnTo>
                <a:lnTo>
                  <a:pt x="304" y="49"/>
                </a:lnTo>
                <a:lnTo>
                  <a:pt x="298" y="49"/>
                </a:lnTo>
                <a:lnTo>
                  <a:pt x="298" y="52"/>
                </a:lnTo>
                <a:lnTo>
                  <a:pt x="304" y="58"/>
                </a:lnTo>
                <a:lnTo>
                  <a:pt x="307" y="61"/>
                </a:lnTo>
                <a:lnTo>
                  <a:pt x="310" y="66"/>
                </a:lnTo>
                <a:lnTo>
                  <a:pt x="304" y="72"/>
                </a:lnTo>
                <a:lnTo>
                  <a:pt x="301" y="75"/>
                </a:lnTo>
                <a:lnTo>
                  <a:pt x="310" y="75"/>
                </a:lnTo>
                <a:lnTo>
                  <a:pt x="310" y="81"/>
                </a:lnTo>
                <a:lnTo>
                  <a:pt x="315" y="75"/>
                </a:lnTo>
                <a:lnTo>
                  <a:pt x="321" y="75"/>
                </a:lnTo>
                <a:lnTo>
                  <a:pt x="318" y="78"/>
                </a:lnTo>
                <a:lnTo>
                  <a:pt x="315" y="81"/>
                </a:lnTo>
                <a:lnTo>
                  <a:pt x="318" y="81"/>
                </a:lnTo>
                <a:lnTo>
                  <a:pt x="324" y="81"/>
                </a:lnTo>
                <a:lnTo>
                  <a:pt x="330" y="84"/>
                </a:lnTo>
                <a:lnTo>
                  <a:pt x="330" y="87"/>
                </a:lnTo>
                <a:lnTo>
                  <a:pt x="315" y="84"/>
                </a:lnTo>
                <a:lnTo>
                  <a:pt x="307" y="87"/>
                </a:lnTo>
                <a:lnTo>
                  <a:pt x="301" y="89"/>
                </a:lnTo>
                <a:lnTo>
                  <a:pt x="284" y="89"/>
                </a:lnTo>
                <a:lnTo>
                  <a:pt x="278" y="87"/>
                </a:lnTo>
                <a:lnTo>
                  <a:pt x="287" y="81"/>
                </a:lnTo>
                <a:lnTo>
                  <a:pt x="275" y="84"/>
                </a:lnTo>
                <a:lnTo>
                  <a:pt x="258" y="87"/>
                </a:lnTo>
                <a:lnTo>
                  <a:pt x="255" y="89"/>
                </a:lnTo>
                <a:lnTo>
                  <a:pt x="249" y="89"/>
                </a:lnTo>
                <a:lnTo>
                  <a:pt x="247" y="89"/>
                </a:lnTo>
                <a:lnTo>
                  <a:pt x="235" y="92"/>
                </a:lnTo>
                <a:lnTo>
                  <a:pt x="232" y="92"/>
                </a:lnTo>
                <a:lnTo>
                  <a:pt x="227" y="92"/>
                </a:lnTo>
                <a:lnTo>
                  <a:pt x="218" y="95"/>
                </a:lnTo>
                <a:lnTo>
                  <a:pt x="212" y="95"/>
                </a:lnTo>
                <a:lnTo>
                  <a:pt x="212" y="98"/>
                </a:lnTo>
                <a:lnTo>
                  <a:pt x="212" y="101"/>
                </a:lnTo>
                <a:lnTo>
                  <a:pt x="215" y="104"/>
                </a:lnTo>
                <a:lnTo>
                  <a:pt x="221" y="104"/>
                </a:lnTo>
                <a:lnTo>
                  <a:pt x="224" y="104"/>
                </a:lnTo>
                <a:lnTo>
                  <a:pt x="221" y="107"/>
                </a:lnTo>
                <a:lnTo>
                  <a:pt x="218" y="107"/>
                </a:lnTo>
                <a:lnTo>
                  <a:pt x="215" y="107"/>
                </a:lnTo>
                <a:lnTo>
                  <a:pt x="212" y="107"/>
                </a:lnTo>
                <a:lnTo>
                  <a:pt x="212" y="109"/>
                </a:lnTo>
                <a:lnTo>
                  <a:pt x="206" y="115"/>
                </a:lnTo>
                <a:lnTo>
                  <a:pt x="209" y="118"/>
                </a:lnTo>
                <a:lnTo>
                  <a:pt x="218" y="118"/>
                </a:lnTo>
                <a:lnTo>
                  <a:pt x="227" y="118"/>
                </a:lnTo>
                <a:lnTo>
                  <a:pt x="238" y="118"/>
                </a:lnTo>
                <a:lnTo>
                  <a:pt x="244" y="121"/>
                </a:lnTo>
                <a:lnTo>
                  <a:pt x="249" y="121"/>
                </a:lnTo>
                <a:lnTo>
                  <a:pt x="255" y="118"/>
                </a:lnTo>
                <a:lnTo>
                  <a:pt x="258" y="115"/>
                </a:lnTo>
                <a:lnTo>
                  <a:pt x="264" y="115"/>
                </a:lnTo>
                <a:lnTo>
                  <a:pt x="275" y="112"/>
                </a:lnTo>
                <a:lnTo>
                  <a:pt x="281" y="109"/>
                </a:lnTo>
                <a:lnTo>
                  <a:pt x="281" y="112"/>
                </a:lnTo>
                <a:lnTo>
                  <a:pt x="278" y="118"/>
                </a:lnTo>
                <a:lnTo>
                  <a:pt x="270" y="118"/>
                </a:lnTo>
                <a:lnTo>
                  <a:pt x="267" y="121"/>
                </a:lnTo>
                <a:lnTo>
                  <a:pt x="264" y="127"/>
                </a:lnTo>
                <a:lnTo>
                  <a:pt x="255" y="132"/>
                </a:lnTo>
                <a:lnTo>
                  <a:pt x="247" y="135"/>
                </a:lnTo>
                <a:lnTo>
                  <a:pt x="238" y="135"/>
                </a:lnTo>
                <a:lnTo>
                  <a:pt x="235" y="132"/>
                </a:lnTo>
                <a:lnTo>
                  <a:pt x="232" y="130"/>
                </a:lnTo>
                <a:lnTo>
                  <a:pt x="229" y="132"/>
                </a:lnTo>
                <a:lnTo>
                  <a:pt x="229" y="135"/>
                </a:lnTo>
                <a:lnTo>
                  <a:pt x="224" y="138"/>
                </a:lnTo>
                <a:lnTo>
                  <a:pt x="218" y="141"/>
                </a:lnTo>
                <a:lnTo>
                  <a:pt x="209" y="141"/>
                </a:lnTo>
                <a:lnTo>
                  <a:pt x="206" y="138"/>
                </a:lnTo>
                <a:lnTo>
                  <a:pt x="204" y="138"/>
                </a:lnTo>
                <a:lnTo>
                  <a:pt x="198" y="141"/>
                </a:lnTo>
                <a:lnTo>
                  <a:pt x="186" y="147"/>
                </a:lnTo>
                <a:lnTo>
                  <a:pt x="178" y="150"/>
                </a:lnTo>
                <a:lnTo>
                  <a:pt x="169" y="153"/>
                </a:lnTo>
                <a:lnTo>
                  <a:pt x="158" y="158"/>
                </a:lnTo>
                <a:lnTo>
                  <a:pt x="149" y="161"/>
                </a:lnTo>
                <a:lnTo>
                  <a:pt x="140" y="164"/>
                </a:lnTo>
                <a:lnTo>
                  <a:pt x="135" y="173"/>
                </a:lnTo>
                <a:lnTo>
                  <a:pt x="135" y="176"/>
                </a:lnTo>
                <a:lnTo>
                  <a:pt x="135" y="178"/>
                </a:lnTo>
                <a:lnTo>
                  <a:pt x="140" y="176"/>
                </a:lnTo>
                <a:lnTo>
                  <a:pt x="143" y="173"/>
                </a:lnTo>
                <a:lnTo>
                  <a:pt x="140" y="178"/>
                </a:lnTo>
                <a:lnTo>
                  <a:pt x="143" y="181"/>
                </a:lnTo>
                <a:lnTo>
                  <a:pt x="152" y="181"/>
                </a:lnTo>
                <a:lnTo>
                  <a:pt x="155" y="181"/>
                </a:lnTo>
                <a:lnTo>
                  <a:pt x="152" y="184"/>
                </a:lnTo>
                <a:lnTo>
                  <a:pt x="146" y="184"/>
                </a:lnTo>
                <a:lnTo>
                  <a:pt x="140" y="181"/>
                </a:lnTo>
                <a:lnTo>
                  <a:pt x="138" y="181"/>
                </a:lnTo>
                <a:lnTo>
                  <a:pt x="135" y="184"/>
                </a:lnTo>
                <a:lnTo>
                  <a:pt x="126" y="187"/>
                </a:lnTo>
                <a:lnTo>
                  <a:pt x="126" y="190"/>
                </a:lnTo>
                <a:lnTo>
                  <a:pt x="126" y="193"/>
                </a:lnTo>
                <a:lnTo>
                  <a:pt x="126" y="196"/>
                </a:lnTo>
                <a:lnTo>
                  <a:pt x="126" y="198"/>
                </a:lnTo>
                <a:lnTo>
                  <a:pt x="126" y="201"/>
                </a:lnTo>
                <a:lnTo>
                  <a:pt x="135" y="201"/>
                </a:lnTo>
                <a:lnTo>
                  <a:pt x="143" y="198"/>
                </a:lnTo>
                <a:lnTo>
                  <a:pt x="149" y="196"/>
                </a:lnTo>
                <a:lnTo>
                  <a:pt x="155" y="193"/>
                </a:lnTo>
                <a:lnTo>
                  <a:pt x="166" y="187"/>
                </a:lnTo>
                <a:lnTo>
                  <a:pt x="160" y="193"/>
                </a:lnTo>
                <a:lnTo>
                  <a:pt x="155" y="204"/>
                </a:lnTo>
                <a:lnTo>
                  <a:pt x="149" y="207"/>
                </a:lnTo>
                <a:lnTo>
                  <a:pt x="143" y="210"/>
                </a:lnTo>
                <a:lnTo>
                  <a:pt x="140" y="213"/>
                </a:lnTo>
                <a:lnTo>
                  <a:pt x="138" y="216"/>
                </a:lnTo>
                <a:lnTo>
                  <a:pt x="132" y="219"/>
                </a:lnTo>
                <a:lnTo>
                  <a:pt x="129" y="219"/>
                </a:lnTo>
                <a:lnTo>
                  <a:pt x="129" y="221"/>
                </a:lnTo>
                <a:lnTo>
                  <a:pt x="135" y="224"/>
                </a:lnTo>
                <a:lnTo>
                  <a:pt x="140" y="221"/>
                </a:lnTo>
                <a:lnTo>
                  <a:pt x="149" y="216"/>
                </a:lnTo>
                <a:lnTo>
                  <a:pt x="143" y="221"/>
                </a:lnTo>
                <a:lnTo>
                  <a:pt x="140" y="224"/>
                </a:lnTo>
                <a:lnTo>
                  <a:pt x="149" y="219"/>
                </a:lnTo>
                <a:lnTo>
                  <a:pt x="155" y="216"/>
                </a:lnTo>
                <a:lnTo>
                  <a:pt x="160" y="219"/>
                </a:lnTo>
                <a:lnTo>
                  <a:pt x="166" y="216"/>
                </a:lnTo>
                <a:lnTo>
                  <a:pt x="166" y="219"/>
                </a:lnTo>
                <a:lnTo>
                  <a:pt x="166" y="224"/>
                </a:lnTo>
                <a:lnTo>
                  <a:pt x="166" y="227"/>
                </a:lnTo>
                <a:lnTo>
                  <a:pt x="169" y="224"/>
                </a:lnTo>
                <a:lnTo>
                  <a:pt x="172" y="221"/>
                </a:lnTo>
                <a:lnTo>
                  <a:pt x="178" y="219"/>
                </a:lnTo>
                <a:lnTo>
                  <a:pt x="186" y="213"/>
                </a:lnTo>
                <a:lnTo>
                  <a:pt x="189" y="216"/>
                </a:lnTo>
                <a:lnTo>
                  <a:pt x="183" y="219"/>
                </a:lnTo>
                <a:lnTo>
                  <a:pt x="181" y="219"/>
                </a:lnTo>
                <a:lnTo>
                  <a:pt x="181" y="221"/>
                </a:lnTo>
                <a:lnTo>
                  <a:pt x="183" y="221"/>
                </a:lnTo>
                <a:lnTo>
                  <a:pt x="189" y="221"/>
                </a:lnTo>
                <a:lnTo>
                  <a:pt x="195" y="219"/>
                </a:lnTo>
                <a:lnTo>
                  <a:pt x="198" y="219"/>
                </a:lnTo>
                <a:lnTo>
                  <a:pt x="189" y="224"/>
                </a:lnTo>
                <a:lnTo>
                  <a:pt x="172" y="239"/>
                </a:lnTo>
                <a:lnTo>
                  <a:pt x="163" y="242"/>
                </a:lnTo>
                <a:lnTo>
                  <a:pt x="155" y="244"/>
                </a:lnTo>
                <a:lnTo>
                  <a:pt x="146" y="247"/>
                </a:lnTo>
                <a:lnTo>
                  <a:pt x="138" y="253"/>
                </a:lnTo>
                <a:lnTo>
                  <a:pt x="132" y="253"/>
                </a:lnTo>
                <a:lnTo>
                  <a:pt x="112" y="262"/>
                </a:lnTo>
                <a:lnTo>
                  <a:pt x="94" y="267"/>
                </a:lnTo>
                <a:lnTo>
                  <a:pt x="89" y="270"/>
                </a:lnTo>
                <a:lnTo>
                  <a:pt x="86" y="270"/>
                </a:lnTo>
                <a:lnTo>
                  <a:pt x="83" y="270"/>
                </a:lnTo>
                <a:lnTo>
                  <a:pt x="74" y="270"/>
                </a:lnTo>
                <a:lnTo>
                  <a:pt x="66" y="273"/>
                </a:lnTo>
                <a:lnTo>
                  <a:pt x="51" y="282"/>
                </a:lnTo>
                <a:lnTo>
                  <a:pt x="37" y="285"/>
                </a:lnTo>
                <a:lnTo>
                  <a:pt x="31" y="287"/>
                </a:lnTo>
                <a:lnTo>
                  <a:pt x="28" y="287"/>
                </a:lnTo>
                <a:lnTo>
                  <a:pt x="26" y="287"/>
                </a:lnTo>
                <a:lnTo>
                  <a:pt x="20" y="287"/>
                </a:lnTo>
                <a:lnTo>
                  <a:pt x="11" y="290"/>
                </a:lnTo>
                <a:lnTo>
                  <a:pt x="5" y="293"/>
                </a:lnTo>
                <a:lnTo>
                  <a:pt x="0" y="296"/>
                </a:lnTo>
                <a:lnTo>
                  <a:pt x="3" y="299"/>
                </a:lnTo>
                <a:lnTo>
                  <a:pt x="5" y="299"/>
                </a:lnTo>
                <a:lnTo>
                  <a:pt x="23" y="296"/>
                </a:lnTo>
                <a:lnTo>
                  <a:pt x="28" y="296"/>
                </a:lnTo>
                <a:lnTo>
                  <a:pt x="31" y="290"/>
                </a:lnTo>
                <a:lnTo>
                  <a:pt x="34" y="287"/>
                </a:lnTo>
                <a:lnTo>
                  <a:pt x="37" y="287"/>
                </a:lnTo>
                <a:lnTo>
                  <a:pt x="37" y="290"/>
                </a:lnTo>
                <a:lnTo>
                  <a:pt x="40" y="290"/>
                </a:lnTo>
                <a:lnTo>
                  <a:pt x="43" y="290"/>
                </a:lnTo>
                <a:lnTo>
                  <a:pt x="49" y="287"/>
                </a:lnTo>
                <a:lnTo>
                  <a:pt x="54" y="285"/>
                </a:lnTo>
                <a:lnTo>
                  <a:pt x="54" y="287"/>
                </a:lnTo>
                <a:lnTo>
                  <a:pt x="57" y="290"/>
                </a:lnTo>
                <a:lnTo>
                  <a:pt x="60" y="285"/>
                </a:lnTo>
                <a:lnTo>
                  <a:pt x="60" y="282"/>
                </a:lnTo>
                <a:lnTo>
                  <a:pt x="63" y="282"/>
                </a:lnTo>
                <a:lnTo>
                  <a:pt x="66" y="279"/>
                </a:lnTo>
                <a:lnTo>
                  <a:pt x="69" y="282"/>
                </a:lnTo>
                <a:lnTo>
                  <a:pt x="71" y="282"/>
                </a:lnTo>
                <a:lnTo>
                  <a:pt x="71" y="279"/>
                </a:lnTo>
                <a:lnTo>
                  <a:pt x="71" y="282"/>
                </a:lnTo>
                <a:lnTo>
                  <a:pt x="71" y="285"/>
                </a:lnTo>
                <a:lnTo>
                  <a:pt x="71" y="287"/>
                </a:lnTo>
                <a:lnTo>
                  <a:pt x="77" y="282"/>
                </a:lnTo>
                <a:lnTo>
                  <a:pt x="80" y="282"/>
                </a:lnTo>
                <a:lnTo>
                  <a:pt x="80" y="279"/>
                </a:lnTo>
                <a:lnTo>
                  <a:pt x="83" y="279"/>
                </a:lnTo>
                <a:lnTo>
                  <a:pt x="89" y="279"/>
                </a:lnTo>
                <a:lnTo>
                  <a:pt x="94" y="276"/>
                </a:lnTo>
                <a:lnTo>
                  <a:pt x="97" y="273"/>
                </a:lnTo>
                <a:lnTo>
                  <a:pt x="94" y="279"/>
                </a:lnTo>
                <a:lnTo>
                  <a:pt x="100" y="276"/>
                </a:lnTo>
                <a:lnTo>
                  <a:pt x="103" y="273"/>
                </a:lnTo>
                <a:lnTo>
                  <a:pt x="106" y="273"/>
                </a:lnTo>
                <a:lnTo>
                  <a:pt x="109" y="273"/>
                </a:lnTo>
                <a:lnTo>
                  <a:pt x="115" y="273"/>
                </a:lnTo>
                <a:lnTo>
                  <a:pt x="117" y="270"/>
                </a:lnTo>
                <a:lnTo>
                  <a:pt x="123" y="267"/>
                </a:lnTo>
                <a:lnTo>
                  <a:pt x="129" y="265"/>
                </a:lnTo>
                <a:lnTo>
                  <a:pt x="138" y="262"/>
                </a:lnTo>
                <a:lnTo>
                  <a:pt x="140" y="262"/>
                </a:lnTo>
                <a:lnTo>
                  <a:pt x="143" y="259"/>
                </a:lnTo>
                <a:lnTo>
                  <a:pt x="152" y="259"/>
                </a:lnTo>
                <a:lnTo>
                  <a:pt x="155" y="256"/>
                </a:lnTo>
                <a:lnTo>
                  <a:pt x="158" y="253"/>
                </a:lnTo>
                <a:lnTo>
                  <a:pt x="172" y="250"/>
                </a:lnTo>
                <a:lnTo>
                  <a:pt x="175" y="247"/>
                </a:lnTo>
                <a:lnTo>
                  <a:pt x="178" y="244"/>
                </a:lnTo>
                <a:lnTo>
                  <a:pt x="186" y="242"/>
                </a:lnTo>
                <a:lnTo>
                  <a:pt x="186" y="239"/>
                </a:lnTo>
                <a:lnTo>
                  <a:pt x="192" y="239"/>
                </a:lnTo>
                <a:lnTo>
                  <a:pt x="198" y="239"/>
                </a:lnTo>
                <a:lnTo>
                  <a:pt x="209" y="236"/>
                </a:lnTo>
                <a:lnTo>
                  <a:pt x="212" y="233"/>
                </a:lnTo>
                <a:lnTo>
                  <a:pt x="218" y="233"/>
                </a:lnTo>
                <a:lnTo>
                  <a:pt x="227" y="230"/>
                </a:lnTo>
                <a:lnTo>
                  <a:pt x="232" y="227"/>
                </a:lnTo>
                <a:lnTo>
                  <a:pt x="241" y="221"/>
                </a:lnTo>
                <a:lnTo>
                  <a:pt x="252" y="216"/>
                </a:lnTo>
                <a:lnTo>
                  <a:pt x="249" y="210"/>
                </a:lnTo>
                <a:lnTo>
                  <a:pt x="261" y="207"/>
                </a:lnTo>
                <a:lnTo>
                  <a:pt x="275" y="204"/>
                </a:lnTo>
                <a:lnTo>
                  <a:pt x="287" y="198"/>
                </a:lnTo>
                <a:lnTo>
                  <a:pt x="298" y="190"/>
                </a:lnTo>
                <a:lnTo>
                  <a:pt x="321" y="181"/>
                </a:lnTo>
                <a:lnTo>
                  <a:pt x="327" y="178"/>
                </a:lnTo>
                <a:lnTo>
                  <a:pt x="333" y="176"/>
                </a:lnTo>
                <a:lnTo>
                  <a:pt x="344" y="176"/>
                </a:lnTo>
                <a:lnTo>
                  <a:pt x="356" y="173"/>
                </a:lnTo>
                <a:lnTo>
                  <a:pt x="353" y="176"/>
                </a:lnTo>
                <a:lnTo>
                  <a:pt x="336" y="178"/>
                </a:lnTo>
                <a:lnTo>
                  <a:pt x="327" y="181"/>
                </a:lnTo>
                <a:lnTo>
                  <a:pt x="321" y="181"/>
                </a:lnTo>
                <a:lnTo>
                  <a:pt x="318" y="184"/>
                </a:lnTo>
                <a:lnTo>
                  <a:pt x="313" y="193"/>
                </a:lnTo>
                <a:lnTo>
                  <a:pt x="304" y="196"/>
                </a:lnTo>
                <a:lnTo>
                  <a:pt x="295" y="198"/>
                </a:lnTo>
                <a:lnTo>
                  <a:pt x="293" y="204"/>
                </a:lnTo>
                <a:lnTo>
                  <a:pt x="287" y="207"/>
                </a:lnTo>
                <a:lnTo>
                  <a:pt x="284" y="210"/>
                </a:lnTo>
                <a:lnTo>
                  <a:pt x="281" y="213"/>
                </a:lnTo>
                <a:lnTo>
                  <a:pt x="287" y="213"/>
                </a:lnTo>
                <a:lnTo>
                  <a:pt x="295" y="213"/>
                </a:lnTo>
                <a:lnTo>
                  <a:pt x="301" y="207"/>
                </a:lnTo>
                <a:lnTo>
                  <a:pt x="304" y="207"/>
                </a:lnTo>
                <a:lnTo>
                  <a:pt x="307" y="207"/>
                </a:lnTo>
                <a:lnTo>
                  <a:pt x="310" y="204"/>
                </a:lnTo>
                <a:lnTo>
                  <a:pt x="315" y="204"/>
                </a:lnTo>
                <a:lnTo>
                  <a:pt x="321" y="201"/>
                </a:lnTo>
                <a:lnTo>
                  <a:pt x="333" y="198"/>
                </a:lnTo>
                <a:lnTo>
                  <a:pt x="341" y="198"/>
                </a:lnTo>
                <a:lnTo>
                  <a:pt x="344" y="198"/>
                </a:lnTo>
                <a:lnTo>
                  <a:pt x="347" y="198"/>
                </a:lnTo>
                <a:lnTo>
                  <a:pt x="353" y="201"/>
                </a:lnTo>
                <a:lnTo>
                  <a:pt x="359" y="198"/>
                </a:lnTo>
                <a:lnTo>
                  <a:pt x="367" y="196"/>
                </a:lnTo>
                <a:lnTo>
                  <a:pt x="370" y="193"/>
                </a:lnTo>
                <a:lnTo>
                  <a:pt x="370" y="190"/>
                </a:lnTo>
                <a:lnTo>
                  <a:pt x="370" y="184"/>
                </a:lnTo>
                <a:lnTo>
                  <a:pt x="382" y="181"/>
                </a:lnTo>
                <a:lnTo>
                  <a:pt x="384" y="181"/>
                </a:lnTo>
                <a:lnTo>
                  <a:pt x="387" y="184"/>
                </a:lnTo>
                <a:lnTo>
                  <a:pt x="384" y="187"/>
                </a:lnTo>
                <a:lnTo>
                  <a:pt x="376" y="193"/>
                </a:lnTo>
                <a:lnTo>
                  <a:pt x="384" y="190"/>
                </a:lnTo>
                <a:lnTo>
                  <a:pt x="393" y="190"/>
                </a:lnTo>
                <a:lnTo>
                  <a:pt x="399" y="190"/>
                </a:lnTo>
                <a:lnTo>
                  <a:pt x="402" y="187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endParaRPr lang="de-DE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06" name="Freeform 694"/>
          <p:cNvSpPr>
            <a:spLocks/>
          </p:cNvSpPr>
          <p:nvPr/>
        </p:nvSpPr>
        <p:spPr bwMode="gray">
          <a:xfrm>
            <a:off x="1492269" y="2220061"/>
            <a:ext cx="64012" cy="64502"/>
          </a:xfrm>
          <a:custGeom>
            <a:avLst/>
            <a:gdLst>
              <a:gd name="T0" fmla="*/ 2147483647 w 31"/>
              <a:gd name="T1" fmla="*/ 2147483647 h 43"/>
              <a:gd name="T2" fmla="*/ 2147483647 w 31"/>
              <a:gd name="T3" fmla="*/ 2147483647 h 43"/>
              <a:gd name="T4" fmla="*/ 2147483647 w 31"/>
              <a:gd name="T5" fmla="*/ 0 h 43"/>
              <a:gd name="T6" fmla="*/ 2147483647 w 31"/>
              <a:gd name="T7" fmla="*/ 2147483647 h 43"/>
              <a:gd name="T8" fmla="*/ 2147483647 w 31"/>
              <a:gd name="T9" fmla="*/ 0 h 43"/>
              <a:gd name="T10" fmla="*/ 2147483647 w 31"/>
              <a:gd name="T11" fmla="*/ 2147483647 h 43"/>
              <a:gd name="T12" fmla="*/ 0 w 31"/>
              <a:gd name="T13" fmla="*/ 2147483647 h 43"/>
              <a:gd name="T14" fmla="*/ 0 w 31"/>
              <a:gd name="T15" fmla="*/ 2147483647 h 43"/>
              <a:gd name="T16" fmla="*/ 2147483647 w 31"/>
              <a:gd name="T17" fmla="*/ 2147483647 h 43"/>
              <a:gd name="T18" fmla="*/ 2147483647 w 31"/>
              <a:gd name="T19" fmla="*/ 2147483647 h 43"/>
              <a:gd name="T20" fmla="*/ 2147483647 w 31"/>
              <a:gd name="T21" fmla="*/ 2147483647 h 43"/>
              <a:gd name="T22" fmla="*/ 2147483647 w 31"/>
              <a:gd name="T23" fmla="*/ 2147483647 h 43"/>
              <a:gd name="T24" fmla="*/ 2147483647 w 31"/>
              <a:gd name="T25" fmla="*/ 2147483647 h 43"/>
              <a:gd name="T26" fmla="*/ 2147483647 w 31"/>
              <a:gd name="T27" fmla="*/ 2147483647 h 43"/>
              <a:gd name="T28" fmla="*/ 2147483647 w 31"/>
              <a:gd name="T29" fmla="*/ 2147483647 h 43"/>
              <a:gd name="T30" fmla="*/ 2147483647 w 31"/>
              <a:gd name="T31" fmla="*/ 2147483647 h 43"/>
              <a:gd name="T32" fmla="*/ 2147483647 w 31"/>
              <a:gd name="T33" fmla="*/ 2147483647 h 43"/>
              <a:gd name="T34" fmla="*/ 2147483647 w 31"/>
              <a:gd name="T35" fmla="*/ 2147483647 h 43"/>
              <a:gd name="T36" fmla="*/ 2147483647 w 31"/>
              <a:gd name="T37" fmla="*/ 2147483647 h 43"/>
              <a:gd name="T38" fmla="*/ 2147483647 w 31"/>
              <a:gd name="T39" fmla="*/ 2147483647 h 43"/>
              <a:gd name="T40" fmla="*/ 2147483647 w 31"/>
              <a:gd name="T41" fmla="*/ 2147483647 h 4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31"/>
              <a:gd name="T64" fmla="*/ 0 h 43"/>
              <a:gd name="T65" fmla="*/ 31 w 31"/>
              <a:gd name="T66" fmla="*/ 43 h 43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31" h="43">
                <a:moveTo>
                  <a:pt x="17" y="11"/>
                </a:moveTo>
                <a:lnTo>
                  <a:pt x="26" y="6"/>
                </a:lnTo>
                <a:lnTo>
                  <a:pt x="31" y="0"/>
                </a:lnTo>
                <a:lnTo>
                  <a:pt x="20" y="3"/>
                </a:lnTo>
                <a:lnTo>
                  <a:pt x="14" y="0"/>
                </a:lnTo>
                <a:lnTo>
                  <a:pt x="6" y="6"/>
                </a:lnTo>
                <a:lnTo>
                  <a:pt x="0" y="17"/>
                </a:lnTo>
                <a:lnTo>
                  <a:pt x="0" y="26"/>
                </a:lnTo>
                <a:lnTo>
                  <a:pt x="3" y="37"/>
                </a:lnTo>
                <a:lnTo>
                  <a:pt x="6" y="43"/>
                </a:lnTo>
                <a:lnTo>
                  <a:pt x="8" y="37"/>
                </a:lnTo>
                <a:lnTo>
                  <a:pt x="6" y="31"/>
                </a:lnTo>
                <a:lnTo>
                  <a:pt x="6" y="29"/>
                </a:lnTo>
                <a:lnTo>
                  <a:pt x="8" y="29"/>
                </a:lnTo>
                <a:lnTo>
                  <a:pt x="8" y="26"/>
                </a:lnTo>
                <a:lnTo>
                  <a:pt x="6" y="23"/>
                </a:lnTo>
                <a:lnTo>
                  <a:pt x="11" y="23"/>
                </a:lnTo>
                <a:lnTo>
                  <a:pt x="11" y="20"/>
                </a:lnTo>
                <a:lnTo>
                  <a:pt x="6" y="20"/>
                </a:lnTo>
                <a:lnTo>
                  <a:pt x="11" y="17"/>
                </a:lnTo>
                <a:lnTo>
                  <a:pt x="17" y="11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07" name="Freeform 695"/>
          <p:cNvSpPr>
            <a:spLocks/>
          </p:cNvSpPr>
          <p:nvPr/>
        </p:nvSpPr>
        <p:spPr bwMode="gray">
          <a:xfrm>
            <a:off x="1534278" y="2170559"/>
            <a:ext cx="12002" cy="4500"/>
          </a:xfrm>
          <a:custGeom>
            <a:avLst/>
            <a:gdLst>
              <a:gd name="T0" fmla="*/ 2147483647 w 6"/>
              <a:gd name="T1" fmla="*/ 0 h 3"/>
              <a:gd name="T2" fmla="*/ 2147483647 w 6"/>
              <a:gd name="T3" fmla="*/ 0 h 3"/>
              <a:gd name="T4" fmla="*/ 0 w 6"/>
              <a:gd name="T5" fmla="*/ 2147483647 h 3"/>
              <a:gd name="T6" fmla="*/ 2147483647 w 6"/>
              <a:gd name="T7" fmla="*/ 2147483647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6" y="0"/>
                </a:moveTo>
                <a:lnTo>
                  <a:pt x="3" y="0"/>
                </a:lnTo>
                <a:lnTo>
                  <a:pt x="0" y="3"/>
                </a:lnTo>
                <a:lnTo>
                  <a:pt x="6" y="3"/>
                </a:lnTo>
                <a:lnTo>
                  <a:pt x="6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08" name="Freeform 696"/>
          <p:cNvSpPr>
            <a:spLocks/>
          </p:cNvSpPr>
          <p:nvPr/>
        </p:nvSpPr>
        <p:spPr bwMode="gray">
          <a:xfrm>
            <a:off x="1006183" y="2097057"/>
            <a:ext cx="122021" cy="52502"/>
          </a:xfrm>
          <a:custGeom>
            <a:avLst/>
            <a:gdLst>
              <a:gd name="T0" fmla="*/ 2147483647 w 60"/>
              <a:gd name="T1" fmla="*/ 2147483647 h 35"/>
              <a:gd name="T2" fmla="*/ 2147483647 w 60"/>
              <a:gd name="T3" fmla="*/ 2147483647 h 35"/>
              <a:gd name="T4" fmla="*/ 2147483647 w 60"/>
              <a:gd name="T5" fmla="*/ 2147483647 h 35"/>
              <a:gd name="T6" fmla="*/ 2147483647 w 60"/>
              <a:gd name="T7" fmla="*/ 2147483647 h 35"/>
              <a:gd name="T8" fmla="*/ 2147483647 w 60"/>
              <a:gd name="T9" fmla="*/ 2147483647 h 35"/>
              <a:gd name="T10" fmla="*/ 2147483647 w 60"/>
              <a:gd name="T11" fmla="*/ 0 h 35"/>
              <a:gd name="T12" fmla="*/ 2147483647 w 60"/>
              <a:gd name="T13" fmla="*/ 2147483647 h 35"/>
              <a:gd name="T14" fmla="*/ 2147483647 w 60"/>
              <a:gd name="T15" fmla="*/ 2147483647 h 35"/>
              <a:gd name="T16" fmla="*/ 2147483647 w 60"/>
              <a:gd name="T17" fmla="*/ 2147483647 h 35"/>
              <a:gd name="T18" fmla="*/ 2147483647 w 60"/>
              <a:gd name="T19" fmla="*/ 2147483647 h 35"/>
              <a:gd name="T20" fmla="*/ 2147483647 w 60"/>
              <a:gd name="T21" fmla="*/ 2147483647 h 35"/>
              <a:gd name="T22" fmla="*/ 2147483647 w 60"/>
              <a:gd name="T23" fmla="*/ 2147483647 h 35"/>
              <a:gd name="T24" fmla="*/ 2147483647 w 60"/>
              <a:gd name="T25" fmla="*/ 2147483647 h 35"/>
              <a:gd name="T26" fmla="*/ 2147483647 w 60"/>
              <a:gd name="T27" fmla="*/ 2147483647 h 35"/>
              <a:gd name="T28" fmla="*/ 0 w 60"/>
              <a:gd name="T29" fmla="*/ 2147483647 h 35"/>
              <a:gd name="T30" fmla="*/ 0 w 60"/>
              <a:gd name="T31" fmla="*/ 2147483647 h 35"/>
              <a:gd name="T32" fmla="*/ 2147483647 w 60"/>
              <a:gd name="T33" fmla="*/ 2147483647 h 35"/>
              <a:gd name="T34" fmla="*/ 2147483647 w 60"/>
              <a:gd name="T35" fmla="*/ 2147483647 h 35"/>
              <a:gd name="T36" fmla="*/ 2147483647 w 60"/>
              <a:gd name="T37" fmla="*/ 2147483647 h 35"/>
              <a:gd name="T38" fmla="*/ 0 w 60"/>
              <a:gd name="T39" fmla="*/ 2147483647 h 35"/>
              <a:gd name="T40" fmla="*/ 0 w 60"/>
              <a:gd name="T41" fmla="*/ 2147483647 h 35"/>
              <a:gd name="T42" fmla="*/ 2147483647 w 60"/>
              <a:gd name="T43" fmla="*/ 2147483647 h 35"/>
              <a:gd name="T44" fmla="*/ 2147483647 w 60"/>
              <a:gd name="T45" fmla="*/ 2147483647 h 35"/>
              <a:gd name="T46" fmla="*/ 2147483647 w 60"/>
              <a:gd name="T47" fmla="*/ 2147483647 h 35"/>
              <a:gd name="T48" fmla="*/ 2147483647 w 60"/>
              <a:gd name="T49" fmla="*/ 2147483647 h 35"/>
              <a:gd name="T50" fmla="*/ 2147483647 w 60"/>
              <a:gd name="T51" fmla="*/ 2147483647 h 35"/>
              <a:gd name="T52" fmla="*/ 2147483647 w 60"/>
              <a:gd name="T53" fmla="*/ 2147483647 h 35"/>
              <a:gd name="T54" fmla="*/ 2147483647 w 60"/>
              <a:gd name="T55" fmla="*/ 2147483647 h 35"/>
              <a:gd name="T56" fmla="*/ 2147483647 w 60"/>
              <a:gd name="T57" fmla="*/ 2147483647 h 35"/>
              <a:gd name="T58" fmla="*/ 2147483647 w 60"/>
              <a:gd name="T59" fmla="*/ 2147483647 h 35"/>
              <a:gd name="T60" fmla="*/ 2147483647 w 60"/>
              <a:gd name="T61" fmla="*/ 2147483647 h 35"/>
              <a:gd name="T62" fmla="*/ 2147483647 w 60"/>
              <a:gd name="T63" fmla="*/ 2147483647 h 35"/>
              <a:gd name="T64" fmla="*/ 2147483647 w 60"/>
              <a:gd name="T65" fmla="*/ 2147483647 h 35"/>
              <a:gd name="T66" fmla="*/ 2147483647 w 60"/>
              <a:gd name="T67" fmla="*/ 2147483647 h 35"/>
              <a:gd name="T68" fmla="*/ 2147483647 w 60"/>
              <a:gd name="T69" fmla="*/ 2147483647 h 35"/>
              <a:gd name="T70" fmla="*/ 2147483647 w 60"/>
              <a:gd name="T71" fmla="*/ 2147483647 h 35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60"/>
              <a:gd name="T109" fmla="*/ 0 h 35"/>
              <a:gd name="T110" fmla="*/ 60 w 60"/>
              <a:gd name="T111" fmla="*/ 35 h 35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60" h="35">
                <a:moveTo>
                  <a:pt x="40" y="15"/>
                </a:moveTo>
                <a:lnTo>
                  <a:pt x="43" y="12"/>
                </a:lnTo>
                <a:lnTo>
                  <a:pt x="54" y="9"/>
                </a:lnTo>
                <a:lnTo>
                  <a:pt x="57" y="6"/>
                </a:lnTo>
                <a:lnTo>
                  <a:pt x="60" y="3"/>
                </a:lnTo>
                <a:lnTo>
                  <a:pt x="54" y="0"/>
                </a:lnTo>
                <a:lnTo>
                  <a:pt x="48" y="6"/>
                </a:lnTo>
                <a:lnTo>
                  <a:pt x="40" y="6"/>
                </a:lnTo>
                <a:lnTo>
                  <a:pt x="34" y="12"/>
                </a:lnTo>
                <a:lnTo>
                  <a:pt x="31" y="15"/>
                </a:lnTo>
                <a:lnTo>
                  <a:pt x="23" y="15"/>
                </a:lnTo>
                <a:lnTo>
                  <a:pt x="17" y="21"/>
                </a:lnTo>
                <a:lnTo>
                  <a:pt x="14" y="18"/>
                </a:lnTo>
                <a:lnTo>
                  <a:pt x="5" y="21"/>
                </a:lnTo>
                <a:lnTo>
                  <a:pt x="0" y="23"/>
                </a:lnTo>
                <a:lnTo>
                  <a:pt x="0" y="29"/>
                </a:lnTo>
                <a:lnTo>
                  <a:pt x="3" y="29"/>
                </a:lnTo>
                <a:lnTo>
                  <a:pt x="5" y="29"/>
                </a:lnTo>
                <a:lnTo>
                  <a:pt x="3" y="32"/>
                </a:lnTo>
                <a:lnTo>
                  <a:pt x="0" y="32"/>
                </a:lnTo>
                <a:lnTo>
                  <a:pt x="0" y="35"/>
                </a:lnTo>
                <a:lnTo>
                  <a:pt x="5" y="35"/>
                </a:lnTo>
                <a:lnTo>
                  <a:pt x="11" y="29"/>
                </a:lnTo>
                <a:lnTo>
                  <a:pt x="17" y="29"/>
                </a:lnTo>
                <a:lnTo>
                  <a:pt x="23" y="26"/>
                </a:lnTo>
                <a:lnTo>
                  <a:pt x="28" y="26"/>
                </a:lnTo>
                <a:lnTo>
                  <a:pt x="31" y="21"/>
                </a:lnTo>
                <a:lnTo>
                  <a:pt x="31" y="18"/>
                </a:lnTo>
                <a:lnTo>
                  <a:pt x="34" y="23"/>
                </a:lnTo>
                <a:lnTo>
                  <a:pt x="40" y="21"/>
                </a:lnTo>
                <a:lnTo>
                  <a:pt x="37" y="18"/>
                </a:lnTo>
                <a:lnTo>
                  <a:pt x="40" y="15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09" name="Freeform 697"/>
          <p:cNvSpPr>
            <a:spLocks/>
          </p:cNvSpPr>
          <p:nvPr/>
        </p:nvSpPr>
        <p:spPr bwMode="gray">
          <a:xfrm>
            <a:off x="1546279" y="2158559"/>
            <a:ext cx="16003" cy="7500"/>
          </a:xfrm>
          <a:custGeom>
            <a:avLst/>
            <a:gdLst>
              <a:gd name="T0" fmla="*/ 2147483647 w 8"/>
              <a:gd name="T1" fmla="*/ 2147483647 h 5"/>
              <a:gd name="T2" fmla="*/ 2147483647 w 8"/>
              <a:gd name="T3" fmla="*/ 0 h 5"/>
              <a:gd name="T4" fmla="*/ 0 w 8"/>
              <a:gd name="T5" fmla="*/ 2147483647 h 5"/>
              <a:gd name="T6" fmla="*/ 2147483647 w 8"/>
              <a:gd name="T7" fmla="*/ 2147483647 h 5"/>
              <a:gd name="T8" fmla="*/ 2147483647 w 8"/>
              <a:gd name="T9" fmla="*/ 2147483647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"/>
              <a:gd name="T16" fmla="*/ 0 h 5"/>
              <a:gd name="T17" fmla="*/ 8 w 8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" h="5">
                <a:moveTo>
                  <a:pt x="8" y="3"/>
                </a:moveTo>
                <a:lnTo>
                  <a:pt x="5" y="0"/>
                </a:lnTo>
                <a:lnTo>
                  <a:pt x="0" y="5"/>
                </a:lnTo>
                <a:lnTo>
                  <a:pt x="5" y="5"/>
                </a:lnTo>
                <a:lnTo>
                  <a:pt x="8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10" name="Freeform 698"/>
          <p:cNvSpPr>
            <a:spLocks/>
          </p:cNvSpPr>
          <p:nvPr/>
        </p:nvSpPr>
        <p:spPr bwMode="gray">
          <a:xfrm>
            <a:off x="1394252" y="2314563"/>
            <a:ext cx="1904343" cy="757520"/>
          </a:xfrm>
          <a:custGeom>
            <a:avLst/>
            <a:gdLst>
              <a:gd name="T0" fmla="*/ 2147483647 w 942"/>
              <a:gd name="T1" fmla="*/ 2147483647 h 500"/>
              <a:gd name="T2" fmla="*/ 2147483647 w 942"/>
              <a:gd name="T3" fmla="*/ 2147483647 h 500"/>
              <a:gd name="T4" fmla="*/ 2147483647 w 942"/>
              <a:gd name="T5" fmla="*/ 2147483647 h 500"/>
              <a:gd name="T6" fmla="*/ 2147483647 w 942"/>
              <a:gd name="T7" fmla="*/ 2147483647 h 500"/>
              <a:gd name="T8" fmla="*/ 2147483647 w 942"/>
              <a:gd name="T9" fmla="*/ 2147483647 h 500"/>
              <a:gd name="T10" fmla="*/ 2147483647 w 942"/>
              <a:gd name="T11" fmla="*/ 2147483647 h 500"/>
              <a:gd name="T12" fmla="*/ 2147483647 w 942"/>
              <a:gd name="T13" fmla="*/ 2147483647 h 500"/>
              <a:gd name="T14" fmla="*/ 2147483647 w 942"/>
              <a:gd name="T15" fmla="*/ 2147483647 h 500"/>
              <a:gd name="T16" fmla="*/ 2147483647 w 942"/>
              <a:gd name="T17" fmla="*/ 2147483647 h 500"/>
              <a:gd name="T18" fmla="*/ 2147483647 w 942"/>
              <a:gd name="T19" fmla="*/ 2147483647 h 500"/>
              <a:gd name="T20" fmla="*/ 2147483647 w 942"/>
              <a:gd name="T21" fmla="*/ 2147483647 h 500"/>
              <a:gd name="T22" fmla="*/ 2147483647 w 942"/>
              <a:gd name="T23" fmla="*/ 2147483647 h 500"/>
              <a:gd name="T24" fmla="*/ 2147483647 w 942"/>
              <a:gd name="T25" fmla="*/ 2147483647 h 500"/>
              <a:gd name="T26" fmla="*/ 2147483647 w 942"/>
              <a:gd name="T27" fmla="*/ 2147483647 h 500"/>
              <a:gd name="T28" fmla="*/ 2147483647 w 942"/>
              <a:gd name="T29" fmla="*/ 2147483647 h 500"/>
              <a:gd name="T30" fmla="*/ 2147483647 w 942"/>
              <a:gd name="T31" fmla="*/ 2147483647 h 500"/>
              <a:gd name="T32" fmla="*/ 2147483647 w 942"/>
              <a:gd name="T33" fmla="*/ 2147483647 h 500"/>
              <a:gd name="T34" fmla="*/ 2147483647 w 942"/>
              <a:gd name="T35" fmla="*/ 2147483647 h 500"/>
              <a:gd name="T36" fmla="*/ 2147483647 w 942"/>
              <a:gd name="T37" fmla="*/ 2147483647 h 500"/>
              <a:gd name="T38" fmla="*/ 2147483647 w 942"/>
              <a:gd name="T39" fmla="*/ 2147483647 h 500"/>
              <a:gd name="T40" fmla="*/ 2147483647 w 942"/>
              <a:gd name="T41" fmla="*/ 2147483647 h 500"/>
              <a:gd name="T42" fmla="*/ 2147483647 w 942"/>
              <a:gd name="T43" fmla="*/ 2147483647 h 500"/>
              <a:gd name="T44" fmla="*/ 2147483647 w 942"/>
              <a:gd name="T45" fmla="*/ 2147483647 h 500"/>
              <a:gd name="T46" fmla="*/ 2147483647 w 942"/>
              <a:gd name="T47" fmla="*/ 2147483647 h 500"/>
              <a:gd name="T48" fmla="*/ 2147483647 w 942"/>
              <a:gd name="T49" fmla="*/ 2147483647 h 500"/>
              <a:gd name="T50" fmla="*/ 2147483647 w 942"/>
              <a:gd name="T51" fmla="*/ 2147483647 h 500"/>
              <a:gd name="T52" fmla="*/ 2147483647 w 942"/>
              <a:gd name="T53" fmla="*/ 2147483647 h 500"/>
              <a:gd name="T54" fmla="*/ 2147483647 w 942"/>
              <a:gd name="T55" fmla="*/ 2147483647 h 500"/>
              <a:gd name="T56" fmla="*/ 2147483647 w 942"/>
              <a:gd name="T57" fmla="*/ 2147483647 h 500"/>
              <a:gd name="T58" fmla="*/ 2147483647 w 942"/>
              <a:gd name="T59" fmla="*/ 2147483647 h 500"/>
              <a:gd name="T60" fmla="*/ 2147483647 w 942"/>
              <a:gd name="T61" fmla="*/ 2147483647 h 500"/>
              <a:gd name="T62" fmla="*/ 2147483647 w 942"/>
              <a:gd name="T63" fmla="*/ 2147483647 h 500"/>
              <a:gd name="T64" fmla="*/ 2147483647 w 942"/>
              <a:gd name="T65" fmla="*/ 2147483647 h 500"/>
              <a:gd name="T66" fmla="*/ 2147483647 w 942"/>
              <a:gd name="T67" fmla="*/ 2147483647 h 500"/>
              <a:gd name="T68" fmla="*/ 2147483647 w 942"/>
              <a:gd name="T69" fmla="*/ 2147483647 h 500"/>
              <a:gd name="T70" fmla="*/ 2147483647 w 942"/>
              <a:gd name="T71" fmla="*/ 2147483647 h 500"/>
              <a:gd name="T72" fmla="*/ 2147483647 w 942"/>
              <a:gd name="T73" fmla="*/ 2147483647 h 500"/>
              <a:gd name="T74" fmla="*/ 2147483647 w 942"/>
              <a:gd name="T75" fmla="*/ 2147483647 h 500"/>
              <a:gd name="T76" fmla="*/ 2147483647 w 942"/>
              <a:gd name="T77" fmla="*/ 2147483647 h 500"/>
              <a:gd name="T78" fmla="*/ 2147483647 w 942"/>
              <a:gd name="T79" fmla="*/ 2147483647 h 500"/>
              <a:gd name="T80" fmla="*/ 2147483647 w 942"/>
              <a:gd name="T81" fmla="*/ 2147483647 h 500"/>
              <a:gd name="T82" fmla="*/ 2147483647 w 942"/>
              <a:gd name="T83" fmla="*/ 2147483647 h 500"/>
              <a:gd name="T84" fmla="*/ 2147483647 w 942"/>
              <a:gd name="T85" fmla="*/ 2147483647 h 500"/>
              <a:gd name="T86" fmla="*/ 2147483647 w 942"/>
              <a:gd name="T87" fmla="*/ 2147483647 h 500"/>
              <a:gd name="T88" fmla="*/ 2147483647 w 942"/>
              <a:gd name="T89" fmla="*/ 2147483647 h 500"/>
              <a:gd name="T90" fmla="*/ 2147483647 w 942"/>
              <a:gd name="T91" fmla="*/ 2147483647 h 500"/>
              <a:gd name="T92" fmla="*/ 2147483647 w 942"/>
              <a:gd name="T93" fmla="*/ 2147483647 h 500"/>
              <a:gd name="T94" fmla="*/ 2147483647 w 942"/>
              <a:gd name="T95" fmla="*/ 2147483647 h 500"/>
              <a:gd name="T96" fmla="*/ 2147483647 w 942"/>
              <a:gd name="T97" fmla="*/ 2147483647 h 500"/>
              <a:gd name="T98" fmla="*/ 2147483647 w 942"/>
              <a:gd name="T99" fmla="*/ 2147483647 h 500"/>
              <a:gd name="T100" fmla="*/ 2147483647 w 942"/>
              <a:gd name="T101" fmla="*/ 2147483647 h 500"/>
              <a:gd name="T102" fmla="*/ 2147483647 w 942"/>
              <a:gd name="T103" fmla="*/ 2147483647 h 500"/>
              <a:gd name="T104" fmla="*/ 2147483647 w 942"/>
              <a:gd name="T105" fmla="*/ 2147483647 h 500"/>
              <a:gd name="T106" fmla="*/ 2147483647 w 942"/>
              <a:gd name="T107" fmla="*/ 2147483647 h 500"/>
              <a:gd name="T108" fmla="*/ 2147483647 w 942"/>
              <a:gd name="T109" fmla="*/ 2147483647 h 500"/>
              <a:gd name="T110" fmla="*/ 2147483647 w 942"/>
              <a:gd name="T111" fmla="*/ 2147483647 h 500"/>
              <a:gd name="T112" fmla="*/ 2147483647 w 942"/>
              <a:gd name="T113" fmla="*/ 2147483647 h 500"/>
              <a:gd name="T114" fmla="*/ 2147483647 w 942"/>
              <a:gd name="T115" fmla="*/ 2147483647 h 500"/>
              <a:gd name="T116" fmla="*/ 2147483647 w 942"/>
              <a:gd name="T117" fmla="*/ 2147483647 h 500"/>
              <a:gd name="T118" fmla="*/ 2147483647 w 942"/>
              <a:gd name="T119" fmla="*/ 2147483647 h 500"/>
              <a:gd name="T120" fmla="*/ 2147483647 w 942"/>
              <a:gd name="T121" fmla="*/ 2147483647 h 50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942"/>
              <a:gd name="T184" fmla="*/ 0 h 500"/>
              <a:gd name="T185" fmla="*/ 942 w 942"/>
              <a:gd name="T186" fmla="*/ 500 h 500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942" h="500">
                <a:moveTo>
                  <a:pt x="49" y="353"/>
                </a:moveTo>
                <a:lnTo>
                  <a:pt x="49" y="353"/>
                </a:lnTo>
                <a:lnTo>
                  <a:pt x="89" y="350"/>
                </a:lnTo>
                <a:lnTo>
                  <a:pt x="138" y="376"/>
                </a:lnTo>
                <a:lnTo>
                  <a:pt x="187" y="373"/>
                </a:lnTo>
                <a:lnTo>
                  <a:pt x="189" y="365"/>
                </a:lnTo>
                <a:lnTo>
                  <a:pt x="218" y="367"/>
                </a:lnTo>
                <a:lnTo>
                  <a:pt x="230" y="382"/>
                </a:lnTo>
                <a:lnTo>
                  <a:pt x="238" y="388"/>
                </a:lnTo>
                <a:lnTo>
                  <a:pt x="241" y="413"/>
                </a:lnTo>
                <a:lnTo>
                  <a:pt x="253" y="419"/>
                </a:lnTo>
                <a:lnTo>
                  <a:pt x="264" y="408"/>
                </a:lnTo>
                <a:lnTo>
                  <a:pt x="290" y="405"/>
                </a:lnTo>
                <a:lnTo>
                  <a:pt x="299" y="419"/>
                </a:lnTo>
                <a:lnTo>
                  <a:pt x="301" y="439"/>
                </a:lnTo>
                <a:lnTo>
                  <a:pt x="310" y="451"/>
                </a:lnTo>
                <a:lnTo>
                  <a:pt x="307" y="462"/>
                </a:lnTo>
                <a:lnTo>
                  <a:pt x="313" y="474"/>
                </a:lnTo>
                <a:lnTo>
                  <a:pt x="339" y="482"/>
                </a:lnTo>
                <a:lnTo>
                  <a:pt x="342" y="465"/>
                </a:lnTo>
                <a:lnTo>
                  <a:pt x="342" y="456"/>
                </a:lnTo>
                <a:lnTo>
                  <a:pt x="342" y="454"/>
                </a:lnTo>
                <a:lnTo>
                  <a:pt x="347" y="448"/>
                </a:lnTo>
                <a:lnTo>
                  <a:pt x="356" y="439"/>
                </a:lnTo>
                <a:lnTo>
                  <a:pt x="362" y="434"/>
                </a:lnTo>
                <a:lnTo>
                  <a:pt x="367" y="428"/>
                </a:lnTo>
                <a:lnTo>
                  <a:pt x="370" y="431"/>
                </a:lnTo>
                <a:lnTo>
                  <a:pt x="382" y="425"/>
                </a:lnTo>
                <a:lnTo>
                  <a:pt x="393" y="416"/>
                </a:lnTo>
                <a:lnTo>
                  <a:pt x="405" y="411"/>
                </a:lnTo>
                <a:lnTo>
                  <a:pt x="413" y="405"/>
                </a:lnTo>
                <a:lnTo>
                  <a:pt x="416" y="408"/>
                </a:lnTo>
                <a:lnTo>
                  <a:pt x="425" y="405"/>
                </a:lnTo>
                <a:lnTo>
                  <a:pt x="431" y="411"/>
                </a:lnTo>
                <a:lnTo>
                  <a:pt x="436" y="411"/>
                </a:lnTo>
                <a:lnTo>
                  <a:pt x="442" y="411"/>
                </a:lnTo>
                <a:lnTo>
                  <a:pt x="445" y="408"/>
                </a:lnTo>
                <a:lnTo>
                  <a:pt x="448" y="408"/>
                </a:lnTo>
                <a:lnTo>
                  <a:pt x="451" y="411"/>
                </a:lnTo>
                <a:lnTo>
                  <a:pt x="454" y="411"/>
                </a:lnTo>
                <a:lnTo>
                  <a:pt x="454" y="416"/>
                </a:lnTo>
                <a:lnTo>
                  <a:pt x="462" y="419"/>
                </a:lnTo>
                <a:lnTo>
                  <a:pt x="465" y="416"/>
                </a:lnTo>
                <a:lnTo>
                  <a:pt x="471" y="422"/>
                </a:lnTo>
                <a:lnTo>
                  <a:pt x="474" y="413"/>
                </a:lnTo>
                <a:lnTo>
                  <a:pt x="479" y="416"/>
                </a:lnTo>
                <a:lnTo>
                  <a:pt x="482" y="422"/>
                </a:lnTo>
                <a:lnTo>
                  <a:pt x="491" y="419"/>
                </a:lnTo>
                <a:lnTo>
                  <a:pt x="482" y="413"/>
                </a:lnTo>
                <a:lnTo>
                  <a:pt x="482" y="408"/>
                </a:lnTo>
                <a:lnTo>
                  <a:pt x="488" y="402"/>
                </a:lnTo>
                <a:lnTo>
                  <a:pt x="477" y="402"/>
                </a:lnTo>
                <a:lnTo>
                  <a:pt x="471" y="399"/>
                </a:lnTo>
                <a:lnTo>
                  <a:pt x="477" y="396"/>
                </a:lnTo>
                <a:lnTo>
                  <a:pt x="482" y="399"/>
                </a:lnTo>
                <a:lnTo>
                  <a:pt x="491" y="396"/>
                </a:lnTo>
                <a:lnTo>
                  <a:pt x="497" y="396"/>
                </a:lnTo>
                <a:lnTo>
                  <a:pt x="505" y="396"/>
                </a:lnTo>
                <a:lnTo>
                  <a:pt x="508" y="396"/>
                </a:lnTo>
                <a:lnTo>
                  <a:pt x="511" y="393"/>
                </a:lnTo>
                <a:lnTo>
                  <a:pt x="514" y="390"/>
                </a:lnTo>
                <a:lnTo>
                  <a:pt x="514" y="396"/>
                </a:lnTo>
                <a:lnTo>
                  <a:pt x="522" y="396"/>
                </a:lnTo>
                <a:lnTo>
                  <a:pt x="528" y="393"/>
                </a:lnTo>
                <a:lnTo>
                  <a:pt x="537" y="393"/>
                </a:lnTo>
                <a:lnTo>
                  <a:pt x="545" y="396"/>
                </a:lnTo>
                <a:lnTo>
                  <a:pt x="551" y="402"/>
                </a:lnTo>
                <a:lnTo>
                  <a:pt x="554" y="408"/>
                </a:lnTo>
                <a:lnTo>
                  <a:pt x="560" y="411"/>
                </a:lnTo>
                <a:lnTo>
                  <a:pt x="565" y="405"/>
                </a:lnTo>
                <a:lnTo>
                  <a:pt x="571" y="402"/>
                </a:lnTo>
                <a:lnTo>
                  <a:pt x="574" y="399"/>
                </a:lnTo>
                <a:lnTo>
                  <a:pt x="577" y="399"/>
                </a:lnTo>
                <a:lnTo>
                  <a:pt x="583" y="408"/>
                </a:lnTo>
                <a:lnTo>
                  <a:pt x="586" y="413"/>
                </a:lnTo>
                <a:lnTo>
                  <a:pt x="591" y="419"/>
                </a:lnTo>
                <a:lnTo>
                  <a:pt x="594" y="425"/>
                </a:lnTo>
                <a:lnTo>
                  <a:pt x="591" y="434"/>
                </a:lnTo>
                <a:lnTo>
                  <a:pt x="588" y="439"/>
                </a:lnTo>
                <a:lnTo>
                  <a:pt x="586" y="445"/>
                </a:lnTo>
                <a:lnTo>
                  <a:pt x="591" y="445"/>
                </a:lnTo>
                <a:lnTo>
                  <a:pt x="594" y="445"/>
                </a:lnTo>
                <a:lnTo>
                  <a:pt x="588" y="454"/>
                </a:lnTo>
                <a:lnTo>
                  <a:pt x="591" y="465"/>
                </a:lnTo>
                <a:lnTo>
                  <a:pt x="594" y="462"/>
                </a:lnTo>
                <a:lnTo>
                  <a:pt x="597" y="462"/>
                </a:lnTo>
                <a:lnTo>
                  <a:pt x="591" y="471"/>
                </a:lnTo>
                <a:lnTo>
                  <a:pt x="594" y="471"/>
                </a:lnTo>
                <a:lnTo>
                  <a:pt x="597" y="471"/>
                </a:lnTo>
                <a:lnTo>
                  <a:pt x="597" y="477"/>
                </a:lnTo>
                <a:lnTo>
                  <a:pt x="597" y="479"/>
                </a:lnTo>
                <a:lnTo>
                  <a:pt x="597" y="482"/>
                </a:lnTo>
                <a:lnTo>
                  <a:pt x="603" y="485"/>
                </a:lnTo>
                <a:lnTo>
                  <a:pt x="606" y="491"/>
                </a:lnTo>
                <a:lnTo>
                  <a:pt x="603" y="497"/>
                </a:lnTo>
                <a:lnTo>
                  <a:pt x="611" y="497"/>
                </a:lnTo>
                <a:lnTo>
                  <a:pt x="614" y="497"/>
                </a:lnTo>
                <a:lnTo>
                  <a:pt x="614" y="500"/>
                </a:lnTo>
                <a:lnTo>
                  <a:pt x="620" y="491"/>
                </a:lnTo>
                <a:lnTo>
                  <a:pt x="623" y="482"/>
                </a:lnTo>
                <a:lnTo>
                  <a:pt x="629" y="462"/>
                </a:lnTo>
                <a:lnTo>
                  <a:pt x="629" y="445"/>
                </a:lnTo>
                <a:lnTo>
                  <a:pt x="626" y="434"/>
                </a:lnTo>
                <a:lnTo>
                  <a:pt x="629" y="431"/>
                </a:lnTo>
                <a:lnTo>
                  <a:pt x="623" y="411"/>
                </a:lnTo>
                <a:lnTo>
                  <a:pt x="620" y="393"/>
                </a:lnTo>
                <a:lnTo>
                  <a:pt x="626" y="379"/>
                </a:lnTo>
                <a:lnTo>
                  <a:pt x="629" y="376"/>
                </a:lnTo>
                <a:lnTo>
                  <a:pt x="634" y="367"/>
                </a:lnTo>
                <a:lnTo>
                  <a:pt x="640" y="362"/>
                </a:lnTo>
                <a:lnTo>
                  <a:pt x="643" y="356"/>
                </a:lnTo>
                <a:lnTo>
                  <a:pt x="646" y="356"/>
                </a:lnTo>
                <a:lnTo>
                  <a:pt x="649" y="353"/>
                </a:lnTo>
                <a:lnTo>
                  <a:pt x="657" y="350"/>
                </a:lnTo>
                <a:lnTo>
                  <a:pt x="660" y="347"/>
                </a:lnTo>
                <a:lnTo>
                  <a:pt x="669" y="345"/>
                </a:lnTo>
                <a:lnTo>
                  <a:pt x="680" y="330"/>
                </a:lnTo>
                <a:lnTo>
                  <a:pt x="692" y="324"/>
                </a:lnTo>
                <a:lnTo>
                  <a:pt x="698" y="324"/>
                </a:lnTo>
                <a:lnTo>
                  <a:pt x="700" y="322"/>
                </a:lnTo>
                <a:lnTo>
                  <a:pt x="709" y="316"/>
                </a:lnTo>
                <a:lnTo>
                  <a:pt x="721" y="310"/>
                </a:lnTo>
                <a:lnTo>
                  <a:pt x="729" y="304"/>
                </a:lnTo>
                <a:lnTo>
                  <a:pt x="738" y="301"/>
                </a:lnTo>
                <a:lnTo>
                  <a:pt x="746" y="293"/>
                </a:lnTo>
                <a:lnTo>
                  <a:pt x="746" y="278"/>
                </a:lnTo>
                <a:lnTo>
                  <a:pt x="746" y="264"/>
                </a:lnTo>
                <a:lnTo>
                  <a:pt x="741" y="261"/>
                </a:lnTo>
                <a:lnTo>
                  <a:pt x="743" y="258"/>
                </a:lnTo>
                <a:lnTo>
                  <a:pt x="743" y="253"/>
                </a:lnTo>
                <a:lnTo>
                  <a:pt x="746" y="250"/>
                </a:lnTo>
                <a:lnTo>
                  <a:pt x="746" y="244"/>
                </a:lnTo>
                <a:lnTo>
                  <a:pt x="749" y="235"/>
                </a:lnTo>
                <a:lnTo>
                  <a:pt x="752" y="227"/>
                </a:lnTo>
                <a:lnTo>
                  <a:pt x="755" y="218"/>
                </a:lnTo>
                <a:lnTo>
                  <a:pt x="761" y="218"/>
                </a:lnTo>
                <a:lnTo>
                  <a:pt x="764" y="215"/>
                </a:lnTo>
                <a:lnTo>
                  <a:pt x="758" y="224"/>
                </a:lnTo>
                <a:lnTo>
                  <a:pt x="755" y="230"/>
                </a:lnTo>
                <a:lnTo>
                  <a:pt x="752" y="238"/>
                </a:lnTo>
                <a:lnTo>
                  <a:pt x="752" y="244"/>
                </a:lnTo>
                <a:lnTo>
                  <a:pt x="755" y="244"/>
                </a:lnTo>
                <a:lnTo>
                  <a:pt x="755" y="247"/>
                </a:lnTo>
                <a:lnTo>
                  <a:pt x="749" y="256"/>
                </a:lnTo>
                <a:lnTo>
                  <a:pt x="746" y="264"/>
                </a:lnTo>
                <a:lnTo>
                  <a:pt x="749" y="261"/>
                </a:lnTo>
                <a:lnTo>
                  <a:pt x="752" y="261"/>
                </a:lnTo>
                <a:lnTo>
                  <a:pt x="761" y="250"/>
                </a:lnTo>
                <a:lnTo>
                  <a:pt x="769" y="238"/>
                </a:lnTo>
                <a:lnTo>
                  <a:pt x="769" y="224"/>
                </a:lnTo>
                <a:lnTo>
                  <a:pt x="769" y="215"/>
                </a:lnTo>
                <a:lnTo>
                  <a:pt x="772" y="221"/>
                </a:lnTo>
                <a:lnTo>
                  <a:pt x="775" y="221"/>
                </a:lnTo>
                <a:lnTo>
                  <a:pt x="775" y="230"/>
                </a:lnTo>
                <a:lnTo>
                  <a:pt x="787" y="221"/>
                </a:lnTo>
                <a:lnTo>
                  <a:pt x="789" y="212"/>
                </a:lnTo>
                <a:lnTo>
                  <a:pt x="798" y="210"/>
                </a:lnTo>
                <a:lnTo>
                  <a:pt x="798" y="201"/>
                </a:lnTo>
                <a:lnTo>
                  <a:pt x="798" y="198"/>
                </a:lnTo>
                <a:lnTo>
                  <a:pt x="804" y="192"/>
                </a:lnTo>
                <a:lnTo>
                  <a:pt x="807" y="195"/>
                </a:lnTo>
                <a:lnTo>
                  <a:pt x="815" y="192"/>
                </a:lnTo>
                <a:lnTo>
                  <a:pt x="827" y="192"/>
                </a:lnTo>
                <a:lnTo>
                  <a:pt x="835" y="189"/>
                </a:lnTo>
                <a:lnTo>
                  <a:pt x="832" y="187"/>
                </a:lnTo>
                <a:lnTo>
                  <a:pt x="827" y="187"/>
                </a:lnTo>
                <a:lnTo>
                  <a:pt x="815" y="189"/>
                </a:lnTo>
                <a:lnTo>
                  <a:pt x="812" y="187"/>
                </a:lnTo>
                <a:lnTo>
                  <a:pt x="824" y="184"/>
                </a:lnTo>
                <a:lnTo>
                  <a:pt x="838" y="181"/>
                </a:lnTo>
                <a:lnTo>
                  <a:pt x="844" y="181"/>
                </a:lnTo>
                <a:lnTo>
                  <a:pt x="850" y="181"/>
                </a:lnTo>
                <a:lnTo>
                  <a:pt x="858" y="178"/>
                </a:lnTo>
                <a:lnTo>
                  <a:pt x="861" y="178"/>
                </a:lnTo>
                <a:lnTo>
                  <a:pt x="858" y="178"/>
                </a:lnTo>
                <a:lnTo>
                  <a:pt x="855" y="181"/>
                </a:lnTo>
                <a:lnTo>
                  <a:pt x="858" y="181"/>
                </a:lnTo>
                <a:lnTo>
                  <a:pt x="864" y="181"/>
                </a:lnTo>
                <a:lnTo>
                  <a:pt x="864" y="178"/>
                </a:lnTo>
                <a:lnTo>
                  <a:pt x="873" y="175"/>
                </a:lnTo>
                <a:lnTo>
                  <a:pt x="873" y="167"/>
                </a:lnTo>
                <a:lnTo>
                  <a:pt x="870" y="169"/>
                </a:lnTo>
                <a:lnTo>
                  <a:pt x="867" y="172"/>
                </a:lnTo>
                <a:lnTo>
                  <a:pt x="864" y="167"/>
                </a:lnTo>
                <a:lnTo>
                  <a:pt x="861" y="164"/>
                </a:lnTo>
                <a:lnTo>
                  <a:pt x="864" y="161"/>
                </a:lnTo>
                <a:lnTo>
                  <a:pt x="864" y="158"/>
                </a:lnTo>
                <a:lnTo>
                  <a:pt x="867" y="155"/>
                </a:lnTo>
                <a:lnTo>
                  <a:pt x="870" y="149"/>
                </a:lnTo>
                <a:lnTo>
                  <a:pt x="876" y="144"/>
                </a:lnTo>
                <a:lnTo>
                  <a:pt x="884" y="135"/>
                </a:lnTo>
                <a:lnTo>
                  <a:pt x="890" y="135"/>
                </a:lnTo>
                <a:lnTo>
                  <a:pt x="893" y="129"/>
                </a:lnTo>
                <a:lnTo>
                  <a:pt x="893" y="132"/>
                </a:lnTo>
                <a:lnTo>
                  <a:pt x="898" y="132"/>
                </a:lnTo>
                <a:lnTo>
                  <a:pt x="904" y="126"/>
                </a:lnTo>
                <a:lnTo>
                  <a:pt x="907" y="123"/>
                </a:lnTo>
                <a:lnTo>
                  <a:pt x="910" y="123"/>
                </a:lnTo>
                <a:lnTo>
                  <a:pt x="907" y="129"/>
                </a:lnTo>
                <a:lnTo>
                  <a:pt x="916" y="123"/>
                </a:lnTo>
                <a:lnTo>
                  <a:pt x="936" y="118"/>
                </a:lnTo>
                <a:lnTo>
                  <a:pt x="933" y="109"/>
                </a:lnTo>
                <a:lnTo>
                  <a:pt x="939" y="100"/>
                </a:lnTo>
                <a:lnTo>
                  <a:pt x="933" y="100"/>
                </a:lnTo>
                <a:lnTo>
                  <a:pt x="942" y="78"/>
                </a:lnTo>
                <a:lnTo>
                  <a:pt x="942" y="72"/>
                </a:lnTo>
                <a:lnTo>
                  <a:pt x="927" y="69"/>
                </a:lnTo>
                <a:lnTo>
                  <a:pt x="927" y="66"/>
                </a:lnTo>
                <a:lnTo>
                  <a:pt x="907" y="80"/>
                </a:lnTo>
                <a:lnTo>
                  <a:pt x="901" y="98"/>
                </a:lnTo>
                <a:lnTo>
                  <a:pt x="887" y="106"/>
                </a:lnTo>
                <a:lnTo>
                  <a:pt x="873" y="112"/>
                </a:lnTo>
                <a:lnTo>
                  <a:pt x="818" y="112"/>
                </a:lnTo>
                <a:lnTo>
                  <a:pt x="798" y="123"/>
                </a:lnTo>
                <a:lnTo>
                  <a:pt x="781" y="141"/>
                </a:lnTo>
                <a:lnTo>
                  <a:pt x="743" y="141"/>
                </a:lnTo>
                <a:lnTo>
                  <a:pt x="743" y="152"/>
                </a:lnTo>
                <a:lnTo>
                  <a:pt x="703" y="164"/>
                </a:lnTo>
                <a:lnTo>
                  <a:pt x="677" y="175"/>
                </a:lnTo>
                <a:lnTo>
                  <a:pt x="660" y="169"/>
                </a:lnTo>
                <a:lnTo>
                  <a:pt x="677" y="158"/>
                </a:lnTo>
                <a:lnTo>
                  <a:pt x="695" y="138"/>
                </a:lnTo>
                <a:lnTo>
                  <a:pt x="698" y="132"/>
                </a:lnTo>
                <a:lnTo>
                  <a:pt x="700" y="123"/>
                </a:lnTo>
                <a:lnTo>
                  <a:pt x="703" y="106"/>
                </a:lnTo>
                <a:lnTo>
                  <a:pt x="692" y="98"/>
                </a:lnTo>
                <a:lnTo>
                  <a:pt x="692" y="95"/>
                </a:lnTo>
                <a:lnTo>
                  <a:pt x="695" y="92"/>
                </a:lnTo>
                <a:lnTo>
                  <a:pt x="686" y="92"/>
                </a:lnTo>
                <a:lnTo>
                  <a:pt x="689" y="83"/>
                </a:lnTo>
                <a:lnTo>
                  <a:pt x="680" y="83"/>
                </a:lnTo>
                <a:lnTo>
                  <a:pt x="680" y="80"/>
                </a:lnTo>
                <a:lnTo>
                  <a:pt x="683" y="78"/>
                </a:lnTo>
                <a:lnTo>
                  <a:pt x="643" y="49"/>
                </a:lnTo>
                <a:lnTo>
                  <a:pt x="637" y="52"/>
                </a:lnTo>
                <a:lnTo>
                  <a:pt x="620" y="55"/>
                </a:lnTo>
                <a:lnTo>
                  <a:pt x="603" y="52"/>
                </a:lnTo>
                <a:lnTo>
                  <a:pt x="588" y="52"/>
                </a:lnTo>
                <a:lnTo>
                  <a:pt x="577" y="43"/>
                </a:lnTo>
                <a:lnTo>
                  <a:pt x="563" y="43"/>
                </a:lnTo>
                <a:lnTo>
                  <a:pt x="554" y="37"/>
                </a:lnTo>
                <a:lnTo>
                  <a:pt x="554" y="29"/>
                </a:lnTo>
                <a:lnTo>
                  <a:pt x="545" y="37"/>
                </a:lnTo>
                <a:lnTo>
                  <a:pt x="126" y="34"/>
                </a:lnTo>
                <a:lnTo>
                  <a:pt x="132" y="40"/>
                </a:lnTo>
                <a:lnTo>
                  <a:pt x="129" y="49"/>
                </a:lnTo>
                <a:lnTo>
                  <a:pt x="126" y="55"/>
                </a:lnTo>
                <a:lnTo>
                  <a:pt x="121" y="63"/>
                </a:lnTo>
                <a:lnTo>
                  <a:pt x="112" y="72"/>
                </a:lnTo>
                <a:lnTo>
                  <a:pt x="109" y="75"/>
                </a:lnTo>
                <a:lnTo>
                  <a:pt x="106" y="75"/>
                </a:lnTo>
                <a:lnTo>
                  <a:pt x="103" y="75"/>
                </a:lnTo>
                <a:lnTo>
                  <a:pt x="106" y="66"/>
                </a:lnTo>
                <a:lnTo>
                  <a:pt x="109" y="60"/>
                </a:lnTo>
                <a:lnTo>
                  <a:pt x="115" y="55"/>
                </a:lnTo>
                <a:lnTo>
                  <a:pt x="121" y="52"/>
                </a:lnTo>
                <a:lnTo>
                  <a:pt x="126" y="49"/>
                </a:lnTo>
                <a:lnTo>
                  <a:pt x="126" y="46"/>
                </a:lnTo>
                <a:lnTo>
                  <a:pt x="123" y="43"/>
                </a:lnTo>
                <a:lnTo>
                  <a:pt x="112" y="40"/>
                </a:lnTo>
                <a:lnTo>
                  <a:pt x="115" y="29"/>
                </a:lnTo>
                <a:lnTo>
                  <a:pt x="109" y="29"/>
                </a:lnTo>
                <a:lnTo>
                  <a:pt x="112" y="17"/>
                </a:lnTo>
                <a:lnTo>
                  <a:pt x="109" y="14"/>
                </a:lnTo>
                <a:lnTo>
                  <a:pt x="106" y="11"/>
                </a:lnTo>
                <a:lnTo>
                  <a:pt x="98" y="6"/>
                </a:lnTo>
                <a:lnTo>
                  <a:pt x="89" y="3"/>
                </a:lnTo>
                <a:lnTo>
                  <a:pt x="83" y="0"/>
                </a:lnTo>
                <a:lnTo>
                  <a:pt x="77" y="0"/>
                </a:lnTo>
                <a:lnTo>
                  <a:pt x="75" y="3"/>
                </a:lnTo>
                <a:lnTo>
                  <a:pt x="75" y="11"/>
                </a:lnTo>
                <a:lnTo>
                  <a:pt x="75" y="14"/>
                </a:lnTo>
                <a:lnTo>
                  <a:pt x="77" y="14"/>
                </a:lnTo>
                <a:lnTo>
                  <a:pt x="80" y="17"/>
                </a:lnTo>
                <a:lnTo>
                  <a:pt x="83" y="29"/>
                </a:lnTo>
                <a:lnTo>
                  <a:pt x="89" y="32"/>
                </a:lnTo>
                <a:lnTo>
                  <a:pt x="89" y="34"/>
                </a:lnTo>
                <a:lnTo>
                  <a:pt x="98" y="34"/>
                </a:lnTo>
                <a:lnTo>
                  <a:pt x="95" y="40"/>
                </a:lnTo>
                <a:lnTo>
                  <a:pt x="98" y="43"/>
                </a:lnTo>
                <a:lnTo>
                  <a:pt x="95" y="52"/>
                </a:lnTo>
                <a:lnTo>
                  <a:pt x="95" y="57"/>
                </a:lnTo>
                <a:lnTo>
                  <a:pt x="92" y="63"/>
                </a:lnTo>
                <a:lnTo>
                  <a:pt x="89" y="69"/>
                </a:lnTo>
                <a:lnTo>
                  <a:pt x="77" y="89"/>
                </a:lnTo>
                <a:lnTo>
                  <a:pt x="66" y="106"/>
                </a:lnTo>
                <a:lnTo>
                  <a:pt x="57" y="118"/>
                </a:lnTo>
                <a:lnTo>
                  <a:pt x="46" y="132"/>
                </a:lnTo>
                <a:lnTo>
                  <a:pt x="37" y="144"/>
                </a:lnTo>
                <a:lnTo>
                  <a:pt x="26" y="158"/>
                </a:lnTo>
                <a:lnTo>
                  <a:pt x="23" y="164"/>
                </a:lnTo>
                <a:lnTo>
                  <a:pt x="20" y="175"/>
                </a:lnTo>
                <a:lnTo>
                  <a:pt x="17" y="184"/>
                </a:lnTo>
                <a:lnTo>
                  <a:pt x="11" y="189"/>
                </a:lnTo>
                <a:lnTo>
                  <a:pt x="6" y="195"/>
                </a:lnTo>
                <a:lnTo>
                  <a:pt x="3" y="204"/>
                </a:lnTo>
                <a:lnTo>
                  <a:pt x="3" y="210"/>
                </a:lnTo>
                <a:lnTo>
                  <a:pt x="3" y="218"/>
                </a:lnTo>
                <a:lnTo>
                  <a:pt x="0" y="227"/>
                </a:lnTo>
                <a:lnTo>
                  <a:pt x="3" y="235"/>
                </a:lnTo>
                <a:lnTo>
                  <a:pt x="3" y="244"/>
                </a:lnTo>
                <a:lnTo>
                  <a:pt x="3" y="247"/>
                </a:lnTo>
                <a:lnTo>
                  <a:pt x="6" y="250"/>
                </a:lnTo>
                <a:lnTo>
                  <a:pt x="9" y="250"/>
                </a:lnTo>
                <a:lnTo>
                  <a:pt x="6" y="253"/>
                </a:lnTo>
                <a:lnTo>
                  <a:pt x="3" y="258"/>
                </a:lnTo>
                <a:lnTo>
                  <a:pt x="3" y="264"/>
                </a:lnTo>
                <a:lnTo>
                  <a:pt x="6" y="270"/>
                </a:lnTo>
                <a:lnTo>
                  <a:pt x="9" y="270"/>
                </a:lnTo>
                <a:lnTo>
                  <a:pt x="6" y="273"/>
                </a:lnTo>
                <a:lnTo>
                  <a:pt x="3" y="276"/>
                </a:lnTo>
                <a:lnTo>
                  <a:pt x="3" y="278"/>
                </a:lnTo>
                <a:lnTo>
                  <a:pt x="9" y="296"/>
                </a:lnTo>
                <a:lnTo>
                  <a:pt x="9" y="310"/>
                </a:lnTo>
                <a:lnTo>
                  <a:pt x="9" y="313"/>
                </a:lnTo>
                <a:lnTo>
                  <a:pt x="11" y="316"/>
                </a:lnTo>
                <a:lnTo>
                  <a:pt x="17" y="316"/>
                </a:lnTo>
                <a:lnTo>
                  <a:pt x="26" y="319"/>
                </a:lnTo>
                <a:lnTo>
                  <a:pt x="29" y="322"/>
                </a:lnTo>
                <a:lnTo>
                  <a:pt x="29" y="324"/>
                </a:lnTo>
                <a:lnTo>
                  <a:pt x="32" y="327"/>
                </a:lnTo>
                <a:lnTo>
                  <a:pt x="40" y="330"/>
                </a:lnTo>
                <a:lnTo>
                  <a:pt x="43" y="330"/>
                </a:lnTo>
                <a:lnTo>
                  <a:pt x="49" y="336"/>
                </a:lnTo>
                <a:lnTo>
                  <a:pt x="49" y="342"/>
                </a:lnTo>
                <a:lnTo>
                  <a:pt x="49" y="35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593" name="Freeform 699"/>
          <p:cNvSpPr>
            <a:spLocks/>
          </p:cNvSpPr>
          <p:nvPr/>
        </p:nvSpPr>
        <p:spPr bwMode="gray">
          <a:xfrm>
            <a:off x="2286413" y="2932580"/>
            <a:ext cx="12002" cy="7500"/>
          </a:xfrm>
          <a:custGeom>
            <a:avLst/>
            <a:gdLst>
              <a:gd name="T0" fmla="*/ 0 w 6"/>
              <a:gd name="T1" fmla="*/ 2147483647 h 5"/>
              <a:gd name="T2" fmla="*/ 0 w 6"/>
              <a:gd name="T3" fmla="*/ 2147483647 h 5"/>
              <a:gd name="T4" fmla="*/ 2147483647 w 6"/>
              <a:gd name="T5" fmla="*/ 2147483647 h 5"/>
              <a:gd name="T6" fmla="*/ 2147483647 w 6"/>
              <a:gd name="T7" fmla="*/ 2147483647 h 5"/>
              <a:gd name="T8" fmla="*/ 2147483647 w 6"/>
              <a:gd name="T9" fmla="*/ 0 h 5"/>
              <a:gd name="T10" fmla="*/ 2147483647 w 6"/>
              <a:gd name="T11" fmla="*/ 2147483647 h 5"/>
              <a:gd name="T12" fmla="*/ 0 w 6"/>
              <a:gd name="T13" fmla="*/ 2147483647 h 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6"/>
              <a:gd name="T22" fmla="*/ 0 h 5"/>
              <a:gd name="T23" fmla="*/ 6 w 6"/>
              <a:gd name="T24" fmla="*/ 5 h 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6" h="5">
                <a:moveTo>
                  <a:pt x="0" y="3"/>
                </a:moveTo>
                <a:lnTo>
                  <a:pt x="0" y="3"/>
                </a:lnTo>
                <a:lnTo>
                  <a:pt x="3" y="5"/>
                </a:lnTo>
                <a:lnTo>
                  <a:pt x="6" y="3"/>
                </a:lnTo>
                <a:lnTo>
                  <a:pt x="6" y="0"/>
                </a:lnTo>
                <a:lnTo>
                  <a:pt x="3" y="3"/>
                </a:lnTo>
                <a:lnTo>
                  <a:pt x="0" y="3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594" name="Freeform 700"/>
          <p:cNvSpPr>
            <a:spLocks/>
          </p:cNvSpPr>
          <p:nvPr/>
        </p:nvSpPr>
        <p:spPr bwMode="gray">
          <a:xfrm>
            <a:off x="2380429" y="2914580"/>
            <a:ext cx="6002" cy="9000"/>
          </a:xfrm>
          <a:custGeom>
            <a:avLst/>
            <a:gdLst>
              <a:gd name="T0" fmla="*/ 2147483647 w 3"/>
              <a:gd name="T1" fmla="*/ 2147483647 h 6"/>
              <a:gd name="T2" fmla="*/ 2147483647 w 3"/>
              <a:gd name="T3" fmla="*/ 2147483647 h 6"/>
              <a:gd name="T4" fmla="*/ 2147483647 w 3"/>
              <a:gd name="T5" fmla="*/ 0 h 6"/>
              <a:gd name="T6" fmla="*/ 0 w 3"/>
              <a:gd name="T7" fmla="*/ 2147483647 h 6"/>
              <a:gd name="T8" fmla="*/ 2147483647 w 3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3" y="6"/>
                </a:moveTo>
                <a:lnTo>
                  <a:pt x="3" y="3"/>
                </a:ln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595" name="Freeform 701"/>
          <p:cNvSpPr>
            <a:spLocks/>
          </p:cNvSpPr>
          <p:nvPr/>
        </p:nvSpPr>
        <p:spPr bwMode="gray">
          <a:xfrm>
            <a:off x="1492269" y="2973080"/>
            <a:ext cx="6002" cy="12000"/>
          </a:xfrm>
          <a:custGeom>
            <a:avLst/>
            <a:gdLst>
              <a:gd name="T0" fmla="*/ 2147483647 w 3"/>
              <a:gd name="T1" fmla="*/ 0 h 8"/>
              <a:gd name="T2" fmla="*/ 0 w 3"/>
              <a:gd name="T3" fmla="*/ 2147483647 h 8"/>
              <a:gd name="T4" fmla="*/ 0 w 3"/>
              <a:gd name="T5" fmla="*/ 2147483647 h 8"/>
              <a:gd name="T6" fmla="*/ 2147483647 w 3"/>
              <a:gd name="T7" fmla="*/ 2147483647 h 8"/>
              <a:gd name="T8" fmla="*/ 2147483647 w 3"/>
              <a:gd name="T9" fmla="*/ 0 h 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8"/>
              <a:gd name="T17" fmla="*/ 3 w 3"/>
              <a:gd name="T18" fmla="*/ 8 h 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8">
                <a:moveTo>
                  <a:pt x="3" y="0"/>
                </a:moveTo>
                <a:lnTo>
                  <a:pt x="0" y="2"/>
                </a:lnTo>
                <a:lnTo>
                  <a:pt x="0" y="8"/>
                </a:lnTo>
                <a:lnTo>
                  <a:pt x="3" y="5"/>
                </a:lnTo>
                <a:lnTo>
                  <a:pt x="3" y="0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514" name="Freeform 702"/>
          <p:cNvSpPr>
            <a:spLocks/>
          </p:cNvSpPr>
          <p:nvPr/>
        </p:nvSpPr>
        <p:spPr bwMode="gray">
          <a:xfrm>
            <a:off x="1562283" y="2145058"/>
            <a:ext cx="12002" cy="13501"/>
          </a:xfrm>
          <a:custGeom>
            <a:avLst/>
            <a:gdLst>
              <a:gd name="T0" fmla="*/ 2147483647 w 6"/>
              <a:gd name="T1" fmla="*/ 2147483647 h 9"/>
              <a:gd name="T2" fmla="*/ 2147483647 w 6"/>
              <a:gd name="T3" fmla="*/ 0 h 9"/>
              <a:gd name="T4" fmla="*/ 2147483647 w 6"/>
              <a:gd name="T5" fmla="*/ 0 h 9"/>
              <a:gd name="T6" fmla="*/ 0 w 6"/>
              <a:gd name="T7" fmla="*/ 2147483647 h 9"/>
              <a:gd name="T8" fmla="*/ 0 w 6"/>
              <a:gd name="T9" fmla="*/ 2147483647 h 9"/>
              <a:gd name="T10" fmla="*/ 2147483647 w 6"/>
              <a:gd name="T11" fmla="*/ 2147483647 h 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9"/>
              <a:gd name="T20" fmla="*/ 6 w 6"/>
              <a:gd name="T21" fmla="*/ 9 h 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9">
                <a:moveTo>
                  <a:pt x="6" y="6"/>
                </a:moveTo>
                <a:lnTo>
                  <a:pt x="6" y="0"/>
                </a:lnTo>
                <a:lnTo>
                  <a:pt x="3" y="0"/>
                </a:lnTo>
                <a:lnTo>
                  <a:pt x="0" y="6"/>
                </a:lnTo>
                <a:lnTo>
                  <a:pt x="0" y="9"/>
                </a:lnTo>
                <a:lnTo>
                  <a:pt x="6" y="6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15" name="Rectangle 703"/>
          <p:cNvSpPr>
            <a:spLocks noChangeArrowheads="1"/>
          </p:cNvSpPr>
          <p:nvPr/>
        </p:nvSpPr>
        <p:spPr bwMode="gray">
          <a:xfrm>
            <a:off x="1592287" y="2319063"/>
            <a:ext cx="2001" cy="4501"/>
          </a:xfrm>
          <a:prstGeom prst="rect">
            <a:avLst/>
          </a:pr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17" name="Freeform 705"/>
          <p:cNvSpPr>
            <a:spLocks/>
          </p:cNvSpPr>
          <p:nvPr/>
        </p:nvSpPr>
        <p:spPr bwMode="gray">
          <a:xfrm>
            <a:off x="920166" y="2170559"/>
            <a:ext cx="4001" cy="4500"/>
          </a:xfrm>
          <a:custGeom>
            <a:avLst/>
            <a:gdLst>
              <a:gd name="T0" fmla="*/ 2147483647 w 2"/>
              <a:gd name="T1" fmla="*/ 2147483647 h 3"/>
              <a:gd name="T2" fmla="*/ 2147483647 w 2"/>
              <a:gd name="T3" fmla="*/ 2147483647 h 3"/>
              <a:gd name="T4" fmla="*/ 2147483647 w 2"/>
              <a:gd name="T5" fmla="*/ 0 h 3"/>
              <a:gd name="T6" fmla="*/ 0 w 2"/>
              <a:gd name="T7" fmla="*/ 0 h 3"/>
              <a:gd name="T8" fmla="*/ 2147483647 w 2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"/>
              <a:gd name="T16" fmla="*/ 0 h 3"/>
              <a:gd name="T17" fmla="*/ 2 w 2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" h="3">
                <a:moveTo>
                  <a:pt x="2" y="3"/>
                </a:moveTo>
                <a:lnTo>
                  <a:pt x="2" y="3"/>
                </a:lnTo>
                <a:lnTo>
                  <a:pt x="2" y="0"/>
                </a:lnTo>
                <a:lnTo>
                  <a:pt x="0" y="0"/>
                </a:lnTo>
                <a:lnTo>
                  <a:pt x="2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18" name="Freeform 706"/>
          <p:cNvSpPr>
            <a:spLocks/>
          </p:cNvSpPr>
          <p:nvPr/>
        </p:nvSpPr>
        <p:spPr bwMode="gray">
          <a:xfrm>
            <a:off x="656119" y="2215561"/>
            <a:ext cx="6002" cy="1500"/>
          </a:xfrm>
          <a:custGeom>
            <a:avLst/>
            <a:gdLst>
              <a:gd name="T0" fmla="*/ 0 w 3"/>
              <a:gd name="T1" fmla="*/ 0 h 1"/>
              <a:gd name="T2" fmla="*/ 0 w 3"/>
              <a:gd name="T3" fmla="*/ 0 h 1"/>
              <a:gd name="T4" fmla="*/ 0 w 3"/>
              <a:gd name="T5" fmla="*/ 0 h 1"/>
              <a:gd name="T6" fmla="*/ 2147483647 w 3"/>
              <a:gd name="T7" fmla="*/ 0 h 1"/>
              <a:gd name="T8" fmla="*/ 0 w 3"/>
              <a:gd name="T9" fmla="*/ 0 h 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1"/>
              <a:gd name="T17" fmla="*/ 3 w 3"/>
              <a:gd name="T18" fmla="*/ 1 h 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1">
                <a:moveTo>
                  <a:pt x="0" y="0"/>
                </a:moveTo>
                <a:lnTo>
                  <a:pt x="0" y="0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19" name="Freeform 707"/>
          <p:cNvSpPr>
            <a:spLocks/>
          </p:cNvSpPr>
          <p:nvPr/>
        </p:nvSpPr>
        <p:spPr bwMode="gray">
          <a:xfrm>
            <a:off x="548099" y="2215561"/>
            <a:ext cx="22005" cy="13500"/>
          </a:xfrm>
          <a:custGeom>
            <a:avLst/>
            <a:gdLst>
              <a:gd name="T0" fmla="*/ 2147483647 w 11"/>
              <a:gd name="T1" fmla="*/ 2147483647 h 9"/>
              <a:gd name="T2" fmla="*/ 2147483647 w 11"/>
              <a:gd name="T3" fmla="*/ 0 h 9"/>
              <a:gd name="T4" fmla="*/ 2147483647 w 11"/>
              <a:gd name="T5" fmla="*/ 2147483647 h 9"/>
              <a:gd name="T6" fmla="*/ 2147483647 w 11"/>
              <a:gd name="T7" fmla="*/ 2147483647 h 9"/>
              <a:gd name="T8" fmla="*/ 0 w 11"/>
              <a:gd name="T9" fmla="*/ 2147483647 h 9"/>
              <a:gd name="T10" fmla="*/ 2147483647 w 11"/>
              <a:gd name="T11" fmla="*/ 2147483647 h 9"/>
              <a:gd name="T12" fmla="*/ 2147483647 w 11"/>
              <a:gd name="T13" fmla="*/ 2147483647 h 9"/>
              <a:gd name="T14" fmla="*/ 2147483647 w 11"/>
              <a:gd name="T15" fmla="*/ 2147483647 h 9"/>
              <a:gd name="T16" fmla="*/ 2147483647 w 11"/>
              <a:gd name="T17" fmla="*/ 2147483647 h 9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1"/>
              <a:gd name="T28" fmla="*/ 0 h 9"/>
              <a:gd name="T29" fmla="*/ 11 w 11"/>
              <a:gd name="T30" fmla="*/ 9 h 9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1" h="9">
                <a:moveTo>
                  <a:pt x="9" y="6"/>
                </a:moveTo>
                <a:lnTo>
                  <a:pt x="11" y="0"/>
                </a:lnTo>
                <a:lnTo>
                  <a:pt x="6" y="3"/>
                </a:lnTo>
                <a:lnTo>
                  <a:pt x="3" y="3"/>
                </a:lnTo>
                <a:lnTo>
                  <a:pt x="0" y="6"/>
                </a:lnTo>
                <a:lnTo>
                  <a:pt x="6" y="6"/>
                </a:lnTo>
                <a:lnTo>
                  <a:pt x="9" y="9"/>
                </a:lnTo>
                <a:lnTo>
                  <a:pt x="9" y="6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20" name="Freeform 708"/>
          <p:cNvSpPr>
            <a:spLocks/>
          </p:cNvSpPr>
          <p:nvPr/>
        </p:nvSpPr>
        <p:spPr bwMode="gray">
          <a:xfrm>
            <a:off x="750136" y="2194560"/>
            <a:ext cx="24004" cy="7500"/>
          </a:xfrm>
          <a:custGeom>
            <a:avLst/>
            <a:gdLst>
              <a:gd name="T0" fmla="*/ 2147483647 w 12"/>
              <a:gd name="T1" fmla="*/ 0 h 5"/>
              <a:gd name="T2" fmla="*/ 0 w 12"/>
              <a:gd name="T3" fmla="*/ 2147483647 h 5"/>
              <a:gd name="T4" fmla="*/ 2147483647 w 12"/>
              <a:gd name="T5" fmla="*/ 2147483647 h 5"/>
              <a:gd name="T6" fmla="*/ 2147483647 w 12"/>
              <a:gd name="T7" fmla="*/ 2147483647 h 5"/>
              <a:gd name="T8" fmla="*/ 2147483647 w 12"/>
              <a:gd name="T9" fmla="*/ 0 h 5"/>
              <a:gd name="T10" fmla="*/ 2147483647 w 12"/>
              <a:gd name="T11" fmla="*/ 0 h 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"/>
              <a:gd name="T19" fmla="*/ 0 h 5"/>
              <a:gd name="T20" fmla="*/ 12 w 12"/>
              <a:gd name="T21" fmla="*/ 5 h 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" h="5">
                <a:moveTo>
                  <a:pt x="6" y="0"/>
                </a:moveTo>
                <a:lnTo>
                  <a:pt x="0" y="5"/>
                </a:lnTo>
                <a:lnTo>
                  <a:pt x="6" y="2"/>
                </a:lnTo>
                <a:lnTo>
                  <a:pt x="9" y="2"/>
                </a:lnTo>
                <a:lnTo>
                  <a:pt x="12" y="0"/>
                </a:lnTo>
                <a:lnTo>
                  <a:pt x="6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21" name="Freeform 709"/>
          <p:cNvSpPr>
            <a:spLocks/>
          </p:cNvSpPr>
          <p:nvPr/>
        </p:nvSpPr>
        <p:spPr bwMode="gray">
          <a:xfrm>
            <a:off x="774141" y="2190059"/>
            <a:ext cx="12002" cy="12000"/>
          </a:xfrm>
          <a:custGeom>
            <a:avLst/>
            <a:gdLst>
              <a:gd name="T0" fmla="*/ 2147483647 w 6"/>
              <a:gd name="T1" fmla="*/ 2147483647 h 8"/>
              <a:gd name="T2" fmla="*/ 2147483647 w 6"/>
              <a:gd name="T3" fmla="*/ 0 h 8"/>
              <a:gd name="T4" fmla="*/ 2147483647 w 6"/>
              <a:gd name="T5" fmla="*/ 0 h 8"/>
              <a:gd name="T6" fmla="*/ 2147483647 w 6"/>
              <a:gd name="T7" fmla="*/ 2147483647 h 8"/>
              <a:gd name="T8" fmla="*/ 0 w 6"/>
              <a:gd name="T9" fmla="*/ 2147483647 h 8"/>
              <a:gd name="T10" fmla="*/ 2147483647 w 6"/>
              <a:gd name="T11" fmla="*/ 2147483647 h 8"/>
              <a:gd name="T12" fmla="*/ 2147483647 w 6"/>
              <a:gd name="T13" fmla="*/ 2147483647 h 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6"/>
              <a:gd name="T22" fmla="*/ 0 h 8"/>
              <a:gd name="T23" fmla="*/ 6 w 6"/>
              <a:gd name="T24" fmla="*/ 8 h 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6" h="8">
                <a:moveTo>
                  <a:pt x="3" y="3"/>
                </a:moveTo>
                <a:lnTo>
                  <a:pt x="6" y="0"/>
                </a:lnTo>
                <a:lnTo>
                  <a:pt x="3" y="0"/>
                </a:lnTo>
                <a:lnTo>
                  <a:pt x="3" y="5"/>
                </a:lnTo>
                <a:lnTo>
                  <a:pt x="0" y="8"/>
                </a:lnTo>
                <a:lnTo>
                  <a:pt x="3" y="8"/>
                </a:lnTo>
                <a:lnTo>
                  <a:pt x="3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22" name="Freeform 710"/>
          <p:cNvSpPr>
            <a:spLocks/>
          </p:cNvSpPr>
          <p:nvPr/>
        </p:nvSpPr>
        <p:spPr bwMode="gray">
          <a:xfrm>
            <a:off x="970175" y="2154059"/>
            <a:ext cx="30005" cy="9000"/>
          </a:xfrm>
          <a:custGeom>
            <a:avLst/>
            <a:gdLst>
              <a:gd name="T0" fmla="*/ 2147483647 w 15"/>
              <a:gd name="T1" fmla="*/ 0 h 6"/>
              <a:gd name="T2" fmla="*/ 2147483647 w 15"/>
              <a:gd name="T3" fmla="*/ 0 h 6"/>
              <a:gd name="T4" fmla="*/ 2147483647 w 15"/>
              <a:gd name="T5" fmla="*/ 0 h 6"/>
              <a:gd name="T6" fmla="*/ 2147483647 w 15"/>
              <a:gd name="T7" fmla="*/ 0 h 6"/>
              <a:gd name="T8" fmla="*/ 0 w 15"/>
              <a:gd name="T9" fmla="*/ 2147483647 h 6"/>
              <a:gd name="T10" fmla="*/ 2147483647 w 15"/>
              <a:gd name="T11" fmla="*/ 2147483647 h 6"/>
              <a:gd name="T12" fmla="*/ 2147483647 w 15"/>
              <a:gd name="T13" fmla="*/ 2147483647 h 6"/>
              <a:gd name="T14" fmla="*/ 2147483647 w 15"/>
              <a:gd name="T15" fmla="*/ 2147483647 h 6"/>
              <a:gd name="T16" fmla="*/ 2147483647 w 15"/>
              <a:gd name="T17" fmla="*/ 2147483647 h 6"/>
              <a:gd name="T18" fmla="*/ 2147483647 w 15"/>
              <a:gd name="T19" fmla="*/ 0 h 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5"/>
              <a:gd name="T31" fmla="*/ 0 h 6"/>
              <a:gd name="T32" fmla="*/ 15 w 15"/>
              <a:gd name="T33" fmla="*/ 6 h 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5" h="6">
                <a:moveTo>
                  <a:pt x="15" y="0"/>
                </a:moveTo>
                <a:lnTo>
                  <a:pt x="12" y="0"/>
                </a:ln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lnTo>
                  <a:pt x="6" y="3"/>
                </a:lnTo>
                <a:lnTo>
                  <a:pt x="12" y="3"/>
                </a:lnTo>
                <a:lnTo>
                  <a:pt x="15" y="3"/>
                </a:lnTo>
                <a:lnTo>
                  <a:pt x="15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605" name="Freeform 711"/>
          <p:cNvSpPr>
            <a:spLocks/>
          </p:cNvSpPr>
          <p:nvPr/>
        </p:nvSpPr>
        <p:spPr bwMode="gray">
          <a:xfrm>
            <a:off x="2472446" y="3523596"/>
            <a:ext cx="198036" cy="70501"/>
          </a:xfrm>
          <a:custGeom>
            <a:avLst/>
            <a:gdLst>
              <a:gd name="T0" fmla="*/ 2147483647 w 98"/>
              <a:gd name="T1" fmla="*/ 2147483647 h 46"/>
              <a:gd name="T2" fmla="*/ 2147483647 w 98"/>
              <a:gd name="T3" fmla="*/ 2147483647 h 46"/>
              <a:gd name="T4" fmla="*/ 2147483647 w 98"/>
              <a:gd name="T5" fmla="*/ 2147483647 h 46"/>
              <a:gd name="T6" fmla="*/ 2147483647 w 98"/>
              <a:gd name="T7" fmla="*/ 2147483647 h 46"/>
              <a:gd name="T8" fmla="*/ 2147483647 w 98"/>
              <a:gd name="T9" fmla="*/ 2147483647 h 46"/>
              <a:gd name="T10" fmla="*/ 2147483647 w 98"/>
              <a:gd name="T11" fmla="*/ 2147483647 h 46"/>
              <a:gd name="T12" fmla="*/ 2147483647 w 98"/>
              <a:gd name="T13" fmla="*/ 2147483647 h 46"/>
              <a:gd name="T14" fmla="*/ 2147483647 w 98"/>
              <a:gd name="T15" fmla="*/ 2147483647 h 46"/>
              <a:gd name="T16" fmla="*/ 2147483647 w 98"/>
              <a:gd name="T17" fmla="*/ 2147483647 h 46"/>
              <a:gd name="T18" fmla="*/ 2147483647 w 98"/>
              <a:gd name="T19" fmla="*/ 2147483647 h 46"/>
              <a:gd name="T20" fmla="*/ 2147483647 w 98"/>
              <a:gd name="T21" fmla="*/ 2147483647 h 46"/>
              <a:gd name="T22" fmla="*/ 2147483647 w 98"/>
              <a:gd name="T23" fmla="*/ 2147483647 h 46"/>
              <a:gd name="T24" fmla="*/ 2147483647 w 98"/>
              <a:gd name="T25" fmla="*/ 2147483647 h 46"/>
              <a:gd name="T26" fmla="*/ 2147483647 w 98"/>
              <a:gd name="T27" fmla="*/ 2147483647 h 46"/>
              <a:gd name="T28" fmla="*/ 2147483647 w 98"/>
              <a:gd name="T29" fmla="*/ 2147483647 h 46"/>
              <a:gd name="T30" fmla="*/ 2147483647 w 98"/>
              <a:gd name="T31" fmla="*/ 2147483647 h 46"/>
              <a:gd name="T32" fmla="*/ 2147483647 w 98"/>
              <a:gd name="T33" fmla="*/ 2147483647 h 46"/>
              <a:gd name="T34" fmla="*/ 2147483647 w 98"/>
              <a:gd name="T35" fmla="*/ 2147483647 h 46"/>
              <a:gd name="T36" fmla="*/ 2147483647 w 98"/>
              <a:gd name="T37" fmla="*/ 2147483647 h 46"/>
              <a:gd name="T38" fmla="*/ 2147483647 w 98"/>
              <a:gd name="T39" fmla="*/ 2147483647 h 46"/>
              <a:gd name="T40" fmla="*/ 2147483647 w 98"/>
              <a:gd name="T41" fmla="*/ 0 h 46"/>
              <a:gd name="T42" fmla="*/ 2147483647 w 98"/>
              <a:gd name="T43" fmla="*/ 0 h 46"/>
              <a:gd name="T44" fmla="*/ 2147483647 w 98"/>
              <a:gd name="T45" fmla="*/ 2147483647 h 46"/>
              <a:gd name="T46" fmla="*/ 2147483647 w 98"/>
              <a:gd name="T47" fmla="*/ 2147483647 h 46"/>
              <a:gd name="T48" fmla="*/ 2147483647 w 98"/>
              <a:gd name="T49" fmla="*/ 2147483647 h 46"/>
              <a:gd name="T50" fmla="*/ 2147483647 w 98"/>
              <a:gd name="T51" fmla="*/ 2147483647 h 46"/>
              <a:gd name="T52" fmla="*/ 2147483647 w 98"/>
              <a:gd name="T53" fmla="*/ 2147483647 h 46"/>
              <a:gd name="T54" fmla="*/ 2147483647 w 98"/>
              <a:gd name="T55" fmla="*/ 2147483647 h 46"/>
              <a:gd name="T56" fmla="*/ 2147483647 w 98"/>
              <a:gd name="T57" fmla="*/ 2147483647 h 46"/>
              <a:gd name="T58" fmla="*/ 2147483647 w 98"/>
              <a:gd name="T59" fmla="*/ 2147483647 h 46"/>
              <a:gd name="T60" fmla="*/ 0 w 98"/>
              <a:gd name="T61" fmla="*/ 2147483647 h 46"/>
              <a:gd name="T62" fmla="*/ 2147483647 w 98"/>
              <a:gd name="T63" fmla="*/ 2147483647 h 46"/>
              <a:gd name="T64" fmla="*/ 2147483647 w 98"/>
              <a:gd name="T65" fmla="*/ 2147483647 h 46"/>
              <a:gd name="T66" fmla="*/ 2147483647 w 98"/>
              <a:gd name="T67" fmla="*/ 2147483647 h 46"/>
              <a:gd name="T68" fmla="*/ 2147483647 w 98"/>
              <a:gd name="T69" fmla="*/ 2147483647 h 46"/>
              <a:gd name="T70" fmla="*/ 2147483647 w 98"/>
              <a:gd name="T71" fmla="*/ 2147483647 h 4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98"/>
              <a:gd name="T109" fmla="*/ 0 h 46"/>
              <a:gd name="T110" fmla="*/ 98 w 98"/>
              <a:gd name="T111" fmla="*/ 46 h 4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98" h="46">
                <a:moveTo>
                  <a:pt x="31" y="43"/>
                </a:moveTo>
                <a:lnTo>
                  <a:pt x="31" y="43"/>
                </a:lnTo>
                <a:lnTo>
                  <a:pt x="37" y="37"/>
                </a:lnTo>
                <a:lnTo>
                  <a:pt x="34" y="46"/>
                </a:lnTo>
                <a:lnTo>
                  <a:pt x="46" y="46"/>
                </a:lnTo>
                <a:lnTo>
                  <a:pt x="49" y="37"/>
                </a:lnTo>
                <a:lnTo>
                  <a:pt x="49" y="35"/>
                </a:lnTo>
                <a:lnTo>
                  <a:pt x="46" y="29"/>
                </a:lnTo>
                <a:lnTo>
                  <a:pt x="54" y="20"/>
                </a:lnTo>
                <a:lnTo>
                  <a:pt x="57" y="17"/>
                </a:lnTo>
                <a:lnTo>
                  <a:pt x="63" y="15"/>
                </a:lnTo>
                <a:lnTo>
                  <a:pt x="66" y="15"/>
                </a:lnTo>
                <a:lnTo>
                  <a:pt x="72" y="17"/>
                </a:lnTo>
                <a:lnTo>
                  <a:pt x="77" y="20"/>
                </a:lnTo>
                <a:lnTo>
                  <a:pt x="80" y="26"/>
                </a:lnTo>
                <a:lnTo>
                  <a:pt x="80" y="29"/>
                </a:lnTo>
                <a:lnTo>
                  <a:pt x="80" y="37"/>
                </a:lnTo>
                <a:lnTo>
                  <a:pt x="86" y="46"/>
                </a:lnTo>
                <a:lnTo>
                  <a:pt x="89" y="37"/>
                </a:lnTo>
                <a:lnTo>
                  <a:pt x="95" y="37"/>
                </a:lnTo>
                <a:lnTo>
                  <a:pt x="98" y="32"/>
                </a:lnTo>
                <a:lnTo>
                  <a:pt x="92" y="23"/>
                </a:lnTo>
                <a:lnTo>
                  <a:pt x="98" y="17"/>
                </a:lnTo>
                <a:lnTo>
                  <a:pt x="95" y="15"/>
                </a:lnTo>
                <a:lnTo>
                  <a:pt x="83" y="6"/>
                </a:lnTo>
                <a:lnTo>
                  <a:pt x="69" y="6"/>
                </a:lnTo>
                <a:lnTo>
                  <a:pt x="69" y="3"/>
                </a:lnTo>
                <a:lnTo>
                  <a:pt x="69" y="0"/>
                </a:lnTo>
                <a:lnTo>
                  <a:pt x="63" y="0"/>
                </a:lnTo>
                <a:lnTo>
                  <a:pt x="60" y="0"/>
                </a:lnTo>
                <a:lnTo>
                  <a:pt x="54" y="6"/>
                </a:lnTo>
                <a:lnTo>
                  <a:pt x="52" y="9"/>
                </a:lnTo>
                <a:lnTo>
                  <a:pt x="46" y="9"/>
                </a:lnTo>
                <a:lnTo>
                  <a:pt x="40" y="12"/>
                </a:lnTo>
                <a:lnTo>
                  <a:pt x="31" y="17"/>
                </a:lnTo>
                <a:lnTo>
                  <a:pt x="23" y="15"/>
                </a:lnTo>
                <a:lnTo>
                  <a:pt x="17" y="9"/>
                </a:lnTo>
                <a:lnTo>
                  <a:pt x="11" y="3"/>
                </a:lnTo>
                <a:lnTo>
                  <a:pt x="6" y="3"/>
                </a:lnTo>
                <a:lnTo>
                  <a:pt x="6" y="6"/>
                </a:lnTo>
                <a:lnTo>
                  <a:pt x="6" y="15"/>
                </a:lnTo>
                <a:lnTo>
                  <a:pt x="3" y="17"/>
                </a:lnTo>
                <a:lnTo>
                  <a:pt x="0" y="32"/>
                </a:lnTo>
                <a:lnTo>
                  <a:pt x="3" y="35"/>
                </a:lnTo>
                <a:lnTo>
                  <a:pt x="9" y="29"/>
                </a:lnTo>
                <a:lnTo>
                  <a:pt x="17" y="29"/>
                </a:lnTo>
                <a:lnTo>
                  <a:pt x="23" y="32"/>
                </a:lnTo>
                <a:lnTo>
                  <a:pt x="26" y="40"/>
                </a:lnTo>
                <a:lnTo>
                  <a:pt x="29" y="43"/>
                </a:lnTo>
                <a:lnTo>
                  <a:pt x="31" y="4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606" name="Freeform 712"/>
          <p:cNvSpPr>
            <a:spLocks/>
          </p:cNvSpPr>
          <p:nvPr/>
        </p:nvSpPr>
        <p:spPr bwMode="gray">
          <a:xfrm>
            <a:off x="2328419" y="3367592"/>
            <a:ext cx="162030" cy="121503"/>
          </a:xfrm>
          <a:custGeom>
            <a:avLst/>
            <a:gdLst>
              <a:gd name="T0" fmla="*/ 2147483647 w 81"/>
              <a:gd name="T1" fmla="*/ 2147483647 h 80"/>
              <a:gd name="T2" fmla="*/ 2147483647 w 81"/>
              <a:gd name="T3" fmla="*/ 2147483647 h 80"/>
              <a:gd name="T4" fmla="*/ 2147483647 w 81"/>
              <a:gd name="T5" fmla="*/ 2147483647 h 80"/>
              <a:gd name="T6" fmla="*/ 2147483647 w 81"/>
              <a:gd name="T7" fmla="*/ 2147483647 h 80"/>
              <a:gd name="T8" fmla="*/ 2147483647 w 81"/>
              <a:gd name="T9" fmla="*/ 2147483647 h 80"/>
              <a:gd name="T10" fmla="*/ 2147483647 w 81"/>
              <a:gd name="T11" fmla="*/ 2147483647 h 80"/>
              <a:gd name="T12" fmla="*/ 2147483647 w 81"/>
              <a:gd name="T13" fmla="*/ 2147483647 h 80"/>
              <a:gd name="T14" fmla="*/ 2147483647 w 81"/>
              <a:gd name="T15" fmla="*/ 2147483647 h 80"/>
              <a:gd name="T16" fmla="*/ 2147483647 w 81"/>
              <a:gd name="T17" fmla="*/ 2147483647 h 80"/>
              <a:gd name="T18" fmla="*/ 2147483647 w 81"/>
              <a:gd name="T19" fmla="*/ 2147483647 h 80"/>
              <a:gd name="T20" fmla="*/ 2147483647 w 81"/>
              <a:gd name="T21" fmla="*/ 2147483647 h 80"/>
              <a:gd name="T22" fmla="*/ 2147483647 w 81"/>
              <a:gd name="T23" fmla="*/ 2147483647 h 80"/>
              <a:gd name="T24" fmla="*/ 2147483647 w 81"/>
              <a:gd name="T25" fmla="*/ 2147483647 h 80"/>
              <a:gd name="T26" fmla="*/ 2147483647 w 81"/>
              <a:gd name="T27" fmla="*/ 2147483647 h 80"/>
              <a:gd name="T28" fmla="*/ 2147483647 w 81"/>
              <a:gd name="T29" fmla="*/ 2147483647 h 80"/>
              <a:gd name="T30" fmla="*/ 2147483647 w 81"/>
              <a:gd name="T31" fmla="*/ 2147483647 h 80"/>
              <a:gd name="T32" fmla="*/ 2147483647 w 81"/>
              <a:gd name="T33" fmla="*/ 2147483647 h 80"/>
              <a:gd name="T34" fmla="*/ 2147483647 w 81"/>
              <a:gd name="T35" fmla="*/ 2147483647 h 80"/>
              <a:gd name="T36" fmla="*/ 2147483647 w 81"/>
              <a:gd name="T37" fmla="*/ 2147483647 h 80"/>
              <a:gd name="T38" fmla="*/ 2147483647 w 81"/>
              <a:gd name="T39" fmla="*/ 2147483647 h 80"/>
              <a:gd name="T40" fmla="*/ 2147483647 w 81"/>
              <a:gd name="T41" fmla="*/ 2147483647 h 80"/>
              <a:gd name="T42" fmla="*/ 2147483647 w 81"/>
              <a:gd name="T43" fmla="*/ 2147483647 h 80"/>
              <a:gd name="T44" fmla="*/ 2147483647 w 81"/>
              <a:gd name="T45" fmla="*/ 2147483647 h 80"/>
              <a:gd name="T46" fmla="*/ 2147483647 w 81"/>
              <a:gd name="T47" fmla="*/ 2147483647 h 80"/>
              <a:gd name="T48" fmla="*/ 2147483647 w 81"/>
              <a:gd name="T49" fmla="*/ 0 h 80"/>
              <a:gd name="T50" fmla="*/ 2147483647 w 81"/>
              <a:gd name="T51" fmla="*/ 2147483647 h 80"/>
              <a:gd name="T52" fmla="*/ 2147483647 w 81"/>
              <a:gd name="T53" fmla="*/ 2147483647 h 80"/>
              <a:gd name="T54" fmla="*/ 2147483647 w 81"/>
              <a:gd name="T55" fmla="*/ 2147483647 h 80"/>
              <a:gd name="T56" fmla="*/ 2147483647 w 81"/>
              <a:gd name="T57" fmla="*/ 2147483647 h 80"/>
              <a:gd name="T58" fmla="*/ 2147483647 w 81"/>
              <a:gd name="T59" fmla="*/ 2147483647 h 80"/>
              <a:gd name="T60" fmla="*/ 2147483647 w 81"/>
              <a:gd name="T61" fmla="*/ 2147483647 h 80"/>
              <a:gd name="T62" fmla="*/ 2147483647 w 81"/>
              <a:gd name="T63" fmla="*/ 2147483647 h 80"/>
              <a:gd name="T64" fmla="*/ 2147483647 w 81"/>
              <a:gd name="T65" fmla="*/ 2147483647 h 80"/>
              <a:gd name="T66" fmla="*/ 0 w 81"/>
              <a:gd name="T67" fmla="*/ 2147483647 h 80"/>
              <a:gd name="T68" fmla="*/ 0 w 81"/>
              <a:gd name="T69" fmla="*/ 2147483647 h 80"/>
              <a:gd name="T70" fmla="*/ 2147483647 w 81"/>
              <a:gd name="T71" fmla="*/ 2147483647 h 80"/>
              <a:gd name="T72" fmla="*/ 2147483647 w 81"/>
              <a:gd name="T73" fmla="*/ 2147483647 h 80"/>
              <a:gd name="T74" fmla="*/ 2147483647 w 81"/>
              <a:gd name="T75" fmla="*/ 2147483647 h 80"/>
              <a:gd name="T76" fmla="*/ 2147483647 w 81"/>
              <a:gd name="T77" fmla="*/ 2147483647 h 80"/>
              <a:gd name="T78" fmla="*/ 2147483647 w 81"/>
              <a:gd name="T79" fmla="*/ 2147483647 h 80"/>
              <a:gd name="T80" fmla="*/ 2147483647 w 81"/>
              <a:gd name="T81" fmla="*/ 2147483647 h 80"/>
              <a:gd name="T82" fmla="*/ 2147483647 w 81"/>
              <a:gd name="T83" fmla="*/ 2147483647 h 80"/>
              <a:gd name="T84" fmla="*/ 2147483647 w 81"/>
              <a:gd name="T85" fmla="*/ 2147483647 h 80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81"/>
              <a:gd name="T130" fmla="*/ 0 h 80"/>
              <a:gd name="T131" fmla="*/ 81 w 81"/>
              <a:gd name="T132" fmla="*/ 80 h 80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81" h="80">
                <a:moveTo>
                  <a:pt x="35" y="69"/>
                </a:moveTo>
                <a:lnTo>
                  <a:pt x="29" y="66"/>
                </a:lnTo>
                <a:lnTo>
                  <a:pt x="29" y="57"/>
                </a:lnTo>
                <a:lnTo>
                  <a:pt x="37" y="63"/>
                </a:lnTo>
                <a:lnTo>
                  <a:pt x="46" y="72"/>
                </a:lnTo>
                <a:lnTo>
                  <a:pt x="43" y="74"/>
                </a:lnTo>
                <a:lnTo>
                  <a:pt x="52" y="72"/>
                </a:lnTo>
                <a:lnTo>
                  <a:pt x="58" y="80"/>
                </a:lnTo>
                <a:lnTo>
                  <a:pt x="66" y="77"/>
                </a:lnTo>
                <a:lnTo>
                  <a:pt x="66" y="74"/>
                </a:lnTo>
                <a:lnTo>
                  <a:pt x="66" y="69"/>
                </a:lnTo>
                <a:lnTo>
                  <a:pt x="66" y="57"/>
                </a:lnTo>
                <a:lnTo>
                  <a:pt x="72" y="46"/>
                </a:lnTo>
                <a:lnTo>
                  <a:pt x="72" y="37"/>
                </a:lnTo>
                <a:lnTo>
                  <a:pt x="75" y="23"/>
                </a:lnTo>
                <a:lnTo>
                  <a:pt x="81" y="11"/>
                </a:lnTo>
                <a:lnTo>
                  <a:pt x="81" y="6"/>
                </a:lnTo>
                <a:lnTo>
                  <a:pt x="81" y="0"/>
                </a:lnTo>
                <a:lnTo>
                  <a:pt x="75" y="3"/>
                </a:lnTo>
                <a:lnTo>
                  <a:pt x="58" y="8"/>
                </a:lnTo>
                <a:lnTo>
                  <a:pt x="49" y="3"/>
                </a:lnTo>
                <a:lnTo>
                  <a:pt x="43" y="14"/>
                </a:lnTo>
                <a:lnTo>
                  <a:pt x="35" y="20"/>
                </a:lnTo>
                <a:lnTo>
                  <a:pt x="26" y="23"/>
                </a:lnTo>
                <a:lnTo>
                  <a:pt x="17" y="31"/>
                </a:lnTo>
                <a:lnTo>
                  <a:pt x="6" y="40"/>
                </a:lnTo>
                <a:lnTo>
                  <a:pt x="0" y="43"/>
                </a:lnTo>
                <a:lnTo>
                  <a:pt x="3" y="46"/>
                </a:lnTo>
                <a:lnTo>
                  <a:pt x="9" y="51"/>
                </a:lnTo>
                <a:lnTo>
                  <a:pt x="15" y="54"/>
                </a:lnTo>
                <a:lnTo>
                  <a:pt x="17" y="60"/>
                </a:lnTo>
                <a:lnTo>
                  <a:pt x="26" y="72"/>
                </a:lnTo>
                <a:lnTo>
                  <a:pt x="35" y="6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607" name="Freeform 713"/>
          <p:cNvSpPr>
            <a:spLocks/>
          </p:cNvSpPr>
          <p:nvPr/>
        </p:nvSpPr>
        <p:spPr bwMode="gray">
          <a:xfrm>
            <a:off x="2380429" y="3480094"/>
            <a:ext cx="22005" cy="4501"/>
          </a:xfrm>
          <a:custGeom>
            <a:avLst/>
            <a:gdLst>
              <a:gd name="T0" fmla="*/ 2147483647 w 11"/>
              <a:gd name="T1" fmla="*/ 2147483647 h 3"/>
              <a:gd name="T2" fmla="*/ 2147483647 w 11"/>
              <a:gd name="T3" fmla="*/ 0 h 3"/>
              <a:gd name="T4" fmla="*/ 0 w 11"/>
              <a:gd name="T5" fmla="*/ 0 h 3"/>
              <a:gd name="T6" fmla="*/ 0 w 11"/>
              <a:gd name="T7" fmla="*/ 0 h 3"/>
              <a:gd name="T8" fmla="*/ 2147483647 w 11"/>
              <a:gd name="T9" fmla="*/ 2147483647 h 3"/>
              <a:gd name="T10" fmla="*/ 2147483647 w 11"/>
              <a:gd name="T11" fmla="*/ 2147483647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1"/>
              <a:gd name="T19" fmla="*/ 0 h 3"/>
              <a:gd name="T20" fmla="*/ 11 w 11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1" h="3">
                <a:moveTo>
                  <a:pt x="3" y="3"/>
                </a:moveTo>
                <a:lnTo>
                  <a:pt x="11" y="0"/>
                </a:lnTo>
                <a:lnTo>
                  <a:pt x="0" y="0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608" name="Freeform 714"/>
          <p:cNvSpPr>
            <a:spLocks/>
          </p:cNvSpPr>
          <p:nvPr/>
        </p:nvSpPr>
        <p:spPr bwMode="gray">
          <a:xfrm>
            <a:off x="2386431" y="3484595"/>
            <a:ext cx="98017" cy="79502"/>
          </a:xfrm>
          <a:custGeom>
            <a:avLst/>
            <a:gdLst>
              <a:gd name="T0" fmla="*/ 2147483647 w 49"/>
              <a:gd name="T1" fmla="*/ 2147483647 h 52"/>
              <a:gd name="T2" fmla="*/ 2147483647 w 49"/>
              <a:gd name="T3" fmla="*/ 2147483647 h 52"/>
              <a:gd name="T4" fmla="*/ 2147483647 w 49"/>
              <a:gd name="T5" fmla="*/ 2147483647 h 52"/>
              <a:gd name="T6" fmla="*/ 2147483647 w 49"/>
              <a:gd name="T7" fmla="*/ 2147483647 h 52"/>
              <a:gd name="T8" fmla="*/ 2147483647 w 49"/>
              <a:gd name="T9" fmla="*/ 2147483647 h 52"/>
              <a:gd name="T10" fmla="*/ 2147483647 w 49"/>
              <a:gd name="T11" fmla="*/ 2147483647 h 52"/>
              <a:gd name="T12" fmla="*/ 2147483647 w 49"/>
              <a:gd name="T13" fmla="*/ 2147483647 h 52"/>
              <a:gd name="T14" fmla="*/ 2147483647 w 49"/>
              <a:gd name="T15" fmla="*/ 2147483647 h 52"/>
              <a:gd name="T16" fmla="*/ 2147483647 w 49"/>
              <a:gd name="T17" fmla="*/ 2147483647 h 52"/>
              <a:gd name="T18" fmla="*/ 2147483647 w 49"/>
              <a:gd name="T19" fmla="*/ 2147483647 h 52"/>
              <a:gd name="T20" fmla="*/ 2147483647 w 49"/>
              <a:gd name="T21" fmla="*/ 0 h 52"/>
              <a:gd name="T22" fmla="*/ 2147483647 w 49"/>
              <a:gd name="T23" fmla="*/ 2147483647 h 52"/>
              <a:gd name="T24" fmla="*/ 0 w 49"/>
              <a:gd name="T25" fmla="*/ 2147483647 h 52"/>
              <a:gd name="T26" fmla="*/ 0 w 49"/>
              <a:gd name="T27" fmla="*/ 2147483647 h 52"/>
              <a:gd name="T28" fmla="*/ 0 w 49"/>
              <a:gd name="T29" fmla="*/ 2147483647 h 52"/>
              <a:gd name="T30" fmla="*/ 0 w 49"/>
              <a:gd name="T31" fmla="*/ 2147483647 h 52"/>
              <a:gd name="T32" fmla="*/ 0 w 49"/>
              <a:gd name="T33" fmla="*/ 2147483647 h 52"/>
              <a:gd name="T34" fmla="*/ 2147483647 w 49"/>
              <a:gd name="T35" fmla="*/ 2147483647 h 52"/>
              <a:gd name="T36" fmla="*/ 2147483647 w 49"/>
              <a:gd name="T37" fmla="*/ 2147483647 h 52"/>
              <a:gd name="T38" fmla="*/ 2147483647 w 49"/>
              <a:gd name="T39" fmla="*/ 2147483647 h 52"/>
              <a:gd name="T40" fmla="*/ 2147483647 w 49"/>
              <a:gd name="T41" fmla="*/ 2147483647 h 52"/>
              <a:gd name="T42" fmla="*/ 2147483647 w 49"/>
              <a:gd name="T43" fmla="*/ 2147483647 h 52"/>
              <a:gd name="T44" fmla="*/ 2147483647 w 49"/>
              <a:gd name="T45" fmla="*/ 2147483647 h 52"/>
              <a:gd name="T46" fmla="*/ 2147483647 w 49"/>
              <a:gd name="T47" fmla="*/ 2147483647 h 52"/>
              <a:gd name="T48" fmla="*/ 2147483647 w 49"/>
              <a:gd name="T49" fmla="*/ 2147483647 h 52"/>
              <a:gd name="T50" fmla="*/ 2147483647 w 49"/>
              <a:gd name="T51" fmla="*/ 2147483647 h 52"/>
              <a:gd name="T52" fmla="*/ 2147483647 w 49"/>
              <a:gd name="T53" fmla="*/ 2147483647 h 52"/>
              <a:gd name="T54" fmla="*/ 2147483647 w 49"/>
              <a:gd name="T55" fmla="*/ 2147483647 h 52"/>
              <a:gd name="T56" fmla="*/ 2147483647 w 49"/>
              <a:gd name="T57" fmla="*/ 2147483647 h 52"/>
              <a:gd name="T58" fmla="*/ 2147483647 w 49"/>
              <a:gd name="T59" fmla="*/ 2147483647 h 52"/>
              <a:gd name="T60" fmla="*/ 2147483647 w 49"/>
              <a:gd name="T61" fmla="*/ 2147483647 h 52"/>
              <a:gd name="T62" fmla="*/ 2147483647 w 49"/>
              <a:gd name="T63" fmla="*/ 2147483647 h 52"/>
              <a:gd name="T64" fmla="*/ 2147483647 w 49"/>
              <a:gd name="T65" fmla="*/ 2147483647 h 52"/>
              <a:gd name="T66" fmla="*/ 2147483647 w 49"/>
              <a:gd name="T67" fmla="*/ 2147483647 h 52"/>
              <a:gd name="T68" fmla="*/ 2147483647 w 49"/>
              <a:gd name="T69" fmla="*/ 2147483647 h 52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49"/>
              <a:gd name="T106" fmla="*/ 0 h 52"/>
              <a:gd name="T107" fmla="*/ 49 w 49"/>
              <a:gd name="T108" fmla="*/ 52 h 52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49" h="52">
                <a:moveTo>
                  <a:pt x="46" y="32"/>
                </a:moveTo>
                <a:lnTo>
                  <a:pt x="43" y="26"/>
                </a:lnTo>
                <a:lnTo>
                  <a:pt x="49" y="26"/>
                </a:lnTo>
                <a:lnTo>
                  <a:pt x="40" y="12"/>
                </a:lnTo>
                <a:lnTo>
                  <a:pt x="34" y="6"/>
                </a:lnTo>
                <a:lnTo>
                  <a:pt x="40" y="6"/>
                </a:lnTo>
                <a:lnTo>
                  <a:pt x="37" y="3"/>
                </a:lnTo>
                <a:lnTo>
                  <a:pt x="29" y="6"/>
                </a:lnTo>
                <a:lnTo>
                  <a:pt x="23" y="0"/>
                </a:lnTo>
                <a:lnTo>
                  <a:pt x="17" y="3"/>
                </a:lnTo>
                <a:lnTo>
                  <a:pt x="0" y="3"/>
                </a:lnTo>
                <a:lnTo>
                  <a:pt x="0" y="6"/>
                </a:lnTo>
                <a:lnTo>
                  <a:pt x="0" y="20"/>
                </a:lnTo>
                <a:lnTo>
                  <a:pt x="8" y="26"/>
                </a:lnTo>
                <a:lnTo>
                  <a:pt x="8" y="20"/>
                </a:lnTo>
                <a:lnTo>
                  <a:pt x="11" y="15"/>
                </a:lnTo>
                <a:lnTo>
                  <a:pt x="14" y="15"/>
                </a:lnTo>
                <a:lnTo>
                  <a:pt x="17" y="20"/>
                </a:lnTo>
                <a:lnTo>
                  <a:pt x="20" y="26"/>
                </a:lnTo>
                <a:lnTo>
                  <a:pt x="23" y="29"/>
                </a:lnTo>
                <a:lnTo>
                  <a:pt x="31" y="35"/>
                </a:lnTo>
                <a:lnTo>
                  <a:pt x="34" y="46"/>
                </a:lnTo>
                <a:lnTo>
                  <a:pt x="37" y="52"/>
                </a:lnTo>
                <a:lnTo>
                  <a:pt x="40" y="46"/>
                </a:lnTo>
                <a:lnTo>
                  <a:pt x="43" y="49"/>
                </a:lnTo>
                <a:lnTo>
                  <a:pt x="43" y="43"/>
                </a:lnTo>
                <a:lnTo>
                  <a:pt x="46" y="41"/>
                </a:lnTo>
                <a:lnTo>
                  <a:pt x="46" y="3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527" name="Freeform 715"/>
          <p:cNvSpPr>
            <a:spLocks/>
          </p:cNvSpPr>
          <p:nvPr/>
        </p:nvSpPr>
        <p:spPr bwMode="gray">
          <a:xfrm>
            <a:off x="3070554" y="5041637"/>
            <a:ext cx="4001" cy="9000"/>
          </a:xfrm>
          <a:custGeom>
            <a:avLst/>
            <a:gdLst>
              <a:gd name="T0" fmla="*/ 0 w 2"/>
              <a:gd name="T1" fmla="*/ 2147483647 h 6"/>
              <a:gd name="T2" fmla="*/ 0 w 2"/>
              <a:gd name="T3" fmla="*/ 0 h 6"/>
              <a:gd name="T4" fmla="*/ 0 w 2"/>
              <a:gd name="T5" fmla="*/ 2147483647 h 6"/>
              <a:gd name="T6" fmla="*/ 2147483647 w 2"/>
              <a:gd name="T7" fmla="*/ 2147483647 h 6"/>
              <a:gd name="T8" fmla="*/ 2147483647 w 2"/>
              <a:gd name="T9" fmla="*/ 2147483647 h 6"/>
              <a:gd name="T10" fmla="*/ 0 w 2"/>
              <a:gd name="T11" fmla="*/ 2147483647 h 6"/>
              <a:gd name="T12" fmla="*/ 0 w 2"/>
              <a:gd name="T13" fmla="*/ 2147483647 h 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"/>
              <a:gd name="T22" fmla="*/ 0 h 6"/>
              <a:gd name="T23" fmla="*/ 2 w 2"/>
              <a:gd name="T24" fmla="*/ 6 h 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" h="6">
                <a:moveTo>
                  <a:pt x="0" y="3"/>
                </a:moveTo>
                <a:lnTo>
                  <a:pt x="0" y="0"/>
                </a:lnTo>
                <a:lnTo>
                  <a:pt x="0" y="6"/>
                </a:lnTo>
                <a:lnTo>
                  <a:pt x="2" y="6"/>
                </a:lnTo>
                <a:lnTo>
                  <a:pt x="2" y="3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610" name="Freeform 716"/>
          <p:cNvSpPr>
            <a:spLocks/>
          </p:cNvSpPr>
          <p:nvPr/>
        </p:nvSpPr>
        <p:spPr bwMode="gray">
          <a:xfrm>
            <a:off x="2948532" y="4329117"/>
            <a:ext cx="238043" cy="931526"/>
          </a:xfrm>
          <a:custGeom>
            <a:avLst/>
            <a:gdLst>
              <a:gd name="T0" fmla="*/ 2147483647 w 118"/>
              <a:gd name="T1" fmla="*/ 2147483647 h 615"/>
              <a:gd name="T2" fmla="*/ 2147483647 w 118"/>
              <a:gd name="T3" fmla="*/ 2147483647 h 615"/>
              <a:gd name="T4" fmla="*/ 2147483647 w 118"/>
              <a:gd name="T5" fmla="*/ 2147483647 h 615"/>
              <a:gd name="T6" fmla="*/ 2147483647 w 118"/>
              <a:gd name="T7" fmla="*/ 2147483647 h 615"/>
              <a:gd name="T8" fmla="*/ 2147483647 w 118"/>
              <a:gd name="T9" fmla="*/ 2147483647 h 615"/>
              <a:gd name="T10" fmla="*/ 2147483647 w 118"/>
              <a:gd name="T11" fmla="*/ 2147483647 h 615"/>
              <a:gd name="T12" fmla="*/ 2147483647 w 118"/>
              <a:gd name="T13" fmla="*/ 2147483647 h 615"/>
              <a:gd name="T14" fmla="*/ 2147483647 w 118"/>
              <a:gd name="T15" fmla="*/ 2147483647 h 615"/>
              <a:gd name="T16" fmla="*/ 2147483647 w 118"/>
              <a:gd name="T17" fmla="*/ 2147483647 h 615"/>
              <a:gd name="T18" fmla="*/ 2147483647 w 118"/>
              <a:gd name="T19" fmla="*/ 2147483647 h 615"/>
              <a:gd name="T20" fmla="*/ 2147483647 w 118"/>
              <a:gd name="T21" fmla="*/ 2147483647 h 615"/>
              <a:gd name="T22" fmla="*/ 2147483647 w 118"/>
              <a:gd name="T23" fmla="*/ 2147483647 h 615"/>
              <a:gd name="T24" fmla="*/ 2147483647 w 118"/>
              <a:gd name="T25" fmla="*/ 2147483647 h 615"/>
              <a:gd name="T26" fmla="*/ 2147483647 w 118"/>
              <a:gd name="T27" fmla="*/ 2147483647 h 615"/>
              <a:gd name="T28" fmla="*/ 2147483647 w 118"/>
              <a:gd name="T29" fmla="*/ 2147483647 h 615"/>
              <a:gd name="T30" fmla="*/ 2147483647 w 118"/>
              <a:gd name="T31" fmla="*/ 2147483647 h 615"/>
              <a:gd name="T32" fmla="*/ 2147483647 w 118"/>
              <a:gd name="T33" fmla="*/ 2147483647 h 615"/>
              <a:gd name="T34" fmla="*/ 2147483647 w 118"/>
              <a:gd name="T35" fmla="*/ 2147483647 h 615"/>
              <a:gd name="T36" fmla="*/ 2147483647 w 118"/>
              <a:gd name="T37" fmla="*/ 2147483647 h 615"/>
              <a:gd name="T38" fmla="*/ 2147483647 w 118"/>
              <a:gd name="T39" fmla="*/ 2147483647 h 615"/>
              <a:gd name="T40" fmla="*/ 2147483647 w 118"/>
              <a:gd name="T41" fmla="*/ 2147483647 h 615"/>
              <a:gd name="T42" fmla="*/ 2147483647 w 118"/>
              <a:gd name="T43" fmla="*/ 2147483647 h 615"/>
              <a:gd name="T44" fmla="*/ 2147483647 w 118"/>
              <a:gd name="T45" fmla="*/ 2147483647 h 615"/>
              <a:gd name="T46" fmla="*/ 2147483647 w 118"/>
              <a:gd name="T47" fmla="*/ 2147483647 h 615"/>
              <a:gd name="T48" fmla="*/ 2147483647 w 118"/>
              <a:gd name="T49" fmla="*/ 2147483647 h 615"/>
              <a:gd name="T50" fmla="*/ 2147483647 w 118"/>
              <a:gd name="T51" fmla="*/ 2147483647 h 615"/>
              <a:gd name="T52" fmla="*/ 2147483647 w 118"/>
              <a:gd name="T53" fmla="*/ 2147483647 h 615"/>
              <a:gd name="T54" fmla="*/ 2147483647 w 118"/>
              <a:gd name="T55" fmla="*/ 2147483647 h 615"/>
              <a:gd name="T56" fmla="*/ 2147483647 w 118"/>
              <a:gd name="T57" fmla="*/ 2147483647 h 615"/>
              <a:gd name="T58" fmla="*/ 2147483647 w 118"/>
              <a:gd name="T59" fmla="*/ 2147483647 h 615"/>
              <a:gd name="T60" fmla="*/ 2147483647 w 118"/>
              <a:gd name="T61" fmla="*/ 2147483647 h 615"/>
              <a:gd name="T62" fmla="*/ 2147483647 w 118"/>
              <a:gd name="T63" fmla="*/ 2147483647 h 615"/>
              <a:gd name="T64" fmla="*/ 2147483647 w 118"/>
              <a:gd name="T65" fmla="*/ 2147483647 h 615"/>
              <a:gd name="T66" fmla="*/ 2147483647 w 118"/>
              <a:gd name="T67" fmla="*/ 2147483647 h 615"/>
              <a:gd name="T68" fmla="*/ 2147483647 w 118"/>
              <a:gd name="T69" fmla="*/ 2147483647 h 615"/>
              <a:gd name="T70" fmla="*/ 2147483647 w 118"/>
              <a:gd name="T71" fmla="*/ 2147483647 h 615"/>
              <a:gd name="T72" fmla="*/ 2147483647 w 118"/>
              <a:gd name="T73" fmla="*/ 2147483647 h 615"/>
              <a:gd name="T74" fmla="*/ 2147483647 w 118"/>
              <a:gd name="T75" fmla="*/ 2147483647 h 615"/>
              <a:gd name="T76" fmla="*/ 2147483647 w 118"/>
              <a:gd name="T77" fmla="*/ 2147483647 h 615"/>
              <a:gd name="T78" fmla="*/ 2147483647 w 118"/>
              <a:gd name="T79" fmla="*/ 2147483647 h 615"/>
              <a:gd name="T80" fmla="*/ 2147483647 w 118"/>
              <a:gd name="T81" fmla="*/ 2147483647 h 615"/>
              <a:gd name="T82" fmla="*/ 2147483647 w 118"/>
              <a:gd name="T83" fmla="*/ 2147483647 h 615"/>
              <a:gd name="T84" fmla="*/ 2147483647 w 118"/>
              <a:gd name="T85" fmla="*/ 2147483647 h 615"/>
              <a:gd name="T86" fmla="*/ 2147483647 w 118"/>
              <a:gd name="T87" fmla="*/ 2147483647 h 615"/>
              <a:gd name="T88" fmla="*/ 2147483647 w 118"/>
              <a:gd name="T89" fmla="*/ 2147483647 h 615"/>
              <a:gd name="T90" fmla="*/ 2147483647 w 118"/>
              <a:gd name="T91" fmla="*/ 2147483647 h 615"/>
              <a:gd name="T92" fmla="*/ 2147483647 w 118"/>
              <a:gd name="T93" fmla="*/ 2147483647 h 615"/>
              <a:gd name="T94" fmla="*/ 2147483647 w 118"/>
              <a:gd name="T95" fmla="*/ 2147483647 h 615"/>
              <a:gd name="T96" fmla="*/ 2147483647 w 118"/>
              <a:gd name="T97" fmla="*/ 2147483647 h 615"/>
              <a:gd name="T98" fmla="*/ 2147483647 w 118"/>
              <a:gd name="T99" fmla="*/ 2147483647 h 615"/>
              <a:gd name="T100" fmla="*/ 2147483647 w 118"/>
              <a:gd name="T101" fmla="*/ 2147483647 h 615"/>
              <a:gd name="T102" fmla="*/ 2147483647 w 118"/>
              <a:gd name="T103" fmla="*/ 2147483647 h 615"/>
              <a:gd name="T104" fmla="*/ 2147483647 w 118"/>
              <a:gd name="T105" fmla="*/ 2147483647 h 615"/>
              <a:gd name="T106" fmla="*/ 2147483647 w 118"/>
              <a:gd name="T107" fmla="*/ 2147483647 h 615"/>
              <a:gd name="T108" fmla="*/ 2147483647 w 118"/>
              <a:gd name="T109" fmla="*/ 2147483647 h 615"/>
              <a:gd name="T110" fmla="*/ 2147483647 w 118"/>
              <a:gd name="T111" fmla="*/ 2147483647 h 615"/>
              <a:gd name="T112" fmla="*/ 2147483647 w 118"/>
              <a:gd name="T113" fmla="*/ 2147483647 h 615"/>
              <a:gd name="T114" fmla="*/ 2147483647 w 118"/>
              <a:gd name="T115" fmla="*/ 2147483647 h 615"/>
              <a:gd name="T116" fmla="*/ 2147483647 w 118"/>
              <a:gd name="T117" fmla="*/ 2147483647 h 615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18"/>
              <a:gd name="T178" fmla="*/ 0 h 615"/>
              <a:gd name="T179" fmla="*/ 118 w 118"/>
              <a:gd name="T180" fmla="*/ 615 h 615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18" h="615">
                <a:moveTo>
                  <a:pt x="55" y="503"/>
                </a:moveTo>
                <a:lnTo>
                  <a:pt x="55" y="503"/>
                </a:lnTo>
                <a:lnTo>
                  <a:pt x="58" y="497"/>
                </a:lnTo>
                <a:lnTo>
                  <a:pt x="61" y="494"/>
                </a:lnTo>
                <a:lnTo>
                  <a:pt x="58" y="491"/>
                </a:lnTo>
                <a:lnTo>
                  <a:pt x="55" y="485"/>
                </a:lnTo>
                <a:lnTo>
                  <a:pt x="55" y="483"/>
                </a:lnTo>
                <a:lnTo>
                  <a:pt x="52" y="471"/>
                </a:lnTo>
                <a:lnTo>
                  <a:pt x="55" y="468"/>
                </a:lnTo>
                <a:lnTo>
                  <a:pt x="58" y="468"/>
                </a:lnTo>
                <a:lnTo>
                  <a:pt x="61" y="471"/>
                </a:lnTo>
                <a:lnTo>
                  <a:pt x="63" y="474"/>
                </a:lnTo>
                <a:lnTo>
                  <a:pt x="66" y="485"/>
                </a:lnTo>
                <a:lnTo>
                  <a:pt x="66" y="488"/>
                </a:lnTo>
                <a:lnTo>
                  <a:pt x="66" y="494"/>
                </a:lnTo>
                <a:lnTo>
                  <a:pt x="69" y="497"/>
                </a:lnTo>
                <a:lnTo>
                  <a:pt x="69" y="506"/>
                </a:lnTo>
                <a:lnTo>
                  <a:pt x="72" y="511"/>
                </a:lnTo>
                <a:lnTo>
                  <a:pt x="72" y="517"/>
                </a:lnTo>
                <a:lnTo>
                  <a:pt x="75" y="523"/>
                </a:lnTo>
                <a:lnTo>
                  <a:pt x="84" y="526"/>
                </a:lnTo>
                <a:lnTo>
                  <a:pt x="78" y="531"/>
                </a:lnTo>
                <a:lnTo>
                  <a:pt x="81" y="537"/>
                </a:lnTo>
                <a:lnTo>
                  <a:pt x="84" y="543"/>
                </a:lnTo>
                <a:lnTo>
                  <a:pt x="81" y="546"/>
                </a:lnTo>
                <a:lnTo>
                  <a:pt x="78" y="552"/>
                </a:lnTo>
                <a:lnTo>
                  <a:pt x="81" y="557"/>
                </a:lnTo>
                <a:lnTo>
                  <a:pt x="86" y="569"/>
                </a:lnTo>
                <a:lnTo>
                  <a:pt x="89" y="574"/>
                </a:lnTo>
                <a:lnTo>
                  <a:pt x="92" y="583"/>
                </a:lnTo>
                <a:lnTo>
                  <a:pt x="92" y="586"/>
                </a:lnTo>
                <a:lnTo>
                  <a:pt x="95" y="592"/>
                </a:lnTo>
                <a:lnTo>
                  <a:pt x="89" y="595"/>
                </a:lnTo>
                <a:lnTo>
                  <a:pt x="98" y="600"/>
                </a:lnTo>
                <a:lnTo>
                  <a:pt x="101" y="600"/>
                </a:lnTo>
                <a:lnTo>
                  <a:pt x="107" y="612"/>
                </a:lnTo>
                <a:lnTo>
                  <a:pt x="109" y="615"/>
                </a:lnTo>
                <a:lnTo>
                  <a:pt x="109" y="612"/>
                </a:lnTo>
                <a:lnTo>
                  <a:pt x="109" y="609"/>
                </a:lnTo>
                <a:lnTo>
                  <a:pt x="112" y="609"/>
                </a:lnTo>
                <a:lnTo>
                  <a:pt x="118" y="606"/>
                </a:lnTo>
                <a:lnTo>
                  <a:pt x="115" y="606"/>
                </a:lnTo>
                <a:lnTo>
                  <a:pt x="112" y="600"/>
                </a:lnTo>
                <a:lnTo>
                  <a:pt x="115" y="597"/>
                </a:lnTo>
                <a:lnTo>
                  <a:pt x="109" y="583"/>
                </a:lnTo>
                <a:lnTo>
                  <a:pt x="109" y="577"/>
                </a:lnTo>
                <a:lnTo>
                  <a:pt x="112" y="577"/>
                </a:lnTo>
                <a:lnTo>
                  <a:pt x="115" y="577"/>
                </a:lnTo>
                <a:lnTo>
                  <a:pt x="112" y="574"/>
                </a:lnTo>
                <a:lnTo>
                  <a:pt x="109" y="572"/>
                </a:lnTo>
                <a:lnTo>
                  <a:pt x="112" y="566"/>
                </a:lnTo>
                <a:lnTo>
                  <a:pt x="107" y="560"/>
                </a:lnTo>
                <a:lnTo>
                  <a:pt x="107" y="554"/>
                </a:lnTo>
                <a:lnTo>
                  <a:pt x="109" y="552"/>
                </a:lnTo>
                <a:lnTo>
                  <a:pt x="107" y="552"/>
                </a:lnTo>
                <a:lnTo>
                  <a:pt x="104" y="549"/>
                </a:lnTo>
                <a:lnTo>
                  <a:pt x="104" y="546"/>
                </a:lnTo>
                <a:lnTo>
                  <a:pt x="104" y="540"/>
                </a:lnTo>
                <a:lnTo>
                  <a:pt x="107" y="540"/>
                </a:lnTo>
                <a:lnTo>
                  <a:pt x="104" y="537"/>
                </a:lnTo>
                <a:lnTo>
                  <a:pt x="98" y="537"/>
                </a:lnTo>
                <a:lnTo>
                  <a:pt x="92" y="531"/>
                </a:lnTo>
                <a:lnTo>
                  <a:pt x="95" y="529"/>
                </a:lnTo>
                <a:lnTo>
                  <a:pt x="101" y="529"/>
                </a:lnTo>
                <a:lnTo>
                  <a:pt x="104" y="529"/>
                </a:lnTo>
                <a:lnTo>
                  <a:pt x="104" y="526"/>
                </a:lnTo>
                <a:lnTo>
                  <a:pt x="101" y="526"/>
                </a:lnTo>
                <a:lnTo>
                  <a:pt x="95" y="526"/>
                </a:lnTo>
                <a:lnTo>
                  <a:pt x="92" y="523"/>
                </a:lnTo>
                <a:lnTo>
                  <a:pt x="92" y="520"/>
                </a:lnTo>
                <a:lnTo>
                  <a:pt x="92" y="514"/>
                </a:lnTo>
                <a:lnTo>
                  <a:pt x="89" y="511"/>
                </a:lnTo>
                <a:lnTo>
                  <a:pt x="89" y="508"/>
                </a:lnTo>
                <a:lnTo>
                  <a:pt x="86" y="508"/>
                </a:lnTo>
                <a:lnTo>
                  <a:pt x="84" y="506"/>
                </a:lnTo>
                <a:lnTo>
                  <a:pt x="86" y="500"/>
                </a:lnTo>
                <a:lnTo>
                  <a:pt x="84" y="500"/>
                </a:lnTo>
                <a:lnTo>
                  <a:pt x="81" y="497"/>
                </a:lnTo>
                <a:lnTo>
                  <a:pt x="78" y="494"/>
                </a:lnTo>
                <a:lnTo>
                  <a:pt x="72" y="483"/>
                </a:lnTo>
                <a:lnTo>
                  <a:pt x="72" y="480"/>
                </a:lnTo>
                <a:lnTo>
                  <a:pt x="75" y="477"/>
                </a:lnTo>
                <a:lnTo>
                  <a:pt x="78" y="477"/>
                </a:lnTo>
                <a:lnTo>
                  <a:pt x="69" y="465"/>
                </a:lnTo>
                <a:lnTo>
                  <a:pt x="66" y="454"/>
                </a:lnTo>
                <a:lnTo>
                  <a:pt x="66" y="451"/>
                </a:lnTo>
                <a:lnTo>
                  <a:pt x="66" y="445"/>
                </a:lnTo>
                <a:lnTo>
                  <a:pt x="63" y="440"/>
                </a:lnTo>
                <a:lnTo>
                  <a:pt x="66" y="437"/>
                </a:lnTo>
                <a:lnTo>
                  <a:pt x="63" y="437"/>
                </a:lnTo>
                <a:lnTo>
                  <a:pt x="63" y="431"/>
                </a:lnTo>
                <a:lnTo>
                  <a:pt x="63" y="428"/>
                </a:lnTo>
                <a:lnTo>
                  <a:pt x="63" y="419"/>
                </a:lnTo>
                <a:lnTo>
                  <a:pt x="63" y="417"/>
                </a:lnTo>
                <a:lnTo>
                  <a:pt x="63" y="414"/>
                </a:lnTo>
                <a:lnTo>
                  <a:pt x="66" y="411"/>
                </a:lnTo>
                <a:lnTo>
                  <a:pt x="69" y="411"/>
                </a:lnTo>
                <a:lnTo>
                  <a:pt x="61" y="396"/>
                </a:lnTo>
                <a:lnTo>
                  <a:pt x="58" y="388"/>
                </a:lnTo>
                <a:lnTo>
                  <a:pt x="55" y="376"/>
                </a:lnTo>
                <a:lnTo>
                  <a:pt x="55" y="374"/>
                </a:lnTo>
                <a:lnTo>
                  <a:pt x="55" y="368"/>
                </a:lnTo>
                <a:lnTo>
                  <a:pt x="58" y="365"/>
                </a:lnTo>
                <a:lnTo>
                  <a:pt x="63" y="362"/>
                </a:lnTo>
                <a:lnTo>
                  <a:pt x="63" y="359"/>
                </a:lnTo>
                <a:lnTo>
                  <a:pt x="55" y="348"/>
                </a:lnTo>
                <a:lnTo>
                  <a:pt x="55" y="345"/>
                </a:lnTo>
                <a:lnTo>
                  <a:pt x="55" y="342"/>
                </a:lnTo>
                <a:lnTo>
                  <a:pt x="58" y="333"/>
                </a:lnTo>
                <a:lnTo>
                  <a:pt x="61" y="325"/>
                </a:lnTo>
                <a:lnTo>
                  <a:pt x="58" y="322"/>
                </a:lnTo>
                <a:lnTo>
                  <a:pt x="55" y="310"/>
                </a:lnTo>
                <a:lnTo>
                  <a:pt x="55" y="307"/>
                </a:lnTo>
                <a:lnTo>
                  <a:pt x="52" y="307"/>
                </a:lnTo>
                <a:lnTo>
                  <a:pt x="49" y="305"/>
                </a:lnTo>
                <a:lnTo>
                  <a:pt x="52" y="302"/>
                </a:lnTo>
                <a:lnTo>
                  <a:pt x="52" y="299"/>
                </a:lnTo>
                <a:lnTo>
                  <a:pt x="49" y="296"/>
                </a:lnTo>
                <a:lnTo>
                  <a:pt x="43" y="287"/>
                </a:lnTo>
                <a:lnTo>
                  <a:pt x="43" y="285"/>
                </a:lnTo>
                <a:lnTo>
                  <a:pt x="40" y="282"/>
                </a:lnTo>
                <a:lnTo>
                  <a:pt x="38" y="279"/>
                </a:lnTo>
                <a:lnTo>
                  <a:pt x="35" y="273"/>
                </a:lnTo>
                <a:lnTo>
                  <a:pt x="35" y="264"/>
                </a:lnTo>
                <a:lnTo>
                  <a:pt x="38" y="262"/>
                </a:lnTo>
                <a:lnTo>
                  <a:pt x="35" y="256"/>
                </a:lnTo>
                <a:lnTo>
                  <a:pt x="38" y="250"/>
                </a:lnTo>
                <a:lnTo>
                  <a:pt x="38" y="247"/>
                </a:lnTo>
                <a:lnTo>
                  <a:pt x="40" y="247"/>
                </a:lnTo>
                <a:lnTo>
                  <a:pt x="40" y="244"/>
                </a:lnTo>
                <a:lnTo>
                  <a:pt x="40" y="241"/>
                </a:lnTo>
                <a:lnTo>
                  <a:pt x="35" y="236"/>
                </a:lnTo>
                <a:lnTo>
                  <a:pt x="35" y="230"/>
                </a:lnTo>
                <a:lnTo>
                  <a:pt x="38" y="221"/>
                </a:lnTo>
                <a:lnTo>
                  <a:pt x="38" y="218"/>
                </a:lnTo>
                <a:lnTo>
                  <a:pt x="38" y="216"/>
                </a:lnTo>
                <a:lnTo>
                  <a:pt x="40" y="207"/>
                </a:lnTo>
                <a:lnTo>
                  <a:pt x="46" y="190"/>
                </a:lnTo>
                <a:lnTo>
                  <a:pt x="49" y="187"/>
                </a:lnTo>
                <a:lnTo>
                  <a:pt x="52" y="184"/>
                </a:lnTo>
                <a:lnTo>
                  <a:pt x="55" y="184"/>
                </a:lnTo>
                <a:lnTo>
                  <a:pt x="55" y="181"/>
                </a:lnTo>
                <a:lnTo>
                  <a:pt x="49" y="175"/>
                </a:lnTo>
                <a:lnTo>
                  <a:pt x="46" y="173"/>
                </a:lnTo>
                <a:lnTo>
                  <a:pt x="49" y="170"/>
                </a:lnTo>
                <a:lnTo>
                  <a:pt x="49" y="167"/>
                </a:lnTo>
                <a:lnTo>
                  <a:pt x="49" y="161"/>
                </a:lnTo>
                <a:lnTo>
                  <a:pt x="43" y="152"/>
                </a:lnTo>
                <a:lnTo>
                  <a:pt x="46" y="147"/>
                </a:lnTo>
                <a:lnTo>
                  <a:pt x="46" y="144"/>
                </a:lnTo>
                <a:lnTo>
                  <a:pt x="43" y="141"/>
                </a:lnTo>
                <a:lnTo>
                  <a:pt x="43" y="138"/>
                </a:lnTo>
                <a:lnTo>
                  <a:pt x="49" y="135"/>
                </a:lnTo>
                <a:lnTo>
                  <a:pt x="63" y="127"/>
                </a:lnTo>
                <a:lnTo>
                  <a:pt x="63" y="124"/>
                </a:lnTo>
                <a:lnTo>
                  <a:pt x="63" y="121"/>
                </a:lnTo>
                <a:lnTo>
                  <a:pt x="63" y="115"/>
                </a:lnTo>
                <a:lnTo>
                  <a:pt x="66" y="107"/>
                </a:lnTo>
                <a:lnTo>
                  <a:pt x="61" y="104"/>
                </a:lnTo>
                <a:lnTo>
                  <a:pt x="49" y="104"/>
                </a:lnTo>
                <a:lnTo>
                  <a:pt x="46" y="95"/>
                </a:lnTo>
                <a:lnTo>
                  <a:pt x="43" y="86"/>
                </a:lnTo>
                <a:lnTo>
                  <a:pt x="40" y="72"/>
                </a:lnTo>
                <a:lnTo>
                  <a:pt x="38" y="69"/>
                </a:lnTo>
                <a:lnTo>
                  <a:pt x="35" y="66"/>
                </a:lnTo>
                <a:lnTo>
                  <a:pt x="32" y="63"/>
                </a:lnTo>
                <a:lnTo>
                  <a:pt x="35" y="63"/>
                </a:lnTo>
                <a:lnTo>
                  <a:pt x="35" y="61"/>
                </a:lnTo>
                <a:lnTo>
                  <a:pt x="32" y="58"/>
                </a:lnTo>
                <a:lnTo>
                  <a:pt x="29" y="58"/>
                </a:lnTo>
                <a:lnTo>
                  <a:pt x="26" y="49"/>
                </a:lnTo>
                <a:lnTo>
                  <a:pt x="29" y="49"/>
                </a:lnTo>
                <a:lnTo>
                  <a:pt x="32" y="49"/>
                </a:lnTo>
                <a:lnTo>
                  <a:pt x="29" y="43"/>
                </a:lnTo>
                <a:lnTo>
                  <a:pt x="32" y="38"/>
                </a:lnTo>
                <a:lnTo>
                  <a:pt x="23" y="29"/>
                </a:lnTo>
                <a:lnTo>
                  <a:pt x="18" y="12"/>
                </a:lnTo>
                <a:lnTo>
                  <a:pt x="15" y="9"/>
                </a:lnTo>
                <a:lnTo>
                  <a:pt x="12" y="0"/>
                </a:lnTo>
                <a:lnTo>
                  <a:pt x="9" y="3"/>
                </a:lnTo>
                <a:lnTo>
                  <a:pt x="9" y="9"/>
                </a:lnTo>
                <a:lnTo>
                  <a:pt x="3" y="18"/>
                </a:lnTo>
                <a:lnTo>
                  <a:pt x="0" y="20"/>
                </a:lnTo>
                <a:lnTo>
                  <a:pt x="3" y="35"/>
                </a:lnTo>
                <a:lnTo>
                  <a:pt x="6" y="46"/>
                </a:lnTo>
                <a:lnTo>
                  <a:pt x="9" y="61"/>
                </a:lnTo>
                <a:lnTo>
                  <a:pt x="12" y="81"/>
                </a:lnTo>
                <a:lnTo>
                  <a:pt x="9" y="95"/>
                </a:lnTo>
                <a:lnTo>
                  <a:pt x="9" y="107"/>
                </a:lnTo>
                <a:lnTo>
                  <a:pt x="9" y="115"/>
                </a:lnTo>
                <a:lnTo>
                  <a:pt x="9" y="118"/>
                </a:lnTo>
                <a:lnTo>
                  <a:pt x="12" y="135"/>
                </a:lnTo>
                <a:lnTo>
                  <a:pt x="12" y="147"/>
                </a:lnTo>
                <a:lnTo>
                  <a:pt x="15" y="152"/>
                </a:lnTo>
                <a:lnTo>
                  <a:pt x="12" y="158"/>
                </a:lnTo>
                <a:lnTo>
                  <a:pt x="12" y="161"/>
                </a:lnTo>
                <a:lnTo>
                  <a:pt x="12" y="164"/>
                </a:lnTo>
                <a:lnTo>
                  <a:pt x="15" y="173"/>
                </a:lnTo>
                <a:lnTo>
                  <a:pt x="15" y="178"/>
                </a:lnTo>
                <a:lnTo>
                  <a:pt x="12" y="193"/>
                </a:lnTo>
                <a:lnTo>
                  <a:pt x="15" y="198"/>
                </a:lnTo>
                <a:lnTo>
                  <a:pt x="12" y="210"/>
                </a:lnTo>
                <a:lnTo>
                  <a:pt x="9" y="218"/>
                </a:lnTo>
                <a:lnTo>
                  <a:pt x="9" y="221"/>
                </a:lnTo>
                <a:lnTo>
                  <a:pt x="9" y="224"/>
                </a:lnTo>
                <a:lnTo>
                  <a:pt x="15" y="230"/>
                </a:lnTo>
                <a:lnTo>
                  <a:pt x="18" y="233"/>
                </a:lnTo>
                <a:lnTo>
                  <a:pt x="15" y="247"/>
                </a:lnTo>
                <a:lnTo>
                  <a:pt x="12" y="250"/>
                </a:lnTo>
                <a:lnTo>
                  <a:pt x="15" y="256"/>
                </a:lnTo>
                <a:lnTo>
                  <a:pt x="18" y="267"/>
                </a:lnTo>
                <a:lnTo>
                  <a:pt x="23" y="276"/>
                </a:lnTo>
                <a:lnTo>
                  <a:pt x="23" y="285"/>
                </a:lnTo>
                <a:lnTo>
                  <a:pt x="26" y="293"/>
                </a:lnTo>
                <a:lnTo>
                  <a:pt x="26" y="307"/>
                </a:lnTo>
                <a:lnTo>
                  <a:pt x="29" y="313"/>
                </a:lnTo>
                <a:lnTo>
                  <a:pt x="29" y="316"/>
                </a:lnTo>
                <a:lnTo>
                  <a:pt x="26" y="319"/>
                </a:lnTo>
                <a:lnTo>
                  <a:pt x="23" y="322"/>
                </a:lnTo>
                <a:lnTo>
                  <a:pt x="23" y="325"/>
                </a:lnTo>
                <a:lnTo>
                  <a:pt x="26" y="328"/>
                </a:lnTo>
                <a:lnTo>
                  <a:pt x="29" y="333"/>
                </a:lnTo>
                <a:lnTo>
                  <a:pt x="26" y="348"/>
                </a:lnTo>
                <a:lnTo>
                  <a:pt x="23" y="351"/>
                </a:lnTo>
                <a:lnTo>
                  <a:pt x="23" y="356"/>
                </a:lnTo>
                <a:lnTo>
                  <a:pt x="23" y="362"/>
                </a:lnTo>
                <a:lnTo>
                  <a:pt x="26" y="368"/>
                </a:lnTo>
                <a:lnTo>
                  <a:pt x="23" y="371"/>
                </a:lnTo>
                <a:lnTo>
                  <a:pt x="23" y="379"/>
                </a:lnTo>
                <a:lnTo>
                  <a:pt x="23" y="382"/>
                </a:lnTo>
                <a:lnTo>
                  <a:pt x="23" y="385"/>
                </a:lnTo>
                <a:lnTo>
                  <a:pt x="18" y="382"/>
                </a:lnTo>
                <a:lnTo>
                  <a:pt x="18" y="379"/>
                </a:lnTo>
                <a:lnTo>
                  <a:pt x="18" y="382"/>
                </a:lnTo>
                <a:lnTo>
                  <a:pt x="20" y="391"/>
                </a:lnTo>
                <a:lnTo>
                  <a:pt x="23" y="396"/>
                </a:lnTo>
                <a:lnTo>
                  <a:pt x="26" y="405"/>
                </a:lnTo>
                <a:lnTo>
                  <a:pt x="29" y="411"/>
                </a:lnTo>
                <a:lnTo>
                  <a:pt x="35" y="422"/>
                </a:lnTo>
                <a:lnTo>
                  <a:pt x="38" y="431"/>
                </a:lnTo>
                <a:lnTo>
                  <a:pt x="35" y="434"/>
                </a:lnTo>
                <a:lnTo>
                  <a:pt x="35" y="437"/>
                </a:lnTo>
                <a:lnTo>
                  <a:pt x="38" y="454"/>
                </a:lnTo>
                <a:lnTo>
                  <a:pt x="40" y="463"/>
                </a:lnTo>
                <a:lnTo>
                  <a:pt x="46" y="471"/>
                </a:lnTo>
                <a:lnTo>
                  <a:pt x="43" y="471"/>
                </a:lnTo>
                <a:lnTo>
                  <a:pt x="40" y="474"/>
                </a:lnTo>
                <a:lnTo>
                  <a:pt x="46" y="485"/>
                </a:lnTo>
                <a:lnTo>
                  <a:pt x="46" y="491"/>
                </a:lnTo>
                <a:lnTo>
                  <a:pt x="46" y="500"/>
                </a:lnTo>
                <a:lnTo>
                  <a:pt x="46" y="503"/>
                </a:lnTo>
                <a:lnTo>
                  <a:pt x="52" y="503"/>
                </a:lnTo>
                <a:lnTo>
                  <a:pt x="55" y="50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611" name="Freeform 717"/>
          <p:cNvSpPr>
            <a:spLocks/>
          </p:cNvSpPr>
          <p:nvPr/>
        </p:nvSpPr>
        <p:spPr bwMode="gray">
          <a:xfrm>
            <a:off x="3226582" y="4377119"/>
            <a:ext cx="296053" cy="249007"/>
          </a:xfrm>
          <a:custGeom>
            <a:avLst/>
            <a:gdLst>
              <a:gd name="T0" fmla="*/ 2147483647 w 146"/>
              <a:gd name="T1" fmla="*/ 2147483647 h 164"/>
              <a:gd name="T2" fmla="*/ 2147483647 w 146"/>
              <a:gd name="T3" fmla="*/ 2147483647 h 164"/>
              <a:gd name="T4" fmla="*/ 2147483647 w 146"/>
              <a:gd name="T5" fmla="*/ 2147483647 h 164"/>
              <a:gd name="T6" fmla="*/ 2147483647 w 146"/>
              <a:gd name="T7" fmla="*/ 2147483647 h 164"/>
              <a:gd name="T8" fmla="*/ 2147483647 w 146"/>
              <a:gd name="T9" fmla="*/ 2147483647 h 164"/>
              <a:gd name="T10" fmla="*/ 2147483647 w 146"/>
              <a:gd name="T11" fmla="*/ 2147483647 h 164"/>
              <a:gd name="T12" fmla="*/ 2147483647 w 146"/>
              <a:gd name="T13" fmla="*/ 2147483647 h 164"/>
              <a:gd name="T14" fmla="*/ 2147483647 w 146"/>
              <a:gd name="T15" fmla="*/ 2147483647 h 164"/>
              <a:gd name="T16" fmla="*/ 2147483647 w 146"/>
              <a:gd name="T17" fmla="*/ 0 h 164"/>
              <a:gd name="T18" fmla="*/ 2147483647 w 146"/>
              <a:gd name="T19" fmla="*/ 2147483647 h 164"/>
              <a:gd name="T20" fmla="*/ 2147483647 w 146"/>
              <a:gd name="T21" fmla="*/ 2147483647 h 164"/>
              <a:gd name="T22" fmla="*/ 2147483647 w 146"/>
              <a:gd name="T23" fmla="*/ 2147483647 h 164"/>
              <a:gd name="T24" fmla="*/ 0 w 146"/>
              <a:gd name="T25" fmla="*/ 2147483647 h 164"/>
              <a:gd name="T26" fmla="*/ 2147483647 w 146"/>
              <a:gd name="T27" fmla="*/ 2147483647 h 164"/>
              <a:gd name="T28" fmla="*/ 2147483647 w 146"/>
              <a:gd name="T29" fmla="*/ 2147483647 h 164"/>
              <a:gd name="T30" fmla="*/ 2147483647 w 146"/>
              <a:gd name="T31" fmla="*/ 2147483647 h 164"/>
              <a:gd name="T32" fmla="*/ 2147483647 w 146"/>
              <a:gd name="T33" fmla="*/ 2147483647 h 164"/>
              <a:gd name="T34" fmla="*/ 2147483647 w 146"/>
              <a:gd name="T35" fmla="*/ 2147483647 h 164"/>
              <a:gd name="T36" fmla="*/ 2147483647 w 146"/>
              <a:gd name="T37" fmla="*/ 2147483647 h 164"/>
              <a:gd name="T38" fmla="*/ 2147483647 w 146"/>
              <a:gd name="T39" fmla="*/ 2147483647 h 164"/>
              <a:gd name="T40" fmla="*/ 2147483647 w 146"/>
              <a:gd name="T41" fmla="*/ 2147483647 h 164"/>
              <a:gd name="T42" fmla="*/ 2147483647 w 146"/>
              <a:gd name="T43" fmla="*/ 2147483647 h 164"/>
              <a:gd name="T44" fmla="*/ 2147483647 w 146"/>
              <a:gd name="T45" fmla="*/ 2147483647 h 164"/>
              <a:gd name="T46" fmla="*/ 2147483647 w 146"/>
              <a:gd name="T47" fmla="*/ 2147483647 h 164"/>
              <a:gd name="T48" fmla="*/ 2147483647 w 146"/>
              <a:gd name="T49" fmla="*/ 2147483647 h 164"/>
              <a:gd name="T50" fmla="*/ 2147483647 w 146"/>
              <a:gd name="T51" fmla="*/ 2147483647 h 164"/>
              <a:gd name="T52" fmla="*/ 2147483647 w 146"/>
              <a:gd name="T53" fmla="*/ 2147483647 h 164"/>
              <a:gd name="T54" fmla="*/ 2147483647 w 146"/>
              <a:gd name="T55" fmla="*/ 2147483647 h 164"/>
              <a:gd name="T56" fmla="*/ 2147483647 w 146"/>
              <a:gd name="T57" fmla="*/ 2147483647 h 164"/>
              <a:gd name="T58" fmla="*/ 2147483647 w 146"/>
              <a:gd name="T59" fmla="*/ 2147483647 h 164"/>
              <a:gd name="T60" fmla="*/ 2147483647 w 146"/>
              <a:gd name="T61" fmla="*/ 2147483647 h 164"/>
              <a:gd name="T62" fmla="*/ 2147483647 w 146"/>
              <a:gd name="T63" fmla="*/ 2147483647 h 164"/>
              <a:gd name="T64" fmla="*/ 2147483647 w 146"/>
              <a:gd name="T65" fmla="*/ 2147483647 h 164"/>
              <a:gd name="T66" fmla="*/ 2147483647 w 146"/>
              <a:gd name="T67" fmla="*/ 2147483647 h 164"/>
              <a:gd name="T68" fmla="*/ 2147483647 w 146"/>
              <a:gd name="T69" fmla="*/ 2147483647 h 164"/>
              <a:gd name="T70" fmla="*/ 2147483647 w 146"/>
              <a:gd name="T71" fmla="*/ 2147483647 h 164"/>
              <a:gd name="T72" fmla="*/ 2147483647 w 146"/>
              <a:gd name="T73" fmla="*/ 2147483647 h 164"/>
              <a:gd name="T74" fmla="*/ 2147483647 w 146"/>
              <a:gd name="T75" fmla="*/ 2147483647 h 164"/>
              <a:gd name="T76" fmla="*/ 2147483647 w 146"/>
              <a:gd name="T77" fmla="*/ 2147483647 h 164"/>
              <a:gd name="T78" fmla="*/ 2147483647 w 146"/>
              <a:gd name="T79" fmla="*/ 2147483647 h 164"/>
              <a:gd name="T80" fmla="*/ 2147483647 w 146"/>
              <a:gd name="T81" fmla="*/ 2147483647 h 164"/>
              <a:gd name="T82" fmla="*/ 2147483647 w 146"/>
              <a:gd name="T83" fmla="*/ 2147483647 h 164"/>
              <a:gd name="T84" fmla="*/ 2147483647 w 146"/>
              <a:gd name="T85" fmla="*/ 2147483647 h 164"/>
              <a:gd name="T86" fmla="*/ 2147483647 w 146"/>
              <a:gd name="T87" fmla="*/ 2147483647 h 164"/>
              <a:gd name="T88" fmla="*/ 2147483647 w 146"/>
              <a:gd name="T89" fmla="*/ 2147483647 h 164"/>
              <a:gd name="T90" fmla="*/ 2147483647 w 146"/>
              <a:gd name="T91" fmla="*/ 2147483647 h 164"/>
              <a:gd name="T92" fmla="*/ 2147483647 w 146"/>
              <a:gd name="T93" fmla="*/ 2147483647 h 164"/>
              <a:gd name="T94" fmla="*/ 2147483647 w 146"/>
              <a:gd name="T95" fmla="*/ 2147483647 h 164"/>
              <a:gd name="T96" fmla="*/ 2147483647 w 146"/>
              <a:gd name="T97" fmla="*/ 2147483647 h 164"/>
              <a:gd name="T98" fmla="*/ 2147483647 w 146"/>
              <a:gd name="T99" fmla="*/ 2147483647 h 164"/>
              <a:gd name="T100" fmla="*/ 2147483647 w 146"/>
              <a:gd name="T101" fmla="*/ 2147483647 h 164"/>
              <a:gd name="T102" fmla="*/ 2147483647 w 146"/>
              <a:gd name="T103" fmla="*/ 2147483647 h 164"/>
              <a:gd name="T104" fmla="*/ 2147483647 w 146"/>
              <a:gd name="T105" fmla="*/ 2147483647 h 164"/>
              <a:gd name="T106" fmla="*/ 2147483647 w 146"/>
              <a:gd name="T107" fmla="*/ 2147483647 h 164"/>
              <a:gd name="T108" fmla="*/ 2147483647 w 146"/>
              <a:gd name="T109" fmla="*/ 2147483647 h 164"/>
              <a:gd name="T110" fmla="*/ 2147483647 w 146"/>
              <a:gd name="T111" fmla="*/ 2147483647 h 16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46"/>
              <a:gd name="T169" fmla="*/ 0 h 164"/>
              <a:gd name="T170" fmla="*/ 146 w 146"/>
              <a:gd name="T171" fmla="*/ 164 h 164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46" h="164">
                <a:moveTo>
                  <a:pt x="78" y="31"/>
                </a:moveTo>
                <a:lnTo>
                  <a:pt x="78" y="31"/>
                </a:lnTo>
                <a:lnTo>
                  <a:pt x="75" y="31"/>
                </a:lnTo>
                <a:lnTo>
                  <a:pt x="72" y="31"/>
                </a:lnTo>
                <a:lnTo>
                  <a:pt x="72" y="29"/>
                </a:lnTo>
                <a:lnTo>
                  <a:pt x="72" y="23"/>
                </a:lnTo>
                <a:lnTo>
                  <a:pt x="72" y="17"/>
                </a:lnTo>
                <a:lnTo>
                  <a:pt x="69" y="14"/>
                </a:lnTo>
                <a:lnTo>
                  <a:pt x="55" y="3"/>
                </a:lnTo>
                <a:lnTo>
                  <a:pt x="49" y="0"/>
                </a:lnTo>
                <a:lnTo>
                  <a:pt x="32" y="6"/>
                </a:lnTo>
                <a:lnTo>
                  <a:pt x="12" y="11"/>
                </a:lnTo>
                <a:lnTo>
                  <a:pt x="6" y="26"/>
                </a:lnTo>
                <a:lnTo>
                  <a:pt x="6" y="43"/>
                </a:lnTo>
                <a:lnTo>
                  <a:pt x="0" y="57"/>
                </a:lnTo>
                <a:lnTo>
                  <a:pt x="9" y="66"/>
                </a:lnTo>
                <a:lnTo>
                  <a:pt x="17" y="75"/>
                </a:lnTo>
                <a:lnTo>
                  <a:pt x="37" y="92"/>
                </a:lnTo>
                <a:lnTo>
                  <a:pt x="49" y="97"/>
                </a:lnTo>
                <a:lnTo>
                  <a:pt x="55" y="97"/>
                </a:lnTo>
                <a:lnTo>
                  <a:pt x="63" y="103"/>
                </a:lnTo>
                <a:lnTo>
                  <a:pt x="80" y="112"/>
                </a:lnTo>
                <a:lnTo>
                  <a:pt x="95" y="118"/>
                </a:lnTo>
                <a:lnTo>
                  <a:pt x="98" y="118"/>
                </a:lnTo>
                <a:lnTo>
                  <a:pt x="98" y="120"/>
                </a:lnTo>
                <a:lnTo>
                  <a:pt x="95" y="129"/>
                </a:lnTo>
                <a:lnTo>
                  <a:pt x="92" y="132"/>
                </a:lnTo>
                <a:lnTo>
                  <a:pt x="89" y="135"/>
                </a:lnTo>
                <a:lnTo>
                  <a:pt x="89" y="138"/>
                </a:lnTo>
                <a:lnTo>
                  <a:pt x="86" y="141"/>
                </a:lnTo>
                <a:lnTo>
                  <a:pt x="89" y="149"/>
                </a:lnTo>
                <a:lnTo>
                  <a:pt x="83" y="155"/>
                </a:lnTo>
                <a:lnTo>
                  <a:pt x="121" y="164"/>
                </a:lnTo>
                <a:lnTo>
                  <a:pt x="124" y="158"/>
                </a:lnTo>
                <a:lnTo>
                  <a:pt x="129" y="161"/>
                </a:lnTo>
                <a:lnTo>
                  <a:pt x="132" y="155"/>
                </a:lnTo>
                <a:lnTo>
                  <a:pt x="144" y="141"/>
                </a:lnTo>
                <a:lnTo>
                  <a:pt x="144" y="138"/>
                </a:lnTo>
                <a:lnTo>
                  <a:pt x="141" y="129"/>
                </a:lnTo>
                <a:lnTo>
                  <a:pt x="141" y="126"/>
                </a:lnTo>
                <a:lnTo>
                  <a:pt x="141" y="120"/>
                </a:lnTo>
                <a:lnTo>
                  <a:pt x="146" y="112"/>
                </a:lnTo>
                <a:lnTo>
                  <a:pt x="146" y="109"/>
                </a:lnTo>
                <a:lnTo>
                  <a:pt x="144" y="95"/>
                </a:lnTo>
                <a:lnTo>
                  <a:pt x="141" y="92"/>
                </a:lnTo>
                <a:lnTo>
                  <a:pt x="138" y="95"/>
                </a:lnTo>
                <a:lnTo>
                  <a:pt x="135" y="95"/>
                </a:lnTo>
                <a:lnTo>
                  <a:pt x="129" y="97"/>
                </a:lnTo>
                <a:lnTo>
                  <a:pt x="126" y="97"/>
                </a:lnTo>
                <a:lnTo>
                  <a:pt x="124" y="95"/>
                </a:lnTo>
                <a:lnTo>
                  <a:pt x="121" y="89"/>
                </a:lnTo>
                <a:lnTo>
                  <a:pt x="121" y="77"/>
                </a:lnTo>
                <a:lnTo>
                  <a:pt x="112" y="69"/>
                </a:lnTo>
                <a:lnTo>
                  <a:pt x="106" y="63"/>
                </a:lnTo>
                <a:lnTo>
                  <a:pt x="101" y="63"/>
                </a:lnTo>
                <a:lnTo>
                  <a:pt x="95" y="60"/>
                </a:lnTo>
                <a:lnTo>
                  <a:pt x="92" y="57"/>
                </a:lnTo>
                <a:lnTo>
                  <a:pt x="83" y="46"/>
                </a:lnTo>
                <a:lnTo>
                  <a:pt x="78" y="40"/>
                </a:lnTo>
                <a:lnTo>
                  <a:pt x="78" y="34"/>
                </a:lnTo>
                <a:lnTo>
                  <a:pt x="78" y="3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530" name="Rectangle 718"/>
          <p:cNvSpPr>
            <a:spLocks noChangeArrowheads="1"/>
          </p:cNvSpPr>
          <p:nvPr/>
        </p:nvSpPr>
        <p:spPr bwMode="gray">
          <a:xfrm>
            <a:off x="3028546" y="5095639"/>
            <a:ext cx="6002" cy="30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613" name="Freeform 719"/>
          <p:cNvSpPr>
            <a:spLocks/>
          </p:cNvSpPr>
          <p:nvPr/>
        </p:nvSpPr>
        <p:spPr bwMode="gray">
          <a:xfrm>
            <a:off x="2960533" y="4102612"/>
            <a:ext cx="418076" cy="379510"/>
          </a:xfrm>
          <a:custGeom>
            <a:avLst/>
            <a:gdLst>
              <a:gd name="T0" fmla="*/ 2147483647 w 207"/>
              <a:gd name="T1" fmla="*/ 0 h 250"/>
              <a:gd name="T2" fmla="*/ 2147483647 w 207"/>
              <a:gd name="T3" fmla="*/ 2147483647 h 250"/>
              <a:gd name="T4" fmla="*/ 2147483647 w 207"/>
              <a:gd name="T5" fmla="*/ 2147483647 h 250"/>
              <a:gd name="T6" fmla="*/ 2147483647 w 207"/>
              <a:gd name="T7" fmla="*/ 2147483647 h 250"/>
              <a:gd name="T8" fmla="*/ 2147483647 w 207"/>
              <a:gd name="T9" fmla="*/ 2147483647 h 250"/>
              <a:gd name="T10" fmla="*/ 0 w 207"/>
              <a:gd name="T11" fmla="*/ 2147483647 h 250"/>
              <a:gd name="T12" fmla="*/ 2147483647 w 207"/>
              <a:gd name="T13" fmla="*/ 2147483647 h 250"/>
              <a:gd name="T14" fmla="*/ 2147483647 w 207"/>
              <a:gd name="T15" fmla="*/ 2147483647 h 250"/>
              <a:gd name="T16" fmla="*/ 2147483647 w 207"/>
              <a:gd name="T17" fmla="*/ 2147483647 h 250"/>
              <a:gd name="T18" fmla="*/ 2147483647 w 207"/>
              <a:gd name="T19" fmla="*/ 2147483647 h 250"/>
              <a:gd name="T20" fmla="*/ 2147483647 w 207"/>
              <a:gd name="T21" fmla="*/ 2147483647 h 250"/>
              <a:gd name="T22" fmla="*/ 2147483647 w 207"/>
              <a:gd name="T23" fmla="*/ 2147483647 h 250"/>
              <a:gd name="T24" fmla="*/ 2147483647 w 207"/>
              <a:gd name="T25" fmla="*/ 2147483647 h 250"/>
              <a:gd name="T26" fmla="*/ 2147483647 w 207"/>
              <a:gd name="T27" fmla="*/ 2147483647 h 250"/>
              <a:gd name="T28" fmla="*/ 2147483647 w 207"/>
              <a:gd name="T29" fmla="*/ 2147483647 h 250"/>
              <a:gd name="T30" fmla="*/ 2147483647 w 207"/>
              <a:gd name="T31" fmla="*/ 2147483647 h 250"/>
              <a:gd name="T32" fmla="*/ 2147483647 w 207"/>
              <a:gd name="T33" fmla="*/ 2147483647 h 250"/>
              <a:gd name="T34" fmla="*/ 2147483647 w 207"/>
              <a:gd name="T35" fmla="*/ 2147483647 h 250"/>
              <a:gd name="T36" fmla="*/ 2147483647 w 207"/>
              <a:gd name="T37" fmla="*/ 2147483647 h 250"/>
              <a:gd name="T38" fmla="*/ 2147483647 w 207"/>
              <a:gd name="T39" fmla="*/ 2147483647 h 250"/>
              <a:gd name="T40" fmla="*/ 2147483647 w 207"/>
              <a:gd name="T41" fmla="*/ 2147483647 h 250"/>
              <a:gd name="T42" fmla="*/ 2147483647 w 207"/>
              <a:gd name="T43" fmla="*/ 2147483647 h 250"/>
              <a:gd name="T44" fmla="*/ 2147483647 w 207"/>
              <a:gd name="T45" fmla="*/ 2147483647 h 250"/>
              <a:gd name="T46" fmla="*/ 2147483647 w 207"/>
              <a:gd name="T47" fmla="*/ 2147483647 h 250"/>
              <a:gd name="T48" fmla="*/ 2147483647 w 207"/>
              <a:gd name="T49" fmla="*/ 2147483647 h 250"/>
              <a:gd name="T50" fmla="*/ 2147483647 w 207"/>
              <a:gd name="T51" fmla="*/ 2147483647 h 250"/>
              <a:gd name="T52" fmla="*/ 2147483647 w 207"/>
              <a:gd name="T53" fmla="*/ 2147483647 h 250"/>
              <a:gd name="T54" fmla="*/ 2147483647 w 207"/>
              <a:gd name="T55" fmla="*/ 2147483647 h 250"/>
              <a:gd name="T56" fmla="*/ 2147483647 w 207"/>
              <a:gd name="T57" fmla="*/ 2147483647 h 250"/>
              <a:gd name="T58" fmla="*/ 2147483647 w 207"/>
              <a:gd name="T59" fmla="*/ 2147483647 h 250"/>
              <a:gd name="T60" fmla="*/ 2147483647 w 207"/>
              <a:gd name="T61" fmla="*/ 2147483647 h 250"/>
              <a:gd name="T62" fmla="*/ 2147483647 w 207"/>
              <a:gd name="T63" fmla="*/ 2147483647 h 250"/>
              <a:gd name="T64" fmla="*/ 2147483647 w 207"/>
              <a:gd name="T65" fmla="*/ 2147483647 h 250"/>
              <a:gd name="T66" fmla="*/ 2147483647 w 207"/>
              <a:gd name="T67" fmla="*/ 2147483647 h 250"/>
              <a:gd name="T68" fmla="*/ 2147483647 w 207"/>
              <a:gd name="T69" fmla="*/ 2147483647 h 250"/>
              <a:gd name="T70" fmla="*/ 2147483647 w 207"/>
              <a:gd name="T71" fmla="*/ 2147483647 h 250"/>
              <a:gd name="T72" fmla="*/ 2147483647 w 207"/>
              <a:gd name="T73" fmla="*/ 2147483647 h 250"/>
              <a:gd name="T74" fmla="*/ 2147483647 w 207"/>
              <a:gd name="T75" fmla="*/ 2147483647 h 250"/>
              <a:gd name="T76" fmla="*/ 2147483647 w 207"/>
              <a:gd name="T77" fmla="*/ 2147483647 h 250"/>
              <a:gd name="T78" fmla="*/ 2147483647 w 207"/>
              <a:gd name="T79" fmla="*/ 2147483647 h 250"/>
              <a:gd name="T80" fmla="*/ 2147483647 w 207"/>
              <a:gd name="T81" fmla="*/ 2147483647 h 250"/>
              <a:gd name="T82" fmla="*/ 2147483647 w 207"/>
              <a:gd name="T83" fmla="*/ 2147483647 h 250"/>
              <a:gd name="T84" fmla="*/ 2147483647 w 207"/>
              <a:gd name="T85" fmla="*/ 2147483647 h 250"/>
              <a:gd name="T86" fmla="*/ 2147483647 w 207"/>
              <a:gd name="T87" fmla="*/ 2147483647 h 250"/>
              <a:gd name="T88" fmla="*/ 2147483647 w 207"/>
              <a:gd name="T89" fmla="*/ 2147483647 h 250"/>
              <a:gd name="T90" fmla="*/ 2147483647 w 207"/>
              <a:gd name="T91" fmla="*/ 2147483647 h 250"/>
              <a:gd name="T92" fmla="*/ 2147483647 w 207"/>
              <a:gd name="T93" fmla="*/ 2147483647 h 250"/>
              <a:gd name="T94" fmla="*/ 2147483647 w 207"/>
              <a:gd name="T95" fmla="*/ 2147483647 h 250"/>
              <a:gd name="T96" fmla="*/ 2147483647 w 207"/>
              <a:gd name="T97" fmla="*/ 2147483647 h 250"/>
              <a:gd name="T98" fmla="*/ 2147483647 w 207"/>
              <a:gd name="T99" fmla="*/ 2147483647 h 250"/>
              <a:gd name="T100" fmla="*/ 2147483647 w 207"/>
              <a:gd name="T101" fmla="*/ 2147483647 h 250"/>
              <a:gd name="T102" fmla="*/ 2147483647 w 207"/>
              <a:gd name="T103" fmla="*/ 2147483647 h 250"/>
              <a:gd name="T104" fmla="*/ 2147483647 w 207"/>
              <a:gd name="T105" fmla="*/ 2147483647 h 250"/>
              <a:gd name="T106" fmla="*/ 2147483647 w 207"/>
              <a:gd name="T107" fmla="*/ 2147483647 h 250"/>
              <a:gd name="T108" fmla="*/ 2147483647 w 207"/>
              <a:gd name="T109" fmla="*/ 2147483647 h 250"/>
              <a:gd name="T110" fmla="*/ 2147483647 w 207"/>
              <a:gd name="T111" fmla="*/ 2147483647 h 250"/>
              <a:gd name="T112" fmla="*/ 2147483647 w 207"/>
              <a:gd name="T113" fmla="*/ 2147483647 h 250"/>
              <a:gd name="T114" fmla="*/ 2147483647 w 207"/>
              <a:gd name="T115" fmla="*/ 2147483647 h 250"/>
              <a:gd name="T116" fmla="*/ 2147483647 w 207"/>
              <a:gd name="T117" fmla="*/ 2147483647 h 250"/>
              <a:gd name="T118" fmla="*/ 2147483647 w 207"/>
              <a:gd name="T119" fmla="*/ 2147483647 h 250"/>
              <a:gd name="T120" fmla="*/ 2147483647 w 207"/>
              <a:gd name="T121" fmla="*/ 2147483647 h 250"/>
              <a:gd name="T122" fmla="*/ 2147483647 w 207"/>
              <a:gd name="T123" fmla="*/ 0 h 250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207"/>
              <a:gd name="T187" fmla="*/ 0 h 250"/>
              <a:gd name="T188" fmla="*/ 207 w 207"/>
              <a:gd name="T189" fmla="*/ 250 h 250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207" h="250">
                <a:moveTo>
                  <a:pt x="63" y="0"/>
                </a:moveTo>
                <a:lnTo>
                  <a:pt x="63" y="0"/>
                </a:lnTo>
                <a:lnTo>
                  <a:pt x="43" y="3"/>
                </a:lnTo>
                <a:lnTo>
                  <a:pt x="32" y="9"/>
                </a:lnTo>
                <a:lnTo>
                  <a:pt x="23" y="17"/>
                </a:lnTo>
                <a:lnTo>
                  <a:pt x="14" y="26"/>
                </a:lnTo>
                <a:lnTo>
                  <a:pt x="6" y="26"/>
                </a:lnTo>
                <a:lnTo>
                  <a:pt x="0" y="26"/>
                </a:lnTo>
                <a:lnTo>
                  <a:pt x="12" y="55"/>
                </a:lnTo>
                <a:lnTo>
                  <a:pt x="9" y="60"/>
                </a:lnTo>
                <a:lnTo>
                  <a:pt x="9" y="69"/>
                </a:lnTo>
                <a:lnTo>
                  <a:pt x="12" y="80"/>
                </a:lnTo>
                <a:lnTo>
                  <a:pt x="12" y="83"/>
                </a:lnTo>
                <a:lnTo>
                  <a:pt x="9" y="92"/>
                </a:lnTo>
                <a:lnTo>
                  <a:pt x="6" y="98"/>
                </a:lnTo>
                <a:lnTo>
                  <a:pt x="9" y="103"/>
                </a:lnTo>
                <a:lnTo>
                  <a:pt x="3" y="109"/>
                </a:lnTo>
                <a:lnTo>
                  <a:pt x="9" y="121"/>
                </a:lnTo>
                <a:lnTo>
                  <a:pt x="17" y="123"/>
                </a:lnTo>
                <a:lnTo>
                  <a:pt x="6" y="144"/>
                </a:lnTo>
                <a:lnTo>
                  <a:pt x="6" y="146"/>
                </a:lnTo>
                <a:lnTo>
                  <a:pt x="12" y="155"/>
                </a:lnTo>
                <a:lnTo>
                  <a:pt x="14" y="158"/>
                </a:lnTo>
                <a:lnTo>
                  <a:pt x="20" y="175"/>
                </a:lnTo>
                <a:lnTo>
                  <a:pt x="29" y="184"/>
                </a:lnTo>
                <a:lnTo>
                  <a:pt x="29" y="187"/>
                </a:lnTo>
                <a:lnTo>
                  <a:pt x="26" y="192"/>
                </a:lnTo>
                <a:lnTo>
                  <a:pt x="29" y="198"/>
                </a:lnTo>
                <a:lnTo>
                  <a:pt x="26" y="201"/>
                </a:lnTo>
                <a:lnTo>
                  <a:pt x="26" y="204"/>
                </a:lnTo>
                <a:lnTo>
                  <a:pt x="29" y="207"/>
                </a:lnTo>
                <a:lnTo>
                  <a:pt x="32" y="210"/>
                </a:lnTo>
                <a:lnTo>
                  <a:pt x="32" y="212"/>
                </a:lnTo>
                <a:lnTo>
                  <a:pt x="34" y="218"/>
                </a:lnTo>
                <a:lnTo>
                  <a:pt x="37" y="221"/>
                </a:lnTo>
                <a:lnTo>
                  <a:pt x="40" y="235"/>
                </a:lnTo>
                <a:lnTo>
                  <a:pt x="46" y="241"/>
                </a:lnTo>
                <a:lnTo>
                  <a:pt x="46" y="250"/>
                </a:lnTo>
                <a:lnTo>
                  <a:pt x="57" y="250"/>
                </a:lnTo>
                <a:lnTo>
                  <a:pt x="63" y="241"/>
                </a:lnTo>
                <a:lnTo>
                  <a:pt x="72" y="230"/>
                </a:lnTo>
                <a:lnTo>
                  <a:pt x="83" y="235"/>
                </a:lnTo>
                <a:lnTo>
                  <a:pt x="101" y="241"/>
                </a:lnTo>
                <a:lnTo>
                  <a:pt x="103" y="247"/>
                </a:lnTo>
                <a:lnTo>
                  <a:pt x="112" y="235"/>
                </a:lnTo>
                <a:lnTo>
                  <a:pt x="129" y="235"/>
                </a:lnTo>
                <a:lnTo>
                  <a:pt x="135" y="221"/>
                </a:lnTo>
                <a:lnTo>
                  <a:pt x="132" y="207"/>
                </a:lnTo>
                <a:lnTo>
                  <a:pt x="141" y="189"/>
                </a:lnTo>
                <a:lnTo>
                  <a:pt x="164" y="184"/>
                </a:lnTo>
                <a:lnTo>
                  <a:pt x="181" y="178"/>
                </a:lnTo>
                <a:lnTo>
                  <a:pt x="187" y="181"/>
                </a:lnTo>
                <a:lnTo>
                  <a:pt x="204" y="192"/>
                </a:lnTo>
                <a:lnTo>
                  <a:pt x="207" y="181"/>
                </a:lnTo>
                <a:lnTo>
                  <a:pt x="207" y="167"/>
                </a:lnTo>
                <a:lnTo>
                  <a:pt x="207" y="164"/>
                </a:lnTo>
                <a:lnTo>
                  <a:pt x="204" y="155"/>
                </a:lnTo>
                <a:lnTo>
                  <a:pt x="201" y="152"/>
                </a:lnTo>
                <a:lnTo>
                  <a:pt x="192" y="146"/>
                </a:lnTo>
                <a:lnTo>
                  <a:pt x="189" y="144"/>
                </a:lnTo>
                <a:lnTo>
                  <a:pt x="189" y="138"/>
                </a:lnTo>
                <a:lnTo>
                  <a:pt x="189" y="129"/>
                </a:lnTo>
                <a:lnTo>
                  <a:pt x="158" y="126"/>
                </a:lnTo>
                <a:lnTo>
                  <a:pt x="155" y="106"/>
                </a:lnTo>
                <a:lnTo>
                  <a:pt x="158" y="100"/>
                </a:lnTo>
                <a:lnTo>
                  <a:pt x="152" y="95"/>
                </a:lnTo>
                <a:lnTo>
                  <a:pt x="152" y="86"/>
                </a:lnTo>
                <a:lnTo>
                  <a:pt x="149" y="80"/>
                </a:lnTo>
                <a:lnTo>
                  <a:pt x="146" y="78"/>
                </a:lnTo>
                <a:lnTo>
                  <a:pt x="144" y="75"/>
                </a:lnTo>
                <a:lnTo>
                  <a:pt x="141" y="75"/>
                </a:lnTo>
                <a:lnTo>
                  <a:pt x="121" y="69"/>
                </a:lnTo>
                <a:lnTo>
                  <a:pt x="101" y="55"/>
                </a:lnTo>
                <a:lnTo>
                  <a:pt x="89" y="52"/>
                </a:lnTo>
                <a:lnTo>
                  <a:pt x="80" y="49"/>
                </a:lnTo>
                <a:lnTo>
                  <a:pt x="72" y="43"/>
                </a:lnTo>
                <a:lnTo>
                  <a:pt x="66" y="32"/>
                </a:lnTo>
                <a:lnTo>
                  <a:pt x="63" y="20"/>
                </a:lnTo>
                <a:lnTo>
                  <a:pt x="63" y="14"/>
                </a:lnTo>
                <a:lnTo>
                  <a:pt x="6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614" name="Freeform 720"/>
          <p:cNvSpPr>
            <a:spLocks/>
          </p:cNvSpPr>
          <p:nvPr/>
        </p:nvSpPr>
        <p:spPr bwMode="gray">
          <a:xfrm>
            <a:off x="2526456" y="3816103"/>
            <a:ext cx="458082" cy="535515"/>
          </a:xfrm>
          <a:custGeom>
            <a:avLst/>
            <a:gdLst>
              <a:gd name="T0" fmla="*/ 2147483647 w 227"/>
              <a:gd name="T1" fmla="*/ 2147483647 h 353"/>
              <a:gd name="T2" fmla="*/ 2147483647 w 227"/>
              <a:gd name="T3" fmla="*/ 2147483647 h 353"/>
              <a:gd name="T4" fmla="*/ 2147483647 w 227"/>
              <a:gd name="T5" fmla="*/ 2147483647 h 353"/>
              <a:gd name="T6" fmla="*/ 2147483647 w 227"/>
              <a:gd name="T7" fmla="*/ 2147483647 h 353"/>
              <a:gd name="T8" fmla="*/ 2147483647 w 227"/>
              <a:gd name="T9" fmla="*/ 2147483647 h 353"/>
              <a:gd name="T10" fmla="*/ 2147483647 w 227"/>
              <a:gd name="T11" fmla="*/ 2147483647 h 353"/>
              <a:gd name="T12" fmla="*/ 2147483647 w 227"/>
              <a:gd name="T13" fmla="*/ 2147483647 h 353"/>
              <a:gd name="T14" fmla="*/ 2147483647 w 227"/>
              <a:gd name="T15" fmla="*/ 2147483647 h 353"/>
              <a:gd name="T16" fmla="*/ 2147483647 w 227"/>
              <a:gd name="T17" fmla="*/ 2147483647 h 353"/>
              <a:gd name="T18" fmla="*/ 2147483647 w 227"/>
              <a:gd name="T19" fmla="*/ 2147483647 h 353"/>
              <a:gd name="T20" fmla="*/ 2147483647 w 227"/>
              <a:gd name="T21" fmla="*/ 2147483647 h 353"/>
              <a:gd name="T22" fmla="*/ 2147483647 w 227"/>
              <a:gd name="T23" fmla="*/ 2147483647 h 353"/>
              <a:gd name="T24" fmla="*/ 2147483647 w 227"/>
              <a:gd name="T25" fmla="*/ 2147483647 h 353"/>
              <a:gd name="T26" fmla="*/ 2147483647 w 227"/>
              <a:gd name="T27" fmla="*/ 2147483647 h 353"/>
              <a:gd name="T28" fmla="*/ 2147483647 w 227"/>
              <a:gd name="T29" fmla="*/ 2147483647 h 353"/>
              <a:gd name="T30" fmla="*/ 2147483647 w 227"/>
              <a:gd name="T31" fmla="*/ 2147483647 h 353"/>
              <a:gd name="T32" fmla="*/ 2147483647 w 227"/>
              <a:gd name="T33" fmla="*/ 2147483647 h 353"/>
              <a:gd name="T34" fmla="*/ 2147483647 w 227"/>
              <a:gd name="T35" fmla="*/ 2147483647 h 353"/>
              <a:gd name="T36" fmla="*/ 2147483647 w 227"/>
              <a:gd name="T37" fmla="*/ 2147483647 h 353"/>
              <a:gd name="T38" fmla="*/ 2147483647 w 227"/>
              <a:gd name="T39" fmla="*/ 2147483647 h 353"/>
              <a:gd name="T40" fmla="*/ 2147483647 w 227"/>
              <a:gd name="T41" fmla="*/ 2147483647 h 353"/>
              <a:gd name="T42" fmla="*/ 2147483647 w 227"/>
              <a:gd name="T43" fmla="*/ 2147483647 h 353"/>
              <a:gd name="T44" fmla="*/ 2147483647 w 227"/>
              <a:gd name="T45" fmla="*/ 2147483647 h 353"/>
              <a:gd name="T46" fmla="*/ 2147483647 w 227"/>
              <a:gd name="T47" fmla="*/ 2147483647 h 353"/>
              <a:gd name="T48" fmla="*/ 2147483647 w 227"/>
              <a:gd name="T49" fmla="*/ 2147483647 h 353"/>
              <a:gd name="T50" fmla="*/ 2147483647 w 227"/>
              <a:gd name="T51" fmla="*/ 2147483647 h 353"/>
              <a:gd name="T52" fmla="*/ 2147483647 w 227"/>
              <a:gd name="T53" fmla="*/ 2147483647 h 353"/>
              <a:gd name="T54" fmla="*/ 2147483647 w 227"/>
              <a:gd name="T55" fmla="*/ 2147483647 h 353"/>
              <a:gd name="T56" fmla="*/ 2147483647 w 227"/>
              <a:gd name="T57" fmla="*/ 2147483647 h 353"/>
              <a:gd name="T58" fmla="*/ 2147483647 w 227"/>
              <a:gd name="T59" fmla="*/ 2147483647 h 353"/>
              <a:gd name="T60" fmla="*/ 2147483647 w 227"/>
              <a:gd name="T61" fmla="*/ 2147483647 h 353"/>
              <a:gd name="T62" fmla="*/ 2147483647 w 227"/>
              <a:gd name="T63" fmla="*/ 2147483647 h 353"/>
              <a:gd name="T64" fmla="*/ 2147483647 w 227"/>
              <a:gd name="T65" fmla="*/ 2147483647 h 353"/>
              <a:gd name="T66" fmla="*/ 2147483647 w 227"/>
              <a:gd name="T67" fmla="*/ 2147483647 h 353"/>
              <a:gd name="T68" fmla="*/ 0 w 227"/>
              <a:gd name="T69" fmla="*/ 2147483647 h 353"/>
              <a:gd name="T70" fmla="*/ 2147483647 w 227"/>
              <a:gd name="T71" fmla="*/ 2147483647 h 353"/>
              <a:gd name="T72" fmla="*/ 2147483647 w 227"/>
              <a:gd name="T73" fmla="*/ 2147483647 h 353"/>
              <a:gd name="T74" fmla="*/ 2147483647 w 227"/>
              <a:gd name="T75" fmla="*/ 2147483647 h 353"/>
              <a:gd name="T76" fmla="*/ 2147483647 w 227"/>
              <a:gd name="T77" fmla="*/ 2147483647 h 353"/>
              <a:gd name="T78" fmla="*/ 2147483647 w 227"/>
              <a:gd name="T79" fmla="*/ 2147483647 h 353"/>
              <a:gd name="T80" fmla="*/ 2147483647 w 227"/>
              <a:gd name="T81" fmla="*/ 2147483647 h 353"/>
              <a:gd name="T82" fmla="*/ 2147483647 w 227"/>
              <a:gd name="T83" fmla="*/ 2147483647 h 353"/>
              <a:gd name="T84" fmla="*/ 2147483647 w 227"/>
              <a:gd name="T85" fmla="*/ 2147483647 h 353"/>
              <a:gd name="T86" fmla="*/ 2147483647 w 227"/>
              <a:gd name="T87" fmla="*/ 2147483647 h 353"/>
              <a:gd name="T88" fmla="*/ 2147483647 w 227"/>
              <a:gd name="T89" fmla="*/ 2147483647 h 353"/>
              <a:gd name="T90" fmla="*/ 2147483647 w 227"/>
              <a:gd name="T91" fmla="*/ 2147483647 h 353"/>
              <a:gd name="T92" fmla="*/ 2147483647 w 227"/>
              <a:gd name="T93" fmla="*/ 2147483647 h 353"/>
              <a:gd name="T94" fmla="*/ 2147483647 w 227"/>
              <a:gd name="T95" fmla="*/ 2147483647 h 353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227"/>
              <a:gd name="T145" fmla="*/ 0 h 353"/>
              <a:gd name="T146" fmla="*/ 227 w 227"/>
              <a:gd name="T147" fmla="*/ 353 h 353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227" h="353">
                <a:moveTo>
                  <a:pt x="215" y="347"/>
                </a:moveTo>
                <a:lnTo>
                  <a:pt x="215" y="341"/>
                </a:lnTo>
                <a:lnTo>
                  <a:pt x="215" y="338"/>
                </a:lnTo>
                <a:lnTo>
                  <a:pt x="218" y="335"/>
                </a:lnTo>
                <a:lnTo>
                  <a:pt x="218" y="330"/>
                </a:lnTo>
                <a:lnTo>
                  <a:pt x="227" y="312"/>
                </a:lnTo>
                <a:lnTo>
                  <a:pt x="221" y="310"/>
                </a:lnTo>
                <a:lnTo>
                  <a:pt x="215" y="298"/>
                </a:lnTo>
                <a:lnTo>
                  <a:pt x="221" y="292"/>
                </a:lnTo>
                <a:lnTo>
                  <a:pt x="215" y="287"/>
                </a:lnTo>
                <a:lnTo>
                  <a:pt x="218" y="287"/>
                </a:lnTo>
                <a:lnTo>
                  <a:pt x="221" y="281"/>
                </a:lnTo>
                <a:lnTo>
                  <a:pt x="224" y="272"/>
                </a:lnTo>
                <a:lnTo>
                  <a:pt x="221" y="258"/>
                </a:lnTo>
                <a:lnTo>
                  <a:pt x="221" y="249"/>
                </a:lnTo>
                <a:lnTo>
                  <a:pt x="221" y="246"/>
                </a:lnTo>
                <a:lnTo>
                  <a:pt x="224" y="244"/>
                </a:lnTo>
                <a:lnTo>
                  <a:pt x="212" y="212"/>
                </a:lnTo>
                <a:lnTo>
                  <a:pt x="204" y="212"/>
                </a:lnTo>
                <a:lnTo>
                  <a:pt x="195" y="215"/>
                </a:lnTo>
                <a:lnTo>
                  <a:pt x="192" y="212"/>
                </a:lnTo>
                <a:lnTo>
                  <a:pt x="189" y="206"/>
                </a:lnTo>
                <a:lnTo>
                  <a:pt x="189" y="195"/>
                </a:lnTo>
                <a:lnTo>
                  <a:pt x="189" y="183"/>
                </a:lnTo>
                <a:lnTo>
                  <a:pt x="181" y="192"/>
                </a:lnTo>
                <a:lnTo>
                  <a:pt x="163" y="192"/>
                </a:lnTo>
                <a:lnTo>
                  <a:pt x="158" y="186"/>
                </a:lnTo>
                <a:lnTo>
                  <a:pt x="140" y="180"/>
                </a:lnTo>
                <a:lnTo>
                  <a:pt x="143" y="178"/>
                </a:lnTo>
                <a:lnTo>
                  <a:pt x="146" y="175"/>
                </a:lnTo>
                <a:lnTo>
                  <a:pt x="129" y="149"/>
                </a:lnTo>
                <a:lnTo>
                  <a:pt x="126" y="143"/>
                </a:lnTo>
                <a:lnTo>
                  <a:pt x="129" y="140"/>
                </a:lnTo>
                <a:lnTo>
                  <a:pt x="129" y="137"/>
                </a:lnTo>
                <a:lnTo>
                  <a:pt x="132" y="132"/>
                </a:lnTo>
                <a:lnTo>
                  <a:pt x="135" y="126"/>
                </a:lnTo>
                <a:lnTo>
                  <a:pt x="138" y="126"/>
                </a:lnTo>
                <a:lnTo>
                  <a:pt x="140" y="126"/>
                </a:lnTo>
                <a:lnTo>
                  <a:pt x="140" y="123"/>
                </a:lnTo>
                <a:lnTo>
                  <a:pt x="140" y="111"/>
                </a:lnTo>
                <a:lnTo>
                  <a:pt x="143" y="97"/>
                </a:lnTo>
                <a:lnTo>
                  <a:pt x="149" y="89"/>
                </a:lnTo>
                <a:lnTo>
                  <a:pt x="158" y="83"/>
                </a:lnTo>
                <a:lnTo>
                  <a:pt x="166" y="83"/>
                </a:lnTo>
                <a:lnTo>
                  <a:pt x="175" y="83"/>
                </a:lnTo>
                <a:lnTo>
                  <a:pt x="178" y="80"/>
                </a:lnTo>
                <a:lnTo>
                  <a:pt x="181" y="77"/>
                </a:lnTo>
                <a:lnTo>
                  <a:pt x="181" y="74"/>
                </a:lnTo>
                <a:lnTo>
                  <a:pt x="192" y="80"/>
                </a:lnTo>
                <a:lnTo>
                  <a:pt x="192" y="77"/>
                </a:lnTo>
                <a:lnTo>
                  <a:pt x="189" y="74"/>
                </a:lnTo>
                <a:lnTo>
                  <a:pt x="178" y="68"/>
                </a:lnTo>
                <a:lnTo>
                  <a:pt x="181" y="68"/>
                </a:lnTo>
                <a:lnTo>
                  <a:pt x="186" y="57"/>
                </a:lnTo>
                <a:lnTo>
                  <a:pt x="189" y="48"/>
                </a:lnTo>
                <a:lnTo>
                  <a:pt x="178" y="40"/>
                </a:lnTo>
                <a:lnTo>
                  <a:pt x="175" y="43"/>
                </a:lnTo>
                <a:lnTo>
                  <a:pt x="166" y="40"/>
                </a:lnTo>
                <a:lnTo>
                  <a:pt x="163" y="43"/>
                </a:lnTo>
                <a:lnTo>
                  <a:pt x="158" y="45"/>
                </a:lnTo>
                <a:lnTo>
                  <a:pt x="140" y="43"/>
                </a:lnTo>
                <a:lnTo>
                  <a:pt x="138" y="43"/>
                </a:lnTo>
                <a:lnTo>
                  <a:pt x="138" y="40"/>
                </a:lnTo>
                <a:lnTo>
                  <a:pt x="140" y="34"/>
                </a:lnTo>
                <a:lnTo>
                  <a:pt x="135" y="31"/>
                </a:lnTo>
                <a:lnTo>
                  <a:pt x="129" y="22"/>
                </a:lnTo>
                <a:lnTo>
                  <a:pt x="117" y="17"/>
                </a:lnTo>
                <a:lnTo>
                  <a:pt x="115" y="5"/>
                </a:lnTo>
                <a:lnTo>
                  <a:pt x="106" y="0"/>
                </a:lnTo>
                <a:lnTo>
                  <a:pt x="100" y="0"/>
                </a:lnTo>
                <a:lnTo>
                  <a:pt x="103" y="8"/>
                </a:lnTo>
                <a:lnTo>
                  <a:pt x="103" y="14"/>
                </a:lnTo>
                <a:lnTo>
                  <a:pt x="100" y="20"/>
                </a:lnTo>
                <a:lnTo>
                  <a:pt x="94" y="28"/>
                </a:lnTo>
                <a:lnTo>
                  <a:pt x="89" y="40"/>
                </a:lnTo>
                <a:lnTo>
                  <a:pt x="83" y="45"/>
                </a:lnTo>
                <a:lnTo>
                  <a:pt x="77" y="48"/>
                </a:lnTo>
                <a:lnTo>
                  <a:pt x="66" y="54"/>
                </a:lnTo>
                <a:lnTo>
                  <a:pt x="54" y="63"/>
                </a:lnTo>
                <a:lnTo>
                  <a:pt x="49" y="74"/>
                </a:lnTo>
                <a:lnTo>
                  <a:pt x="46" y="86"/>
                </a:lnTo>
                <a:lnTo>
                  <a:pt x="43" y="86"/>
                </a:lnTo>
                <a:lnTo>
                  <a:pt x="37" y="97"/>
                </a:lnTo>
                <a:lnTo>
                  <a:pt x="31" y="94"/>
                </a:lnTo>
                <a:lnTo>
                  <a:pt x="31" y="86"/>
                </a:lnTo>
                <a:lnTo>
                  <a:pt x="23" y="80"/>
                </a:lnTo>
                <a:lnTo>
                  <a:pt x="11" y="86"/>
                </a:lnTo>
                <a:lnTo>
                  <a:pt x="11" y="74"/>
                </a:lnTo>
                <a:lnTo>
                  <a:pt x="17" y="71"/>
                </a:lnTo>
                <a:lnTo>
                  <a:pt x="14" y="63"/>
                </a:lnTo>
                <a:lnTo>
                  <a:pt x="11" y="66"/>
                </a:lnTo>
                <a:lnTo>
                  <a:pt x="5" y="71"/>
                </a:lnTo>
                <a:lnTo>
                  <a:pt x="3" y="80"/>
                </a:lnTo>
                <a:lnTo>
                  <a:pt x="0" y="94"/>
                </a:lnTo>
                <a:lnTo>
                  <a:pt x="3" y="100"/>
                </a:lnTo>
                <a:lnTo>
                  <a:pt x="8" y="109"/>
                </a:lnTo>
                <a:lnTo>
                  <a:pt x="3" y="109"/>
                </a:lnTo>
                <a:lnTo>
                  <a:pt x="3" y="111"/>
                </a:lnTo>
                <a:lnTo>
                  <a:pt x="5" y="117"/>
                </a:lnTo>
                <a:lnTo>
                  <a:pt x="14" y="120"/>
                </a:lnTo>
                <a:lnTo>
                  <a:pt x="20" y="123"/>
                </a:lnTo>
                <a:lnTo>
                  <a:pt x="23" y="126"/>
                </a:lnTo>
                <a:lnTo>
                  <a:pt x="40" y="155"/>
                </a:lnTo>
                <a:lnTo>
                  <a:pt x="57" y="186"/>
                </a:lnTo>
                <a:lnTo>
                  <a:pt x="72" y="212"/>
                </a:lnTo>
                <a:lnTo>
                  <a:pt x="77" y="221"/>
                </a:lnTo>
                <a:lnTo>
                  <a:pt x="80" y="226"/>
                </a:lnTo>
                <a:lnTo>
                  <a:pt x="80" y="229"/>
                </a:lnTo>
                <a:lnTo>
                  <a:pt x="80" y="232"/>
                </a:lnTo>
                <a:lnTo>
                  <a:pt x="86" y="241"/>
                </a:lnTo>
                <a:lnTo>
                  <a:pt x="94" y="249"/>
                </a:lnTo>
                <a:lnTo>
                  <a:pt x="97" y="252"/>
                </a:lnTo>
                <a:lnTo>
                  <a:pt x="97" y="258"/>
                </a:lnTo>
                <a:lnTo>
                  <a:pt x="94" y="264"/>
                </a:lnTo>
                <a:lnTo>
                  <a:pt x="94" y="269"/>
                </a:lnTo>
                <a:lnTo>
                  <a:pt x="100" y="275"/>
                </a:lnTo>
                <a:lnTo>
                  <a:pt x="109" y="287"/>
                </a:lnTo>
                <a:lnTo>
                  <a:pt x="115" y="289"/>
                </a:lnTo>
                <a:lnTo>
                  <a:pt x="123" y="298"/>
                </a:lnTo>
                <a:lnTo>
                  <a:pt x="143" y="310"/>
                </a:lnTo>
                <a:lnTo>
                  <a:pt x="161" y="318"/>
                </a:lnTo>
                <a:lnTo>
                  <a:pt x="169" y="324"/>
                </a:lnTo>
                <a:lnTo>
                  <a:pt x="175" y="327"/>
                </a:lnTo>
                <a:lnTo>
                  <a:pt x="181" y="330"/>
                </a:lnTo>
                <a:lnTo>
                  <a:pt x="186" y="333"/>
                </a:lnTo>
                <a:lnTo>
                  <a:pt x="192" y="341"/>
                </a:lnTo>
                <a:lnTo>
                  <a:pt x="198" y="347"/>
                </a:lnTo>
                <a:lnTo>
                  <a:pt x="204" y="353"/>
                </a:lnTo>
                <a:lnTo>
                  <a:pt x="209" y="353"/>
                </a:lnTo>
                <a:lnTo>
                  <a:pt x="215" y="34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615" name="Freeform 721"/>
          <p:cNvSpPr>
            <a:spLocks/>
          </p:cNvSpPr>
          <p:nvPr/>
        </p:nvSpPr>
        <p:spPr bwMode="gray">
          <a:xfrm>
            <a:off x="1568282" y="3079584"/>
            <a:ext cx="18004" cy="13500"/>
          </a:xfrm>
          <a:custGeom>
            <a:avLst/>
            <a:gdLst>
              <a:gd name="T0" fmla="*/ 0 w 9"/>
              <a:gd name="T1" fmla="*/ 2147483647 h 9"/>
              <a:gd name="T2" fmla="*/ 2147483647 w 9"/>
              <a:gd name="T3" fmla="*/ 2147483647 h 9"/>
              <a:gd name="T4" fmla="*/ 2147483647 w 9"/>
              <a:gd name="T5" fmla="*/ 2147483647 h 9"/>
              <a:gd name="T6" fmla="*/ 2147483647 w 9"/>
              <a:gd name="T7" fmla="*/ 2147483647 h 9"/>
              <a:gd name="T8" fmla="*/ 2147483647 w 9"/>
              <a:gd name="T9" fmla="*/ 0 h 9"/>
              <a:gd name="T10" fmla="*/ 0 w 9"/>
              <a:gd name="T11" fmla="*/ 2147483647 h 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9"/>
              <a:gd name="T19" fmla="*/ 0 h 9"/>
              <a:gd name="T20" fmla="*/ 9 w 9"/>
              <a:gd name="T21" fmla="*/ 9 h 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9" h="9">
                <a:moveTo>
                  <a:pt x="0" y="3"/>
                </a:moveTo>
                <a:lnTo>
                  <a:pt x="3" y="9"/>
                </a:lnTo>
                <a:lnTo>
                  <a:pt x="3" y="6"/>
                </a:lnTo>
                <a:lnTo>
                  <a:pt x="9" y="9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616" name="Freeform 722"/>
          <p:cNvSpPr>
            <a:spLocks/>
          </p:cNvSpPr>
          <p:nvPr/>
        </p:nvSpPr>
        <p:spPr bwMode="gray">
          <a:xfrm>
            <a:off x="1608290" y="3067583"/>
            <a:ext cx="12002" cy="12000"/>
          </a:xfrm>
          <a:custGeom>
            <a:avLst/>
            <a:gdLst>
              <a:gd name="T0" fmla="*/ 2147483647 w 6"/>
              <a:gd name="T1" fmla="*/ 0 h 8"/>
              <a:gd name="T2" fmla="*/ 2147483647 w 6"/>
              <a:gd name="T3" fmla="*/ 2147483647 h 8"/>
              <a:gd name="T4" fmla="*/ 0 w 6"/>
              <a:gd name="T5" fmla="*/ 2147483647 h 8"/>
              <a:gd name="T6" fmla="*/ 2147483647 w 6"/>
              <a:gd name="T7" fmla="*/ 2147483647 h 8"/>
              <a:gd name="T8" fmla="*/ 2147483647 w 6"/>
              <a:gd name="T9" fmla="*/ 0 h 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8"/>
              <a:gd name="T17" fmla="*/ 6 w 6"/>
              <a:gd name="T18" fmla="*/ 8 h 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8">
                <a:moveTo>
                  <a:pt x="3" y="0"/>
                </a:moveTo>
                <a:lnTo>
                  <a:pt x="3" y="5"/>
                </a:lnTo>
                <a:lnTo>
                  <a:pt x="0" y="8"/>
                </a:lnTo>
                <a:lnTo>
                  <a:pt x="6" y="5"/>
                </a:lnTo>
                <a:lnTo>
                  <a:pt x="3" y="0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535" name="Freeform 723"/>
          <p:cNvSpPr>
            <a:spLocks/>
          </p:cNvSpPr>
          <p:nvPr/>
        </p:nvSpPr>
        <p:spPr bwMode="gray">
          <a:xfrm>
            <a:off x="1492269" y="2850077"/>
            <a:ext cx="910165" cy="529515"/>
          </a:xfrm>
          <a:custGeom>
            <a:avLst/>
            <a:gdLst>
              <a:gd name="T0" fmla="*/ 2147483647 w 450"/>
              <a:gd name="T1" fmla="*/ 2147483647 h 350"/>
              <a:gd name="T2" fmla="*/ 2147483647 w 450"/>
              <a:gd name="T3" fmla="*/ 2147483647 h 350"/>
              <a:gd name="T4" fmla="*/ 2147483647 w 450"/>
              <a:gd name="T5" fmla="*/ 2147483647 h 350"/>
              <a:gd name="T6" fmla="*/ 2147483647 w 450"/>
              <a:gd name="T7" fmla="*/ 2147483647 h 350"/>
              <a:gd name="T8" fmla="*/ 2147483647 w 450"/>
              <a:gd name="T9" fmla="*/ 2147483647 h 350"/>
              <a:gd name="T10" fmla="*/ 2147483647 w 450"/>
              <a:gd name="T11" fmla="*/ 2147483647 h 350"/>
              <a:gd name="T12" fmla="*/ 2147483647 w 450"/>
              <a:gd name="T13" fmla="*/ 2147483647 h 350"/>
              <a:gd name="T14" fmla="*/ 2147483647 w 450"/>
              <a:gd name="T15" fmla="*/ 2147483647 h 350"/>
              <a:gd name="T16" fmla="*/ 2147483647 w 450"/>
              <a:gd name="T17" fmla="*/ 2147483647 h 350"/>
              <a:gd name="T18" fmla="*/ 2147483647 w 450"/>
              <a:gd name="T19" fmla="*/ 2147483647 h 350"/>
              <a:gd name="T20" fmla="*/ 2147483647 w 450"/>
              <a:gd name="T21" fmla="*/ 2147483647 h 350"/>
              <a:gd name="T22" fmla="*/ 2147483647 w 450"/>
              <a:gd name="T23" fmla="*/ 2147483647 h 350"/>
              <a:gd name="T24" fmla="*/ 2147483647 w 450"/>
              <a:gd name="T25" fmla="*/ 2147483647 h 350"/>
              <a:gd name="T26" fmla="*/ 2147483647 w 450"/>
              <a:gd name="T27" fmla="*/ 2147483647 h 350"/>
              <a:gd name="T28" fmla="*/ 2147483647 w 450"/>
              <a:gd name="T29" fmla="*/ 2147483647 h 350"/>
              <a:gd name="T30" fmla="*/ 2147483647 w 450"/>
              <a:gd name="T31" fmla="*/ 2147483647 h 350"/>
              <a:gd name="T32" fmla="*/ 2147483647 w 450"/>
              <a:gd name="T33" fmla="*/ 2147483647 h 350"/>
              <a:gd name="T34" fmla="*/ 2147483647 w 450"/>
              <a:gd name="T35" fmla="*/ 2147483647 h 350"/>
              <a:gd name="T36" fmla="*/ 0 w 450"/>
              <a:gd name="T37" fmla="*/ 2147483647 h 350"/>
              <a:gd name="T38" fmla="*/ 2147483647 w 450"/>
              <a:gd name="T39" fmla="*/ 2147483647 h 350"/>
              <a:gd name="T40" fmla="*/ 2147483647 w 450"/>
              <a:gd name="T41" fmla="*/ 2147483647 h 350"/>
              <a:gd name="T42" fmla="*/ 2147483647 w 450"/>
              <a:gd name="T43" fmla="*/ 2147483647 h 350"/>
              <a:gd name="T44" fmla="*/ 2147483647 w 450"/>
              <a:gd name="T45" fmla="*/ 2147483647 h 350"/>
              <a:gd name="T46" fmla="*/ 2147483647 w 450"/>
              <a:gd name="T47" fmla="*/ 2147483647 h 350"/>
              <a:gd name="T48" fmla="*/ 2147483647 w 450"/>
              <a:gd name="T49" fmla="*/ 2147483647 h 350"/>
              <a:gd name="T50" fmla="*/ 2147483647 w 450"/>
              <a:gd name="T51" fmla="*/ 2147483647 h 350"/>
              <a:gd name="T52" fmla="*/ 2147483647 w 450"/>
              <a:gd name="T53" fmla="*/ 2147483647 h 350"/>
              <a:gd name="T54" fmla="*/ 2147483647 w 450"/>
              <a:gd name="T55" fmla="*/ 2147483647 h 350"/>
              <a:gd name="T56" fmla="*/ 2147483647 w 450"/>
              <a:gd name="T57" fmla="*/ 2147483647 h 350"/>
              <a:gd name="T58" fmla="*/ 2147483647 w 450"/>
              <a:gd name="T59" fmla="*/ 2147483647 h 350"/>
              <a:gd name="T60" fmla="*/ 2147483647 w 450"/>
              <a:gd name="T61" fmla="*/ 2147483647 h 350"/>
              <a:gd name="T62" fmla="*/ 2147483647 w 450"/>
              <a:gd name="T63" fmla="*/ 2147483647 h 350"/>
              <a:gd name="T64" fmla="*/ 2147483647 w 450"/>
              <a:gd name="T65" fmla="*/ 2147483647 h 350"/>
              <a:gd name="T66" fmla="*/ 2147483647 w 450"/>
              <a:gd name="T67" fmla="*/ 2147483647 h 350"/>
              <a:gd name="T68" fmla="*/ 2147483647 w 450"/>
              <a:gd name="T69" fmla="*/ 2147483647 h 350"/>
              <a:gd name="T70" fmla="*/ 2147483647 w 450"/>
              <a:gd name="T71" fmla="*/ 2147483647 h 350"/>
              <a:gd name="T72" fmla="*/ 2147483647 w 450"/>
              <a:gd name="T73" fmla="*/ 2147483647 h 350"/>
              <a:gd name="T74" fmla="*/ 2147483647 w 450"/>
              <a:gd name="T75" fmla="*/ 2147483647 h 350"/>
              <a:gd name="T76" fmla="*/ 2147483647 w 450"/>
              <a:gd name="T77" fmla="*/ 2147483647 h 350"/>
              <a:gd name="T78" fmla="*/ 2147483647 w 450"/>
              <a:gd name="T79" fmla="*/ 2147483647 h 350"/>
              <a:gd name="T80" fmla="*/ 2147483647 w 450"/>
              <a:gd name="T81" fmla="*/ 2147483647 h 350"/>
              <a:gd name="T82" fmla="*/ 2147483647 w 450"/>
              <a:gd name="T83" fmla="*/ 2147483647 h 350"/>
              <a:gd name="T84" fmla="*/ 2147483647 w 450"/>
              <a:gd name="T85" fmla="*/ 2147483647 h 350"/>
              <a:gd name="T86" fmla="*/ 2147483647 w 450"/>
              <a:gd name="T87" fmla="*/ 2147483647 h 350"/>
              <a:gd name="T88" fmla="*/ 2147483647 w 450"/>
              <a:gd name="T89" fmla="*/ 2147483647 h 350"/>
              <a:gd name="T90" fmla="*/ 2147483647 w 450"/>
              <a:gd name="T91" fmla="*/ 2147483647 h 350"/>
              <a:gd name="T92" fmla="*/ 2147483647 w 450"/>
              <a:gd name="T93" fmla="*/ 2147483647 h 350"/>
              <a:gd name="T94" fmla="*/ 2147483647 w 450"/>
              <a:gd name="T95" fmla="*/ 2147483647 h 350"/>
              <a:gd name="T96" fmla="*/ 2147483647 w 450"/>
              <a:gd name="T97" fmla="*/ 2147483647 h 350"/>
              <a:gd name="T98" fmla="*/ 2147483647 w 450"/>
              <a:gd name="T99" fmla="*/ 2147483647 h 350"/>
              <a:gd name="T100" fmla="*/ 2147483647 w 450"/>
              <a:gd name="T101" fmla="*/ 2147483647 h 350"/>
              <a:gd name="T102" fmla="*/ 2147483647 w 450"/>
              <a:gd name="T103" fmla="*/ 2147483647 h 350"/>
              <a:gd name="T104" fmla="*/ 2147483647 w 450"/>
              <a:gd name="T105" fmla="*/ 2147483647 h 350"/>
              <a:gd name="T106" fmla="*/ 2147483647 w 450"/>
              <a:gd name="T107" fmla="*/ 2147483647 h 350"/>
              <a:gd name="T108" fmla="*/ 2147483647 w 450"/>
              <a:gd name="T109" fmla="*/ 2147483647 h 350"/>
              <a:gd name="T110" fmla="*/ 2147483647 w 450"/>
              <a:gd name="T111" fmla="*/ 2147483647 h 35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450"/>
              <a:gd name="T169" fmla="*/ 0 h 350"/>
              <a:gd name="T170" fmla="*/ 450 w 450"/>
              <a:gd name="T171" fmla="*/ 350 h 350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450" h="350">
                <a:moveTo>
                  <a:pt x="341" y="339"/>
                </a:moveTo>
                <a:lnTo>
                  <a:pt x="347" y="322"/>
                </a:lnTo>
                <a:lnTo>
                  <a:pt x="373" y="319"/>
                </a:lnTo>
                <a:lnTo>
                  <a:pt x="373" y="310"/>
                </a:lnTo>
                <a:lnTo>
                  <a:pt x="364" y="307"/>
                </a:lnTo>
                <a:lnTo>
                  <a:pt x="350" y="296"/>
                </a:lnTo>
                <a:lnTo>
                  <a:pt x="364" y="296"/>
                </a:lnTo>
                <a:lnTo>
                  <a:pt x="364" y="284"/>
                </a:lnTo>
                <a:lnTo>
                  <a:pt x="405" y="281"/>
                </a:lnTo>
                <a:lnTo>
                  <a:pt x="413" y="270"/>
                </a:lnTo>
                <a:lnTo>
                  <a:pt x="425" y="276"/>
                </a:lnTo>
                <a:lnTo>
                  <a:pt x="428" y="270"/>
                </a:lnTo>
                <a:lnTo>
                  <a:pt x="430" y="261"/>
                </a:lnTo>
                <a:lnTo>
                  <a:pt x="433" y="256"/>
                </a:lnTo>
                <a:lnTo>
                  <a:pt x="430" y="253"/>
                </a:lnTo>
                <a:lnTo>
                  <a:pt x="433" y="247"/>
                </a:lnTo>
                <a:lnTo>
                  <a:pt x="433" y="238"/>
                </a:lnTo>
                <a:lnTo>
                  <a:pt x="445" y="233"/>
                </a:lnTo>
                <a:lnTo>
                  <a:pt x="448" y="227"/>
                </a:lnTo>
                <a:lnTo>
                  <a:pt x="450" y="221"/>
                </a:lnTo>
                <a:lnTo>
                  <a:pt x="448" y="213"/>
                </a:lnTo>
                <a:lnTo>
                  <a:pt x="445" y="213"/>
                </a:lnTo>
                <a:lnTo>
                  <a:pt x="442" y="213"/>
                </a:lnTo>
                <a:lnTo>
                  <a:pt x="439" y="215"/>
                </a:lnTo>
                <a:lnTo>
                  <a:pt x="436" y="215"/>
                </a:lnTo>
                <a:lnTo>
                  <a:pt x="430" y="213"/>
                </a:lnTo>
                <a:lnTo>
                  <a:pt x="419" y="213"/>
                </a:lnTo>
                <a:lnTo>
                  <a:pt x="419" y="215"/>
                </a:lnTo>
                <a:lnTo>
                  <a:pt x="416" y="215"/>
                </a:lnTo>
                <a:lnTo>
                  <a:pt x="399" y="218"/>
                </a:lnTo>
                <a:lnTo>
                  <a:pt x="390" y="221"/>
                </a:lnTo>
                <a:lnTo>
                  <a:pt x="387" y="227"/>
                </a:lnTo>
                <a:lnTo>
                  <a:pt x="384" y="236"/>
                </a:lnTo>
                <a:lnTo>
                  <a:pt x="384" y="241"/>
                </a:lnTo>
                <a:lnTo>
                  <a:pt x="382" y="244"/>
                </a:lnTo>
                <a:lnTo>
                  <a:pt x="379" y="247"/>
                </a:lnTo>
                <a:lnTo>
                  <a:pt x="376" y="253"/>
                </a:lnTo>
                <a:lnTo>
                  <a:pt x="373" y="259"/>
                </a:lnTo>
                <a:lnTo>
                  <a:pt x="373" y="261"/>
                </a:lnTo>
                <a:lnTo>
                  <a:pt x="364" y="267"/>
                </a:lnTo>
                <a:lnTo>
                  <a:pt x="361" y="267"/>
                </a:lnTo>
                <a:lnTo>
                  <a:pt x="364" y="270"/>
                </a:lnTo>
                <a:lnTo>
                  <a:pt x="361" y="273"/>
                </a:lnTo>
                <a:lnTo>
                  <a:pt x="356" y="273"/>
                </a:lnTo>
                <a:lnTo>
                  <a:pt x="359" y="270"/>
                </a:lnTo>
                <a:lnTo>
                  <a:pt x="359" y="267"/>
                </a:lnTo>
                <a:lnTo>
                  <a:pt x="353" y="267"/>
                </a:lnTo>
                <a:lnTo>
                  <a:pt x="341" y="270"/>
                </a:lnTo>
                <a:lnTo>
                  <a:pt x="336" y="273"/>
                </a:lnTo>
                <a:lnTo>
                  <a:pt x="324" y="276"/>
                </a:lnTo>
                <a:lnTo>
                  <a:pt x="316" y="279"/>
                </a:lnTo>
                <a:lnTo>
                  <a:pt x="304" y="276"/>
                </a:lnTo>
                <a:lnTo>
                  <a:pt x="304" y="270"/>
                </a:lnTo>
                <a:lnTo>
                  <a:pt x="295" y="267"/>
                </a:lnTo>
                <a:lnTo>
                  <a:pt x="287" y="264"/>
                </a:lnTo>
                <a:lnTo>
                  <a:pt x="281" y="253"/>
                </a:lnTo>
                <a:lnTo>
                  <a:pt x="272" y="233"/>
                </a:lnTo>
                <a:lnTo>
                  <a:pt x="270" y="221"/>
                </a:lnTo>
                <a:lnTo>
                  <a:pt x="272" y="213"/>
                </a:lnTo>
                <a:lnTo>
                  <a:pt x="267" y="201"/>
                </a:lnTo>
                <a:lnTo>
                  <a:pt x="270" y="190"/>
                </a:lnTo>
                <a:lnTo>
                  <a:pt x="272" y="167"/>
                </a:lnTo>
                <a:lnTo>
                  <a:pt x="275" y="155"/>
                </a:lnTo>
                <a:lnTo>
                  <a:pt x="278" y="149"/>
                </a:lnTo>
                <a:lnTo>
                  <a:pt x="281" y="144"/>
                </a:lnTo>
                <a:lnTo>
                  <a:pt x="287" y="138"/>
                </a:lnTo>
                <a:lnTo>
                  <a:pt x="290" y="132"/>
                </a:lnTo>
                <a:lnTo>
                  <a:pt x="264" y="124"/>
                </a:lnTo>
                <a:lnTo>
                  <a:pt x="255" y="109"/>
                </a:lnTo>
                <a:lnTo>
                  <a:pt x="258" y="98"/>
                </a:lnTo>
                <a:lnTo>
                  <a:pt x="250" y="86"/>
                </a:lnTo>
                <a:lnTo>
                  <a:pt x="247" y="69"/>
                </a:lnTo>
                <a:lnTo>
                  <a:pt x="238" y="55"/>
                </a:lnTo>
                <a:lnTo>
                  <a:pt x="218" y="58"/>
                </a:lnTo>
                <a:lnTo>
                  <a:pt x="204" y="69"/>
                </a:lnTo>
                <a:lnTo>
                  <a:pt x="189" y="60"/>
                </a:lnTo>
                <a:lnTo>
                  <a:pt x="186" y="37"/>
                </a:lnTo>
                <a:lnTo>
                  <a:pt x="178" y="32"/>
                </a:lnTo>
                <a:lnTo>
                  <a:pt x="169" y="20"/>
                </a:lnTo>
                <a:lnTo>
                  <a:pt x="143" y="17"/>
                </a:lnTo>
                <a:lnTo>
                  <a:pt x="138" y="26"/>
                </a:lnTo>
                <a:lnTo>
                  <a:pt x="89" y="26"/>
                </a:lnTo>
                <a:lnTo>
                  <a:pt x="40" y="0"/>
                </a:lnTo>
                <a:lnTo>
                  <a:pt x="0" y="3"/>
                </a:lnTo>
                <a:lnTo>
                  <a:pt x="3" y="14"/>
                </a:lnTo>
                <a:lnTo>
                  <a:pt x="0" y="20"/>
                </a:lnTo>
                <a:lnTo>
                  <a:pt x="3" y="23"/>
                </a:lnTo>
                <a:lnTo>
                  <a:pt x="3" y="26"/>
                </a:lnTo>
                <a:lnTo>
                  <a:pt x="3" y="35"/>
                </a:lnTo>
                <a:lnTo>
                  <a:pt x="0" y="43"/>
                </a:lnTo>
                <a:lnTo>
                  <a:pt x="3" y="46"/>
                </a:lnTo>
                <a:lnTo>
                  <a:pt x="3" y="49"/>
                </a:lnTo>
                <a:lnTo>
                  <a:pt x="3" y="55"/>
                </a:lnTo>
                <a:lnTo>
                  <a:pt x="11" y="60"/>
                </a:lnTo>
                <a:lnTo>
                  <a:pt x="17" y="69"/>
                </a:lnTo>
                <a:lnTo>
                  <a:pt x="20" y="78"/>
                </a:lnTo>
                <a:lnTo>
                  <a:pt x="17" y="86"/>
                </a:lnTo>
                <a:lnTo>
                  <a:pt x="20" y="92"/>
                </a:lnTo>
                <a:lnTo>
                  <a:pt x="17" y="95"/>
                </a:lnTo>
                <a:lnTo>
                  <a:pt x="14" y="92"/>
                </a:lnTo>
                <a:lnTo>
                  <a:pt x="11" y="92"/>
                </a:lnTo>
                <a:lnTo>
                  <a:pt x="3" y="92"/>
                </a:lnTo>
                <a:lnTo>
                  <a:pt x="0" y="95"/>
                </a:lnTo>
                <a:lnTo>
                  <a:pt x="6" y="98"/>
                </a:lnTo>
                <a:lnTo>
                  <a:pt x="11" y="98"/>
                </a:lnTo>
                <a:lnTo>
                  <a:pt x="8" y="103"/>
                </a:lnTo>
                <a:lnTo>
                  <a:pt x="17" y="109"/>
                </a:lnTo>
                <a:lnTo>
                  <a:pt x="26" y="106"/>
                </a:lnTo>
                <a:lnTo>
                  <a:pt x="28" y="115"/>
                </a:lnTo>
                <a:lnTo>
                  <a:pt x="34" y="118"/>
                </a:lnTo>
                <a:lnTo>
                  <a:pt x="40" y="124"/>
                </a:lnTo>
                <a:lnTo>
                  <a:pt x="37" y="135"/>
                </a:lnTo>
                <a:lnTo>
                  <a:pt x="34" y="147"/>
                </a:lnTo>
                <a:lnTo>
                  <a:pt x="34" y="155"/>
                </a:lnTo>
                <a:lnTo>
                  <a:pt x="40" y="152"/>
                </a:lnTo>
                <a:lnTo>
                  <a:pt x="46" y="161"/>
                </a:lnTo>
                <a:lnTo>
                  <a:pt x="51" y="167"/>
                </a:lnTo>
                <a:lnTo>
                  <a:pt x="60" y="172"/>
                </a:lnTo>
                <a:lnTo>
                  <a:pt x="66" y="187"/>
                </a:lnTo>
                <a:lnTo>
                  <a:pt x="66" y="181"/>
                </a:lnTo>
                <a:lnTo>
                  <a:pt x="69" y="181"/>
                </a:lnTo>
                <a:lnTo>
                  <a:pt x="74" y="178"/>
                </a:lnTo>
                <a:lnTo>
                  <a:pt x="72" y="172"/>
                </a:lnTo>
                <a:lnTo>
                  <a:pt x="72" y="167"/>
                </a:lnTo>
                <a:lnTo>
                  <a:pt x="66" y="164"/>
                </a:lnTo>
                <a:lnTo>
                  <a:pt x="63" y="167"/>
                </a:lnTo>
                <a:lnTo>
                  <a:pt x="66" y="161"/>
                </a:lnTo>
                <a:lnTo>
                  <a:pt x="63" y="161"/>
                </a:lnTo>
                <a:lnTo>
                  <a:pt x="60" y="161"/>
                </a:lnTo>
                <a:lnTo>
                  <a:pt x="57" y="152"/>
                </a:lnTo>
                <a:lnTo>
                  <a:pt x="57" y="132"/>
                </a:lnTo>
                <a:lnTo>
                  <a:pt x="51" y="126"/>
                </a:lnTo>
                <a:lnTo>
                  <a:pt x="51" y="118"/>
                </a:lnTo>
                <a:lnTo>
                  <a:pt x="46" y="109"/>
                </a:lnTo>
                <a:lnTo>
                  <a:pt x="46" y="103"/>
                </a:lnTo>
                <a:lnTo>
                  <a:pt x="43" y="92"/>
                </a:lnTo>
                <a:lnTo>
                  <a:pt x="43" y="81"/>
                </a:lnTo>
                <a:lnTo>
                  <a:pt x="40" y="72"/>
                </a:lnTo>
                <a:lnTo>
                  <a:pt x="37" y="72"/>
                </a:lnTo>
                <a:lnTo>
                  <a:pt x="34" y="69"/>
                </a:lnTo>
                <a:lnTo>
                  <a:pt x="34" y="66"/>
                </a:lnTo>
                <a:lnTo>
                  <a:pt x="31" y="60"/>
                </a:lnTo>
                <a:lnTo>
                  <a:pt x="28" y="55"/>
                </a:lnTo>
                <a:lnTo>
                  <a:pt x="28" y="52"/>
                </a:lnTo>
                <a:lnTo>
                  <a:pt x="26" y="49"/>
                </a:lnTo>
                <a:lnTo>
                  <a:pt x="23" y="43"/>
                </a:lnTo>
                <a:lnTo>
                  <a:pt x="26" y="32"/>
                </a:lnTo>
                <a:lnTo>
                  <a:pt x="28" y="23"/>
                </a:lnTo>
                <a:lnTo>
                  <a:pt x="34" y="14"/>
                </a:lnTo>
                <a:lnTo>
                  <a:pt x="37" y="17"/>
                </a:lnTo>
                <a:lnTo>
                  <a:pt x="40" y="20"/>
                </a:lnTo>
                <a:lnTo>
                  <a:pt x="43" y="20"/>
                </a:lnTo>
                <a:lnTo>
                  <a:pt x="49" y="23"/>
                </a:lnTo>
                <a:lnTo>
                  <a:pt x="54" y="26"/>
                </a:lnTo>
                <a:lnTo>
                  <a:pt x="54" y="29"/>
                </a:lnTo>
                <a:lnTo>
                  <a:pt x="54" y="32"/>
                </a:lnTo>
                <a:lnTo>
                  <a:pt x="54" y="37"/>
                </a:lnTo>
                <a:lnTo>
                  <a:pt x="54" y="43"/>
                </a:lnTo>
                <a:lnTo>
                  <a:pt x="54" y="49"/>
                </a:lnTo>
                <a:lnTo>
                  <a:pt x="54" y="60"/>
                </a:lnTo>
                <a:lnTo>
                  <a:pt x="57" y="69"/>
                </a:lnTo>
                <a:lnTo>
                  <a:pt x="63" y="81"/>
                </a:lnTo>
                <a:lnTo>
                  <a:pt x="69" y="89"/>
                </a:lnTo>
                <a:lnTo>
                  <a:pt x="72" y="89"/>
                </a:lnTo>
                <a:lnTo>
                  <a:pt x="74" y="89"/>
                </a:lnTo>
                <a:lnTo>
                  <a:pt x="77" y="89"/>
                </a:lnTo>
                <a:lnTo>
                  <a:pt x="77" y="92"/>
                </a:lnTo>
                <a:lnTo>
                  <a:pt x="74" y="98"/>
                </a:lnTo>
                <a:lnTo>
                  <a:pt x="74" y="103"/>
                </a:lnTo>
                <a:lnTo>
                  <a:pt x="77" y="103"/>
                </a:lnTo>
                <a:lnTo>
                  <a:pt x="80" y="106"/>
                </a:lnTo>
                <a:lnTo>
                  <a:pt x="83" y="109"/>
                </a:lnTo>
                <a:lnTo>
                  <a:pt x="86" y="112"/>
                </a:lnTo>
                <a:lnTo>
                  <a:pt x="89" y="115"/>
                </a:lnTo>
                <a:lnTo>
                  <a:pt x="89" y="121"/>
                </a:lnTo>
                <a:lnTo>
                  <a:pt x="89" y="126"/>
                </a:lnTo>
                <a:lnTo>
                  <a:pt x="86" y="135"/>
                </a:lnTo>
                <a:lnTo>
                  <a:pt x="92" y="138"/>
                </a:lnTo>
                <a:lnTo>
                  <a:pt x="95" y="141"/>
                </a:lnTo>
                <a:lnTo>
                  <a:pt x="100" y="147"/>
                </a:lnTo>
                <a:lnTo>
                  <a:pt x="109" y="158"/>
                </a:lnTo>
                <a:lnTo>
                  <a:pt x="117" y="167"/>
                </a:lnTo>
                <a:lnTo>
                  <a:pt x="123" y="175"/>
                </a:lnTo>
                <a:lnTo>
                  <a:pt x="123" y="181"/>
                </a:lnTo>
                <a:lnTo>
                  <a:pt x="129" y="187"/>
                </a:lnTo>
                <a:lnTo>
                  <a:pt x="132" y="192"/>
                </a:lnTo>
                <a:lnTo>
                  <a:pt x="135" y="195"/>
                </a:lnTo>
                <a:lnTo>
                  <a:pt x="135" y="201"/>
                </a:lnTo>
                <a:lnTo>
                  <a:pt x="132" y="207"/>
                </a:lnTo>
                <a:lnTo>
                  <a:pt x="138" y="213"/>
                </a:lnTo>
                <a:lnTo>
                  <a:pt x="138" y="218"/>
                </a:lnTo>
                <a:lnTo>
                  <a:pt x="138" y="224"/>
                </a:lnTo>
                <a:lnTo>
                  <a:pt x="135" y="230"/>
                </a:lnTo>
                <a:lnTo>
                  <a:pt x="132" y="230"/>
                </a:lnTo>
                <a:lnTo>
                  <a:pt x="132" y="233"/>
                </a:lnTo>
                <a:lnTo>
                  <a:pt x="132" y="236"/>
                </a:lnTo>
                <a:lnTo>
                  <a:pt x="129" y="236"/>
                </a:lnTo>
                <a:lnTo>
                  <a:pt x="126" y="236"/>
                </a:lnTo>
                <a:lnTo>
                  <a:pt x="126" y="238"/>
                </a:lnTo>
                <a:lnTo>
                  <a:pt x="132" y="250"/>
                </a:lnTo>
                <a:lnTo>
                  <a:pt x="138" y="259"/>
                </a:lnTo>
                <a:lnTo>
                  <a:pt x="143" y="261"/>
                </a:lnTo>
                <a:lnTo>
                  <a:pt x="146" y="264"/>
                </a:lnTo>
                <a:lnTo>
                  <a:pt x="149" y="267"/>
                </a:lnTo>
                <a:lnTo>
                  <a:pt x="155" y="273"/>
                </a:lnTo>
                <a:lnTo>
                  <a:pt x="161" y="276"/>
                </a:lnTo>
                <a:lnTo>
                  <a:pt x="166" y="279"/>
                </a:lnTo>
                <a:lnTo>
                  <a:pt x="175" y="281"/>
                </a:lnTo>
                <a:lnTo>
                  <a:pt x="181" y="284"/>
                </a:lnTo>
                <a:lnTo>
                  <a:pt x="184" y="284"/>
                </a:lnTo>
                <a:lnTo>
                  <a:pt x="195" y="296"/>
                </a:lnTo>
                <a:lnTo>
                  <a:pt x="201" y="299"/>
                </a:lnTo>
                <a:lnTo>
                  <a:pt x="204" y="302"/>
                </a:lnTo>
                <a:lnTo>
                  <a:pt x="206" y="302"/>
                </a:lnTo>
                <a:lnTo>
                  <a:pt x="209" y="302"/>
                </a:lnTo>
                <a:lnTo>
                  <a:pt x="221" y="307"/>
                </a:lnTo>
                <a:lnTo>
                  <a:pt x="224" y="307"/>
                </a:lnTo>
                <a:lnTo>
                  <a:pt x="229" y="310"/>
                </a:lnTo>
                <a:lnTo>
                  <a:pt x="235" y="316"/>
                </a:lnTo>
                <a:lnTo>
                  <a:pt x="238" y="316"/>
                </a:lnTo>
                <a:lnTo>
                  <a:pt x="244" y="319"/>
                </a:lnTo>
                <a:lnTo>
                  <a:pt x="250" y="325"/>
                </a:lnTo>
                <a:lnTo>
                  <a:pt x="255" y="325"/>
                </a:lnTo>
                <a:lnTo>
                  <a:pt x="261" y="327"/>
                </a:lnTo>
                <a:lnTo>
                  <a:pt x="264" y="327"/>
                </a:lnTo>
                <a:lnTo>
                  <a:pt x="270" y="330"/>
                </a:lnTo>
                <a:lnTo>
                  <a:pt x="278" y="325"/>
                </a:lnTo>
                <a:lnTo>
                  <a:pt x="290" y="322"/>
                </a:lnTo>
                <a:lnTo>
                  <a:pt x="298" y="316"/>
                </a:lnTo>
                <a:lnTo>
                  <a:pt x="304" y="316"/>
                </a:lnTo>
                <a:lnTo>
                  <a:pt x="307" y="319"/>
                </a:lnTo>
                <a:lnTo>
                  <a:pt x="313" y="322"/>
                </a:lnTo>
                <a:lnTo>
                  <a:pt x="321" y="327"/>
                </a:lnTo>
                <a:lnTo>
                  <a:pt x="336" y="350"/>
                </a:lnTo>
                <a:lnTo>
                  <a:pt x="341" y="339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618" name="Freeform 724"/>
          <p:cNvSpPr>
            <a:spLocks/>
          </p:cNvSpPr>
          <p:nvPr/>
        </p:nvSpPr>
        <p:spPr bwMode="gray">
          <a:xfrm>
            <a:off x="1608290" y="3040583"/>
            <a:ext cx="6002" cy="9000"/>
          </a:xfrm>
          <a:custGeom>
            <a:avLst/>
            <a:gdLst>
              <a:gd name="T0" fmla="*/ 2147483647 w 3"/>
              <a:gd name="T1" fmla="*/ 2147483647 h 6"/>
              <a:gd name="T2" fmla="*/ 0 w 3"/>
              <a:gd name="T3" fmla="*/ 0 h 6"/>
              <a:gd name="T4" fmla="*/ 0 w 3"/>
              <a:gd name="T5" fmla="*/ 2147483647 h 6"/>
              <a:gd name="T6" fmla="*/ 0 w 3"/>
              <a:gd name="T7" fmla="*/ 2147483647 h 6"/>
              <a:gd name="T8" fmla="*/ 2147483647 w 3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3" y="3"/>
                </a:moveTo>
                <a:lnTo>
                  <a:pt x="0" y="0"/>
                </a:lnTo>
                <a:lnTo>
                  <a:pt x="0" y="3"/>
                </a:lnTo>
                <a:lnTo>
                  <a:pt x="0" y="6"/>
                </a:lnTo>
                <a:lnTo>
                  <a:pt x="3" y="3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619" name="Freeform 725"/>
          <p:cNvSpPr>
            <a:spLocks/>
          </p:cNvSpPr>
          <p:nvPr/>
        </p:nvSpPr>
        <p:spPr bwMode="gray">
          <a:xfrm>
            <a:off x="1632294" y="3088584"/>
            <a:ext cx="6002" cy="9000"/>
          </a:xfrm>
          <a:custGeom>
            <a:avLst/>
            <a:gdLst>
              <a:gd name="T0" fmla="*/ 0 w 3"/>
              <a:gd name="T1" fmla="*/ 2147483647 h 6"/>
              <a:gd name="T2" fmla="*/ 2147483647 w 3"/>
              <a:gd name="T3" fmla="*/ 2147483647 h 6"/>
              <a:gd name="T4" fmla="*/ 2147483647 w 3"/>
              <a:gd name="T5" fmla="*/ 2147483647 h 6"/>
              <a:gd name="T6" fmla="*/ 0 w 3"/>
              <a:gd name="T7" fmla="*/ 0 h 6"/>
              <a:gd name="T8" fmla="*/ 0 w 3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0" y="3"/>
                </a:moveTo>
                <a:lnTo>
                  <a:pt x="3" y="6"/>
                </a:ln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620" name="Freeform 726"/>
          <p:cNvSpPr>
            <a:spLocks/>
          </p:cNvSpPr>
          <p:nvPr/>
        </p:nvSpPr>
        <p:spPr bwMode="gray">
          <a:xfrm>
            <a:off x="2178394" y="3280590"/>
            <a:ext cx="138024" cy="123003"/>
          </a:xfrm>
          <a:custGeom>
            <a:avLst/>
            <a:gdLst>
              <a:gd name="T0" fmla="*/ 2147483647 w 68"/>
              <a:gd name="T1" fmla="*/ 2147483647 h 81"/>
              <a:gd name="T2" fmla="*/ 2147483647 w 68"/>
              <a:gd name="T3" fmla="*/ 2147483647 h 81"/>
              <a:gd name="T4" fmla="*/ 2147483647 w 68"/>
              <a:gd name="T5" fmla="*/ 2147483647 h 81"/>
              <a:gd name="T6" fmla="*/ 2147483647 w 68"/>
              <a:gd name="T7" fmla="*/ 2147483647 h 81"/>
              <a:gd name="T8" fmla="*/ 2147483647 w 68"/>
              <a:gd name="T9" fmla="*/ 2147483647 h 81"/>
              <a:gd name="T10" fmla="*/ 2147483647 w 68"/>
              <a:gd name="T11" fmla="*/ 2147483647 h 81"/>
              <a:gd name="T12" fmla="*/ 2147483647 w 68"/>
              <a:gd name="T13" fmla="*/ 2147483647 h 81"/>
              <a:gd name="T14" fmla="*/ 2147483647 w 68"/>
              <a:gd name="T15" fmla="*/ 2147483647 h 81"/>
              <a:gd name="T16" fmla="*/ 2147483647 w 68"/>
              <a:gd name="T17" fmla="*/ 2147483647 h 81"/>
              <a:gd name="T18" fmla="*/ 2147483647 w 68"/>
              <a:gd name="T19" fmla="*/ 2147483647 h 81"/>
              <a:gd name="T20" fmla="*/ 2147483647 w 68"/>
              <a:gd name="T21" fmla="*/ 0 h 81"/>
              <a:gd name="T22" fmla="*/ 2147483647 w 68"/>
              <a:gd name="T23" fmla="*/ 2147483647 h 81"/>
              <a:gd name="T24" fmla="*/ 2147483647 w 68"/>
              <a:gd name="T25" fmla="*/ 2147483647 h 81"/>
              <a:gd name="T26" fmla="*/ 2147483647 w 68"/>
              <a:gd name="T27" fmla="*/ 2147483647 h 81"/>
              <a:gd name="T28" fmla="*/ 2147483647 w 68"/>
              <a:gd name="T29" fmla="*/ 2147483647 h 81"/>
              <a:gd name="T30" fmla="*/ 2147483647 w 68"/>
              <a:gd name="T31" fmla="*/ 2147483647 h 81"/>
              <a:gd name="T32" fmla="*/ 2147483647 w 68"/>
              <a:gd name="T33" fmla="*/ 2147483647 h 81"/>
              <a:gd name="T34" fmla="*/ 2147483647 w 68"/>
              <a:gd name="T35" fmla="*/ 2147483647 h 81"/>
              <a:gd name="T36" fmla="*/ 2147483647 w 68"/>
              <a:gd name="T37" fmla="*/ 2147483647 h 81"/>
              <a:gd name="T38" fmla="*/ 0 w 68"/>
              <a:gd name="T39" fmla="*/ 2147483647 h 81"/>
              <a:gd name="T40" fmla="*/ 0 w 68"/>
              <a:gd name="T41" fmla="*/ 2147483647 h 81"/>
              <a:gd name="T42" fmla="*/ 2147483647 w 68"/>
              <a:gd name="T43" fmla="*/ 2147483647 h 81"/>
              <a:gd name="T44" fmla="*/ 2147483647 w 68"/>
              <a:gd name="T45" fmla="*/ 2147483647 h 81"/>
              <a:gd name="T46" fmla="*/ 2147483647 w 68"/>
              <a:gd name="T47" fmla="*/ 2147483647 h 81"/>
              <a:gd name="T48" fmla="*/ 2147483647 w 68"/>
              <a:gd name="T49" fmla="*/ 2147483647 h 81"/>
              <a:gd name="T50" fmla="*/ 2147483647 w 68"/>
              <a:gd name="T51" fmla="*/ 2147483647 h 81"/>
              <a:gd name="T52" fmla="*/ 2147483647 w 68"/>
              <a:gd name="T53" fmla="*/ 2147483647 h 81"/>
              <a:gd name="T54" fmla="*/ 2147483647 w 68"/>
              <a:gd name="T55" fmla="*/ 2147483647 h 81"/>
              <a:gd name="T56" fmla="*/ 2147483647 w 68"/>
              <a:gd name="T57" fmla="*/ 2147483647 h 81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68"/>
              <a:gd name="T88" fmla="*/ 0 h 81"/>
              <a:gd name="T89" fmla="*/ 68 w 68"/>
              <a:gd name="T90" fmla="*/ 81 h 81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68" h="81">
                <a:moveTo>
                  <a:pt x="31" y="81"/>
                </a:moveTo>
                <a:lnTo>
                  <a:pt x="40" y="75"/>
                </a:lnTo>
                <a:lnTo>
                  <a:pt x="43" y="66"/>
                </a:lnTo>
                <a:lnTo>
                  <a:pt x="48" y="55"/>
                </a:lnTo>
                <a:lnTo>
                  <a:pt x="68" y="41"/>
                </a:lnTo>
                <a:lnTo>
                  <a:pt x="66" y="41"/>
                </a:lnTo>
                <a:lnTo>
                  <a:pt x="60" y="41"/>
                </a:lnTo>
                <a:lnTo>
                  <a:pt x="51" y="41"/>
                </a:lnTo>
                <a:lnTo>
                  <a:pt x="60" y="0"/>
                </a:lnTo>
                <a:lnTo>
                  <a:pt x="28" y="3"/>
                </a:lnTo>
                <a:lnTo>
                  <a:pt x="28" y="15"/>
                </a:lnTo>
                <a:lnTo>
                  <a:pt x="20" y="15"/>
                </a:lnTo>
                <a:lnTo>
                  <a:pt x="28" y="20"/>
                </a:lnTo>
                <a:lnTo>
                  <a:pt x="37" y="26"/>
                </a:lnTo>
                <a:lnTo>
                  <a:pt x="37" y="38"/>
                </a:lnTo>
                <a:lnTo>
                  <a:pt x="11" y="41"/>
                </a:lnTo>
                <a:lnTo>
                  <a:pt x="5" y="55"/>
                </a:lnTo>
                <a:lnTo>
                  <a:pt x="0" y="69"/>
                </a:lnTo>
                <a:lnTo>
                  <a:pt x="5" y="72"/>
                </a:lnTo>
                <a:lnTo>
                  <a:pt x="14" y="78"/>
                </a:lnTo>
                <a:lnTo>
                  <a:pt x="22" y="78"/>
                </a:lnTo>
                <a:lnTo>
                  <a:pt x="28" y="78"/>
                </a:lnTo>
                <a:lnTo>
                  <a:pt x="31" y="8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621" name="Freeform 727"/>
          <p:cNvSpPr>
            <a:spLocks/>
          </p:cNvSpPr>
          <p:nvPr/>
        </p:nvSpPr>
        <p:spPr bwMode="gray">
          <a:xfrm>
            <a:off x="2246406" y="3384092"/>
            <a:ext cx="82014" cy="40502"/>
          </a:xfrm>
          <a:custGeom>
            <a:avLst/>
            <a:gdLst>
              <a:gd name="T0" fmla="*/ 2147483647 w 40"/>
              <a:gd name="T1" fmla="*/ 2147483647 h 26"/>
              <a:gd name="T2" fmla="*/ 2147483647 w 40"/>
              <a:gd name="T3" fmla="*/ 2147483647 h 26"/>
              <a:gd name="T4" fmla="*/ 2147483647 w 40"/>
              <a:gd name="T5" fmla="*/ 2147483647 h 26"/>
              <a:gd name="T6" fmla="*/ 2147483647 w 40"/>
              <a:gd name="T7" fmla="*/ 2147483647 h 26"/>
              <a:gd name="T8" fmla="*/ 2147483647 w 40"/>
              <a:gd name="T9" fmla="*/ 2147483647 h 26"/>
              <a:gd name="T10" fmla="*/ 2147483647 w 40"/>
              <a:gd name="T11" fmla="*/ 2147483647 h 26"/>
              <a:gd name="T12" fmla="*/ 2147483647 w 40"/>
              <a:gd name="T13" fmla="*/ 2147483647 h 26"/>
              <a:gd name="T14" fmla="*/ 2147483647 w 40"/>
              <a:gd name="T15" fmla="*/ 2147483647 h 26"/>
              <a:gd name="T16" fmla="*/ 2147483647 w 40"/>
              <a:gd name="T17" fmla="*/ 2147483647 h 26"/>
              <a:gd name="T18" fmla="*/ 2147483647 w 40"/>
              <a:gd name="T19" fmla="*/ 2147483647 h 26"/>
              <a:gd name="T20" fmla="*/ 2147483647 w 40"/>
              <a:gd name="T21" fmla="*/ 0 h 26"/>
              <a:gd name="T22" fmla="*/ 2147483647 w 40"/>
              <a:gd name="T23" fmla="*/ 2147483647 h 26"/>
              <a:gd name="T24" fmla="*/ 0 w 40"/>
              <a:gd name="T25" fmla="*/ 2147483647 h 26"/>
              <a:gd name="T26" fmla="*/ 0 w 40"/>
              <a:gd name="T27" fmla="*/ 2147483647 h 26"/>
              <a:gd name="T28" fmla="*/ 2147483647 w 40"/>
              <a:gd name="T29" fmla="*/ 2147483647 h 26"/>
              <a:gd name="T30" fmla="*/ 2147483647 w 40"/>
              <a:gd name="T31" fmla="*/ 2147483647 h 26"/>
              <a:gd name="T32" fmla="*/ 2147483647 w 40"/>
              <a:gd name="T33" fmla="*/ 2147483647 h 26"/>
              <a:gd name="T34" fmla="*/ 2147483647 w 40"/>
              <a:gd name="T35" fmla="*/ 2147483647 h 26"/>
              <a:gd name="T36" fmla="*/ 2147483647 w 40"/>
              <a:gd name="T37" fmla="*/ 2147483647 h 26"/>
              <a:gd name="T38" fmla="*/ 2147483647 w 40"/>
              <a:gd name="T39" fmla="*/ 2147483647 h 26"/>
              <a:gd name="T40" fmla="*/ 2147483647 w 40"/>
              <a:gd name="T41" fmla="*/ 2147483647 h 2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40"/>
              <a:gd name="T64" fmla="*/ 0 h 26"/>
              <a:gd name="T65" fmla="*/ 40 w 40"/>
              <a:gd name="T66" fmla="*/ 26 h 2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40" h="26">
                <a:moveTo>
                  <a:pt x="26" y="23"/>
                </a:moveTo>
                <a:lnTo>
                  <a:pt x="26" y="23"/>
                </a:lnTo>
                <a:lnTo>
                  <a:pt x="32" y="26"/>
                </a:lnTo>
                <a:lnTo>
                  <a:pt x="34" y="26"/>
                </a:lnTo>
                <a:lnTo>
                  <a:pt x="37" y="23"/>
                </a:lnTo>
                <a:lnTo>
                  <a:pt x="40" y="15"/>
                </a:lnTo>
                <a:lnTo>
                  <a:pt x="37" y="9"/>
                </a:lnTo>
                <a:lnTo>
                  <a:pt x="26" y="12"/>
                </a:lnTo>
                <a:lnTo>
                  <a:pt x="11" y="0"/>
                </a:lnTo>
                <a:lnTo>
                  <a:pt x="6" y="6"/>
                </a:lnTo>
                <a:lnTo>
                  <a:pt x="0" y="15"/>
                </a:lnTo>
                <a:lnTo>
                  <a:pt x="9" y="17"/>
                </a:lnTo>
                <a:lnTo>
                  <a:pt x="14" y="20"/>
                </a:lnTo>
                <a:lnTo>
                  <a:pt x="20" y="23"/>
                </a:lnTo>
                <a:lnTo>
                  <a:pt x="26" y="2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540" name="Freeform 728"/>
          <p:cNvSpPr>
            <a:spLocks/>
          </p:cNvSpPr>
          <p:nvPr/>
        </p:nvSpPr>
        <p:spPr bwMode="gray">
          <a:xfrm>
            <a:off x="3122563" y="5086638"/>
            <a:ext cx="2000" cy="1500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0 w 1"/>
              <a:gd name="T5" fmla="*/ 0 h 1"/>
              <a:gd name="T6" fmla="*/ 0 w 1"/>
              <a:gd name="T7" fmla="*/ 0 h 1"/>
              <a:gd name="T8" fmla="*/ 0 w 1"/>
              <a:gd name="T9" fmla="*/ 0 h 1"/>
              <a:gd name="T10" fmla="*/ 0 w 1"/>
              <a:gd name="T11" fmla="*/ 0 h 1"/>
              <a:gd name="T12" fmla="*/ 0 w 1"/>
              <a:gd name="T13" fmla="*/ 0 h 1"/>
              <a:gd name="T14" fmla="*/ 0 w 1"/>
              <a:gd name="T15" fmla="*/ 0 h 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"/>
              <a:gd name="T25" fmla="*/ 0 h 1"/>
              <a:gd name="T26" fmla="*/ 1 w 1"/>
              <a:gd name="T27" fmla="*/ 1 h 1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" h="1">
                <a:moveTo>
                  <a:pt x="0" y="0"/>
                </a:move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41" name="Freeform 729"/>
          <p:cNvSpPr>
            <a:spLocks/>
          </p:cNvSpPr>
          <p:nvPr/>
        </p:nvSpPr>
        <p:spPr bwMode="gray">
          <a:xfrm>
            <a:off x="408074" y="2224561"/>
            <a:ext cx="128023" cy="34500"/>
          </a:xfrm>
          <a:custGeom>
            <a:avLst/>
            <a:gdLst>
              <a:gd name="T0" fmla="*/ 2147483647 w 63"/>
              <a:gd name="T1" fmla="*/ 2147483647 h 23"/>
              <a:gd name="T2" fmla="*/ 2147483647 w 63"/>
              <a:gd name="T3" fmla="*/ 2147483647 h 23"/>
              <a:gd name="T4" fmla="*/ 2147483647 w 63"/>
              <a:gd name="T5" fmla="*/ 2147483647 h 23"/>
              <a:gd name="T6" fmla="*/ 2147483647 w 63"/>
              <a:gd name="T7" fmla="*/ 2147483647 h 23"/>
              <a:gd name="T8" fmla="*/ 2147483647 w 63"/>
              <a:gd name="T9" fmla="*/ 2147483647 h 23"/>
              <a:gd name="T10" fmla="*/ 2147483647 w 63"/>
              <a:gd name="T11" fmla="*/ 2147483647 h 23"/>
              <a:gd name="T12" fmla="*/ 2147483647 w 63"/>
              <a:gd name="T13" fmla="*/ 2147483647 h 23"/>
              <a:gd name="T14" fmla="*/ 2147483647 w 63"/>
              <a:gd name="T15" fmla="*/ 0 h 23"/>
              <a:gd name="T16" fmla="*/ 2147483647 w 63"/>
              <a:gd name="T17" fmla="*/ 2147483647 h 23"/>
              <a:gd name="T18" fmla="*/ 2147483647 w 63"/>
              <a:gd name="T19" fmla="*/ 0 h 23"/>
              <a:gd name="T20" fmla="*/ 2147483647 w 63"/>
              <a:gd name="T21" fmla="*/ 2147483647 h 23"/>
              <a:gd name="T22" fmla="*/ 2147483647 w 63"/>
              <a:gd name="T23" fmla="*/ 2147483647 h 23"/>
              <a:gd name="T24" fmla="*/ 2147483647 w 63"/>
              <a:gd name="T25" fmla="*/ 2147483647 h 23"/>
              <a:gd name="T26" fmla="*/ 2147483647 w 63"/>
              <a:gd name="T27" fmla="*/ 2147483647 h 23"/>
              <a:gd name="T28" fmla="*/ 2147483647 w 63"/>
              <a:gd name="T29" fmla="*/ 2147483647 h 23"/>
              <a:gd name="T30" fmla="*/ 2147483647 w 63"/>
              <a:gd name="T31" fmla="*/ 2147483647 h 23"/>
              <a:gd name="T32" fmla="*/ 2147483647 w 63"/>
              <a:gd name="T33" fmla="*/ 2147483647 h 23"/>
              <a:gd name="T34" fmla="*/ 2147483647 w 63"/>
              <a:gd name="T35" fmla="*/ 2147483647 h 23"/>
              <a:gd name="T36" fmla="*/ 2147483647 w 63"/>
              <a:gd name="T37" fmla="*/ 2147483647 h 23"/>
              <a:gd name="T38" fmla="*/ 0 w 63"/>
              <a:gd name="T39" fmla="*/ 2147483647 h 23"/>
              <a:gd name="T40" fmla="*/ 2147483647 w 63"/>
              <a:gd name="T41" fmla="*/ 2147483647 h 23"/>
              <a:gd name="T42" fmla="*/ 2147483647 w 63"/>
              <a:gd name="T43" fmla="*/ 2147483647 h 23"/>
              <a:gd name="T44" fmla="*/ 2147483647 w 63"/>
              <a:gd name="T45" fmla="*/ 2147483647 h 23"/>
              <a:gd name="T46" fmla="*/ 2147483647 w 63"/>
              <a:gd name="T47" fmla="*/ 2147483647 h 23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63"/>
              <a:gd name="T73" fmla="*/ 0 h 23"/>
              <a:gd name="T74" fmla="*/ 63 w 63"/>
              <a:gd name="T75" fmla="*/ 23 h 23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63" h="23">
                <a:moveTo>
                  <a:pt x="26" y="17"/>
                </a:moveTo>
                <a:lnTo>
                  <a:pt x="37" y="14"/>
                </a:lnTo>
                <a:lnTo>
                  <a:pt x="43" y="14"/>
                </a:lnTo>
                <a:lnTo>
                  <a:pt x="52" y="11"/>
                </a:lnTo>
                <a:lnTo>
                  <a:pt x="55" y="5"/>
                </a:lnTo>
                <a:lnTo>
                  <a:pt x="57" y="8"/>
                </a:lnTo>
                <a:lnTo>
                  <a:pt x="63" y="5"/>
                </a:lnTo>
                <a:lnTo>
                  <a:pt x="60" y="0"/>
                </a:lnTo>
                <a:lnTo>
                  <a:pt x="57" y="3"/>
                </a:lnTo>
                <a:lnTo>
                  <a:pt x="57" y="0"/>
                </a:lnTo>
                <a:lnTo>
                  <a:pt x="52" y="3"/>
                </a:lnTo>
                <a:lnTo>
                  <a:pt x="49" y="3"/>
                </a:lnTo>
                <a:lnTo>
                  <a:pt x="46" y="8"/>
                </a:lnTo>
                <a:lnTo>
                  <a:pt x="37" y="11"/>
                </a:lnTo>
                <a:lnTo>
                  <a:pt x="29" y="14"/>
                </a:lnTo>
                <a:lnTo>
                  <a:pt x="26" y="11"/>
                </a:lnTo>
                <a:lnTo>
                  <a:pt x="17" y="14"/>
                </a:lnTo>
                <a:lnTo>
                  <a:pt x="14" y="17"/>
                </a:lnTo>
                <a:lnTo>
                  <a:pt x="11" y="17"/>
                </a:lnTo>
                <a:lnTo>
                  <a:pt x="0" y="23"/>
                </a:lnTo>
                <a:lnTo>
                  <a:pt x="11" y="20"/>
                </a:lnTo>
                <a:lnTo>
                  <a:pt x="20" y="17"/>
                </a:lnTo>
                <a:lnTo>
                  <a:pt x="23" y="14"/>
                </a:lnTo>
                <a:lnTo>
                  <a:pt x="26" y="17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42" name="Freihandform 3"/>
          <p:cNvSpPr>
            <a:spLocks/>
          </p:cNvSpPr>
          <p:nvPr/>
        </p:nvSpPr>
        <p:spPr bwMode="gray">
          <a:xfrm>
            <a:off x="9359687" y="2536569"/>
            <a:ext cx="180032" cy="157504"/>
          </a:xfrm>
          <a:custGeom>
            <a:avLst/>
            <a:gdLst>
              <a:gd name="T0" fmla="*/ 0 w 142875"/>
              <a:gd name="T1" fmla="*/ 97631 h 166687"/>
              <a:gd name="T2" fmla="*/ 40481 w 142875"/>
              <a:gd name="T3" fmla="*/ 47625 h 166687"/>
              <a:gd name="T4" fmla="*/ 40481 w 142875"/>
              <a:gd name="T5" fmla="*/ 35719 h 166687"/>
              <a:gd name="T6" fmla="*/ 80962 w 142875"/>
              <a:gd name="T7" fmla="*/ 52387 h 166687"/>
              <a:gd name="T8" fmla="*/ 71437 w 142875"/>
              <a:gd name="T9" fmla="*/ 30956 h 166687"/>
              <a:gd name="T10" fmla="*/ 85725 w 142875"/>
              <a:gd name="T11" fmla="*/ 26194 h 166687"/>
              <a:gd name="T12" fmla="*/ 95250 w 142875"/>
              <a:gd name="T13" fmla="*/ 11906 h 166687"/>
              <a:gd name="T14" fmla="*/ 95250 w 142875"/>
              <a:gd name="T15" fmla="*/ 0 h 166687"/>
              <a:gd name="T16" fmla="*/ 114300 w 142875"/>
              <a:gd name="T17" fmla="*/ 7144 h 166687"/>
              <a:gd name="T18" fmla="*/ 126206 w 142875"/>
              <a:gd name="T19" fmla="*/ 0 h 166687"/>
              <a:gd name="T20" fmla="*/ 142875 w 142875"/>
              <a:gd name="T21" fmla="*/ 9525 h 166687"/>
              <a:gd name="T22" fmla="*/ 111919 w 142875"/>
              <a:gd name="T23" fmla="*/ 40481 h 166687"/>
              <a:gd name="T24" fmla="*/ 128587 w 142875"/>
              <a:gd name="T25" fmla="*/ 66675 h 166687"/>
              <a:gd name="T26" fmla="*/ 104775 w 142875"/>
              <a:gd name="T27" fmla="*/ 92869 h 166687"/>
              <a:gd name="T28" fmla="*/ 83344 w 142875"/>
              <a:gd name="T29" fmla="*/ 95250 h 166687"/>
              <a:gd name="T30" fmla="*/ 88106 w 142875"/>
              <a:gd name="T31" fmla="*/ 114300 h 166687"/>
              <a:gd name="T32" fmla="*/ 119062 w 142875"/>
              <a:gd name="T33" fmla="*/ 142875 h 166687"/>
              <a:gd name="T34" fmla="*/ 104775 w 142875"/>
              <a:gd name="T35" fmla="*/ 152400 h 166687"/>
              <a:gd name="T36" fmla="*/ 88106 w 142875"/>
              <a:gd name="T37" fmla="*/ 166687 h 166687"/>
              <a:gd name="T38" fmla="*/ 66675 w 142875"/>
              <a:gd name="T39" fmla="*/ 161925 h 166687"/>
              <a:gd name="T40" fmla="*/ 45244 w 142875"/>
              <a:gd name="T41" fmla="*/ 157162 h 166687"/>
              <a:gd name="T42" fmla="*/ 40481 w 142875"/>
              <a:gd name="T43" fmla="*/ 145256 h 166687"/>
              <a:gd name="T44" fmla="*/ 52387 w 142875"/>
              <a:gd name="T45" fmla="*/ 135731 h 166687"/>
              <a:gd name="T46" fmla="*/ 0 w 142875"/>
              <a:gd name="T47" fmla="*/ 97631 h 166687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42875" h="166687">
                <a:moveTo>
                  <a:pt x="0" y="97631"/>
                </a:moveTo>
                <a:lnTo>
                  <a:pt x="40481" y="47625"/>
                </a:lnTo>
                <a:lnTo>
                  <a:pt x="40481" y="35719"/>
                </a:lnTo>
                <a:lnTo>
                  <a:pt x="80962" y="52387"/>
                </a:lnTo>
                <a:lnTo>
                  <a:pt x="71437" y="30956"/>
                </a:lnTo>
                <a:lnTo>
                  <a:pt x="85725" y="26194"/>
                </a:lnTo>
                <a:lnTo>
                  <a:pt x="95250" y="11906"/>
                </a:lnTo>
                <a:lnTo>
                  <a:pt x="95250" y="0"/>
                </a:lnTo>
                <a:lnTo>
                  <a:pt x="114300" y="7144"/>
                </a:lnTo>
                <a:lnTo>
                  <a:pt x="126206" y="0"/>
                </a:lnTo>
                <a:lnTo>
                  <a:pt x="142875" y="9525"/>
                </a:lnTo>
                <a:lnTo>
                  <a:pt x="111919" y="40481"/>
                </a:lnTo>
                <a:lnTo>
                  <a:pt x="128587" y="66675"/>
                </a:lnTo>
                <a:lnTo>
                  <a:pt x="104775" y="92869"/>
                </a:lnTo>
                <a:lnTo>
                  <a:pt x="83344" y="95250"/>
                </a:lnTo>
                <a:lnTo>
                  <a:pt x="88106" y="114300"/>
                </a:lnTo>
                <a:lnTo>
                  <a:pt x="119062" y="142875"/>
                </a:lnTo>
                <a:lnTo>
                  <a:pt x="104775" y="152400"/>
                </a:lnTo>
                <a:lnTo>
                  <a:pt x="88106" y="166687"/>
                </a:lnTo>
                <a:lnTo>
                  <a:pt x="66675" y="161925"/>
                </a:lnTo>
                <a:lnTo>
                  <a:pt x="45244" y="157162"/>
                </a:lnTo>
                <a:lnTo>
                  <a:pt x="40481" y="145256"/>
                </a:lnTo>
                <a:lnTo>
                  <a:pt x="52387" y="135731"/>
                </a:lnTo>
                <a:lnTo>
                  <a:pt x="0" y="97631"/>
                </a:lnTo>
                <a:close/>
              </a:path>
            </a:pathLst>
          </a:custGeom>
          <a:solidFill>
            <a:srgbClr val="CCCCCC">
              <a:lumMod val="75000"/>
            </a:srgbClr>
          </a:solidFill>
          <a:ln w="63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43" name="Line 751"/>
          <p:cNvSpPr>
            <a:spLocks noChangeShapeType="1"/>
          </p:cNvSpPr>
          <p:nvPr/>
        </p:nvSpPr>
        <p:spPr bwMode="gray">
          <a:xfrm flipH="1">
            <a:off x="6291134" y="1684546"/>
            <a:ext cx="306054" cy="385510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44" name="Line 753"/>
          <p:cNvSpPr>
            <a:spLocks noChangeShapeType="1"/>
          </p:cNvSpPr>
          <p:nvPr/>
        </p:nvSpPr>
        <p:spPr bwMode="gray">
          <a:xfrm flipH="1" flipV="1">
            <a:off x="9937790" y="2754075"/>
            <a:ext cx="174032" cy="21001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46" name="Line 755"/>
          <p:cNvSpPr>
            <a:spLocks noChangeShapeType="1"/>
          </p:cNvSpPr>
          <p:nvPr/>
        </p:nvSpPr>
        <p:spPr bwMode="gray">
          <a:xfrm flipH="1" flipV="1">
            <a:off x="9259668" y="3133585"/>
            <a:ext cx="568102" cy="186005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47" name="Line 756"/>
          <p:cNvSpPr>
            <a:spLocks noChangeShapeType="1"/>
          </p:cNvSpPr>
          <p:nvPr/>
        </p:nvSpPr>
        <p:spPr bwMode="gray">
          <a:xfrm flipH="1" flipV="1">
            <a:off x="8897602" y="3727602"/>
            <a:ext cx="762138" cy="75002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48" name="Line 757"/>
          <p:cNvSpPr>
            <a:spLocks noChangeShapeType="1"/>
          </p:cNvSpPr>
          <p:nvPr/>
        </p:nvSpPr>
        <p:spPr bwMode="gray">
          <a:xfrm flipH="1" flipV="1">
            <a:off x="8969616" y="3769603"/>
            <a:ext cx="684123" cy="211505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49" name="Line 758"/>
          <p:cNvSpPr>
            <a:spLocks noChangeShapeType="1"/>
          </p:cNvSpPr>
          <p:nvPr/>
        </p:nvSpPr>
        <p:spPr bwMode="gray">
          <a:xfrm flipH="1" flipV="1">
            <a:off x="6297135" y="4582625"/>
            <a:ext cx="574104" cy="133503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51" name="Line 760"/>
          <p:cNvSpPr>
            <a:spLocks noChangeShapeType="1"/>
          </p:cNvSpPr>
          <p:nvPr/>
        </p:nvSpPr>
        <p:spPr bwMode="gray">
          <a:xfrm flipH="1" flipV="1">
            <a:off x="1498270" y="2529069"/>
            <a:ext cx="1102198" cy="106503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54" name="Line 763"/>
          <p:cNvSpPr>
            <a:spLocks noChangeShapeType="1"/>
          </p:cNvSpPr>
          <p:nvPr/>
        </p:nvSpPr>
        <p:spPr bwMode="gray">
          <a:xfrm flipV="1">
            <a:off x="1698307" y="3264088"/>
            <a:ext cx="274049" cy="247507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57" name="Line 766"/>
          <p:cNvSpPr>
            <a:spLocks noChangeShapeType="1"/>
          </p:cNvSpPr>
          <p:nvPr/>
        </p:nvSpPr>
        <p:spPr bwMode="gray">
          <a:xfrm flipH="1" flipV="1">
            <a:off x="3754677" y="4510623"/>
            <a:ext cx="476086" cy="18000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63" name="Line 779"/>
          <p:cNvSpPr>
            <a:spLocks noChangeShapeType="1"/>
          </p:cNvSpPr>
          <p:nvPr/>
        </p:nvSpPr>
        <p:spPr bwMode="gray">
          <a:xfrm flipV="1">
            <a:off x="7503353" y="3267088"/>
            <a:ext cx="380068" cy="169505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64" name="Line 786"/>
          <p:cNvSpPr>
            <a:spLocks noChangeShapeType="1"/>
          </p:cNvSpPr>
          <p:nvPr/>
        </p:nvSpPr>
        <p:spPr bwMode="gray">
          <a:xfrm flipH="1">
            <a:off x="1253225" y="2784075"/>
            <a:ext cx="445079" cy="66003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71" name="Line 814"/>
          <p:cNvSpPr>
            <a:spLocks noChangeShapeType="1"/>
          </p:cNvSpPr>
          <p:nvPr/>
        </p:nvSpPr>
        <p:spPr bwMode="gray">
          <a:xfrm flipH="1">
            <a:off x="6563182" y="1954554"/>
            <a:ext cx="574103" cy="163504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72" name="Line 752"/>
          <p:cNvSpPr>
            <a:spLocks noChangeShapeType="1"/>
          </p:cNvSpPr>
          <p:nvPr/>
        </p:nvSpPr>
        <p:spPr bwMode="gray">
          <a:xfrm flipH="1">
            <a:off x="9137646" y="2461568"/>
            <a:ext cx="1200216" cy="195005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73" name="Abgerundetes Rechteck 25"/>
          <p:cNvSpPr>
            <a:spLocks noChangeArrowheads="1"/>
          </p:cNvSpPr>
          <p:nvPr/>
        </p:nvSpPr>
        <p:spPr bwMode="gray">
          <a:xfrm>
            <a:off x="6005081" y="1543542"/>
            <a:ext cx="1178213" cy="144004"/>
          </a:xfrm>
          <a:prstGeom prst="roundRect">
            <a:avLst>
              <a:gd name="adj" fmla="val 9794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St. Petersburg, Russia</a:t>
            </a:r>
          </a:p>
        </p:txBody>
      </p:sp>
      <p:sp>
        <p:nvSpPr>
          <p:cNvPr id="1574" name="Abgerundetes Rechteck 25"/>
          <p:cNvSpPr>
            <a:spLocks noChangeArrowheads="1"/>
          </p:cNvSpPr>
          <p:nvPr/>
        </p:nvSpPr>
        <p:spPr bwMode="gray">
          <a:xfrm>
            <a:off x="6673202" y="1804549"/>
            <a:ext cx="960173" cy="142503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buClr>
                <a:srgbClr val="E20074"/>
              </a:buClr>
              <a:buSzPct val="75000"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Moscow, Russia</a:t>
            </a:r>
          </a:p>
        </p:txBody>
      </p:sp>
      <p:sp>
        <p:nvSpPr>
          <p:cNvPr id="1575" name="Abgerundetes Rechteck 25"/>
          <p:cNvSpPr>
            <a:spLocks noChangeArrowheads="1"/>
          </p:cNvSpPr>
          <p:nvPr/>
        </p:nvSpPr>
        <p:spPr bwMode="gray">
          <a:xfrm>
            <a:off x="9923788" y="2325063"/>
            <a:ext cx="808146" cy="1425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buClr>
                <a:srgbClr val="E20074"/>
              </a:buClr>
              <a:buSzPct val="75000"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Beijing, China</a:t>
            </a:r>
          </a:p>
        </p:txBody>
      </p:sp>
      <p:sp>
        <p:nvSpPr>
          <p:cNvPr id="1576" name="Abgerundetes Rechteck 25"/>
          <p:cNvSpPr>
            <a:spLocks noChangeArrowheads="1"/>
          </p:cNvSpPr>
          <p:nvPr/>
        </p:nvSpPr>
        <p:spPr bwMode="gray">
          <a:xfrm>
            <a:off x="10107821" y="2700074"/>
            <a:ext cx="734132" cy="1425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buClr>
                <a:srgbClr val="E20074"/>
              </a:buClr>
              <a:buSzPct val="75000"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Tokyo, Japan</a:t>
            </a:r>
          </a:p>
        </p:txBody>
      </p:sp>
      <p:sp>
        <p:nvSpPr>
          <p:cNvPr id="1578" name="Abgerundetes Rechteck 25"/>
          <p:cNvSpPr>
            <a:spLocks noChangeArrowheads="1"/>
          </p:cNvSpPr>
          <p:nvPr/>
        </p:nvSpPr>
        <p:spPr bwMode="gray">
          <a:xfrm>
            <a:off x="9827771" y="3238588"/>
            <a:ext cx="708128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buClr>
                <a:srgbClr val="E20074"/>
              </a:buClr>
              <a:buSzPct val="75000"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Hong Kong</a:t>
            </a:r>
          </a:p>
        </p:txBody>
      </p:sp>
      <p:sp>
        <p:nvSpPr>
          <p:cNvPr id="1579" name="Abgerundetes Rechteck 25"/>
          <p:cNvSpPr>
            <a:spLocks noChangeArrowheads="1"/>
          </p:cNvSpPr>
          <p:nvPr/>
        </p:nvSpPr>
        <p:spPr bwMode="gray">
          <a:xfrm>
            <a:off x="9653739" y="3727601"/>
            <a:ext cx="1088196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buClr>
                <a:srgbClr val="E20074"/>
              </a:buClr>
              <a:buSzPct val="75000"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Selangor, Malaysia</a:t>
            </a:r>
          </a:p>
        </p:txBody>
      </p:sp>
      <p:sp>
        <p:nvSpPr>
          <p:cNvPr id="1580" name="Abgerundetes Rechteck 25"/>
          <p:cNvSpPr>
            <a:spLocks noChangeArrowheads="1"/>
          </p:cNvSpPr>
          <p:nvPr/>
        </p:nvSpPr>
        <p:spPr bwMode="gray">
          <a:xfrm>
            <a:off x="9649739" y="3900105"/>
            <a:ext cx="668120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buClr>
                <a:srgbClr val="E20074"/>
              </a:buClr>
              <a:buSzPct val="75000"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Singapore</a:t>
            </a:r>
          </a:p>
        </p:txBody>
      </p:sp>
      <p:sp>
        <p:nvSpPr>
          <p:cNvPr id="1581" name="Abgerundetes Rechteck 25"/>
          <p:cNvSpPr>
            <a:spLocks noChangeArrowheads="1"/>
          </p:cNvSpPr>
          <p:nvPr/>
        </p:nvSpPr>
        <p:spPr bwMode="gray">
          <a:xfrm>
            <a:off x="7183294" y="3438093"/>
            <a:ext cx="670120" cy="1425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buClr>
                <a:srgbClr val="E20074"/>
              </a:buClr>
              <a:buSzPct val="75000"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Pune, India</a:t>
            </a:r>
          </a:p>
        </p:txBody>
      </p:sp>
      <p:sp>
        <p:nvSpPr>
          <p:cNvPr id="1582" name="Abgerundetes Rechteck 25"/>
          <p:cNvSpPr>
            <a:spLocks noChangeArrowheads="1"/>
          </p:cNvSpPr>
          <p:nvPr/>
        </p:nvSpPr>
        <p:spPr bwMode="gray">
          <a:xfrm>
            <a:off x="6867238" y="4644125"/>
            <a:ext cx="1168210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buClr>
                <a:srgbClr val="E20074"/>
              </a:buClr>
              <a:buSzPct val="75000"/>
              <a:defRPr/>
            </a:pPr>
            <a:r>
              <a:rPr lang="en-US" sz="800" kern="0" dirty="0" err="1">
                <a:solidFill>
                  <a:srgbClr val="4B4B4B"/>
                </a:solidFill>
                <a:cs typeface="Arial" charset="0"/>
              </a:rPr>
              <a:t>Midrand</a:t>
            </a: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, South Africa</a:t>
            </a:r>
          </a:p>
        </p:txBody>
      </p:sp>
      <p:sp>
        <p:nvSpPr>
          <p:cNvPr id="1587" name="Abgerundetes Rechteck 25"/>
          <p:cNvSpPr>
            <a:spLocks noChangeArrowheads="1"/>
          </p:cNvSpPr>
          <p:nvPr/>
        </p:nvSpPr>
        <p:spPr bwMode="gray">
          <a:xfrm>
            <a:off x="4222761" y="4441620"/>
            <a:ext cx="942169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buClr>
                <a:srgbClr val="E20074"/>
              </a:buClr>
              <a:buSzPct val="75000"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São Paulo, Brazil</a:t>
            </a:r>
          </a:p>
        </p:txBody>
      </p:sp>
      <p:sp>
        <p:nvSpPr>
          <p:cNvPr id="1595" name="Abgerundetes Rechteck 25"/>
          <p:cNvSpPr>
            <a:spLocks noChangeArrowheads="1"/>
          </p:cNvSpPr>
          <p:nvPr/>
        </p:nvSpPr>
        <p:spPr bwMode="gray">
          <a:xfrm>
            <a:off x="794144" y="3504095"/>
            <a:ext cx="918165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buClr>
                <a:srgbClr val="E20074"/>
              </a:buClr>
              <a:buSzPct val="75000"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Puebla, México</a:t>
            </a:r>
          </a:p>
        </p:txBody>
      </p:sp>
      <p:sp>
        <p:nvSpPr>
          <p:cNvPr id="1597" name="Abgerundetes Rechteck 25"/>
          <p:cNvSpPr>
            <a:spLocks noChangeArrowheads="1"/>
          </p:cNvSpPr>
          <p:nvPr/>
        </p:nvSpPr>
        <p:spPr bwMode="gray">
          <a:xfrm>
            <a:off x="680122" y="2455567"/>
            <a:ext cx="818148" cy="142503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Chicago</a:t>
            </a:r>
            <a:r>
              <a:rPr lang="en-US" sz="800" kern="0" dirty="0">
                <a:solidFill>
                  <a:srgbClr val="000000"/>
                </a:solidFill>
                <a:cs typeface="Arial" charset="0"/>
              </a:rPr>
              <a:t>, </a:t>
            </a: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USA</a:t>
            </a:r>
          </a:p>
        </p:txBody>
      </p:sp>
      <p:sp>
        <p:nvSpPr>
          <p:cNvPr id="1603" name="Oval 728"/>
          <p:cNvSpPr>
            <a:spLocks noChangeAspect="1" noChangeArrowheads="1"/>
          </p:cNvSpPr>
          <p:nvPr/>
        </p:nvSpPr>
        <p:spPr bwMode="gray">
          <a:xfrm>
            <a:off x="3718671" y="4477622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604" name="Oval 732"/>
          <p:cNvSpPr>
            <a:spLocks noChangeAspect="1" noChangeArrowheads="1"/>
          </p:cNvSpPr>
          <p:nvPr/>
        </p:nvSpPr>
        <p:spPr bwMode="gray">
          <a:xfrm>
            <a:off x="6271131" y="4561624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605" name="Oval 747"/>
          <p:cNvSpPr>
            <a:spLocks noChangeAspect="1" noChangeArrowheads="1"/>
          </p:cNvSpPr>
          <p:nvPr/>
        </p:nvSpPr>
        <p:spPr bwMode="gray">
          <a:xfrm>
            <a:off x="6259129" y="2044556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612" name="Oval 815"/>
          <p:cNvSpPr>
            <a:spLocks noChangeAspect="1" noChangeArrowheads="1"/>
          </p:cNvSpPr>
          <p:nvPr/>
        </p:nvSpPr>
        <p:spPr bwMode="gray">
          <a:xfrm>
            <a:off x="6509173" y="2101558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613" name="Oval 729"/>
          <p:cNvSpPr>
            <a:spLocks noChangeAspect="1" noChangeArrowheads="1"/>
          </p:cNvSpPr>
          <p:nvPr/>
        </p:nvSpPr>
        <p:spPr bwMode="gray">
          <a:xfrm>
            <a:off x="1950353" y="3235589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614" name="Oval 730"/>
          <p:cNvSpPr>
            <a:spLocks noChangeAspect="1" noChangeArrowheads="1"/>
          </p:cNvSpPr>
          <p:nvPr/>
        </p:nvSpPr>
        <p:spPr bwMode="gray">
          <a:xfrm>
            <a:off x="1677960" y="2763802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623" name="Oval 784"/>
          <p:cNvSpPr>
            <a:spLocks noChangeAspect="1" noChangeArrowheads="1"/>
          </p:cNvSpPr>
          <p:nvPr/>
        </p:nvSpPr>
        <p:spPr bwMode="gray">
          <a:xfrm>
            <a:off x="2608033" y="2576719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624" name="Oval 745"/>
          <p:cNvSpPr>
            <a:spLocks noChangeAspect="1" noChangeArrowheads="1"/>
          </p:cNvSpPr>
          <p:nvPr/>
        </p:nvSpPr>
        <p:spPr bwMode="gray">
          <a:xfrm>
            <a:off x="8869598" y="3703601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625" name="Oval 777"/>
          <p:cNvSpPr>
            <a:spLocks noChangeAspect="1" noChangeArrowheads="1"/>
          </p:cNvSpPr>
          <p:nvPr/>
        </p:nvSpPr>
        <p:spPr bwMode="gray">
          <a:xfrm>
            <a:off x="7859417" y="3235589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626" name="Oval 749"/>
          <p:cNvSpPr>
            <a:spLocks noChangeAspect="1" noChangeArrowheads="1"/>
          </p:cNvSpPr>
          <p:nvPr/>
        </p:nvSpPr>
        <p:spPr bwMode="gray">
          <a:xfrm>
            <a:off x="8937610" y="3745602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627" name="Oval 738"/>
          <p:cNvSpPr>
            <a:spLocks noChangeAspect="1" noChangeArrowheads="1"/>
          </p:cNvSpPr>
          <p:nvPr/>
        </p:nvSpPr>
        <p:spPr bwMode="gray">
          <a:xfrm>
            <a:off x="9097639" y="2634072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628" name="Oval 739"/>
          <p:cNvSpPr>
            <a:spLocks noChangeAspect="1" noChangeArrowheads="1"/>
          </p:cNvSpPr>
          <p:nvPr/>
        </p:nvSpPr>
        <p:spPr bwMode="gray">
          <a:xfrm>
            <a:off x="9219662" y="3108085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630" name="Oval 743"/>
          <p:cNvSpPr>
            <a:spLocks noChangeAspect="1" noChangeArrowheads="1"/>
          </p:cNvSpPr>
          <p:nvPr/>
        </p:nvSpPr>
        <p:spPr bwMode="gray">
          <a:xfrm>
            <a:off x="9901784" y="2733074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715" name="Text Box 30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589547" y="5460148"/>
            <a:ext cx="2552460" cy="2031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42950" indent="-285750" eaLnBrk="0" hangingPunct="0"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1143000" indent="-228600" eaLnBrk="0" hangingPunct="0"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600200" indent="-228600" eaLnBrk="0" hangingPunct="0"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2057400" indent="-228600" eaLnBrk="0" hangingPunct="0"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514600" indent="-2286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971800" indent="-2286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3429000" indent="-2286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886200" indent="-2286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algn="r" defTabSz="914400" eaLnBrk="1" hangingPunct="1">
              <a:lnSpc>
                <a:spcPct val="90000"/>
              </a:lnSpc>
              <a:buClr>
                <a:srgbClr val="E20074"/>
              </a:buClr>
              <a:buSzPct val="65000"/>
            </a:pPr>
            <a:r>
              <a:rPr lang="en-GB" sz="800" dirty="0" smtClean="0">
                <a:solidFill>
                  <a:srgbClr val="4B4B4B"/>
                </a:solidFill>
                <a:latin typeface="Tele-GroteskNor" pitchFamily="2" charset="0"/>
                <a:cs typeface="Times New Roman" pitchFamily="18" charset="0"/>
              </a:rPr>
              <a:t>*Countries and seats,  as of 2015.08.24</a:t>
            </a:r>
            <a:endParaRPr lang="en-GB" sz="800" dirty="0">
              <a:solidFill>
                <a:srgbClr val="4B4B4B"/>
              </a:solidFill>
              <a:latin typeface="Tele-GroteskNor" pitchFamily="2" charset="0"/>
              <a:cs typeface="Times New Roman" pitchFamily="18" charset="0"/>
            </a:endParaRPr>
          </a:p>
        </p:txBody>
      </p:sp>
      <p:sp>
        <p:nvSpPr>
          <p:cNvPr id="822" name="Picture 55" descr="TSY_Logo_3c_p">
            <a:hlinkClick r:id="rId5" action="ppaction://hlinksldjump"/>
          </p:cNvPr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1" y="5997162"/>
            <a:ext cx="5677022" cy="483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3" name="Abgerundetes Rechteck 25"/>
          <p:cNvSpPr>
            <a:spLocks noChangeArrowheads="1"/>
          </p:cNvSpPr>
          <p:nvPr/>
        </p:nvSpPr>
        <p:spPr bwMode="gray">
          <a:xfrm>
            <a:off x="460083" y="2769075"/>
            <a:ext cx="818148" cy="142503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hu-HU" sz="800" kern="0" dirty="0">
                <a:solidFill>
                  <a:srgbClr val="4B4B4B"/>
                </a:solidFill>
                <a:cs typeface="Arial" charset="0"/>
              </a:rPr>
              <a:t>Phoenix</a:t>
            </a:r>
            <a:r>
              <a:rPr lang="en-US" sz="800" kern="0" dirty="0" smtClean="0">
                <a:solidFill>
                  <a:srgbClr val="000000"/>
                </a:solidFill>
                <a:cs typeface="Arial" charset="0"/>
              </a:rPr>
              <a:t>, </a:t>
            </a: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USA</a:t>
            </a:r>
          </a:p>
        </p:txBody>
      </p:sp>
    </p:spTree>
    <p:extLst>
      <p:ext uri="{BB962C8B-B14F-4D97-AF65-F5344CB8AC3E}">
        <p14:creationId xmlns:p14="http://schemas.microsoft.com/office/powerpoint/2010/main" val="2419102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Titel 1"/>
          <p:cNvSpPr>
            <a:spLocks noGrp="1"/>
          </p:cNvSpPr>
          <p:nvPr>
            <p:ph type="title"/>
          </p:nvPr>
        </p:nvSpPr>
        <p:spPr>
          <a:xfrm>
            <a:off x="376509" y="244921"/>
            <a:ext cx="10705928" cy="78521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en-US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T-S</a:t>
            </a:r>
            <a:r>
              <a:rPr lang="hu-HU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YSTEMS</a:t>
            </a:r>
            <a:r>
              <a:rPr lang="en-US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 </a:t>
            </a:r>
            <a:r>
              <a:rPr lang="hu-HU" sz="2800" dirty="0">
                <a:solidFill>
                  <a:srgbClr val="E20074"/>
                </a:solidFill>
                <a:ea typeface="MS PGothic" pitchFamily="34" charset="-128"/>
                <a:cs typeface="Arial" charset="0"/>
              </a:rPr>
              <a:t>PRESENCE </a:t>
            </a:r>
            <a:r>
              <a:rPr lang="hu-HU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IN EUROPE*</a:t>
            </a:r>
            <a:r>
              <a:rPr lang="en-US" sz="2800" dirty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/>
            </a:r>
            <a:br>
              <a:rPr lang="en-US" sz="2800" dirty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</a:br>
            <a:r>
              <a:rPr lang="hu-HU" sz="2800" dirty="0" smtClean="0">
                <a:solidFill>
                  <a:srgbClr val="E20074"/>
                </a:solidFill>
                <a:latin typeface="+mn-lt"/>
                <a:ea typeface="MS PGothic" pitchFamily="34" charset="-128"/>
                <a:cs typeface="Arial" charset="0"/>
              </a:rPr>
              <a:t>OUTSIDE GERMANY</a:t>
            </a:r>
            <a:endParaRPr lang="en-US" sz="2800" dirty="0">
              <a:solidFill>
                <a:srgbClr val="E20074"/>
              </a:solidFill>
              <a:latin typeface="+mn-lt"/>
              <a:ea typeface="MS PGothic" pitchFamily="34" charset="-128"/>
              <a:cs typeface="Arial" charset="0"/>
            </a:endParaRPr>
          </a:p>
        </p:txBody>
      </p:sp>
      <p:sp>
        <p:nvSpPr>
          <p:cNvPr id="2" name="Dia számának hely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E6BBBCF-7E96-490B-8A3E-27250659856F}" type="slidenum">
              <a:rPr lang="en-US" smtClean="0">
                <a:solidFill>
                  <a:srgbClr val="4B4B4B"/>
                </a:solidFill>
              </a:rPr>
              <a:pPr>
                <a:defRPr/>
              </a:pPr>
              <a:t>11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244" name="Freeform 227"/>
          <p:cNvSpPr>
            <a:spLocks noChangeAspect="1"/>
          </p:cNvSpPr>
          <p:nvPr/>
        </p:nvSpPr>
        <p:spPr bwMode="gray">
          <a:xfrm>
            <a:off x="7063273" y="4260115"/>
            <a:ext cx="758136" cy="445513"/>
          </a:xfrm>
          <a:custGeom>
            <a:avLst/>
            <a:gdLst>
              <a:gd name="T0" fmla="*/ 2147483647 w 100"/>
              <a:gd name="T1" fmla="*/ 2147483647 h 78"/>
              <a:gd name="T2" fmla="*/ 2147483647 w 100"/>
              <a:gd name="T3" fmla="*/ 0 h 78"/>
              <a:gd name="T4" fmla="*/ 2147483647 w 100"/>
              <a:gd name="T5" fmla="*/ 2147483647 h 78"/>
              <a:gd name="T6" fmla="*/ 2147483647 w 100"/>
              <a:gd name="T7" fmla="*/ 2147483647 h 78"/>
              <a:gd name="T8" fmla="*/ 2147483647 w 100"/>
              <a:gd name="T9" fmla="*/ 2147483647 h 78"/>
              <a:gd name="T10" fmla="*/ 2147483647 w 100"/>
              <a:gd name="T11" fmla="*/ 2147483647 h 78"/>
              <a:gd name="T12" fmla="*/ 2147483647 w 100"/>
              <a:gd name="T13" fmla="*/ 2147483647 h 78"/>
              <a:gd name="T14" fmla="*/ 2147483647 w 100"/>
              <a:gd name="T15" fmla="*/ 2147483647 h 78"/>
              <a:gd name="T16" fmla="*/ 0 w 100"/>
              <a:gd name="T17" fmla="*/ 2147483647 h 78"/>
              <a:gd name="T18" fmla="*/ 2147483647 w 100"/>
              <a:gd name="T19" fmla="*/ 2147483647 h 78"/>
              <a:gd name="T20" fmla="*/ 0 w 100"/>
              <a:gd name="T21" fmla="*/ 2147483647 h 78"/>
              <a:gd name="T22" fmla="*/ 2147483647 w 100"/>
              <a:gd name="T23" fmla="*/ 2147483647 h 78"/>
              <a:gd name="T24" fmla="*/ 2147483647 w 100"/>
              <a:gd name="T25" fmla="*/ 2147483647 h 78"/>
              <a:gd name="T26" fmla="*/ 2147483647 w 100"/>
              <a:gd name="T27" fmla="*/ 2147483647 h 78"/>
              <a:gd name="T28" fmla="*/ 2147483647 w 100"/>
              <a:gd name="T29" fmla="*/ 2147483647 h 78"/>
              <a:gd name="T30" fmla="*/ 2147483647 w 100"/>
              <a:gd name="T31" fmla="*/ 2147483647 h 78"/>
              <a:gd name="T32" fmla="*/ 2147483647 w 100"/>
              <a:gd name="T33" fmla="*/ 2147483647 h 78"/>
              <a:gd name="T34" fmla="*/ 2147483647 w 100"/>
              <a:gd name="T35" fmla="*/ 2147483647 h 78"/>
              <a:gd name="T36" fmla="*/ 2147483647 w 100"/>
              <a:gd name="T37" fmla="*/ 2147483647 h 78"/>
              <a:gd name="T38" fmla="*/ 2147483647 w 100"/>
              <a:gd name="T39" fmla="*/ 2147483647 h 78"/>
              <a:gd name="T40" fmla="*/ 2147483647 w 100"/>
              <a:gd name="T41" fmla="*/ 2147483647 h 78"/>
              <a:gd name="T42" fmla="*/ 2147483647 w 100"/>
              <a:gd name="T43" fmla="*/ 2147483647 h 78"/>
              <a:gd name="T44" fmla="*/ 2147483647 w 100"/>
              <a:gd name="T45" fmla="*/ 2147483647 h 78"/>
              <a:gd name="T46" fmla="*/ 2147483647 w 100"/>
              <a:gd name="T47" fmla="*/ 2147483647 h 78"/>
              <a:gd name="T48" fmla="*/ 2147483647 w 100"/>
              <a:gd name="T49" fmla="*/ 2147483647 h 78"/>
              <a:gd name="T50" fmla="*/ 2147483647 w 100"/>
              <a:gd name="T51" fmla="*/ 2147483647 h 78"/>
              <a:gd name="T52" fmla="*/ 2147483647 w 100"/>
              <a:gd name="T53" fmla="*/ 2147483647 h 78"/>
              <a:gd name="T54" fmla="*/ 2147483647 w 100"/>
              <a:gd name="T55" fmla="*/ 2147483647 h 78"/>
              <a:gd name="T56" fmla="*/ 2147483647 w 100"/>
              <a:gd name="T57" fmla="*/ 2147483647 h 78"/>
              <a:gd name="T58" fmla="*/ 2147483647 w 100"/>
              <a:gd name="T59" fmla="*/ 2147483647 h 78"/>
              <a:gd name="T60" fmla="*/ 2147483647 w 100"/>
              <a:gd name="T61" fmla="*/ 2147483647 h 78"/>
              <a:gd name="T62" fmla="*/ 2147483647 w 100"/>
              <a:gd name="T63" fmla="*/ 2147483647 h 78"/>
              <a:gd name="T64" fmla="*/ 2147483647 w 100"/>
              <a:gd name="T65" fmla="*/ 2147483647 h 78"/>
              <a:gd name="T66" fmla="*/ 2147483647 w 100"/>
              <a:gd name="T67" fmla="*/ 2147483647 h 78"/>
              <a:gd name="T68" fmla="*/ 2147483647 w 100"/>
              <a:gd name="T69" fmla="*/ 2147483647 h 78"/>
              <a:gd name="T70" fmla="*/ 2147483647 w 100"/>
              <a:gd name="T71" fmla="*/ 2147483647 h 78"/>
              <a:gd name="T72" fmla="*/ 2147483647 w 100"/>
              <a:gd name="T73" fmla="*/ 2147483647 h 78"/>
              <a:gd name="T74" fmla="*/ 2147483647 w 100"/>
              <a:gd name="T75" fmla="*/ 2147483647 h 78"/>
              <a:gd name="T76" fmla="*/ 2147483647 w 100"/>
              <a:gd name="T77" fmla="*/ 2147483647 h 78"/>
              <a:gd name="T78" fmla="*/ 2147483647 w 100"/>
              <a:gd name="T79" fmla="*/ 2147483647 h 78"/>
              <a:gd name="T80" fmla="*/ 2147483647 w 100"/>
              <a:gd name="T81" fmla="*/ 2147483647 h 78"/>
              <a:gd name="T82" fmla="*/ 2147483647 w 100"/>
              <a:gd name="T83" fmla="*/ 2147483647 h 78"/>
              <a:gd name="T84" fmla="*/ 2147483647 w 100"/>
              <a:gd name="T85" fmla="*/ 2147483647 h 78"/>
              <a:gd name="T86" fmla="*/ 2147483647 w 100"/>
              <a:gd name="T87" fmla="*/ 2147483647 h 78"/>
              <a:gd name="T88" fmla="*/ 2147483647 w 100"/>
              <a:gd name="T89" fmla="*/ 2147483647 h 78"/>
              <a:gd name="T90" fmla="*/ 2147483647 w 100"/>
              <a:gd name="T91" fmla="*/ 2147483647 h 78"/>
              <a:gd name="T92" fmla="*/ 2147483647 w 100"/>
              <a:gd name="T93" fmla="*/ 2147483647 h 78"/>
              <a:gd name="T94" fmla="*/ 2147483647 w 100"/>
              <a:gd name="T95" fmla="*/ 2147483647 h 78"/>
              <a:gd name="T96" fmla="*/ 2147483647 w 100"/>
              <a:gd name="T97" fmla="*/ 2147483647 h 78"/>
              <a:gd name="T98" fmla="*/ 2147483647 w 100"/>
              <a:gd name="T99" fmla="*/ 2147483647 h 78"/>
              <a:gd name="T100" fmla="*/ 2147483647 w 100"/>
              <a:gd name="T101" fmla="*/ 2147483647 h 78"/>
              <a:gd name="T102" fmla="*/ 2147483647 w 100"/>
              <a:gd name="T103" fmla="*/ 2147483647 h 78"/>
              <a:gd name="T104" fmla="*/ 2147483647 w 100"/>
              <a:gd name="T105" fmla="*/ 2147483647 h 78"/>
              <a:gd name="T106" fmla="*/ 2147483647 w 100"/>
              <a:gd name="T107" fmla="*/ 2147483647 h 78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00"/>
              <a:gd name="T163" fmla="*/ 0 h 78"/>
              <a:gd name="T164" fmla="*/ 100 w 100"/>
              <a:gd name="T165" fmla="*/ 78 h 78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00" h="78">
                <a:moveTo>
                  <a:pt x="100" y="6"/>
                </a:moveTo>
                <a:lnTo>
                  <a:pt x="100" y="3"/>
                </a:lnTo>
                <a:lnTo>
                  <a:pt x="97" y="0"/>
                </a:lnTo>
                <a:lnTo>
                  <a:pt x="94" y="0"/>
                </a:lnTo>
                <a:lnTo>
                  <a:pt x="94" y="12"/>
                </a:lnTo>
                <a:lnTo>
                  <a:pt x="83" y="9"/>
                </a:lnTo>
                <a:lnTo>
                  <a:pt x="74" y="9"/>
                </a:lnTo>
                <a:lnTo>
                  <a:pt x="63" y="6"/>
                </a:lnTo>
                <a:lnTo>
                  <a:pt x="43" y="3"/>
                </a:lnTo>
                <a:lnTo>
                  <a:pt x="43" y="9"/>
                </a:lnTo>
                <a:lnTo>
                  <a:pt x="31" y="12"/>
                </a:lnTo>
                <a:lnTo>
                  <a:pt x="23" y="17"/>
                </a:lnTo>
                <a:lnTo>
                  <a:pt x="17" y="17"/>
                </a:lnTo>
                <a:lnTo>
                  <a:pt x="17" y="20"/>
                </a:lnTo>
                <a:lnTo>
                  <a:pt x="8" y="29"/>
                </a:lnTo>
                <a:lnTo>
                  <a:pt x="5" y="32"/>
                </a:lnTo>
                <a:lnTo>
                  <a:pt x="3" y="37"/>
                </a:lnTo>
                <a:lnTo>
                  <a:pt x="0" y="43"/>
                </a:lnTo>
                <a:lnTo>
                  <a:pt x="3" y="43"/>
                </a:lnTo>
                <a:lnTo>
                  <a:pt x="3" y="49"/>
                </a:lnTo>
                <a:lnTo>
                  <a:pt x="0" y="52"/>
                </a:lnTo>
                <a:lnTo>
                  <a:pt x="3" y="58"/>
                </a:lnTo>
                <a:lnTo>
                  <a:pt x="8" y="58"/>
                </a:lnTo>
                <a:lnTo>
                  <a:pt x="14" y="60"/>
                </a:lnTo>
                <a:lnTo>
                  <a:pt x="20" y="66"/>
                </a:lnTo>
                <a:lnTo>
                  <a:pt x="31" y="66"/>
                </a:lnTo>
                <a:lnTo>
                  <a:pt x="31" y="63"/>
                </a:lnTo>
                <a:lnTo>
                  <a:pt x="34" y="63"/>
                </a:lnTo>
                <a:lnTo>
                  <a:pt x="43" y="63"/>
                </a:lnTo>
                <a:lnTo>
                  <a:pt x="48" y="69"/>
                </a:lnTo>
                <a:lnTo>
                  <a:pt x="51" y="72"/>
                </a:lnTo>
                <a:lnTo>
                  <a:pt x="54" y="78"/>
                </a:lnTo>
                <a:lnTo>
                  <a:pt x="54" y="72"/>
                </a:lnTo>
                <a:lnTo>
                  <a:pt x="57" y="75"/>
                </a:lnTo>
                <a:lnTo>
                  <a:pt x="60" y="72"/>
                </a:lnTo>
                <a:lnTo>
                  <a:pt x="66" y="78"/>
                </a:lnTo>
                <a:lnTo>
                  <a:pt x="66" y="72"/>
                </a:lnTo>
                <a:lnTo>
                  <a:pt x="66" y="69"/>
                </a:lnTo>
                <a:lnTo>
                  <a:pt x="63" y="69"/>
                </a:lnTo>
                <a:lnTo>
                  <a:pt x="66" y="69"/>
                </a:lnTo>
                <a:lnTo>
                  <a:pt x="71" y="72"/>
                </a:lnTo>
                <a:lnTo>
                  <a:pt x="74" y="69"/>
                </a:lnTo>
                <a:lnTo>
                  <a:pt x="69" y="66"/>
                </a:lnTo>
                <a:lnTo>
                  <a:pt x="69" y="60"/>
                </a:lnTo>
                <a:lnTo>
                  <a:pt x="69" y="58"/>
                </a:lnTo>
                <a:lnTo>
                  <a:pt x="66" y="60"/>
                </a:lnTo>
                <a:lnTo>
                  <a:pt x="60" y="63"/>
                </a:lnTo>
                <a:lnTo>
                  <a:pt x="57" y="63"/>
                </a:lnTo>
                <a:lnTo>
                  <a:pt x="54" y="58"/>
                </a:lnTo>
                <a:lnTo>
                  <a:pt x="48" y="55"/>
                </a:lnTo>
                <a:lnTo>
                  <a:pt x="48" y="52"/>
                </a:lnTo>
                <a:lnTo>
                  <a:pt x="51" y="49"/>
                </a:lnTo>
                <a:lnTo>
                  <a:pt x="54" y="49"/>
                </a:lnTo>
                <a:lnTo>
                  <a:pt x="54" y="46"/>
                </a:lnTo>
                <a:lnTo>
                  <a:pt x="46" y="43"/>
                </a:lnTo>
                <a:lnTo>
                  <a:pt x="43" y="37"/>
                </a:lnTo>
                <a:lnTo>
                  <a:pt x="40" y="32"/>
                </a:lnTo>
                <a:lnTo>
                  <a:pt x="37" y="20"/>
                </a:lnTo>
                <a:lnTo>
                  <a:pt x="46" y="23"/>
                </a:lnTo>
                <a:lnTo>
                  <a:pt x="54" y="26"/>
                </a:lnTo>
                <a:lnTo>
                  <a:pt x="57" y="26"/>
                </a:lnTo>
                <a:lnTo>
                  <a:pt x="60" y="26"/>
                </a:lnTo>
                <a:lnTo>
                  <a:pt x="57" y="17"/>
                </a:lnTo>
                <a:lnTo>
                  <a:pt x="60" y="17"/>
                </a:lnTo>
                <a:lnTo>
                  <a:pt x="63" y="17"/>
                </a:lnTo>
                <a:lnTo>
                  <a:pt x="71" y="14"/>
                </a:lnTo>
                <a:lnTo>
                  <a:pt x="71" y="17"/>
                </a:lnTo>
                <a:lnTo>
                  <a:pt x="74" y="17"/>
                </a:lnTo>
                <a:lnTo>
                  <a:pt x="74" y="14"/>
                </a:lnTo>
                <a:lnTo>
                  <a:pt x="77" y="14"/>
                </a:lnTo>
                <a:lnTo>
                  <a:pt x="80" y="14"/>
                </a:lnTo>
                <a:lnTo>
                  <a:pt x="86" y="17"/>
                </a:lnTo>
                <a:lnTo>
                  <a:pt x="89" y="17"/>
                </a:lnTo>
                <a:lnTo>
                  <a:pt x="92" y="17"/>
                </a:lnTo>
                <a:lnTo>
                  <a:pt x="94" y="14"/>
                </a:lnTo>
                <a:lnTo>
                  <a:pt x="94" y="9"/>
                </a:lnTo>
                <a:lnTo>
                  <a:pt x="100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45" name="Freeform 286"/>
          <p:cNvSpPr>
            <a:spLocks/>
          </p:cNvSpPr>
          <p:nvPr/>
        </p:nvSpPr>
        <p:spPr bwMode="gray">
          <a:xfrm>
            <a:off x="7745396" y="4209114"/>
            <a:ext cx="2988538" cy="889524"/>
          </a:xfrm>
          <a:custGeom>
            <a:avLst/>
            <a:gdLst>
              <a:gd name="T0" fmla="*/ 2147483647 w 302"/>
              <a:gd name="T1" fmla="*/ 2147483647 h 120"/>
              <a:gd name="T2" fmla="*/ 2147483647 w 302"/>
              <a:gd name="T3" fmla="*/ 2147483647 h 120"/>
              <a:gd name="T4" fmla="*/ 2147483647 w 302"/>
              <a:gd name="T5" fmla="*/ 2147483647 h 120"/>
              <a:gd name="T6" fmla="*/ 2147483647 w 302"/>
              <a:gd name="T7" fmla="*/ 2147483647 h 120"/>
              <a:gd name="T8" fmla="*/ 2147483647 w 302"/>
              <a:gd name="T9" fmla="*/ 2147483647 h 120"/>
              <a:gd name="T10" fmla="*/ 2147483647 w 302"/>
              <a:gd name="T11" fmla="*/ 2147483647 h 120"/>
              <a:gd name="T12" fmla="*/ 2147483647 w 302"/>
              <a:gd name="T13" fmla="*/ 2147483647 h 120"/>
              <a:gd name="T14" fmla="*/ 2147483647 w 302"/>
              <a:gd name="T15" fmla="*/ 2147483647 h 120"/>
              <a:gd name="T16" fmla="*/ 2147483647 w 302"/>
              <a:gd name="T17" fmla="*/ 2147483647 h 120"/>
              <a:gd name="T18" fmla="*/ 2147483647 w 302"/>
              <a:gd name="T19" fmla="*/ 2147483647 h 120"/>
              <a:gd name="T20" fmla="*/ 2147483647 w 302"/>
              <a:gd name="T21" fmla="*/ 2147483647 h 120"/>
              <a:gd name="T22" fmla="*/ 2147483647 w 302"/>
              <a:gd name="T23" fmla="*/ 2147483647 h 120"/>
              <a:gd name="T24" fmla="*/ 2147483647 w 302"/>
              <a:gd name="T25" fmla="*/ 2147483647 h 120"/>
              <a:gd name="T26" fmla="*/ 2147483647 w 302"/>
              <a:gd name="T27" fmla="*/ 2147483647 h 120"/>
              <a:gd name="T28" fmla="*/ 2147483647 w 302"/>
              <a:gd name="T29" fmla="*/ 2147483647 h 120"/>
              <a:gd name="T30" fmla="*/ 2147483647 w 302"/>
              <a:gd name="T31" fmla="*/ 2147483647 h 120"/>
              <a:gd name="T32" fmla="*/ 2147483647 w 302"/>
              <a:gd name="T33" fmla="*/ 2147483647 h 120"/>
              <a:gd name="T34" fmla="*/ 2147483647 w 302"/>
              <a:gd name="T35" fmla="*/ 2147483647 h 120"/>
              <a:gd name="T36" fmla="*/ 2147483647 w 302"/>
              <a:gd name="T37" fmla="*/ 2147483647 h 120"/>
              <a:gd name="T38" fmla="*/ 2147483647 w 302"/>
              <a:gd name="T39" fmla="*/ 2147483647 h 120"/>
              <a:gd name="T40" fmla="*/ 2147483647 w 302"/>
              <a:gd name="T41" fmla="*/ 2147483647 h 120"/>
              <a:gd name="T42" fmla="*/ 2147483647 w 302"/>
              <a:gd name="T43" fmla="*/ 2147483647 h 120"/>
              <a:gd name="T44" fmla="*/ 2147483647 w 302"/>
              <a:gd name="T45" fmla="*/ 2147483647 h 120"/>
              <a:gd name="T46" fmla="*/ 2147483647 w 302"/>
              <a:gd name="T47" fmla="*/ 2147483647 h 120"/>
              <a:gd name="T48" fmla="*/ 2147483647 w 302"/>
              <a:gd name="T49" fmla="*/ 2147483647 h 120"/>
              <a:gd name="T50" fmla="*/ 2147483647 w 302"/>
              <a:gd name="T51" fmla="*/ 2147483647 h 120"/>
              <a:gd name="T52" fmla="*/ 2147483647 w 302"/>
              <a:gd name="T53" fmla="*/ 2147483647 h 120"/>
              <a:gd name="T54" fmla="*/ 2147483647 w 302"/>
              <a:gd name="T55" fmla="*/ 2147483647 h 120"/>
              <a:gd name="T56" fmla="*/ 2147483647 w 302"/>
              <a:gd name="T57" fmla="*/ 2147483647 h 120"/>
              <a:gd name="T58" fmla="*/ 2147483647 w 302"/>
              <a:gd name="T59" fmla="*/ 2147483647 h 120"/>
              <a:gd name="T60" fmla="*/ 2147483647 w 302"/>
              <a:gd name="T61" fmla="*/ 2147483647 h 120"/>
              <a:gd name="T62" fmla="*/ 2147483647 w 302"/>
              <a:gd name="T63" fmla="*/ 2147483647 h 120"/>
              <a:gd name="T64" fmla="*/ 2147483647 w 302"/>
              <a:gd name="T65" fmla="*/ 2147483647 h 120"/>
              <a:gd name="T66" fmla="*/ 2147483647 w 302"/>
              <a:gd name="T67" fmla="*/ 2147483647 h 120"/>
              <a:gd name="T68" fmla="*/ 2147483647 w 302"/>
              <a:gd name="T69" fmla="*/ 2147483647 h 120"/>
              <a:gd name="T70" fmla="*/ 2147483647 w 302"/>
              <a:gd name="T71" fmla="*/ 2147483647 h 120"/>
              <a:gd name="T72" fmla="*/ 2147483647 w 302"/>
              <a:gd name="T73" fmla="*/ 2147483647 h 120"/>
              <a:gd name="T74" fmla="*/ 2147483647 w 302"/>
              <a:gd name="T75" fmla="*/ 2147483647 h 120"/>
              <a:gd name="T76" fmla="*/ 2147483647 w 302"/>
              <a:gd name="T77" fmla="*/ 2147483647 h 120"/>
              <a:gd name="T78" fmla="*/ 2147483647 w 302"/>
              <a:gd name="T79" fmla="*/ 2147483647 h 120"/>
              <a:gd name="T80" fmla="*/ 2147483647 w 302"/>
              <a:gd name="T81" fmla="*/ 2147483647 h 120"/>
              <a:gd name="T82" fmla="*/ 2147483647 w 302"/>
              <a:gd name="T83" fmla="*/ 2147483647 h 120"/>
              <a:gd name="T84" fmla="*/ 2147483647 w 302"/>
              <a:gd name="T85" fmla="*/ 2147483647 h 120"/>
              <a:gd name="T86" fmla="*/ 2147483647 w 302"/>
              <a:gd name="T87" fmla="*/ 2147483647 h 120"/>
              <a:gd name="T88" fmla="*/ 2147483647 w 302"/>
              <a:gd name="T89" fmla="*/ 2147483647 h 120"/>
              <a:gd name="T90" fmla="*/ 2147483647 w 302"/>
              <a:gd name="T91" fmla="*/ 2147483647 h 120"/>
              <a:gd name="T92" fmla="*/ 2147483647 w 302"/>
              <a:gd name="T93" fmla="*/ 2147483647 h 120"/>
              <a:gd name="T94" fmla="*/ 2147483647 w 302"/>
              <a:gd name="T95" fmla="*/ 2147483647 h 120"/>
              <a:gd name="T96" fmla="*/ 2147483647 w 302"/>
              <a:gd name="T97" fmla="*/ 2147483647 h 120"/>
              <a:gd name="T98" fmla="*/ 2147483647 w 302"/>
              <a:gd name="T99" fmla="*/ 2147483647 h 120"/>
              <a:gd name="T100" fmla="*/ 2147483647 w 302"/>
              <a:gd name="T101" fmla="*/ 2147483647 h 120"/>
              <a:gd name="T102" fmla="*/ 2147483647 w 302"/>
              <a:gd name="T103" fmla="*/ 2147483647 h 120"/>
              <a:gd name="T104" fmla="*/ 2147483647 w 302"/>
              <a:gd name="T105" fmla="*/ 2147483647 h 120"/>
              <a:gd name="T106" fmla="*/ 2147483647 w 302"/>
              <a:gd name="T107" fmla="*/ 2147483647 h 120"/>
              <a:gd name="T108" fmla="*/ 2147483647 w 302"/>
              <a:gd name="T109" fmla="*/ 2147483647 h 120"/>
              <a:gd name="T110" fmla="*/ 2147483647 w 302"/>
              <a:gd name="T111" fmla="*/ 2147483647 h 120"/>
              <a:gd name="T112" fmla="*/ 2147483647 w 302"/>
              <a:gd name="T113" fmla="*/ 2147483647 h 120"/>
              <a:gd name="T114" fmla="*/ 2147483647 w 302"/>
              <a:gd name="T115" fmla="*/ 2147483647 h 120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302"/>
              <a:gd name="T175" fmla="*/ 0 h 120"/>
              <a:gd name="T176" fmla="*/ 302 w 302"/>
              <a:gd name="T177" fmla="*/ 120 h 120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302" h="120">
                <a:moveTo>
                  <a:pt x="293" y="45"/>
                </a:moveTo>
                <a:lnTo>
                  <a:pt x="287" y="40"/>
                </a:lnTo>
                <a:lnTo>
                  <a:pt x="279" y="40"/>
                </a:lnTo>
                <a:lnTo>
                  <a:pt x="276" y="31"/>
                </a:lnTo>
                <a:lnTo>
                  <a:pt x="273" y="20"/>
                </a:lnTo>
                <a:lnTo>
                  <a:pt x="270" y="20"/>
                </a:lnTo>
                <a:lnTo>
                  <a:pt x="262" y="11"/>
                </a:lnTo>
                <a:lnTo>
                  <a:pt x="259" y="11"/>
                </a:lnTo>
                <a:lnTo>
                  <a:pt x="250" y="14"/>
                </a:lnTo>
                <a:lnTo>
                  <a:pt x="239" y="14"/>
                </a:lnTo>
                <a:lnTo>
                  <a:pt x="239" y="11"/>
                </a:lnTo>
                <a:lnTo>
                  <a:pt x="236" y="17"/>
                </a:lnTo>
                <a:lnTo>
                  <a:pt x="210" y="20"/>
                </a:lnTo>
                <a:lnTo>
                  <a:pt x="193" y="22"/>
                </a:lnTo>
                <a:lnTo>
                  <a:pt x="173" y="17"/>
                </a:lnTo>
                <a:lnTo>
                  <a:pt x="150" y="8"/>
                </a:lnTo>
                <a:lnTo>
                  <a:pt x="138" y="0"/>
                </a:lnTo>
                <a:lnTo>
                  <a:pt x="121" y="2"/>
                </a:lnTo>
                <a:lnTo>
                  <a:pt x="101" y="5"/>
                </a:lnTo>
                <a:lnTo>
                  <a:pt x="89" y="11"/>
                </a:lnTo>
                <a:lnTo>
                  <a:pt x="81" y="17"/>
                </a:lnTo>
                <a:lnTo>
                  <a:pt x="72" y="17"/>
                </a:lnTo>
                <a:lnTo>
                  <a:pt x="58" y="17"/>
                </a:lnTo>
                <a:lnTo>
                  <a:pt x="46" y="17"/>
                </a:lnTo>
                <a:lnTo>
                  <a:pt x="32" y="11"/>
                </a:lnTo>
                <a:lnTo>
                  <a:pt x="29" y="5"/>
                </a:lnTo>
                <a:lnTo>
                  <a:pt x="18" y="5"/>
                </a:lnTo>
                <a:lnTo>
                  <a:pt x="15" y="2"/>
                </a:lnTo>
                <a:lnTo>
                  <a:pt x="6" y="5"/>
                </a:lnTo>
                <a:lnTo>
                  <a:pt x="9" y="8"/>
                </a:lnTo>
                <a:lnTo>
                  <a:pt x="9" y="11"/>
                </a:lnTo>
                <a:lnTo>
                  <a:pt x="9" y="14"/>
                </a:lnTo>
                <a:lnTo>
                  <a:pt x="3" y="20"/>
                </a:lnTo>
                <a:lnTo>
                  <a:pt x="6" y="22"/>
                </a:lnTo>
                <a:lnTo>
                  <a:pt x="0" y="28"/>
                </a:lnTo>
                <a:lnTo>
                  <a:pt x="3" y="28"/>
                </a:lnTo>
                <a:lnTo>
                  <a:pt x="9" y="28"/>
                </a:lnTo>
                <a:lnTo>
                  <a:pt x="18" y="28"/>
                </a:lnTo>
                <a:lnTo>
                  <a:pt x="21" y="22"/>
                </a:lnTo>
                <a:lnTo>
                  <a:pt x="26" y="22"/>
                </a:lnTo>
                <a:lnTo>
                  <a:pt x="38" y="20"/>
                </a:lnTo>
                <a:lnTo>
                  <a:pt x="46" y="22"/>
                </a:lnTo>
                <a:lnTo>
                  <a:pt x="55" y="25"/>
                </a:lnTo>
                <a:lnTo>
                  <a:pt x="55" y="28"/>
                </a:lnTo>
                <a:lnTo>
                  <a:pt x="46" y="28"/>
                </a:lnTo>
                <a:lnTo>
                  <a:pt x="43" y="31"/>
                </a:lnTo>
                <a:lnTo>
                  <a:pt x="46" y="34"/>
                </a:lnTo>
                <a:lnTo>
                  <a:pt x="35" y="31"/>
                </a:lnTo>
                <a:lnTo>
                  <a:pt x="15" y="31"/>
                </a:lnTo>
                <a:lnTo>
                  <a:pt x="9" y="37"/>
                </a:lnTo>
                <a:lnTo>
                  <a:pt x="3" y="37"/>
                </a:lnTo>
                <a:lnTo>
                  <a:pt x="0" y="45"/>
                </a:lnTo>
                <a:lnTo>
                  <a:pt x="0" y="48"/>
                </a:lnTo>
                <a:lnTo>
                  <a:pt x="3" y="51"/>
                </a:lnTo>
                <a:lnTo>
                  <a:pt x="12" y="48"/>
                </a:lnTo>
                <a:lnTo>
                  <a:pt x="12" y="54"/>
                </a:lnTo>
                <a:lnTo>
                  <a:pt x="15" y="60"/>
                </a:lnTo>
                <a:lnTo>
                  <a:pt x="12" y="66"/>
                </a:lnTo>
                <a:lnTo>
                  <a:pt x="12" y="71"/>
                </a:lnTo>
                <a:lnTo>
                  <a:pt x="18" y="71"/>
                </a:lnTo>
                <a:lnTo>
                  <a:pt x="12" y="74"/>
                </a:lnTo>
                <a:lnTo>
                  <a:pt x="12" y="68"/>
                </a:lnTo>
                <a:lnTo>
                  <a:pt x="6" y="66"/>
                </a:lnTo>
                <a:lnTo>
                  <a:pt x="6" y="68"/>
                </a:lnTo>
                <a:lnTo>
                  <a:pt x="9" y="71"/>
                </a:lnTo>
                <a:lnTo>
                  <a:pt x="6" y="74"/>
                </a:lnTo>
                <a:lnTo>
                  <a:pt x="9" y="77"/>
                </a:lnTo>
                <a:lnTo>
                  <a:pt x="12" y="77"/>
                </a:lnTo>
                <a:lnTo>
                  <a:pt x="12" y="74"/>
                </a:lnTo>
                <a:lnTo>
                  <a:pt x="18" y="77"/>
                </a:lnTo>
                <a:lnTo>
                  <a:pt x="23" y="83"/>
                </a:lnTo>
                <a:lnTo>
                  <a:pt x="21" y="86"/>
                </a:lnTo>
                <a:lnTo>
                  <a:pt x="18" y="83"/>
                </a:lnTo>
                <a:lnTo>
                  <a:pt x="12" y="83"/>
                </a:lnTo>
                <a:lnTo>
                  <a:pt x="21" y="89"/>
                </a:lnTo>
                <a:lnTo>
                  <a:pt x="23" y="91"/>
                </a:lnTo>
                <a:lnTo>
                  <a:pt x="26" y="94"/>
                </a:lnTo>
                <a:lnTo>
                  <a:pt x="23" y="97"/>
                </a:lnTo>
                <a:lnTo>
                  <a:pt x="21" y="100"/>
                </a:lnTo>
                <a:lnTo>
                  <a:pt x="29" y="97"/>
                </a:lnTo>
                <a:lnTo>
                  <a:pt x="41" y="97"/>
                </a:lnTo>
                <a:lnTo>
                  <a:pt x="38" y="100"/>
                </a:lnTo>
                <a:lnTo>
                  <a:pt x="43" y="103"/>
                </a:lnTo>
                <a:lnTo>
                  <a:pt x="49" y="106"/>
                </a:lnTo>
                <a:lnTo>
                  <a:pt x="61" y="117"/>
                </a:lnTo>
                <a:lnTo>
                  <a:pt x="72" y="114"/>
                </a:lnTo>
                <a:lnTo>
                  <a:pt x="78" y="109"/>
                </a:lnTo>
                <a:lnTo>
                  <a:pt x="84" y="103"/>
                </a:lnTo>
                <a:lnTo>
                  <a:pt x="92" y="106"/>
                </a:lnTo>
                <a:lnTo>
                  <a:pt x="104" y="111"/>
                </a:lnTo>
                <a:lnTo>
                  <a:pt x="107" y="114"/>
                </a:lnTo>
                <a:lnTo>
                  <a:pt x="112" y="114"/>
                </a:lnTo>
                <a:lnTo>
                  <a:pt x="127" y="114"/>
                </a:lnTo>
                <a:lnTo>
                  <a:pt x="135" y="109"/>
                </a:lnTo>
                <a:lnTo>
                  <a:pt x="144" y="103"/>
                </a:lnTo>
                <a:lnTo>
                  <a:pt x="153" y="103"/>
                </a:lnTo>
                <a:lnTo>
                  <a:pt x="158" y="103"/>
                </a:lnTo>
                <a:lnTo>
                  <a:pt x="161" y="103"/>
                </a:lnTo>
                <a:lnTo>
                  <a:pt x="164" y="100"/>
                </a:lnTo>
                <a:lnTo>
                  <a:pt x="164" y="111"/>
                </a:lnTo>
                <a:lnTo>
                  <a:pt x="164" y="117"/>
                </a:lnTo>
                <a:lnTo>
                  <a:pt x="167" y="120"/>
                </a:lnTo>
                <a:lnTo>
                  <a:pt x="170" y="114"/>
                </a:lnTo>
                <a:lnTo>
                  <a:pt x="170" y="111"/>
                </a:lnTo>
                <a:lnTo>
                  <a:pt x="173" y="111"/>
                </a:lnTo>
                <a:lnTo>
                  <a:pt x="176" y="111"/>
                </a:lnTo>
                <a:lnTo>
                  <a:pt x="173" y="100"/>
                </a:lnTo>
                <a:lnTo>
                  <a:pt x="176" y="100"/>
                </a:lnTo>
                <a:lnTo>
                  <a:pt x="184" y="103"/>
                </a:lnTo>
                <a:lnTo>
                  <a:pt x="196" y="100"/>
                </a:lnTo>
                <a:lnTo>
                  <a:pt x="198" y="100"/>
                </a:lnTo>
                <a:lnTo>
                  <a:pt x="204" y="97"/>
                </a:lnTo>
                <a:lnTo>
                  <a:pt x="204" y="100"/>
                </a:lnTo>
                <a:lnTo>
                  <a:pt x="210" y="103"/>
                </a:lnTo>
                <a:lnTo>
                  <a:pt x="213" y="103"/>
                </a:lnTo>
                <a:lnTo>
                  <a:pt x="230" y="100"/>
                </a:lnTo>
                <a:lnTo>
                  <a:pt x="244" y="94"/>
                </a:lnTo>
                <a:lnTo>
                  <a:pt x="259" y="94"/>
                </a:lnTo>
                <a:lnTo>
                  <a:pt x="265" y="89"/>
                </a:lnTo>
                <a:lnTo>
                  <a:pt x="265" y="91"/>
                </a:lnTo>
                <a:lnTo>
                  <a:pt x="267" y="94"/>
                </a:lnTo>
                <a:lnTo>
                  <a:pt x="270" y="89"/>
                </a:lnTo>
                <a:lnTo>
                  <a:pt x="282" y="91"/>
                </a:lnTo>
                <a:lnTo>
                  <a:pt x="290" y="91"/>
                </a:lnTo>
                <a:lnTo>
                  <a:pt x="293" y="89"/>
                </a:lnTo>
                <a:lnTo>
                  <a:pt x="296" y="91"/>
                </a:lnTo>
                <a:lnTo>
                  <a:pt x="296" y="94"/>
                </a:lnTo>
                <a:lnTo>
                  <a:pt x="299" y="97"/>
                </a:lnTo>
                <a:lnTo>
                  <a:pt x="302" y="94"/>
                </a:lnTo>
                <a:lnTo>
                  <a:pt x="299" y="91"/>
                </a:lnTo>
                <a:lnTo>
                  <a:pt x="296" y="83"/>
                </a:lnTo>
                <a:lnTo>
                  <a:pt x="293" y="80"/>
                </a:lnTo>
                <a:lnTo>
                  <a:pt x="296" y="71"/>
                </a:lnTo>
                <a:lnTo>
                  <a:pt x="290" y="60"/>
                </a:lnTo>
                <a:lnTo>
                  <a:pt x="287" y="54"/>
                </a:lnTo>
                <a:lnTo>
                  <a:pt x="293" y="48"/>
                </a:lnTo>
                <a:lnTo>
                  <a:pt x="293" y="45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928" name="Rectangle 9"/>
          <p:cNvSpPr>
            <a:spLocks noChangeAspect="1" noChangeArrowheads="1"/>
          </p:cNvSpPr>
          <p:nvPr/>
        </p:nvSpPr>
        <p:spPr bwMode="gray">
          <a:xfrm>
            <a:off x="6045089" y="2421065"/>
            <a:ext cx="8001" cy="6000"/>
          </a:xfrm>
          <a:prstGeom prst="rect">
            <a:avLst/>
          </a:prstGeom>
          <a:solidFill>
            <a:srgbClr val="64B9E4"/>
          </a:solidFill>
          <a:ln w="11">
            <a:solidFill>
              <a:srgbClr val="FFFFFF"/>
            </a:solidFill>
            <a:miter lim="800000"/>
            <a:headEnd/>
            <a:tailEnd/>
          </a:ln>
        </p:spPr>
        <p:txBody>
          <a:bodyPr/>
          <a:lstStyle/>
          <a:p>
            <a:pPr algn="ctr"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47" name="Freeform 139"/>
          <p:cNvSpPr>
            <a:spLocks noChangeAspect="1"/>
          </p:cNvSpPr>
          <p:nvPr/>
        </p:nvSpPr>
        <p:spPr bwMode="gray">
          <a:xfrm>
            <a:off x="5128924" y="2989581"/>
            <a:ext cx="390071" cy="276007"/>
          </a:xfrm>
          <a:custGeom>
            <a:avLst/>
            <a:gdLst>
              <a:gd name="T0" fmla="*/ 2147483647 w 52"/>
              <a:gd name="T1" fmla="*/ 2147483647 h 49"/>
              <a:gd name="T2" fmla="*/ 2147483647 w 52"/>
              <a:gd name="T3" fmla="*/ 2147483647 h 49"/>
              <a:gd name="T4" fmla="*/ 2147483647 w 52"/>
              <a:gd name="T5" fmla="*/ 2147483647 h 49"/>
              <a:gd name="T6" fmla="*/ 2147483647 w 52"/>
              <a:gd name="T7" fmla="*/ 2147483647 h 49"/>
              <a:gd name="T8" fmla="*/ 2147483647 w 52"/>
              <a:gd name="T9" fmla="*/ 2147483647 h 49"/>
              <a:gd name="T10" fmla="*/ 2147483647 w 52"/>
              <a:gd name="T11" fmla="*/ 2147483647 h 49"/>
              <a:gd name="T12" fmla="*/ 2147483647 w 52"/>
              <a:gd name="T13" fmla="*/ 2147483647 h 49"/>
              <a:gd name="T14" fmla="*/ 2147483647 w 52"/>
              <a:gd name="T15" fmla="*/ 2147483647 h 49"/>
              <a:gd name="T16" fmla="*/ 2147483647 w 52"/>
              <a:gd name="T17" fmla="*/ 2147483647 h 49"/>
              <a:gd name="T18" fmla="*/ 2147483647 w 52"/>
              <a:gd name="T19" fmla="*/ 2147483647 h 49"/>
              <a:gd name="T20" fmla="*/ 2147483647 w 52"/>
              <a:gd name="T21" fmla="*/ 2147483647 h 49"/>
              <a:gd name="T22" fmla="*/ 2147483647 w 52"/>
              <a:gd name="T23" fmla="*/ 2147483647 h 49"/>
              <a:gd name="T24" fmla="*/ 2147483647 w 52"/>
              <a:gd name="T25" fmla="*/ 2147483647 h 49"/>
              <a:gd name="T26" fmla="*/ 2147483647 w 52"/>
              <a:gd name="T27" fmla="*/ 2147483647 h 49"/>
              <a:gd name="T28" fmla="*/ 2147483647 w 52"/>
              <a:gd name="T29" fmla="*/ 2147483647 h 49"/>
              <a:gd name="T30" fmla="*/ 2147483647 w 52"/>
              <a:gd name="T31" fmla="*/ 2147483647 h 49"/>
              <a:gd name="T32" fmla="*/ 2147483647 w 52"/>
              <a:gd name="T33" fmla="*/ 2147483647 h 49"/>
              <a:gd name="T34" fmla="*/ 2147483647 w 52"/>
              <a:gd name="T35" fmla="*/ 2147483647 h 49"/>
              <a:gd name="T36" fmla="*/ 2147483647 w 52"/>
              <a:gd name="T37" fmla="*/ 2147483647 h 49"/>
              <a:gd name="T38" fmla="*/ 2147483647 w 52"/>
              <a:gd name="T39" fmla="*/ 2147483647 h 49"/>
              <a:gd name="T40" fmla="*/ 2147483647 w 52"/>
              <a:gd name="T41" fmla="*/ 2147483647 h 49"/>
              <a:gd name="T42" fmla="*/ 2147483647 w 52"/>
              <a:gd name="T43" fmla="*/ 2147483647 h 49"/>
              <a:gd name="T44" fmla="*/ 2147483647 w 52"/>
              <a:gd name="T45" fmla="*/ 2147483647 h 49"/>
              <a:gd name="T46" fmla="*/ 2147483647 w 52"/>
              <a:gd name="T47" fmla="*/ 2147483647 h 49"/>
              <a:gd name="T48" fmla="*/ 2147483647 w 52"/>
              <a:gd name="T49" fmla="*/ 0 h 49"/>
              <a:gd name="T50" fmla="*/ 2147483647 w 52"/>
              <a:gd name="T51" fmla="*/ 0 h 49"/>
              <a:gd name="T52" fmla="*/ 2147483647 w 52"/>
              <a:gd name="T53" fmla="*/ 0 h 49"/>
              <a:gd name="T54" fmla="*/ 2147483647 w 52"/>
              <a:gd name="T55" fmla="*/ 0 h 49"/>
              <a:gd name="T56" fmla="*/ 2147483647 w 52"/>
              <a:gd name="T57" fmla="*/ 0 h 49"/>
              <a:gd name="T58" fmla="*/ 2147483647 w 52"/>
              <a:gd name="T59" fmla="*/ 0 h 49"/>
              <a:gd name="T60" fmla="*/ 2147483647 w 52"/>
              <a:gd name="T61" fmla="*/ 0 h 49"/>
              <a:gd name="T62" fmla="*/ 2147483647 w 52"/>
              <a:gd name="T63" fmla="*/ 2147483647 h 49"/>
              <a:gd name="T64" fmla="*/ 2147483647 w 52"/>
              <a:gd name="T65" fmla="*/ 2147483647 h 49"/>
              <a:gd name="T66" fmla="*/ 2147483647 w 52"/>
              <a:gd name="T67" fmla="*/ 2147483647 h 49"/>
              <a:gd name="T68" fmla="*/ 2147483647 w 52"/>
              <a:gd name="T69" fmla="*/ 2147483647 h 49"/>
              <a:gd name="T70" fmla="*/ 2147483647 w 52"/>
              <a:gd name="T71" fmla="*/ 2147483647 h 49"/>
              <a:gd name="T72" fmla="*/ 2147483647 w 52"/>
              <a:gd name="T73" fmla="*/ 2147483647 h 49"/>
              <a:gd name="T74" fmla="*/ 2147483647 w 52"/>
              <a:gd name="T75" fmla="*/ 2147483647 h 49"/>
              <a:gd name="T76" fmla="*/ 2147483647 w 52"/>
              <a:gd name="T77" fmla="*/ 2147483647 h 49"/>
              <a:gd name="T78" fmla="*/ 2147483647 w 52"/>
              <a:gd name="T79" fmla="*/ 2147483647 h 49"/>
              <a:gd name="T80" fmla="*/ 2147483647 w 52"/>
              <a:gd name="T81" fmla="*/ 2147483647 h 49"/>
              <a:gd name="T82" fmla="*/ 2147483647 w 52"/>
              <a:gd name="T83" fmla="*/ 2147483647 h 49"/>
              <a:gd name="T84" fmla="*/ 2147483647 w 52"/>
              <a:gd name="T85" fmla="*/ 2147483647 h 49"/>
              <a:gd name="T86" fmla="*/ 2147483647 w 52"/>
              <a:gd name="T87" fmla="*/ 2147483647 h 49"/>
              <a:gd name="T88" fmla="*/ 2147483647 w 52"/>
              <a:gd name="T89" fmla="*/ 2147483647 h 49"/>
              <a:gd name="T90" fmla="*/ 2147483647 w 52"/>
              <a:gd name="T91" fmla="*/ 2147483647 h 49"/>
              <a:gd name="T92" fmla="*/ 2147483647 w 52"/>
              <a:gd name="T93" fmla="*/ 2147483647 h 49"/>
              <a:gd name="T94" fmla="*/ 2147483647 w 52"/>
              <a:gd name="T95" fmla="*/ 2147483647 h 49"/>
              <a:gd name="T96" fmla="*/ 2147483647 w 52"/>
              <a:gd name="T97" fmla="*/ 2147483647 h 49"/>
              <a:gd name="T98" fmla="*/ 2147483647 w 52"/>
              <a:gd name="T99" fmla="*/ 2147483647 h 49"/>
              <a:gd name="T100" fmla="*/ 2147483647 w 52"/>
              <a:gd name="T101" fmla="*/ 2147483647 h 49"/>
              <a:gd name="T102" fmla="*/ 0 w 52"/>
              <a:gd name="T103" fmla="*/ 2147483647 h 49"/>
              <a:gd name="T104" fmla="*/ 2147483647 w 52"/>
              <a:gd name="T105" fmla="*/ 2147483647 h 49"/>
              <a:gd name="T106" fmla="*/ 2147483647 w 52"/>
              <a:gd name="T107" fmla="*/ 2147483647 h 49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52"/>
              <a:gd name="T163" fmla="*/ 0 h 49"/>
              <a:gd name="T164" fmla="*/ 52 w 52"/>
              <a:gd name="T165" fmla="*/ 49 h 49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52" h="49">
                <a:moveTo>
                  <a:pt x="15" y="38"/>
                </a:moveTo>
                <a:lnTo>
                  <a:pt x="26" y="35"/>
                </a:lnTo>
                <a:lnTo>
                  <a:pt x="26" y="38"/>
                </a:lnTo>
                <a:lnTo>
                  <a:pt x="26" y="40"/>
                </a:lnTo>
                <a:lnTo>
                  <a:pt x="29" y="40"/>
                </a:lnTo>
                <a:lnTo>
                  <a:pt x="35" y="43"/>
                </a:lnTo>
                <a:lnTo>
                  <a:pt x="32" y="49"/>
                </a:lnTo>
                <a:lnTo>
                  <a:pt x="38" y="49"/>
                </a:lnTo>
                <a:lnTo>
                  <a:pt x="35" y="46"/>
                </a:lnTo>
                <a:lnTo>
                  <a:pt x="38" y="38"/>
                </a:lnTo>
                <a:lnTo>
                  <a:pt x="35" y="32"/>
                </a:lnTo>
                <a:lnTo>
                  <a:pt x="35" y="29"/>
                </a:lnTo>
                <a:lnTo>
                  <a:pt x="38" y="26"/>
                </a:lnTo>
                <a:lnTo>
                  <a:pt x="46" y="29"/>
                </a:lnTo>
                <a:lnTo>
                  <a:pt x="46" y="26"/>
                </a:lnTo>
                <a:lnTo>
                  <a:pt x="46" y="23"/>
                </a:lnTo>
                <a:lnTo>
                  <a:pt x="49" y="20"/>
                </a:lnTo>
                <a:lnTo>
                  <a:pt x="43" y="15"/>
                </a:lnTo>
                <a:lnTo>
                  <a:pt x="46" y="15"/>
                </a:lnTo>
                <a:lnTo>
                  <a:pt x="52" y="12"/>
                </a:lnTo>
                <a:lnTo>
                  <a:pt x="52" y="9"/>
                </a:lnTo>
                <a:lnTo>
                  <a:pt x="52" y="0"/>
                </a:lnTo>
                <a:lnTo>
                  <a:pt x="43" y="0"/>
                </a:lnTo>
                <a:lnTo>
                  <a:pt x="38" y="0"/>
                </a:lnTo>
                <a:lnTo>
                  <a:pt x="29" y="6"/>
                </a:lnTo>
                <a:lnTo>
                  <a:pt x="29" y="15"/>
                </a:lnTo>
                <a:lnTo>
                  <a:pt x="35" y="17"/>
                </a:lnTo>
                <a:lnTo>
                  <a:pt x="26" y="20"/>
                </a:lnTo>
                <a:lnTo>
                  <a:pt x="23" y="17"/>
                </a:lnTo>
                <a:lnTo>
                  <a:pt x="23" y="12"/>
                </a:lnTo>
                <a:lnTo>
                  <a:pt x="23" y="9"/>
                </a:lnTo>
                <a:lnTo>
                  <a:pt x="23" y="3"/>
                </a:lnTo>
                <a:lnTo>
                  <a:pt x="20" y="3"/>
                </a:lnTo>
                <a:lnTo>
                  <a:pt x="20" y="6"/>
                </a:lnTo>
                <a:lnTo>
                  <a:pt x="17" y="15"/>
                </a:lnTo>
                <a:lnTo>
                  <a:pt x="12" y="23"/>
                </a:lnTo>
                <a:lnTo>
                  <a:pt x="3" y="32"/>
                </a:lnTo>
                <a:lnTo>
                  <a:pt x="0" y="38"/>
                </a:lnTo>
                <a:lnTo>
                  <a:pt x="6" y="40"/>
                </a:lnTo>
                <a:lnTo>
                  <a:pt x="15" y="38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48" name="Freeform 140"/>
          <p:cNvSpPr>
            <a:spLocks noChangeAspect="1"/>
          </p:cNvSpPr>
          <p:nvPr/>
        </p:nvSpPr>
        <p:spPr bwMode="gray">
          <a:xfrm>
            <a:off x="5016904" y="3202587"/>
            <a:ext cx="398072" cy="210006"/>
          </a:xfrm>
          <a:custGeom>
            <a:avLst/>
            <a:gdLst>
              <a:gd name="T0" fmla="*/ 0 w 52"/>
              <a:gd name="T1" fmla="*/ 2147483647 h 37"/>
              <a:gd name="T2" fmla="*/ 0 w 52"/>
              <a:gd name="T3" fmla="*/ 2147483647 h 37"/>
              <a:gd name="T4" fmla="*/ 2147483647 w 52"/>
              <a:gd name="T5" fmla="*/ 2147483647 h 37"/>
              <a:gd name="T6" fmla="*/ 2147483647 w 52"/>
              <a:gd name="T7" fmla="*/ 2147483647 h 37"/>
              <a:gd name="T8" fmla="*/ 2147483647 w 52"/>
              <a:gd name="T9" fmla="*/ 2147483647 h 37"/>
              <a:gd name="T10" fmla="*/ 2147483647 w 52"/>
              <a:gd name="T11" fmla="*/ 2147483647 h 37"/>
              <a:gd name="T12" fmla="*/ 2147483647 w 52"/>
              <a:gd name="T13" fmla="*/ 2147483647 h 37"/>
              <a:gd name="T14" fmla="*/ 2147483647 w 52"/>
              <a:gd name="T15" fmla="*/ 2147483647 h 37"/>
              <a:gd name="T16" fmla="*/ 2147483647 w 52"/>
              <a:gd name="T17" fmla="*/ 2147483647 h 37"/>
              <a:gd name="T18" fmla="*/ 2147483647 w 52"/>
              <a:gd name="T19" fmla="*/ 2147483647 h 37"/>
              <a:gd name="T20" fmla="*/ 2147483647 w 52"/>
              <a:gd name="T21" fmla="*/ 2147483647 h 37"/>
              <a:gd name="T22" fmla="*/ 2147483647 w 52"/>
              <a:gd name="T23" fmla="*/ 2147483647 h 37"/>
              <a:gd name="T24" fmla="*/ 2147483647 w 52"/>
              <a:gd name="T25" fmla="*/ 2147483647 h 37"/>
              <a:gd name="T26" fmla="*/ 2147483647 w 52"/>
              <a:gd name="T27" fmla="*/ 2147483647 h 37"/>
              <a:gd name="T28" fmla="*/ 2147483647 w 52"/>
              <a:gd name="T29" fmla="*/ 2147483647 h 37"/>
              <a:gd name="T30" fmla="*/ 2147483647 w 52"/>
              <a:gd name="T31" fmla="*/ 2147483647 h 37"/>
              <a:gd name="T32" fmla="*/ 2147483647 w 52"/>
              <a:gd name="T33" fmla="*/ 2147483647 h 37"/>
              <a:gd name="T34" fmla="*/ 2147483647 w 52"/>
              <a:gd name="T35" fmla="*/ 2147483647 h 37"/>
              <a:gd name="T36" fmla="*/ 2147483647 w 52"/>
              <a:gd name="T37" fmla="*/ 2147483647 h 37"/>
              <a:gd name="T38" fmla="*/ 2147483647 w 52"/>
              <a:gd name="T39" fmla="*/ 2147483647 h 37"/>
              <a:gd name="T40" fmla="*/ 2147483647 w 52"/>
              <a:gd name="T41" fmla="*/ 2147483647 h 37"/>
              <a:gd name="T42" fmla="*/ 2147483647 w 52"/>
              <a:gd name="T43" fmla="*/ 2147483647 h 37"/>
              <a:gd name="T44" fmla="*/ 2147483647 w 52"/>
              <a:gd name="T45" fmla="*/ 2147483647 h 37"/>
              <a:gd name="T46" fmla="*/ 2147483647 w 52"/>
              <a:gd name="T47" fmla="*/ 2147483647 h 37"/>
              <a:gd name="T48" fmla="*/ 2147483647 w 52"/>
              <a:gd name="T49" fmla="*/ 2147483647 h 37"/>
              <a:gd name="T50" fmla="*/ 2147483647 w 52"/>
              <a:gd name="T51" fmla="*/ 2147483647 h 37"/>
              <a:gd name="T52" fmla="*/ 2147483647 w 52"/>
              <a:gd name="T53" fmla="*/ 2147483647 h 37"/>
              <a:gd name="T54" fmla="*/ 2147483647 w 52"/>
              <a:gd name="T55" fmla="*/ 0 h 37"/>
              <a:gd name="T56" fmla="*/ 2147483647 w 52"/>
              <a:gd name="T57" fmla="*/ 2147483647 h 37"/>
              <a:gd name="T58" fmla="*/ 2147483647 w 52"/>
              <a:gd name="T59" fmla="*/ 2147483647 h 37"/>
              <a:gd name="T60" fmla="*/ 2147483647 w 52"/>
              <a:gd name="T61" fmla="*/ 2147483647 h 37"/>
              <a:gd name="T62" fmla="*/ 2147483647 w 52"/>
              <a:gd name="T63" fmla="*/ 2147483647 h 37"/>
              <a:gd name="T64" fmla="*/ 2147483647 w 52"/>
              <a:gd name="T65" fmla="*/ 2147483647 h 37"/>
              <a:gd name="T66" fmla="*/ 2147483647 w 52"/>
              <a:gd name="T67" fmla="*/ 2147483647 h 37"/>
              <a:gd name="T68" fmla="*/ 2147483647 w 52"/>
              <a:gd name="T69" fmla="*/ 2147483647 h 37"/>
              <a:gd name="T70" fmla="*/ 0 w 52"/>
              <a:gd name="T71" fmla="*/ 2147483647 h 37"/>
              <a:gd name="T72" fmla="*/ 0 w 52"/>
              <a:gd name="T73" fmla="*/ 2147483647 h 37"/>
              <a:gd name="T74" fmla="*/ 0 w 52"/>
              <a:gd name="T75" fmla="*/ 2147483647 h 3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52"/>
              <a:gd name="T115" fmla="*/ 0 h 37"/>
              <a:gd name="T116" fmla="*/ 52 w 52"/>
              <a:gd name="T117" fmla="*/ 37 h 37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52" h="37">
                <a:moveTo>
                  <a:pt x="0" y="14"/>
                </a:moveTo>
                <a:lnTo>
                  <a:pt x="0" y="14"/>
                </a:lnTo>
                <a:lnTo>
                  <a:pt x="3" y="14"/>
                </a:lnTo>
                <a:lnTo>
                  <a:pt x="14" y="14"/>
                </a:lnTo>
                <a:lnTo>
                  <a:pt x="17" y="20"/>
                </a:lnTo>
                <a:lnTo>
                  <a:pt x="23" y="20"/>
                </a:lnTo>
                <a:lnTo>
                  <a:pt x="26" y="25"/>
                </a:lnTo>
                <a:lnTo>
                  <a:pt x="26" y="28"/>
                </a:lnTo>
                <a:lnTo>
                  <a:pt x="34" y="17"/>
                </a:lnTo>
                <a:lnTo>
                  <a:pt x="37" y="28"/>
                </a:lnTo>
                <a:lnTo>
                  <a:pt x="43" y="34"/>
                </a:lnTo>
                <a:lnTo>
                  <a:pt x="46" y="37"/>
                </a:lnTo>
                <a:lnTo>
                  <a:pt x="43" y="28"/>
                </a:lnTo>
                <a:lnTo>
                  <a:pt x="49" y="22"/>
                </a:lnTo>
                <a:lnTo>
                  <a:pt x="52" y="20"/>
                </a:lnTo>
                <a:lnTo>
                  <a:pt x="52" y="17"/>
                </a:lnTo>
                <a:lnTo>
                  <a:pt x="43" y="14"/>
                </a:lnTo>
                <a:lnTo>
                  <a:pt x="43" y="11"/>
                </a:lnTo>
                <a:lnTo>
                  <a:pt x="46" y="5"/>
                </a:lnTo>
                <a:lnTo>
                  <a:pt x="43" y="5"/>
                </a:lnTo>
                <a:lnTo>
                  <a:pt x="37" y="5"/>
                </a:lnTo>
                <a:lnTo>
                  <a:pt x="37" y="2"/>
                </a:lnTo>
                <a:lnTo>
                  <a:pt x="34" y="0"/>
                </a:lnTo>
                <a:lnTo>
                  <a:pt x="29" y="2"/>
                </a:lnTo>
                <a:lnTo>
                  <a:pt x="20" y="5"/>
                </a:lnTo>
                <a:lnTo>
                  <a:pt x="11" y="2"/>
                </a:lnTo>
                <a:lnTo>
                  <a:pt x="8" y="2"/>
                </a:lnTo>
                <a:lnTo>
                  <a:pt x="0" y="5"/>
                </a:lnTo>
                <a:lnTo>
                  <a:pt x="0" y="11"/>
                </a:lnTo>
                <a:lnTo>
                  <a:pt x="0" y="14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49" name="Freeform 141"/>
          <p:cNvSpPr>
            <a:spLocks noChangeAspect="1"/>
          </p:cNvSpPr>
          <p:nvPr/>
        </p:nvSpPr>
        <p:spPr bwMode="gray">
          <a:xfrm>
            <a:off x="5324959" y="1228534"/>
            <a:ext cx="2496450" cy="1288534"/>
          </a:xfrm>
          <a:custGeom>
            <a:avLst/>
            <a:gdLst>
              <a:gd name="T0" fmla="*/ 2147483647 w 330"/>
              <a:gd name="T1" fmla="*/ 2147483647 h 227"/>
              <a:gd name="T2" fmla="*/ 2147483647 w 330"/>
              <a:gd name="T3" fmla="*/ 2147483647 h 227"/>
              <a:gd name="T4" fmla="*/ 2147483647 w 330"/>
              <a:gd name="T5" fmla="*/ 2147483647 h 227"/>
              <a:gd name="T6" fmla="*/ 2147483647 w 330"/>
              <a:gd name="T7" fmla="*/ 2147483647 h 227"/>
              <a:gd name="T8" fmla="*/ 2147483647 w 330"/>
              <a:gd name="T9" fmla="*/ 2147483647 h 227"/>
              <a:gd name="T10" fmla="*/ 2147483647 w 330"/>
              <a:gd name="T11" fmla="*/ 2147483647 h 227"/>
              <a:gd name="T12" fmla="*/ 2147483647 w 330"/>
              <a:gd name="T13" fmla="*/ 2147483647 h 227"/>
              <a:gd name="T14" fmla="*/ 2147483647 w 330"/>
              <a:gd name="T15" fmla="*/ 2147483647 h 227"/>
              <a:gd name="T16" fmla="*/ 2147483647 w 330"/>
              <a:gd name="T17" fmla="*/ 2147483647 h 227"/>
              <a:gd name="T18" fmla="*/ 2147483647 w 330"/>
              <a:gd name="T19" fmla="*/ 2147483647 h 227"/>
              <a:gd name="T20" fmla="*/ 2147483647 w 330"/>
              <a:gd name="T21" fmla="*/ 2147483647 h 227"/>
              <a:gd name="T22" fmla="*/ 2147483647 w 330"/>
              <a:gd name="T23" fmla="*/ 2147483647 h 227"/>
              <a:gd name="T24" fmla="*/ 2147483647 w 330"/>
              <a:gd name="T25" fmla="*/ 2147483647 h 227"/>
              <a:gd name="T26" fmla="*/ 2147483647 w 330"/>
              <a:gd name="T27" fmla="*/ 2147483647 h 227"/>
              <a:gd name="T28" fmla="*/ 2147483647 w 330"/>
              <a:gd name="T29" fmla="*/ 2147483647 h 227"/>
              <a:gd name="T30" fmla="*/ 2147483647 w 330"/>
              <a:gd name="T31" fmla="*/ 2147483647 h 227"/>
              <a:gd name="T32" fmla="*/ 2147483647 w 330"/>
              <a:gd name="T33" fmla="*/ 2147483647 h 227"/>
              <a:gd name="T34" fmla="*/ 2147483647 w 330"/>
              <a:gd name="T35" fmla="*/ 2147483647 h 227"/>
              <a:gd name="T36" fmla="*/ 2147483647 w 330"/>
              <a:gd name="T37" fmla="*/ 2147483647 h 227"/>
              <a:gd name="T38" fmla="*/ 2147483647 w 330"/>
              <a:gd name="T39" fmla="*/ 2147483647 h 227"/>
              <a:gd name="T40" fmla="*/ 2147483647 w 330"/>
              <a:gd name="T41" fmla="*/ 2147483647 h 227"/>
              <a:gd name="T42" fmla="*/ 2147483647 w 330"/>
              <a:gd name="T43" fmla="*/ 2147483647 h 227"/>
              <a:gd name="T44" fmla="*/ 2147483647 w 330"/>
              <a:gd name="T45" fmla="*/ 2147483647 h 227"/>
              <a:gd name="T46" fmla="*/ 2147483647 w 330"/>
              <a:gd name="T47" fmla="*/ 2147483647 h 227"/>
              <a:gd name="T48" fmla="*/ 2147483647 w 330"/>
              <a:gd name="T49" fmla="*/ 2147483647 h 227"/>
              <a:gd name="T50" fmla="*/ 2147483647 w 330"/>
              <a:gd name="T51" fmla="*/ 2147483647 h 227"/>
              <a:gd name="T52" fmla="*/ 2147483647 w 330"/>
              <a:gd name="T53" fmla="*/ 2147483647 h 227"/>
              <a:gd name="T54" fmla="*/ 2147483647 w 330"/>
              <a:gd name="T55" fmla="*/ 2147483647 h 227"/>
              <a:gd name="T56" fmla="*/ 2147483647 w 330"/>
              <a:gd name="T57" fmla="*/ 2147483647 h 227"/>
              <a:gd name="T58" fmla="*/ 2147483647 w 330"/>
              <a:gd name="T59" fmla="*/ 2147483647 h 227"/>
              <a:gd name="T60" fmla="*/ 2147483647 w 330"/>
              <a:gd name="T61" fmla="*/ 2147483647 h 227"/>
              <a:gd name="T62" fmla="*/ 2147483647 w 330"/>
              <a:gd name="T63" fmla="*/ 2147483647 h 227"/>
              <a:gd name="T64" fmla="*/ 2147483647 w 330"/>
              <a:gd name="T65" fmla="*/ 2147483647 h 227"/>
              <a:gd name="T66" fmla="*/ 2147483647 w 330"/>
              <a:gd name="T67" fmla="*/ 2147483647 h 227"/>
              <a:gd name="T68" fmla="*/ 2147483647 w 330"/>
              <a:gd name="T69" fmla="*/ 0 h 227"/>
              <a:gd name="T70" fmla="*/ 2147483647 w 330"/>
              <a:gd name="T71" fmla="*/ 2147483647 h 227"/>
              <a:gd name="T72" fmla="*/ 2147483647 w 330"/>
              <a:gd name="T73" fmla="*/ 2147483647 h 227"/>
              <a:gd name="T74" fmla="*/ 2147483647 w 330"/>
              <a:gd name="T75" fmla="*/ 2147483647 h 227"/>
              <a:gd name="T76" fmla="*/ 2147483647 w 330"/>
              <a:gd name="T77" fmla="*/ 2147483647 h 227"/>
              <a:gd name="T78" fmla="*/ 2147483647 w 330"/>
              <a:gd name="T79" fmla="*/ 2147483647 h 227"/>
              <a:gd name="T80" fmla="*/ 2147483647 w 330"/>
              <a:gd name="T81" fmla="*/ 2147483647 h 227"/>
              <a:gd name="T82" fmla="*/ 2147483647 w 330"/>
              <a:gd name="T83" fmla="*/ 2147483647 h 227"/>
              <a:gd name="T84" fmla="*/ 2147483647 w 330"/>
              <a:gd name="T85" fmla="*/ 2147483647 h 227"/>
              <a:gd name="T86" fmla="*/ 2147483647 w 330"/>
              <a:gd name="T87" fmla="*/ 2147483647 h 227"/>
              <a:gd name="T88" fmla="*/ 2147483647 w 330"/>
              <a:gd name="T89" fmla="*/ 2147483647 h 227"/>
              <a:gd name="T90" fmla="*/ 2147483647 w 330"/>
              <a:gd name="T91" fmla="*/ 2147483647 h 227"/>
              <a:gd name="T92" fmla="*/ 2147483647 w 330"/>
              <a:gd name="T93" fmla="*/ 2147483647 h 227"/>
              <a:gd name="T94" fmla="*/ 2147483647 w 330"/>
              <a:gd name="T95" fmla="*/ 2147483647 h 227"/>
              <a:gd name="T96" fmla="*/ 2147483647 w 330"/>
              <a:gd name="T97" fmla="*/ 2147483647 h 227"/>
              <a:gd name="T98" fmla="*/ 2147483647 w 330"/>
              <a:gd name="T99" fmla="*/ 2147483647 h 227"/>
              <a:gd name="T100" fmla="*/ 2147483647 w 330"/>
              <a:gd name="T101" fmla="*/ 2147483647 h 227"/>
              <a:gd name="T102" fmla="*/ 2147483647 w 330"/>
              <a:gd name="T103" fmla="*/ 2147483647 h 227"/>
              <a:gd name="T104" fmla="*/ 2147483647 w 330"/>
              <a:gd name="T105" fmla="*/ 2147483647 h 227"/>
              <a:gd name="T106" fmla="*/ 2147483647 w 330"/>
              <a:gd name="T107" fmla="*/ 2147483647 h 227"/>
              <a:gd name="T108" fmla="*/ 2147483647 w 330"/>
              <a:gd name="T109" fmla="*/ 2147483647 h 227"/>
              <a:gd name="T110" fmla="*/ 2147483647 w 330"/>
              <a:gd name="T111" fmla="*/ 2147483647 h 227"/>
              <a:gd name="T112" fmla="*/ 2147483647 w 330"/>
              <a:gd name="T113" fmla="*/ 2147483647 h 227"/>
              <a:gd name="T114" fmla="*/ 2147483647 w 330"/>
              <a:gd name="T115" fmla="*/ 2147483647 h 227"/>
              <a:gd name="T116" fmla="*/ 2147483647 w 330"/>
              <a:gd name="T117" fmla="*/ 2147483647 h 227"/>
              <a:gd name="T118" fmla="*/ 2147483647 w 330"/>
              <a:gd name="T119" fmla="*/ 2147483647 h 227"/>
              <a:gd name="T120" fmla="*/ 2147483647 w 330"/>
              <a:gd name="T121" fmla="*/ 2147483647 h 22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330"/>
              <a:gd name="T184" fmla="*/ 0 h 227"/>
              <a:gd name="T185" fmla="*/ 330 w 330"/>
              <a:gd name="T186" fmla="*/ 227 h 227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330" h="227">
                <a:moveTo>
                  <a:pt x="6" y="158"/>
                </a:moveTo>
                <a:lnTo>
                  <a:pt x="12" y="155"/>
                </a:lnTo>
                <a:lnTo>
                  <a:pt x="20" y="158"/>
                </a:lnTo>
                <a:lnTo>
                  <a:pt x="14" y="161"/>
                </a:lnTo>
                <a:lnTo>
                  <a:pt x="9" y="161"/>
                </a:lnTo>
                <a:lnTo>
                  <a:pt x="3" y="164"/>
                </a:lnTo>
                <a:lnTo>
                  <a:pt x="3" y="170"/>
                </a:lnTo>
                <a:lnTo>
                  <a:pt x="9" y="170"/>
                </a:lnTo>
                <a:lnTo>
                  <a:pt x="12" y="170"/>
                </a:lnTo>
                <a:lnTo>
                  <a:pt x="12" y="172"/>
                </a:lnTo>
                <a:lnTo>
                  <a:pt x="3" y="175"/>
                </a:lnTo>
                <a:lnTo>
                  <a:pt x="3" y="187"/>
                </a:lnTo>
                <a:lnTo>
                  <a:pt x="12" y="190"/>
                </a:lnTo>
                <a:lnTo>
                  <a:pt x="20" y="184"/>
                </a:lnTo>
                <a:lnTo>
                  <a:pt x="20" y="190"/>
                </a:lnTo>
                <a:lnTo>
                  <a:pt x="12" y="190"/>
                </a:lnTo>
                <a:lnTo>
                  <a:pt x="6" y="192"/>
                </a:lnTo>
                <a:lnTo>
                  <a:pt x="3" y="201"/>
                </a:lnTo>
                <a:lnTo>
                  <a:pt x="3" y="207"/>
                </a:lnTo>
                <a:lnTo>
                  <a:pt x="12" y="204"/>
                </a:lnTo>
                <a:lnTo>
                  <a:pt x="14" y="204"/>
                </a:lnTo>
                <a:lnTo>
                  <a:pt x="14" y="207"/>
                </a:lnTo>
                <a:lnTo>
                  <a:pt x="12" y="210"/>
                </a:lnTo>
                <a:lnTo>
                  <a:pt x="9" y="213"/>
                </a:lnTo>
                <a:lnTo>
                  <a:pt x="9" y="215"/>
                </a:lnTo>
                <a:lnTo>
                  <a:pt x="17" y="221"/>
                </a:lnTo>
                <a:lnTo>
                  <a:pt x="26" y="224"/>
                </a:lnTo>
                <a:lnTo>
                  <a:pt x="37" y="227"/>
                </a:lnTo>
                <a:lnTo>
                  <a:pt x="43" y="224"/>
                </a:lnTo>
                <a:lnTo>
                  <a:pt x="49" y="224"/>
                </a:lnTo>
                <a:lnTo>
                  <a:pt x="52" y="221"/>
                </a:lnTo>
                <a:lnTo>
                  <a:pt x="63" y="210"/>
                </a:lnTo>
                <a:lnTo>
                  <a:pt x="63" y="207"/>
                </a:lnTo>
                <a:lnTo>
                  <a:pt x="66" y="207"/>
                </a:lnTo>
                <a:lnTo>
                  <a:pt x="72" y="207"/>
                </a:lnTo>
                <a:lnTo>
                  <a:pt x="75" y="207"/>
                </a:lnTo>
                <a:lnTo>
                  <a:pt x="75" y="201"/>
                </a:lnTo>
                <a:lnTo>
                  <a:pt x="75" y="198"/>
                </a:lnTo>
                <a:lnTo>
                  <a:pt x="78" y="195"/>
                </a:lnTo>
                <a:lnTo>
                  <a:pt x="80" y="201"/>
                </a:lnTo>
                <a:lnTo>
                  <a:pt x="80" y="204"/>
                </a:lnTo>
                <a:lnTo>
                  <a:pt x="83" y="207"/>
                </a:lnTo>
                <a:lnTo>
                  <a:pt x="89" y="204"/>
                </a:lnTo>
                <a:lnTo>
                  <a:pt x="92" y="207"/>
                </a:lnTo>
                <a:lnTo>
                  <a:pt x="95" y="192"/>
                </a:lnTo>
                <a:lnTo>
                  <a:pt x="98" y="192"/>
                </a:lnTo>
                <a:lnTo>
                  <a:pt x="101" y="190"/>
                </a:lnTo>
                <a:lnTo>
                  <a:pt x="103" y="190"/>
                </a:lnTo>
                <a:lnTo>
                  <a:pt x="103" y="184"/>
                </a:lnTo>
                <a:lnTo>
                  <a:pt x="101" y="178"/>
                </a:lnTo>
                <a:lnTo>
                  <a:pt x="101" y="175"/>
                </a:lnTo>
                <a:lnTo>
                  <a:pt x="101" y="172"/>
                </a:lnTo>
                <a:lnTo>
                  <a:pt x="103" y="170"/>
                </a:lnTo>
                <a:lnTo>
                  <a:pt x="109" y="170"/>
                </a:lnTo>
                <a:lnTo>
                  <a:pt x="109" y="167"/>
                </a:lnTo>
                <a:lnTo>
                  <a:pt x="106" y="167"/>
                </a:lnTo>
                <a:lnTo>
                  <a:pt x="98" y="161"/>
                </a:lnTo>
                <a:lnTo>
                  <a:pt x="98" y="158"/>
                </a:lnTo>
                <a:lnTo>
                  <a:pt x="98" y="149"/>
                </a:lnTo>
                <a:lnTo>
                  <a:pt x="95" y="141"/>
                </a:lnTo>
                <a:lnTo>
                  <a:pt x="95" y="138"/>
                </a:lnTo>
                <a:lnTo>
                  <a:pt x="98" y="135"/>
                </a:lnTo>
                <a:lnTo>
                  <a:pt x="95" y="132"/>
                </a:lnTo>
                <a:lnTo>
                  <a:pt x="98" y="126"/>
                </a:lnTo>
                <a:lnTo>
                  <a:pt x="101" y="121"/>
                </a:lnTo>
                <a:lnTo>
                  <a:pt x="106" y="118"/>
                </a:lnTo>
                <a:lnTo>
                  <a:pt x="112" y="118"/>
                </a:lnTo>
                <a:lnTo>
                  <a:pt x="121" y="118"/>
                </a:lnTo>
                <a:lnTo>
                  <a:pt x="123" y="115"/>
                </a:lnTo>
                <a:lnTo>
                  <a:pt x="118" y="112"/>
                </a:lnTo>
                <a:lnTo>
                  <a:pt x="126" y="98"/>
                </a:lnTo>
                <a:lnTo>
                  <a:pt x="129" y="81"/>
                </a:lnTo>
                <a:lnTo>
                  <a:pt x="141" y="81"/>
                </a:lnTo>
                <a:lnTo>
                  <a:pt x="141" y="75"/>
                </a:lnTo>
                <a:lnTo>
                  <a:pt x="138" y="75"/>
                </a:lnTo>
                <a:lnTo>
                  <a:pt x="149" y="66"/>
                </a:lnTo>
                <a:lnTo>
                  <a:pt x="146" y="60"/>
                </a:lnTo>
                <a:lnTo>
                  <a:pt x="152" y="58"/>
                </a:lnTo>
                <a:lnTo>
                  <a:pt x="155" y="55"/>
                </a:lnTo>
                <a:lnTo>
                  <a:pt x="158" y="52"/>
                </a:lnTo>
                <a:lnTo>
                  <a:pt x="164" y="49"/>
                </a:lnTo>
                <a:lnTo>
                  <a:pt x="169" y="52"/>
                </a:lnTo>
                <a:lnTo>
                  <a:pt x="172" y="40"/>
                </a:lnTo>
                <a:lnTo>
                  <a:pt x="178" y="40"/>
                </a:lnTo>
                <a:lnTo>
                  <a:pt x="184" y="40"/>
                </a:lnTo>
                <a:lnTo>
                  <a:pt x="190" y="43"/>
                </a:lnTo>
                <a:lnTo>
                  <a:pt x="195" y="43"/>
                </a:lnTo>
                <a:lnTo>
                  <a:pt x="198" y="43"/>
                </a:lnTo>
                <a:lnTo>
                  <a:pt x="198" y="35"/>
                </a:lnTo>
                <a:lnTo>
                  <a:pt x="198" y="32"/>
                </a:lnTo>
                <a:lnTo>
                  <a:pt x="207" y="32"/>
                </a:lnTo>
                <a:lnTo>
                  <a:pt x="210" y="29"/>
                </a:lnTo>
                <a:lnTo>
                  <a:pt x="215" y="26"/>
                </a:lnTo>
                <a:lnTo>
                  <a:pt x="218" y="29"/>
                </a:lnTo>
                <a:lnTo>
                  <a:pt x="224" y="35"/>
                </a:lnTo>
                <a:lnTo>
                  <a:pt x="227" y="37"/>
                </a:lnTo>
                <a:lnTo>
                  <a:pt x="241" y="37"/>
                </a:lnTo>
                <a:lnTo>
                  <a:pt x="244" y="37"/>
                </a:lnTo>
                <a:lnTo>
                  <a:pt x="247" y="37"/>
                </a:lnTo>
                <a:lnTo>
                  <a:pt x="250" y="37"/>
                </a:lnTo>
                <a:lnTo>
                  <a:pt x="256" y="40"/>
                </a:lnTo>
                <a:lnTo>
                  <a:pt x="261" y="35"/>
                </a:lnTo>
                <a:lnTo>
                  <a:pt x="264" y="35"/>
                </a:lnTo>
                <a:lnTo>
                  <a:pt x="267" y="35"/>
                </a:lnTo>
                <a:lnTo>
                  <a:pt x="267" y="29"/>
                </a:lnTo>
                <a:lnTo>
                  <a:pt x="267" y="23"/>
                </a:lnTo>
                <a:lnTo>
                  <a:pt x="278" y="17"/>
                </a:lnTo>
                <a:lnTo>
                  <a:pt x="290" y="14"/>
                </a:lnTo>
                <a:lnTo>
                  <a:pt x="299" y="17"/>
                </a:lnTo>
                <a:lnTo>
                  <a:pt x="310" y="20"/>
                </a:lnTo>
                <a:lnTo>
                  <a:pt x="310" y="23"/>
                </a:lnTo>
                <a:lnTo>
                  <a:pt x="313" y="29"/>
                </a:lnTo>
                <a:lnTo>
                  <a:pt x="310" y="29"/>
                </a:lnTo>
                <a:lnTo>
                  <a:pt x="307" y="32"/>
                </a:lnTo>
                <a:lnTo>
                  <a:pt x="307" y="35"/>
                </a:lnTo>
                <a:lnTo>
                  <a:pt x="310" y="32"/>
                </a:lnTo>
                <a:lnTo>
                  <a:pt x="319" y="26"/>
                </a:lnTo>
                <a:lnTo>
                  <a:pt x="324" y="23"/>
                </a:lnTo>
                <a:lnTo>
                  <a:pt x="327" y="23"/>
                </a:lnTo>
                <a:lnTo>
                  <a:pt x="330" y="20"/>
                </a:lnTo>
                <a:lnTo>
                  <a:pt x="322" y="20"/>
                </a:lnTo>
                <a:lnTo>
                  <a:pt x="316" y="17"/>
                </a:lnTo>
                <a:lnTo>
                  <a:pt x="322" y="14"/>
                </a:lnTo>
                <a:lnTo>
                  <a:pt x="327" y="14"/>
                </a:lnTo>
                <a:lnTo>
                  <a:pt x="330" y="12"/>
                </a:lnTo>
                <a:lnTo>
                  <a:pt x="319" y="9"/>
                </a:lnTo>
                <a:lnTo>
                  <a:pt x="307" y="6"/>
                </a:lnTo>
                <a:lnTo>
                  <a:pt x="301" y="3"/>
                </a:lnTo>
                <a:lnTo>
                  <a:pt x="296" y="9"/>
                </a:lnTo>
                <a:lnTo>
                  <a:pt x="293" y="6"/>
                </a:lnTo>
                <a:lnTo>
                  <a:pt x="296" y="0"/>
                </a:lnTo>
                <a:lnTo>
                  <a:pt x="281" y="0"/>
                </a:lnTo>
                <a:lnTo>
                  <a:pt x="281" y="6"/>
                </a:lnTo>
                <a:lnTo>
                  <a:pt x="278" y="9"/>
                </a:lnTo>
                <a:lnTo>
                  <a:pt x="276" y="12"/>
                </a:lnTo>
                <a:lnTo>
                  <a:pt x="273" y="9"/>
                </a:lnTo>
                <a:lnTo>
                  <a:pt x="276" y="3"/>
                </a:lnTo>
                <a:lnTo>
                  <a:pt x="267" y="6"/>
                </a:lnTo>
                <a:lnTo>
                  <a:pt x="258" y="17"/>
                </a:lnTo>
                <a:lnTo>
                  <a:pt x="256" y="14"/>
                </a:lnTo>
                <a:lnTo>
                  <a:pt x="256" y="12"/>
                </a:lnTo>
                <a:lnTo>
                  <a:pt x="264" y="6"/>
                </a:lnTo>
                <a:lnTo>
                  <a:pt x="267" y="0"/>
                </a:lnTo>
                <a:lnTo>
                  <a:pt x="261" y="0"/>
                </a:lnTo>
                <a:lnTo>
                  <a:pt x="258" y="3"/>
                </a:lnTo>
                <a:lnTo>
                  <a:pt x="253" y="3"/>
                </a:lnTo>
                <a:lnTo>
                  <a:pt x="247" y="0"/>
                </a:lnTo>
                <a:lnTo>
                  <a:pt x="247" y="6"/>
                </a:lnTo>
                <a:lnTo>
                  <a:pt x="244" y="12"/>
                </a:lnTo>
                <a:lnTo>
                  <a:pt x="238" y="17"/>
                </a:lnTo>
                <a:lnTo>
                  <a:pt x="235" y="12"/>
                </a:lnTo>
                <a:lnTo>
                  <a:pt x="241" y="9"/>
                </a:lnTo>
                <a:lnTo>
                  <a:pt x="238" y="9"/>
                </a:lnTo>
                <a:lnTo>
                  <a:pt x="233" y="9"/>
                </a:lnTo>
                <a:lnTo>
                  <a:pt x="235" y="6"/>
                </a:lnTo>
                <a:lnTo>
                  <a:pt x="230" y="6"/>
                </a:lnTo>
                <a:lnTo>
                  <a:pt x="221" y="6"/>
                </a:lnTo>
                <a:lnTo>
                  <a:pt x="215" y="9"/>
                </a:lnTo>
                <a:lnTo>
                  <a:pt x="221" y="9"/>
                </a:lnTo>
                <a:lnTo>
                  <a:pt x="224" y="12"/>
                </a:lnTo>
                <a:lnTo>
                  <a:pt x="221" y="14"/>
                </a:lnTo>
                <a:lnTo>
                  <a:pt x="215" y="12"/>
                </a:lnTo>
                <a:lnTo>
                  <a:pt x="210" y="14"/>
                </a:lnTo>
                <a:lnTo>
                  <a:pt x="207" y="20"/>
                </a:lnTo>
                <a:lnTo>
                  <a:pt x="204" y="17"/>
                </a:lnTo>
                <a:lnTo>
                  <a:pt x="201" y="14"/>
                </a:lnTo>
                <a:lnTo>
                  <a:pt x="198" y="17"/>
                </a:lnTo>
                <a:lnTo>
                  <a:pt x="195" y="20"/>
                </a:lnTo>
                <a:lnTo>
                  <a:pt x="192" y="23"/>
                </a:lnTo>
                <a:lnTo>
                  <a:pt x="190" y="23"/>
                </a:lnTo>
                <a:lnTo>
                  <a:pt x="192" y="20"/>
                </a:lnTo>
                <a:lnTo>
                  <a:pt x="192" y="17"/>
                </a:lnTo>
                <a:lnTo>
                  <a:pt x="192" y="14"/>
                </a:lnTo>
                <a:lnTo>
                  <a:pt x="187" y="17"/>
                </a:lnTo>
                <a:lnTo>
                  <a:pt x="184" y="14"/>
                </a:lnTo>
                <a:lnTo>
                  <a:pt x="181" y="17"/>
                </a:lnTo>
                <a:lnTo>
                  <a:pt x="178" y="17"/>
                </a:lnTo>
                <a:lnTo>
                  <a:pt x="178" y="20"/>
                </a:lnTo>
                <a:lnTo>
                  <a:pt x="172" y="26"/>
                </a:lnTo>
                <a:lnTo>
                  <a:pt x="169" y="29"/>
                </a:lnTo>
                <a:lnTo>
                  <a:pt x="167" y="26"/>
                </a:lnTo>
                <a:lnTo>
                  <a:pt x="167" y="23"/>
                </a:lnTo>
                <a:lnTo>
                  <a:pt x="164" y="26"/>
                </a:lnTo>
                <a:lnTo>
                  <a:pt x="158" y="29"/>
                </a:lnTo>
                <a:lnTo>
                  <a:pt x="158" y="35"/>
                </a:lnTo>
                <a:lnTo>
                  <a:pt x="161" y="32"/>
                </a:lnTo>
                <a:lnTo>
                  <a:pt x="164" y="29"/>
                </a:lnTo>
                <a:lnTo>
                  <a:pt x="164" y="35"/>
                </a:lnTo>
                <a:lnTo>
                  <a:pt x="164" y="37"/>
                </a:lnTo>
                <a:lnTo>
                  <a:pt x="161" y="35"/>
                </a:lnTo>
                <a:lnTo>
                  <a:pt x="155" y="40"/>
                </a:lnTo>
                <a:lnTo>
                  <a:pt x="152" y="37"/>
                </a:lnTo>
                <a:lnTo>
                  <a:pt x="146" y="37"/>
                </a:lnTo>
                <a:lnTo>
                  <a:pt x="144" y="37"/>
                </a:lnTo>
                <a:lnTo>
                  <a:pt x="146" y="32"/>
                </a:lnTo>
                <a:lnTo>
                  <a:pt x="144" y="29"/>
                </a:lnTo>
                <a:lnTo>
                  <a:pt x="138" y="35"/>
                </a:lnTo>
                <a:lnTo>
                  <a:pt x="135" y="37"/>
                </a:lnTo>
                <a:lnTo>
                  <a:pt x="135" y="35"/>
                </a:lnTo>
                <a:lnTo>
                  <a:pt x="123" y="37"/>
                </a:lnTo>
                <a:lnTo>
                  <a:pt x="126" y="40"/>
                </a:lnTo>
                <a:lnTo>
                  <a:pt x="126" y="43"/>
                </a:lnTo>
                <a:lnTo>
                  <a:pt x="123" y="43"/>
                </a:lnTo>
                <a:lnTo>
                  <a:pt x="118" y="46"/>
                </a:lnTo>
                <a:lnTo>
                  <a:pt x="106" y="52"/>
                </a:lnTo>
                <a:lnTo>
                  <a:pt x="118" y="52"/>
                </a:lnTo>
                <a:lnTo>
                  <a:pt x="123" y="49"/>
                </a:lnTo>
                <a:lnTo>
                  <a:pt x="126" y="49"/>
                </a:lnTo>
                <a:lnTo>
                  <a:pt x="135" y="46"/>
                </a:lnTo>
                <a:lnTo>
                  <a:pt x="141" y="46"/>
                </a:lnTo>
                <a:lnTo>
                  <a:pt x="144" y="43"/>
                </a:lnTo>
                <a:lnTo>
                  <a:pt x="149" y="46"/>
                </a:lnTo>
                <a:lnTo>
                  <a:pt x="146" y="46"/>
                </a:lnTo>
                <a:lnTo>
                  <a:pt x="144" y="49"/>
                </a:lnTo>
                <a:lnTo>
                  <a:pt x="135" y="52"/>
                </a:lnTo>
                <a:lnTo>
                  <a:pt x="132" y="52"/>
                </a:lnTo>
                <a:lnTo>
                  <a:pt x="129" y="55"/>
                </a:lnTo>
                <a:lnTo>
                  <a:pt x="132" y="60"/>
                </a:lnTo>
                <a:lnTo>
                  <a:pt x="123" y="66"/>
                </a:lnTo>
                <a:lnTo>
                  <a:pt x="112" y="75"/>
                </a:lnTo>
                <a:lnTo>
                  <a:pt x="109" y="81"/>
                </a:lnTo>
                <a:lnTo>
                  <a:pt x="106" y="83"/>
                </a:lnTo>
                <a:lnTo>
                  <a:pt x="103" y="81"/>
                </a:lnTo>
                <a:lnTo>
                  <a:pt x="101" y="83"/>
                </a:lnTo>
                <a:lnTo>
                  <a:pt x="101" y="89"/>
                </a:lnTo>
                <a:lnTo>
                  <a:pt x="98" y="98"/>
                </a:lnTo>
                <a:lnTo>
                  <a:pt x="92" y="101"/>
                </a:lnTo>
                <a:lnTo>
                  <a:pt x="89" y="103"/>
                </a:lnTo>
                <a:lnTo>
                  <a:pt x="80" y="103"/>
                </a:lnTo>
                <a:lnTo>
                  <a:pt x="86" y="106"/>
                </a:lnTo>
                <a:lnTo>
                  <a:pt x="83" y="109"/>
                </a:lnTo>
                <a:lnTo>
                  <a:pt x="80" y="109"/>
                </a:lnTo>
                <a:lnTo>
                  <a:pt x="75" y="115"/>
                </a:lnTo>
                <a:lnTo>
                  <a:pt x="72" y="118"/>
                </a:lnTo>
                <a:lnTo>
                  <a:pt x="69" y="121"/>
                </a:lnTo>
                <a:lnTo>
                  <a:pt x="63" y="124"/>
                </a:lnTo>
                <a:lnTo>
                  <a:pt x="63" y="126"/>
                </a:lnTo>
                <a:lnTo>
                  <a:pt x="57" y="132"/>
                </a:lnTo>
                <a:lnTo>
                  <a:pt x="57" y="126"/>
                </a:lnTo>
                <a:lnTo>
                  <a:pt x="52" y="124"/>
                </a:lnTo>
                <a:lnTo>
                  <a:pt x="46" y="124"/>
                </a:lnTo>
                <a:lnTo>
                  <a:pt x="49" y="129"/>
                </a:lnTo>
                <a:lnTo>
                  <a:pt x="55" y="132"/>
                </a:lnTo>
                <a:lnTo>
                  <a:pt x="46" y="135"/>
                </a:lnTo>
                <a:lnTo>
                  <a:pt x="43" y="129"/>
                </a:lnTo>
                <a:lnTo>
                  <a:pt x="40" y="132"/>
                </a:lnTo>
                <a:lnTo>
                  <a:pt x="43" y="135"/>
                </a:lnTo>
                <a:lnTo>
                  <a:pt x="37" y="132"/>
                </a:lnTo>
                <a:lnTo>
                  <a:pt x="37" y="138"/>
                </a:lnTo>
                <a:lnTo>
                  <a:pt x="40" y="138"/>
                </a:lnTo>
                <a:lnTo>
                  <a:pt x="40" y="141"/>
                </a:lnTo>
                <a:lnTo>
                  <a:pt x="32" y="141"/>
                </a:lnTo>
                <a:lnTo>
                  <a:pt x="32" y="135"/>
                </a:lnTo>
                <a:lnTo>
                  <a:pt x="26" y="141"/>
                </a:lnTo>
                <a:lnTo>
                  <a:pt x="20" y="144"/>
                </a:lnTo>
                <a:lnTo>
                  <a:pt x="20" y="149"/>
                </a:lnTo>
                <a:lnTo>
                  <a:pt x="23" y="149"/>
                </a:lnTo>
                <a:lnTo>
                  <a:pt x="20" y="152"/>
                </a:lnTo>
                <a:lnTo>
                  <a:pt x="17" y="147"/>
                </a:lnTo>
                <a:lnTo>
                  <a:pt x="9" y="152"/>
                </a:lnTo>
                <a:lnTo>
                  <a:pt x="3" y="149"/>
                </a:lnTo>
                <a:lnTo>
                  <a:pt x="3" y="155"/>
                </a:lnTo>
                <a:lnTo>
                  <a:pt x="0" y="161"/>
                </a:lnTo>
                <a:lnTo>
                  <a:pt x="6" y="158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50" name="Freeform 142"/>
          <p:cNvSpPr>
            <a:spLocks noChangeAspect="1"/>
          </p:cNvSpPr>
          <p:nvPr/>
        </p:nvSpPr>
        <p:spPr bwMode="gray">
          <a:xfrm>
            <a:off x="4212759" y="2893579"/>
            <a:ext cx="60011" cy="33001"/>
          </a:xfrm>
          <a:custGeom>
            <a:avLst/>
            <a:gdLst>
              <a:gd name="T0" fmla="*/ 2147483647 w 8"/>
              <a:gd name="T1" fmla="*/ 0 h 6"/>
              <a:gd name="T2" fmla="*/ 0 w 8"/>
              <a:gd name="T3" fmla="*/ 2147483647 h 6"/>
              <a:gd name="T4" fmla="*/ 2147483647 w 8"/>
              <a:gd name="T5" fmla="*/ 2147483647 h 6"/>
              <a:gd name="T6" fmla="*/ 2147483647 w 8"/>
              <a:gd name="T7" fmla="*/ 2147483647 h 6"/>
              <a:gd name="T8" fmla="*/ 2147483647 w 8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"/>
              <a:gd name="T16" fmla="*/ 0 h 6"/>
              <a:gd name="T17" fmla="*/ 8 w 8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" h="6">
                <a:moveTo>
                  <a:pt x="5" y="0"/>
                </a:moveTo>
                <a:lnTo>
                  <a:pt x="0" y="6"/>
                </a:lnTo>
                <a:lnTo>
                  <a:pt x="5" y="6"/>
                </a:lnTo>
                <a:lnTo>
                  <a:pt x="8" y="3"/>
                </a:lnTo>
                <a:lnTo>
                  <a:pt x="5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51" name="Freeform 145"/>
          <p:cNvSpPr>
            <a:spLocks noChangeAspect="1"/>
          </p:cNvSpPr>
          <p:nvPr/>
        </p:nvSpPr>
        <p:spPr bwMode="gray">
          <a:xfrm>
            <a:off x="4078735" y="2464568"/>
            <a:ext cx="846152" cy="877523"/>
          </a:xfrm>
          <a:custGeom>
            <a:avLst/>
            <a:gdLst>
              <a:gd name="T0" fmla="*/ 2147483647 w 112"/>
              <a:gd name="T1" fmla="*/ 2147483647 h 155"/>
              <a:gd name="T2" fmla="*/ 2147483647 w 112"/>
              <a:gd name="T3" fmla="*/ 2147483647 h 155"/>
              <a:gd name="T4" fmla="*/ 2147483647 w 112"/>
              <a:gd name="T5" fmla="*/ 2147483647 h 155"/>
              <a:gd name="T6" fmla="*/ 2147483647 w 112"/>
              <a:gd name="T7" fmla="*/ 2147483647 h 155"/>
              <a:gd name="T8" fmla="*/ 0 w 112"/>
              <a:gd name="T9" fmla="*/ 2147483647 h 155"/>
              <a:gd name="T10" fmla="*/ 2147483647 w 112"/>
              <a:gd name="T11" fmla="*/ 2147483647 h 155"/>
              <a:gd name="T12" fmla="*/ 2147483647 w 112"/>
              <a:gd name="T13" fmla="*/ 2147483647 h 155"/>
              <a:gd name="T14" fmla="*/ 2147483647 w 112"/>
              <a:gd name="T15" fmla="*/ 2147483647 h 155"/>
              <a:gd name="T16" fmla="*/ 2147483647 w 112"/>
              <a:gd name="T17" fmla="*/ 2147483647 h 155"/>
              <a:gd name="T18" fmla="*/ 2147483647 w 112"/>
              <a:gd name="T19" fmla="*/ 2147483647 h 155"/>
              <a:gd name="T20" fmla="*/ 2147483647 w 112"/>
              <a:gd name="T21" fmla="*/ 2147483647 h 155"/>
              <a:gd name="T22" fmla="*/ 2147483647 w 112"/>
              <a:gd name="T23" fmla="*/ 2147483647 h 155"/>
              <a:gd name="T24" fmla="*/ 2147483647 w 112"/>
              <a:gd name="T25" fmla="*/ 2147483647 h 155"/>
              <a:gd name="T26" fmla="*/ 2147483647 w 112"/>
              <a:gd name="T27" fmla="*/ 2147483647 h 155"/>
              <a:gd name="T28" fmla="*/ 2147483647 w 112"/>
              <a:gd name="T29" fmla="*/ 2147483647 h 155"/>
              <a:gd name="T30" fmla="*/ 2147483647 w 112"/>
              <a:gd name="T31" fmla="*/ 2147483647 h 155"/>
              <a:gd name="T32" fmla="*/ 2147483647 w 112"/>
              <a:gd name="T33" fmla="*/ 2147483647 h 155"/>
              <a:gd name="T34" fmla="*/ 2147483647 w 112"/>
              <a:gd name="T35" fmla="*/ 2147483647 h 155"/>
              <a:gd name="T36" fmla="*/ 2147483647 w 112"/>
              <a:gd name="T37" fmla="*/ 2147483647 h 155"/>
              <a:gd name="T38" fmla="*/ 2147483647 w 112"/>
              <a:gd name="T39" fmla="*/ 2147483647 h 155"/>
              <a:gd name="T40" fmla="*/ 2147483647 w 112"/>
              <a:gd name="T41" fmla="*/ 2147483647 h 155"/>
              <a:gd name="T42" fmla="*/ 2147483647 w 112"/>
              <a:gd name="T43" fmla="*/ 2147483647 h 155"/>
              <a:gd name="T44" fmla="*/ 2147483647 w 112"/>
              <a:gd name="T45" fmla="*/ 2147483647 h 155"/>
              <a:gd name="T46" fmla="*/ 2147483647 w 112"/>
              <a:gd name="T47" fmla="*/ 2147483647 h 155"/>
              <a:gd name="T48" fmla="*/ 2147483647 w 112"/>
              <a:gd name="T49" fmla="*/ 2147483647 h 155"/>
              <a:gd name="T50" fmla="*/ 2147483647 w 112"/>
              <a:gd name="T51" fmla="*/ 2147483647 h 155"/>
              <a:gd name="T52" fmla="*/ 2147483647 w 112"/>
              <a:gd name="T53" fmla="*/ 2147483647 h 155"/>
              <a:gd name="T54" fmla="*/ 0 w 112"/>
              <a:gd name="T55" fmla="*/ 2147483647 h 155"/>
              <a:gd name="T56" fmla="*/ 2147483647 w 112"/>
              <a:gd name="T57" fmla="*/ 2147483647 h 155"/>
              <a:gd name="T58" fmla="*/ 2147483647 w 112"/>
              <a:gd name="T59" fmla="*/ 2147483647 h 155"/>
              <a:gd name="T60" fmla="*/ 2147483647 w 112"/>
              <a:gd name="T61" fmla="*/ 2147483647 h 155"/>
              <a:gd name="T62" fmla="*/ 2147483647 w 112"/>
              <a:gd name="T63" fmla="*/ 2147483647 h 155"/>
              <a:gd name="T64" fmla="*/ 2147483647 w 112"/>
              <a:gd name="T65" fmla="*/ 2147483647 h 155"/>
              <a:gd name="T66" fmla="*/ 2147483647 w 112"/>
              <a:gd name="T67" fmla="*/ 2147483647 h 155"/>
              <a:gd name="T68" fmla="*/ 2147483647 w 112"/>
              <a:gd name="T69" fmla="*/ 2147483647 h 155"/>
              <a:gd name="T70" fmla="*/ 2147483647 w 112"/>
              <a:gd name="T71" fmla="*/ 2147483647 h 155"/>
              <a:gd name="T72" fmla="*/ 2147483647 w 112"/>
              <a:gd name="T73" fmla="*/ 2147483647 h 155"/>
              <a:gd name="T74" fmla="*/ 2147483647 w 112"/>
              <a:gd name="T75" fmla="*/ 2147483647 h 155"/>
              <a:gd name="T76" fmla="*/ 2147483647 w 112"/>
              <a:gd name="T77" fmla="*/ 2147483647 h 155"/>
              <a:gd name="T78" fmla="*/ 2147483647 w 112"/>
              <a:gd name="T79" fmla="*/ 2147483647 h 155"/>
              <a:gd name="T80" fmla="*/ 2147483647 w 112"/>
              <a:gd name="T81" fmla="*/ 2147483647 h 155"/>
              <a:gd name="T82" fmla="*/ 2147483647 w 112"/>
              <a:gd name="T83" fmla="*/ 2147483647 h 155"/>
              <a:gd name="T84" fmla="*/ 2147483647 w 112"/>
              <a:gd name="T85" fmla="*/ 2147483647 h 155"/>
              <a:gd name="T86" fmla="*/ 2147483647 w 112"/>
              <a:gd name="T87" fmla="*/ 2147483647 h 155"/>
              <a:gd name="T88" fmla="*/ 2147483647 w 112"/>
              <a:gd name="T89" fmla="*/ 2147483647 h 155"/>
              <a:gd name="T90" fmla="*/ 2147483647 w 112"/>
              <a:gd name="T91" fmla="*/ 2147483647 h 155"/>
              <a:gd name="T92" fmla="*/ 2147483647 w 112"/>
              <a:gd name="T93" fmla="*/ 2147483647 h 155"/>
              <a:gd name="T94" fmla="*/ 2147483647 w 112"/>
              <a:gd name="T95" fmla="*/ 2147483647 h 155"/>
              <a:gd name="T96" fmla="*/ 2147483647 w 112"/>
              <a:gd name="T97" fmla="*/ 2147483647 h 155"/>
              <a:gd name="T98" fmla="*/ 2147483647 w 112"/>
              <a:gd name="T99" fmla="*/ 2147483647 h 155"/>
              <a:gd name="T100" fmla="*/ 2147483647 w 112"/>
              <a:gd name="T101" fmla="*/ 2147483647 h 155"/>
              <a:gd name="T102" fmla="*/ 2147483647 w 112"/>
              <a:gd name="T103" fmla="*/ 2147483647 h 155"/>
              <a:gd name="T104" fmla="*/ 2147483647 w 112"/>
              <a:gd name="T105" fmla="*/ 2147483647 h 155"/>
              <a:gd name="T106" fmla="*/ 2147483647 w 112"/>
              <a:gd name="T107" fmla="*/ 2147483647 h 155"/>
              <a:gd name="T108" fmla="*/ 2147483647 w 112"/>
              <a:gd name="T109" fmla="*/ 2147483647 h 155"/>
              <a:gd name="T110" fmla="*/ 2147483647 w 112"/>
              <a:gd name="T111" fmla="*/ 2147483647 h 155"/>
              <a:gd name="T112" fmla="*/ 2147483647 w 112"/>
              <a:gd name="T113" fmla="*/ 2147483647 h 155"/>
              <a:gd name="T114" fmla="*/ 2147483647 w 112"/>
              <a:gd name="T115" fmla="*/ 2147483647 h 155"/>
              <a:gd name="T116" fmla="*/ 2147483647 w 112"/>
              <a:gd name="T117" fmla="*/ 0 h 155"/>
              <a:gd name="T118" fmla="*/ 2147483647 w 112"/>
              <a:gd name="T119" fmla="*/ 0 h 155"/>
              <a:gd name="T120" fmla="*/ 2147483647 w 112"/>
              <a:gd name="T121" fmla="*/ 2147483647 h 155"/>
              <a:gd name="T122" fmla="*/ 2147483647 w 112"/>
              <a:gd name="T123" fmla="*/ 2147483647 h 15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12"/>
              <a:gd name="T187" fmla="*/ 0 h 155"/>
              <a:gd name="T188" fmla="*/ 112 w 112"/>
              <a:gd name="T189" fmla="*/ 155 h 155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12" h="155">
                <a:moveTo>
                  <a:pt x="12" y="15"/>
                </a:moveTo>
                <a:lnTo>
                  <a:pt x="12" y="20"/>
                </a:lnTo>
                <a:lnTo>
                  <a:pt x="9" y="23"/>
                </a:lnTo>
                <a:lnTo>
                  <a:pt x="9" y="29"/>
                </a:lnTo>
                <a:lnTo>
                  <a:pt x="6" y="35"/>
                </a:lnTo>
                <a:lnTo>
                  <a:pt x="3" y="35"/>
                </a:lnTo>
                <a:lnTo>
                  <a:pt x="3" y="41"/>
                </a:lnTo>
                <a:lnTo>
                  <a:pt x="9" y="38"/>
                </a:lnTo>
                <a:lnTo>
                  <a:pt x="18" y="38"/>
                </a:lnTo>
                <a:lnTo>
                  <a:pt x="15" y="41"/>
                </a:lnTo>
                <a:lnTo>
                  <a:pt x="12" y="43"/>
                </a:lnTo>
                <a:lnTo>
                  <a:pt x="6" y="43"/>
                </a:lnTo>
                <a:lnTo>
                  <a:pt x="0" y="49"/>
                </a:lnTo>
                <a:lnTo>
                  <a:pt x="0" y="52"/>
                </a:lnTo>
                <a:lnTo>
                  <a:pt x="6" y="49"/>
                </a:lnTo>
                <a:lnTo>
                  <a:pt x="9" y="52"/>
                </a:lnTo>
                <a:lnTo>
                  <a:pt x="9" y="55"/>
                </a:lnTo>
                <a:lnTo>
                  <a:pt x="6" y="61"/>
                </a:lnTo>
                <a:lnTo>
                  <a:pt x="15" y="55"/>
                </a:lnTo>
                <a:lnTo>
                  <a:pt x="15" y="58"/>
                </a:lnTo>
                <a:lnTo>
                  <a:pt x="18" y="55"/>
                </a:lnTo>
                <a:lnTo>
                  <a:pt x="23" y="49"/>
                </a:lnTo>
                <a:lnTo>
                  <a:pt x="21" y="58"/>
                </a:lnTo>
                <a:lnTo>
                  <a:pt x="21" y="61"/>
                </a:lnTo>
                <a:lnTo>
                  <a:pt x="18" y="63"/>
                </a:lnTo>
                <a:lnTo>
                  <a:pt x="15" y="66"/>
                </a:lnTo>
                <a:lnTo>
                  <a:pt x="18" y="69"/>
                </a:lnTo>
                <a:lnTo>
                  <a:pt x="21" y="66"/>
                </a:lnTo>
                <a:lnTo>
                  <a:pt x="23" y="69"/>
                </a:lnTo>
                <a:lnTo>
                  <a:pt x="26" y="66"/>
                </a:lnTo>
                <a:lnTo>
                  <a:pt x="32" y="66"/>
                </a:lnTo>
                <a:lnTo>
                  <a:pt x="35" y="66"/>
                </a:lnTo>
                <a:lnTo>
                  <a:pt x="41" y="63"/>
                </a:lnTo>
                <a:lnTo>
                  <a:pt x="38" y="69"/>
                </a:lnTo>
                <a:lnTo>
                  <a:pt x="38" y="78"/>
                </a:lnTo>
                <a:lnTo>
                  <a:pt x="43" y="78"/>
                </a:lnTo>
                <a:lnTo>
                  <a:pt x="43" y="84"/>
                </a:lnTo>
                <a:lnTo>
                  <a:pt x="43" y="92"/>
                </a:lnTo>
                <a:lnTo>
                  <a:pt x="41" y="95"/>
                </a:lnTo>
                <a:lnTo>
                  <a:pt x="35" y="95"/>
                </a:lnTo>
                <a:lnTo>
                  <a:pt x="23" y="95"/>
                </a:lnTo>
                <a:lnTo>
                  <a:pt x="18" y="95"/>
                </a:lnTo>
                <a:lnTo>
                  <a:pt x="12" y="98"/>
                </a:lnTo>
                <a:lnTo>
                  <a:pt x="21" y="98"/>
                </a:lnTo>
                <a:lnTo>
                  <a:pt x="26" y="98"/>
                </a:lnTo>
                <a:lnTo>
                  <a:pt x="29" y="101"/>
                </a:lnTo>
                <a:lnTo>
                  <a:pt x="23" y="101"/>
                </a:lnTo>
                <a:lnTo>
                  <a:pt x="21" y="104"/>
                </a:lnTo>
                <a:lnTo>
                  <a:pt x="26" y="104"/>
                </a:lnTo>
                <a:lnTo>
                  <a:pt x="26" y="109"/>
                </a:lnTo>
                <a:lnTo>
                  <a:pt x="26" y="115"/>
                </a:lnTo>
                <a:lnTo>
                  <a:pt x="21" y="118"/>
                </a:lnTo>
                <a:lnTo>
                  <a:pt x="12" y="118"/>
                </a:lnTo>
                <a:lnTo>
                  <a:pt x="12" y="127"/>
                </a:lnTo>
                <a:lnTo>
                  <a:pt x="21" y="127"/>
                </a:lnTo>
                <a:lnTo>
                  <a:pt x="26" y="127"/>
                </a:lnTo>
                <a:lnTo>
                  <a:pt x="32" y="130"/>
                </a:lnTo>
                <a:lnTo>
                  <a:pt x="35" y="130"/>
                </a:lnTo>
                <a:lnTo>
                  <a:pt x="41" y="132"/>
                </a:lnTo>
                <a:lnTo>
                  <a:pt x="43" y="130"/>
                </a:lnTo>
                <a:lnTo>
                  <a:pt x="46" y="127"/>
                </a:lnTo>
                <a:lnTo>
                  <a:pt x="41" y="132"/>
                </a:lnTo>
                <a:lnTo>
                  <a:pt x="35" y="135"/>
                </a:lnTo>
                <a:lnTo>
                  <a:pt x="29" y="132"/>
                </a:lnTo>
                <a:lnTo>
                  <a:pt x="21" y="141"/>
                </a:lnTo>
                <a:lnTo>
                  <a:pt x="15" y="147"/>
                </a:lnTo>
                <a:lnTo>
                  <a:pt x="6" y="152"/>
                </a:lnTo>
                <a:lnTo>
                  <a:pt x="0" y="155"/>
                </a:lnTo>
                <a:lnTo>
                  <a:pt x="6" y="155"/>
                </a:lnTo>
                <a:lnTo>
                  <a:pt x="15" y="150"/>
                </a:lnTo>
                <a:lnTo>
                  <a:pt x="21" y="150"/>
                </a:lnTo>
                <a:lnTo>
                  <a:pt x="26" y="152"/>
                </a:lnTo>
                <a:lnTo>
                  <a:pt x="32" y="147"/>
                </a:lnTo>
                <a:lnTo>
                  <a:pt x="43" y="144"/>
                </a:lnTo>
                <a:lnTo>
                  <a:pt x="52" y="144"/>
                </a:lnTo>
                <a:lnTo>
                  <a:pt x="58" y="144"/>
                </a:lnTo>
                <a:lnTo>
                  <a:pt x="61" y="144"/>
                </a:lnTo>
                <a:lnTo>
                  <a:pt x="66" y="147"/>
                </a:lnTo>
                <a:lnTo>
                  <a:pt x="72" y="144"/>
                </a:lnTo>
                <a:lnTo>
                  <a:pt x="87" y="144"/>
                </a:lnTo>
                <a:lnTo>
                  <a:pt x="89" y="144"/>
                </a:lnTo>
                <a:lnTo>
                  <a:pt x="95" y="141"/>
                </a:lnTo>
                <a:lnTo>
                  <a:pt x="107" y="135"/>
                </a:lnTo>
                <a:lnTo>
                  <a:pt x="110" y="132"/>
                </a:lnTo>
                <a:lnTo>
                  <a:pt x="110" y="130"/>
                </a:lnTo>
                <a:lnTo>
                  <a:pt x="107" y="130"/>
                </a:lnTo>
                <a:lnTo>
                  <a:pt x="95" y="130"/>
                </a:lnTo>
                <a:lnTo>
                  <a:pt x="104" y="124"/>
                </a:lnTo>
                <a:lnTo>
                  <a:pt x="112" y="115"/>
                </a:lnTo>
                <a:lnTo>
                  <a:pt x="112" y="109"/>
                </a:lnTo>
                <a:lnTo>
                  <a:pt x="110" y="101"/>
                </a:lnTo>
                <a:lnTo>
                  <a:pt x="107" y="101"/>
                </a:lnTo>
                <a:lnTo>
                  <a:pt x="98" y="101"/>
                </a:lnTo>
                <a:lnTo>
                  <a:pt x="92" y="104"/>
                </a:lnTo>
                <a:lnTo>
                  <a:pt x="89" y="104"/>
                </a:lnTo>
                <a:lnTo>
                  <a:pt x="87" y="104"/>
                </a:lnTo>
                <a:lnTo>
                  <a:pt x="89" y="101"/>
                </a:lnTo>
                <a:lnTo>
                  <a:pt x="92" y="101"/>
                </a:lnTo>
                <a:lnTo>
                  <a:pt x="92" y="98"/>
                </a:lnTo>
                <a:lnTo>
                  <a:pt x="92" y="92"/>
                </a:lnTo>
                <a:lnTo>
                  <a:pt x="89" y="89"/>
                </a:lnTo>
                <a:lnTo>
                  <a:pt x="87" y="86"/>
                </a:lnTo>
                <a:lnTo>
                  <a:pt x="87" y="81"/>
                </a:lnTo>
                <a:lnTo>
                  <a:pt x="84" y="78"/>
                </a:lnTo>
                <a:lnTo>
                  <a:pt x="84" y="75"/>
                </a:lnTo>
                <a:lnTo>
                  <a:pt x="81" y="72"/>
                </a:lnTo>
                <a:lnTo>
                  <a:pt x="72" y="72"/>
                </a:lnTo>
                <a:lnTo>
                  <a:pt x="69" y="66"/>
                </a:lnTo>
                <a:lnTo>
                  <a:pt x="69" y="58"/>
                </a:lnTo>
                <a:lnTo>
                  <a:pt x="66" y="52"/>
                </a:lnTo>
                <a:lnTo>
                  <a:pt x="55" y="43"/>
                </a:lnTo>
                <a:lnTo>
                  <a:pt x="46" y="46"/>
                </a:lnTo>
                <a:lnTo>
                  <a:pt x="41" y="43"/>
                </a:lnTo>
                <a:lnTo>
                  <a:pt x="43" y="43"/>
                </a:lnTo>
                <a:lnTo>
                  <a:pt x="46" y="41"/>
                </a:lnTo>
                <a:lnTo>
                  <a:pt x="52" y="41"/>
                </a:lnTo>
                <a:lnTo>
                  <a:pt x="46" y="38"/>
                </a:lnTo>
                <a:lnTo>
                  <a:pt x="55" y="35"/>
                </a:lnTo>
                <a:lnTo>
                  <a:pt x="58" y="29"/>
                </a:lnTo>
                <a:lnTo>
                  <a:pt x="61" y="29"/>
                </a:lnTo>
                <a:lnTo>
                  <a:pt x="64" y="26"/>
                </a:lnTo>
                <a:lnTo>
                  <a:pt x="66" y="23"/>
                </a:lnTo>
                <a:lnTo>
                  <a:pt x="66" y="20"/>
                </a:lnTo>
                <a:lnTo>
                  <a:pt x="69" y="18"/>
                </a:lnTo>
                <a:lnTo>
                  <a:pt x="66" y="15"/>
                </a:lnTo>
                <a:lnTo>
                  <a:pt x="61" y="15"/>
                </a:lnTo>
                <a:lnTo>
                  <a:pt x="52" y="15"/>
                </a:lnTo>
                <a:lnTo>
                  <a:pt x="46" y="15"/>
                </a:lnTo>
                <a:lnTo>
                  <a:pt x="41" y="18"/>
                </a:lnTo>
                <a:lnTo>
                  <a:pt x="38" y="18"/>
                </a:lnTo>
                <a:lnTo>
                  <a:pt x="32" y="20"/>
                </a:lnTo>
                <a:lnTo>
                  <a:pt x="32" y="12"/>
                </a:lnTo>
                <a:lnTo>
                  <a:pt x="41" y="6"/>
                </a:lnTo>
                <a:lnTo>
                  <a:pt x="49" y="3"/>
                </a:lnTo>
                <a:lnTo>
                  <a:pt x="49" y="0"/>
                </a:lnTo>
                <a:lnTo>
                  <a:pt x="41" y="0"/>
                </a:lnTo>
                <a:lnTo>
                  <a:pt x="26" y="0"/>
                </a:lnTo>
                <a:lnTo>
                  <a:pt x="23" y="3"/>
                </a:lnTo>
                <a:lnTo>
                  <a:pt x="21" y="9"/>
                </a:lnTo>
                <a:lnTo>
                  <a:pt x="21" y="12"/>
                </a:lnTo>
                <a:lnTo>
                  <a:pt x="15" y="12"/>
                </a:lnTo>
                <a:lnTo>
                  <a:pt x="12" y="15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52" name="Freeform 146"/>
          <p:cNvSpPr>
            <a:spLocks noChangeAspect="1"/>
          </p:cNvSpPr>
          <p:nvPr/>
        </p:nvSpPr>
        <p:spPr bwMode="gray">
          <a:xfrm>
            <a:off x="4168751" y="3247588"/>
            <a:ext cx="1456262" cy="934525"/>
          </a:xfrm>
          <a:custGeom>
            <a:avLst/>
            <a:gdLst>
              <a:gd name="T0" fmla="*/ 2147483647 w 192"/>
              <a:gd name="T1" fmla="*/ 2147483647 h 164"/>
              <a:gd name="T2" fmla="*/ 2147483647 w 192"/>
              <a:gd name="T3" fmla="*/ 2147483647 h 164"/>
              <a:gd name="T4" fmla="*/ 2147483647 w 192"/>
              <a:gd name="T5" fmla="*/ 2147483647 h 164"/>
              <a:gd name="T6" fmla="*/ 2147483647 w 192"/>
              <a:gd name="T7" fmla="*/ 2147483647 h 164"/>
              <a:gd name="T8" fmla="*/ 2147483647 w 192"/>
              <a:gd name="T9" fmla="*/ 2147483647 h 164"/>
              <a:gd name="T10" fmla="*/ 2147483647 w 192"/>
              <a:gd name="T11" fmla="*/ 2147483647 h 164"/>
              <a:gd name="T12" fmla="*/ 2147483647 w 192"/>
              <a:gd name="T13" fmla="*/ 2147483647 h 164"/>
              <a:gd name="T14" fmla="*/ 2147483647 w 192"/>
              <a:gd name="T15" fmla="*/ 2147483647 h 164"/>
              <a:gd name="T16" fmla="*/ 2147483647 w 192"/>
              <a:gd name="T17" fmla="*/ 2147483647 h 164"/>
              <a:gd name="T18" fmla="*/ 2147483647 w 192"/>
              <a:gd name="T19" fmla="*/ 2147483647 h 164"/>
              <a:gd name="T20" fmla="*/ 2147483647 w 192"/>
              <a:gd name="T21" fmla="*/ 2147483647 h 164"/>
              <a:gd name="T22" fmla="*/ 0 w 192"/>
              <a:gd name="T23" fmla="*/ 2147483647 h 164"/>
              <a:gd name="T24" fmla="*/ 2147483647 w 192"/>
              <a:gd name="T25" fmla="*/ 2147483647 h 164"/>
              <a:gd name="T26" fmla="*/ 2147483647 w 192"/>
              <a:gd name="T27" fmla="*/ 2147483647 h 164"/>
              <a:gd name="T28" fmla="*/ 2147483647 w 192"/>
              <a:gd name="T29" fmla="*/ 2147483647 h 164"/>
              <a:gd name="T30" fmla="*/ 2147483647 w 192"/>
              <a:gd name="T31" fmla="*/ 2147483647 h 164"/>
              <a:gd name="T32" fmla="*/ 2147483647 w 192"/>
              <a:gd name="T33" fmla="*/ 2147483647 h 164"/>
              <a:gd name="T34" fmla="*/ 2147483647 w 192"/>
              <a:gd name="T35" fmla="*/ 2147483647 h 164"/>
              <a:gd name="T36" fmla="*/ 2147483647 w 192"/>
              <a:gd name="T37" fmla="*/ 2147483647 h 164"/>
              <a:gd name="T38" fmla="*/ 2147483647 w 192"/>
              <a:gd name="T39" fmla="*/ 2147483647 h 164"/>
              <a:gd name="T40" fmla="*/ 2147483647 w 192"/>
              <a:gd name="T41" fmla="*/ 2147483647 h 164"/>
              <a:gd name="T42" fmla="*/ 2147483647 w 192"/>
              <a:gd name="T43" fmla="*/ 2147483647 h 164"/>
              <a:gd name="T44" fmla="*/ 2147483647 w 192"/>
              <a:gd name="T45" fmla="*/ 2147483647 h 164"/>
              <a:gd name="T46" fmla="*/ 2147483647 w 192"/>
              <a:gd name="T47" fmla="*/ 2147483647 h 164"/>
              <a:gd name="T48" fmla="*/ 2147483647 w 192"/>
              <a:gd name="T49" fmla="*/ 2147483647 h 164"/>
              <a:gd name="T50" fmla="*/ 2147483647 w 192"/>
              <a:gd name="T51" fmla="*/ 2147483647 h 164"/>
              <a:gd name="T52" fmla="*/ 2147483647 w 192"/>
              <a:gd name="T53" fmla="*/ 2147483647 h 164"/>
              <a:gd name="T54" fmla="*/ 2147483647 w 192"/>
              <a:gd name="T55" fmla="*/ 2147483647 h 164"/>
              <a:gd name="T56" fmla="*/ 2147483647 w 192"/>
              <a:gd name="T57" fmla="*/ 2147483647 h 164"/>
              <a:gd name="T58" fmla="*/ 2147483647 w 192"/>
              <a:gd name="T59" fmla="*/ 2147483647 h 164"/>
              <a:gd name="T60" fmla="*/ 2147483647 w 192"/>
              <a:gd name="T61" fmla="*/ 2147483647 h 164"/>
              <a:gd name="T62" fmla="*/ 2147483647 w 192"/>
              <a:gd name="T63" fmla="*/ 2147483647 h 164"/>
              <a:gd name="T64" fmla="*/ 2147483647 w 192"/>
              <a:gd name="T65" fmla="*/ 2147483647 h 164"/>
              <a:gd name="T66" fmla="*/ 2147483647 w 192"/>
              <a:gd name="T67" fmla="*/ 2147483647 h 164"/>
              <a:gd name="T68" fmla="*/ 2147483647 w 192"/>
              <a:gd name="T69" fmla="*/ 2147483647 h 164"/>
              <a:gd name="T70" fmla="*/ 2147483647 w 192"/>
              <a:gd name="T71" fmla="*/ 2147483647 h 164"/>
              <a:gd name="T72" fmla="*/ 2147483647 w 192"/>
              <a:gd name="T73" fmla="*/ 2147483647 h 164"/>
              <a:gd name="T74" fmla="*/ 2147483647 w 192"/>
              <a:gd name="T75" fmla="*/ 2147483647 h 164"/>
              <a:gd name="T76" fmla="*/ 2147483647 w 192"/>
              <a:gd name="T77" fmla="*/ 2147483647 h 164"/>
              <a:gd name="T78" fmla="*/ 2147483647 w 192"/>
              <a:gd name="T79" fmla="*/ 2147483647 h 164"/>
              <a:gd name="T80" fmla="*/ 2147483647 w 192"/>
              <a:gd name="T81" fmla="*/ 2147483647 h 164"/>
              <a:gd name="T82" fmla="*/ 2147483647 w 192"/>
              <a:gd name="T83" fmla="*/ 2147483647 h 164"/>
              <a:gd name="T84" fmla="*/ 2147483647 w 192"/>
              <a:gd name="T85" fmla="*/ 2147483647 h 164"/>
              <a:gd name="T86" fmla="*/ 2147483647 w 192"/>
              <a:gd name="T87" fmla="*/ 2147483647 h 164"/>
              <a:gd name="T88" fmla="*/ 2147483647 w 192"/>
              <a:gd name="T89" fmla="*/ 2147483647 h 164"/>
              <a:gd name="T90" fmla="*/ 2147483647 w 192"/>
              <a:gd name="T91" fmla="*/ 2147483647 h 164"/>
              <a:gd name="T92" fmla="*/ 2147483647 w 192"/>
              <a:gd name="T93" fmla="*/ 2147483647 h 164"/>
              <a:gd name="T94" fmla="*/ 2147483647 w 192"/>
              <a:gd name="T95" fmla="*/ 2147483647 h 164"/>
              <a:gd name="T96" fmla="*/ 2147483647 w 192"/>
              <a:gd name="T97" fmla="*/ 2147483647 h 164"/>
              <a:gd name="T98" fmla="*/ 2147483647 w 192"/>
              <a:gd name="T99" fmla="*/ 2147483647 h 164"/>
              <a:gd name="T100" fmla="*/ 2147483647 w 192"/>
              <a:gd name="T101" fmla="*/ 2147483647 h 164"/>
              <a:gd name="T102" fmla="*/ 2147483647 w 192"/>
              <a:gd name="T103" fmla="*/ 2147483647 h 164"/>
              <a:gd name="T104" fmla="*/ 2147483647 w 192"/>
              <a:gd name="T105" fmla="*/ 2147483647 h 164"/>
              <a:gd name="T106" fmla="*/ 2147483647 w 192"/>
              <a:gd name="T107" fmla="*/ 0 h 164"/>
              <a:gd name="T108" fmla="*/ 2147483647 w 192"/>
              <a:gd name="T109" fmla="*/ 0 h 164"/>
              <a:gd name="T110" fmla="*/ 2147483647 w 192"/>
              <a:gd name="T111" fmla="*/ 2147483647 h 164"/>
              <a:gd name="T112" fmla="*/ 2147483647 w 192"/>
              <a:gd name="T113" fmla="*/ 2147483647 h 164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92"/>
              <a:gd name="T172" fmla="*/ 0 h 164"/>
              <a:gd name="T173" fmla="*/ 192 w 192"/>
              <a:gd name="T174" fmla="*/ 164 h 164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92" h="164">
                <a:moveTo>
                  <a:pt x="77" y="23"/>
                </a:moveTo>
                <a:lnTo>
                  <a:pt x="77" y="23"/>
                </a:lnTo>
                <a:lnTo>
                  <a:pt x="75" y="26"/>
                </a:lnTo>
                <a:lnTo>
                  <a:pt x="72" y="29"/>
                </a:lnTo>
                <a:lnTo>
                  <a:pt x="69" y="32"/>
                </a:lnTo>
                <a:lnTo>
                  <a:pt x="63" y="32"/>
                </a:lnTo>
                <a:lnTo>
                  <a:pt x="54" y="32"/>
                </a:lnTo>
                <a:lnTo>
                  <a:pt x="54" y="29"/>
                </a:lnTo>
                <a:lnTo>
                  <a:pt x="52" y="23"/>
                </a:lnTo>
                <a:lnTo>
                  <a:pt x="49" y="23"/>
                </a:lnTo>
                <a:lnTo>
                  <a:pt x="43" y="23"/>
                </a:lnTo>
                <a:lnTo>
                  <a:pt x="46" y="32"/>
                </a:lnTo>
                <a:lnTo>
                  <a:pt x="46" y="40"/>
                </a:lnTo>
                <a:lnTo>
                  <a:pt x="46" y="43"/>
                </a:lnTo>
                <a:lnTo>
                  <a:pt x="40" y="43"/>
                </a:lnTo>
                <a:lnTo>
                  <a:pt x="34" y="46"/>
                </a:lnTo>
                <a:lnTo>
                  <a:pt x="29" y="46"/>
                </a:lnTo>
                <a:lnTo>
                  <a:pt x="26" y="43"/>
                </a:lnTo>
                <a:lnTo>
                  <a:pt x="26" y="40"/>
                </a:lnTo>
                <a:lnTo>
                  <a:pt x="20" y="43"/>
                </a:lnTo>
                <a:lnTo>
                  <a:pt x="14" y="43"/>
                </a:lnTo>
                <a:lnTo>
                  <a:pt x="6" y="43"/>
                </a:lnTo>
                <a:lnTo>
                  <a:pt x="0" y="46"/>
                </a:lnTo>
                <a:lnTo>
                  <a:pt x="0" y="49"/>
                </a:lnTo>
                <a:lnTo>
                  <a:pt x="0" y="52"/>
                </a:lnTo>
                <a:lnTo>
                  <a:pt x="3" y="49"/>
                </a:lnTo>
                <a:lnTo>
                  <a:pt x="3" y="52"/>
                </a:lnTo>
                <a:lnTo>
                  <a:pt x="3" y="55"/>
                </a:lnTo>
                <a:lnTo>
                  <a:pt x="3" y="58"/>
                </a:lnTo>
                <a:lnTo>
                  <a:pt x="3" y="60"/>
                </a:lnTo>
                <a:lnTo>
                  <a:pt x="9" y="60"/>
                </a:lnTo>
                <a:lnTo>
                  <a:pt x="14" y="60"/>
                </a:lnTo>
                <a:lnTo>
                  <a:pt x="20" y="63"/>
                </a:lnTo>
                <a:lnTo>
                  <a:pt x="23" y="66"/>
                </a:lnTo>
                <a:lnTo>
                  <a:pt x="26" y="66"/>
                </a:lnTo>
                <a:lnTo>
                  <a:pt x="31" y="66"/>
                </a:lnTo>
                <a:lnTo>
                  <a:pt x="31" y="69"/>
                </a:lnTo>
                <a:lnTo>
                  <a:pt x="37" y="69"/>
                </a:lnTo>
                <a:lnTo>
                  <a:pt x="34" y="72"/>
                </a:lnTo>
                <a:lnTo>
                  <a:pt x="40" y="75"/>
                </a:lnTo>
                <a:lnTo>
                  <a:pt x="34" y="78"/>
                </a:lnTo>
                <a:lnTo>
                  <a:pt x="40" y="83"/>
                </a:lnTo>
                <a:lnTo>
                  <a:pt x="49" y="89"/>
                </a:lnTo>
                <a:lnTo>
                  <a:pt x="49" y="92"/>
                </a:lnTo>
                <a:lnTo>
                  <a:pt x="49" y="98"/>
                </a:lnTo>
                <a:lnTo>
                  <a:pt x="49" y="103"/>
                </a:lnTo>
                <a:lnTo>
                  <a:pt x="52" y="103"/>
                </a:lnTo>
                <a:lnTo>
                  <a:pt x="49" y="106"/>
                </a:lnTo>
                <a:lnTo>
                  <a:pt x="49" y="118"/>
                </a:lnTo>
                <a:lnTo>
                  <a:pt x="46" y="129"/>
                </a:lnTo>
                <a:lnTo>
                  <a:pt x="43" y="138"/>
                </a:lnTo>
                <a:lnTo>
                  <a:pt x="40" y="144"/>
                </a:lnTo>
                <a:lnTo>
                  <a:pt x="43" y="147"/>
                </a:lnTo>
                <a:lnTo>
                  <a:pt x="49" y="152"/>
                </a:lnTo>
                <a:lnTo>
                  <a:pt x="57" y="152"/>
                </a:lnTo>
                <a:lnTo>
                  <a:pt x="63" y="152"/>
                </a:lnTo>
                <a:lnTo>
                  <a:pt x="66" y="155"/>
                </a:lnTo>
                <a:lnTo>
                  <a:pt x="75" y="155"/>
                </a:lnTo>
                <a:lnTo>
                  <a:pt x="77" y="147"/>
                </a:lnTo>
                <a:lnTo>
                  <a:pt x="86" y="155"/>
                </a:lnTo>
                <a:lnTo>
                  <a:pt x="92" y="155"/>
                </a:lnTo>
                <a:lnTo>
                  <a:pt x="98" y="161"/>
                </a:lnTo>
                <a:lnTo>
                  <a:pt x="103" y="158"/>
                </a:lnTo>
                <a:lnTo>
                  <a:pt x="103" y="161"/>
                </a:lnTo>
                <a:lnTo>
                  <a:pt x="106" y="164"/>
                </a:lnTo>
                <a:lnTo>
                  <a:pt x="112" y="161"/>
                </a:lnTo>
                <a:lnTo>
                  <a:pt x="115" y="164"/>
                </a:lnTo>
                <a:lnTo>
                  <a:pt x="115" y="155"/>
                </a:lnTo>
                <a:lnTo>
                  <a:pt x="118" y="149"/>
                </a:lnTo>
                <a:lnTo>
                  <a:pt x="129" y="144"/>
                </a:lnTo>
                <a:lnTo>
                  <a:pt x="143" y="147"/>
                </a:lnTo>
                <a:lnTo>
                  <a:pt x="164" y="149"/>
                </a:lnTo>
                <a:lnTo>
                  <a:pt x="172" y="147"/>
                </a:lnTo>
                <a:lnTo>
                  <a:pt x="175" y="147"/>
                </a:lnTo>
                <a:lnTo>
                  <a:pt x="181" y="147"/>
                </a:lnTo>
                <a:lnTo>
                  <a:pt x="184" y="141"/>
                </a:lnTo>
                <a:lnTo>
                  <a:pt x="181" y="135"/>
                </a:lnTo>
                <a:lnTo>
                  <a:pt x="184" y="135"/>
                </a:lnTo>
                <a:lnTo>
                  <a:pt x="184" y="132"/>
                </a:lnTo>
                <a:lnTo>
                  <a:pt x="175" y="129"/>
                </a:lnTo>
                <a:lnTo>
                  <a:pt x="169" y="129"/>
                </a:lnTo>
                <a:lnTo>
                  <a:pt x="172" y="118"/>
                </a:lnTo>
                <a:lnTo>
                  <a:pt x="169" y="109"/>
                </a:lnTo>
                <a:lnTo>
                  <a:pt x="172" y="106"/>
                </a:lnTo>
                <a:lnTo>
                  <a:pt x="175" y="106"/>
                </a:lnTo>
                <a:lnTo>
                  <a:pt x="169" y="101"/>
                </a:lnTo>
                <a:lnTo>
                  <a:pt x="175" y="95"/>
                </a:lnTo>
                <a:lnTo>
                  <a:pt x="172" y="92"/>
                </a:lnTo>
                <a:lnTo>
                  <a:pt x="169" y="89"/>
                </a:lnTo>
                <a:lnTo>
                  <a:pt x="166" y="95"/>
                </a:lnTo>
                <a:lnTo>
                  <a:pt x="155" y="92"/>
                </a:lnTo>
                <a:lnTo>
                  <a:pt x="164" y="81"/>
                </a:lnTo>
                <a:lnTo>
                  <a:pt x="172" y="69"/>
                </a:lnTo>
                <a:lnTo>
                  <a:pt x="175" y="63"/>
                </a:lnTo>
                <a:lnTo>
                  <a:pt x="181" y="66"/>
                </a:lnTo>
                <a:lnTo>
                  <a:pt x="184" y="60"/>
                </a:lnTo>
                <a:lnTo>
                  <a:pt x="184" y="63"/>
                </a:lnTo>
                <a:lnTo>
                  <a:pt x="186" y="46"/>
                </a:lnTo>
                <a:lnTo>
                  <a:pt x="192" y="37"/>
                </a:lnTo>
                <a:lnTo>
                  <a:pt x="189" y="37"/>
                </a:lnTo>
                <a:lnTo>
                  <a:pt x="184" y="35"/>
                </a:lnTo>
                <a:lnTo>
                  <a:pt x="181" y="37"/>
                </a:lnTo>
                <a:lnTo>
                  <a:pt x="178" y="35"/>
                </a:lnTo>
                <a:lnTo>
                  <a:pt x="172" y="35"/>
                </a:lnTo>
                <a:lnTo>
                  <a:pt x="166" y="32"/>
                </a:lnTo>
                <a:lnTo>
                  <a:pt x="158" y="32"/>
                </a:lnTo>
                <a:lnTo>
                  <a:pt x="152" y="29"/>
                </a:lnTo>
                <a:lnTo>
                  <a:pt x="143" y="23"/>
                </a:lnTo>
                <a:lnTo>
                  <a:pt x="143" y="17"/>
                </a:lnTo>
                <a:lnTo>
                  <a:pt x="141" y="23"/>
                </a:lnTo>
                <a:lnTo>
                  <a:pt x="138" y="23"/>
                </a:lnTo>
                <a:lnTo>
                  <a:pt x="135" y="20"/>
                </a:lnTo>
                <a:lnTo>
                  <a:pt x="132" y="14"/>
                </a:lnTo>
                <a:lnTo>
                  <a:pt x="126" y="14"/>
                </a:lnTo>
                <a:lnTo>
                  <a:pt x="126" y="12"/>
                </a:lnTo>
                <a:lnTo>
                  <a:pt x="123" y="9"/>
                </a:lnTo>
                <a:lnTo>
                  <a:pt x="115" y="12"/>
                </a:lnTo>
                <a:lnTo>
                  <a:pt x="103" y="3"/>
                </a:lnTo>
                <a:lnTo>
                  <a:pt x="106" y="3"/>
                </a:lnTo>
                <a:lnTo>
                  <a:pt x="109" y="3"/>
                </a:lnTo>
                <a:lnTo>
                  <a:pt x="109" y="0"/>
                </a:lnTo>
                <a:lnTo>
                  <a:pt x="103" y="0"/>
                </a:lnTo>
                <a:lnTo>
                  <a:pt x="100" y="3"/>
                </a:lnTo>
                <a:lnTo>
                  <a:pt x="98" y="9"/>
                </a:lnTo>
                <a:lnTo>
                  <a:pt x="95" y="14"/>
                </a:lnTo>
                <a:lnTo>
                  <a:pt x="89" y="17"/>
                </a:lnTo>
                <a:lnTo>
                  <a:pt x="77" y="2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53" name="Freeform 199"/>
          <p:cNvSpPr>
            <a:spLocks noChangeAspect="1"/>
          </p:cNvSpPr>
          <p:nvPr/>
        </p:nvSpPr>
        <p:spPr bwMode="gray">
          <a:xfrm>
            <a:off x="5625013" y="4311117"/>
            <a:ext cx="200036" cy="259507"/>
          </a:xfrm>
          <a:custGeom>
            <a:avLst/>
            <a:gdLst>
              <a:gd name="T0" fmla="*/ 2147483647 w 26"/>
              <a:gd name="T1" fmla="*/ 2147483647 h 46"/>
              <a:gd name="T2" fmla="*/ 2147483647 w 26"/>
              <a:gd name="T3" fmla="*/ 2147483647 h 46"/>
              <a:gd name="T4" fmla="*/ 2147483647 w 26"/>
              <a:gd name="T5" fmla="*/ 2147483647 h 46"/>
              <a:gd name="T6" fmla="*/ 2147483647 w 26"/>
              <a:gd name="T7" fmla="*/ 2147483647 h 46"/>
              <a:gd name="T8" fmla="*/ 2147483647 w 26"/>
              <a:gd name="T9" fmla="*/ 2147483647 h 46"/>
              <a:gd name="T10" fmla="*/ 2147483647 w 26"/>
              <a:gd name="T11" fmla="*/ 2147483647 h 46"/>
              <a:gd name="T12" fmla="*/ 2147483647 w 26"/>
              <a:gd name="T13" fmla="*/ 2147483647 h 46"/>
              <a:gd name="T14" fmla="*/ 2147483647 w 26"/>
              <a:gd name="T15" fmla="*/ 2147483647 h 46"/>
              <a:gd name="T16" fmla="*/ 2147483647 w 26"/>
              <a:gd name="T17" fmla="*/ 2147483647 h 46"/>
              <a:gd name="T18" fmla="*/ 2147483647 w 26"/>
              <a:gd name="T19" fmla="*/ 2147483647 h 46"/>
              <a:gd name="T20" fmla="*/ 2147483647 w 26"/>
              <a:gd name="T21" fmla="*/ 2147483647 h 46"/>
              <a:gd name="T22" fmla="*/ 2147483647 w 26"/>
              <a:gd name="T23" fmla="*/ 2147483647 h 46"/>
              <a:gd name="T24" fmla="*/ 2147483647 w 26"/>
              <a:gd name="T25" fmla="*/ 2147483647 h 46"/>
              <a:gd name="T26" fmla="*/ 2147483647 w 26"/>
              <a:gd name="T27" fmla="*/ 2147483647 h 46"/>
              <a:gd name="T28" fmla="*/ 2147483647 w 26"/>
              <a:gd name="T29" fmla="*/ 2147483647 h 46"/>
              <a:gd name="T30" fmla="*/ 2147483647 w 26"/>
              <a:gd name="T31" fmla="*/ 2147483647 h 46"/>
              <a:gd name="T32" fmla="*/ 2147483647 w 26"/>
              <a:gd name="T33" fmla="*/ 2147483647 h 46"/>
              <a:gd name="T34" fmla="*/ 2147483647 w 26"/>
              <a:gd name="T35" fmla="*/ 2147483647 h 46"/>
              <a:gd name="T36" fmla="*/ 2147483647 w 26"/>
              <a:gd name="T37" fmla="*/ 2147483647 h 46"/>
              <a:gd name="T38" fmla="*/ 2147483647 w 26"/>
              <a:gd name="T39" fmla="*/ 2147483647 h 46"/>
              <a:gd name="T40" fmla="*/ 2147483647 w 26"/>
              <a:gd name="T41" fmla="*/ 0 h 46"/>
              <a:gd name="T42" fmla="*/ 2147483647 w 26"/>
              <a:gd name="T43" fmla="*/ 0 h 46"/>
              <a:gd name="T44" fmla="*/ 2147483647 w 26"/>
              <a:gd name="T45" fmla="*/ 0 h 46"/>
              <a:gd name="T46" fmla="*/ 2147483647 w 26"/>
              <a:gd name="T47" fmla="*/ 0 h 46"/>
              <a:gd name="T48" fmla="*/ 2147483647 w 26"/>
              <a:gd name="T49" fmla="*/ 2147483647 h 46"/>
              <a:gd name="T50" fmla="*/ 2147483647 w 26"/>
              <a:gd name="T51" fmla="*/ 2147483647 h 46"/>
              <a:gd name="T52" fmla="*/ 2147483647 w 26"/>
              <a:gd name="T53" fmla="*/ 2147483647 h 46"/>
              <a:gd name="T54" fmla="*/ 2147483647 w 26"/>
              <a:gd name="T55" fmla="*/ 2147483647 h 46"/>
              <a:gd name="T56" fmla="*/ 0 w 26"/>
              <a:gd name="T57" fmla="*/ 2147483647 h 46"/>
              <a:gd name="T58" fmla="*/ 0 w 26"/>
              <a:gd name="T59" fmla="*/ 2147483647 h 46"/>
              <a:gd name="T60" fmla="*/ 0 w 26"/>
              <a:gd name="T61" fmla="*/ 2147483647 h 46"/>
              <a:gd name="T62" fmla="*/ 2147483647 w 26"/>
              <a:gd name="T63" fmla="*/ 2147483647 h 46"/>
              <a:gd name="T64" fmla="*/ 2147483647 w 26"/>
              <a:gd name="T65" fmla="*/ 2147483647 h 46"/>
              <a:gd name="T66" fmla="*/ 2147483647 w 26"/>
              <a:gd name="T67" fmla="*/ 2147483647 h 46"/>
              <a:gd name="T68" fmla="*/ 2147483647 w 26"/>
              <a:gd name="T69" fmla="*/ 2147483647 h 46"/>
              <a:gd name="T70" fmla="*/ 2147483647 w 26"/>
              <a:gd name="T71" fmla="*/ 2147483647 h 46"/>
              <a:gd name="T72" fmla="*/ 2147483647 w 26"/>
              <a:gd name="T73" fmla="*/ 2147483647 h 46"/>
              <a:gd name="T74" fmla="*/ 2147483647 w 26"/>
              <a:gd name="T75" fmla="*/ 2147483647 h 4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26"/>
              <a:gd name="T115" fmla="*/ 0 h 46"/>
              <a:gd name="T116" fmla="*/ 26 w 26"/>
              <a:gd name="T117" fmla="*/ 46 h 4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26" h="46">
                <a:moveTo>
                  <a:pt x="3" y="40"/>
                </a:moveTo>
                <a:lnTo>
                  <a:pt x="3" y="40"/>
                </a:lnTo>
                <a:lnTo>
                  <a:pt x="9" y="46"/>
                </a:lnTo>
                <a:lnTo>
                  <a:pt x="12" y="46"/>
                </a:lnTo>
                <a:lnTo>
                  <a:pt x="12" y="40"/>
                </a:lnTo>
                <a:lnTo>
                  <a:pt x="15" y="37"/>
                </a:lnTo>
                <a:lnTo>
                  <a:pt x="20" y="40"/>
                </a:lnTo>
                <a:lnTo>
                  <a:pt x="23" y="37"/>
                </a:lnTo>
                <a:lnTo>
                  <a:pt x="23" y="31"/>
                </a:lnTo>
                <a:lnTo>
                  <a:pt x="23" y="17"/>
                </a:lnTo>
                <a:lnTo>
                  <a:pt x="26" y="8"/>
                </a:lnTo>
                <a:lnTo>
                  <a:pt x="23" y="5"/>
                </a:lnTo>
                <a:lnTo>
                  <a:pt x="20" y="0"/>
                </a:lnTo>
                <a:lnTo>
                  <a:pt x="17" y="0"/>
                </a:lnTo>
                <a:lnTo>
                  <a:pt x="9" y="5"/>
                </a:lnTo>
                <a:lnTo>
                  <a:pt x="3" y="5"/>
                </a:lnTo>
                <a:lnTo>
                  <a:pt x="0" y="8"/>
                </a:lnTo>
                <a:lnTo>
                  <a:pt x="0" y="11"/>
                </a:lnTo>
                <a:lnTo>
                  <a:pt x="3" y="17"/>
                </a:lnTo>
                <a:lnTo>
                  <a:pt x="6" y="20"/>
                </a:lnTo>
                <a:lnTo>
                  <a:pt x="6" y="23"/>
                </a:lnTo>
                <a:lnTo>
                  <a:pt x="3" y="34"/>
                </a:lnTo>
                <a:lnTo>
                  <a:pt x="3" y="4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54" name="Freeform 206"/>
          <p:cNvSpPr>
            <a:spLocks noChangeAspect="1"/>
          </p:cNvSpPr>
          <p:nvPr/>
        </p:nvSpPr>
        <p:spPr bwMode="gray">
          <a:xfrm>
            <a:off x="5849054" y="4116112"/>
            <a:ext cx="44008" cy="33001"/>
          </a:xfrm>
          <a:custGeom>
            <a:avLst/>
            <a:gdLst>
              <a:gd name="T0" fmla="*/ 2147483647 w 6"/>
              <a:gd name="T1" fmla="*/ 0 h 6"/>
              <a:gd name="T2" fmla="*/ 0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6"/>
              <a:gd name="T14" fmla="*/ 6 w 6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6">
                <a:moveTo>
                  <a:pt x="6" y="0"/>
                </a:moveTo>
                <a:lnTo>
                  <a:pt x="0" y="6"/>
                </a:lnTo>
                <a:lnTo>
                  <a:pt x="6" y="6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55" name="Freeform 207"/>
          <p:cNvSpPr>
            <a:spLocks noChangeAspect="1"/>
          </p:cNvSpPr>
          <p:nvPr/>
        </p:nvSpPr>
        <p:spPr bwMode="gray">
          <a:xfrm>
            <a:off x="6545179" y="3885105"/>
            <a:ext cx="406074" cy="264007"/>
          </a:xfrm>
          <a:custGeom>
            <a:avLst/>
            <a:gdLst>
              <a:gd name="T0" fmla="*/ 2147483647 w 54"/>
              <a:gd name="T1" fmla="*/ 2147483647 h 46"/>
              <a:gd name="T2" fmla="*/ 2147483647 w 54"/>
              <a:gd name="T3" fmla="*/ 2147483647 h 46"/>
              <a:gd name="T4" fmla="*/ 2147483647 w 54"/>
              <a:gd name="T5" fmla="*/ 2147483647 h 46"/>
              <a:gd name="T6" fmla="*/ 2147483647 w 54"/>
              <a:gd name="T7" fmla="*/ 2147483647 h 46"/>
              <a:gd name="T8" fmla="*/ 2147483647 w 54"/>
              <a:gd name="T9" fmla="*/ 2147483647 h 46"/>
              <a:gd name="T10" fmla="*/ 2147483647 w 54"/>
              <a:gd name="T11" fmla="*/ 2147483647 h 46"/>
              <a:gd name="T12" fmla="*/ 2147483647 w 54"/>
              <a:gd name="T13" fmla="*/ 2147483647 h 46"/>
              <a:gd name="T14" fmla="*/ 2147483647 w 54"/>
              <a:gd name="T15" fmla="*/ 2147483647 h 46"/>
              <a:gd name="T16" fmla="*/ 2147483647 w 54"/>
              <a:gd name="T17" fmla="*/ 2147483647 h 46"/>
              <a:gd name="T18" fmla="*/ 2147483647 w 54"/>
              <a:gd name="T19" fmla="*/ 2147483647 h 46"/>
              <a:gd name="T20" fmla="*/ 2147483647 w 54"/>
              <a:gd name="T21" fmla="*/ 2147483647 h 46"/>
              <a:gd name="T22" fmla="*/ 2147483647 w 54"/>
              <a:gd name="T23" fmla="*/ 2147483647 h 46"/>
              <a:gd name="T24" fmla="*/ 2147483647 w 54"/>
              <a:gd name="T25" fmla="*/ 2147483647 h 46"/>
              <a:gd name="T26" fmla="*/ 2147483647 w 54"/>
              <a:gd name="T27" fmla="*/ 2147483647 h 46"/>
              <a:gd name="T28" fmla="*/ 2147483647 w 54"/>
              <a:gd name="T29" fmla="*/ 2147483647 h 46"/>
              <a:gd name="T30" fmla="*/ 2147483647 w 54"/>
              <a:gd name="T31" fmla="*/ 2147483647 h 46"/>
              <a:gd name="T32" fmla="*/ 2147483647 w 54"/>
              <a:gd name="T33" fmla="*/ 2147483647 h 46"/>
              <a:gd name="T34" fmla="*/ 2147483647 w 54"/>
              <a:gd name="T35" fmla="*/ 2147483647 h 46"/>
              <a:gd name="T36" fmla="*/ 2147483647 w 54"/>
              <a:gd name="T37" fmla="*/ 2147483647 h 46"/>
              <a:gd name="T38" fmla="*/ 2147483647 w 54"/>
              <a:gd name="T39" fmla="*/ 2147483647 h 46"/>
              <a:gd name="T40" fmla="*/ 2147483647 w 54"/>
              <a:gd name="T41" fmla="*/ 0 h 46"/>
              <a:gd name="T42" fmla="*/ 2147483647 w 54"/>
              <a:gd name="T43" fmla="*/ 0 h 46"/>
              <a:gd name="T44" fmla="*/ 2147483647 w 54"/>
              <a:gd name="T45" fmla="*/ 0 h 46"/>
              <a:gd name="T46" fmla="*/ 2147483647 w 54"/>
              <a:gd name="T47" fmla="*/ 0 h 46"/>
              <a:gd name="T48" fmla="*/ 2147483647 w 54"/>
              <a:gd name="T49" fmla="*/ 2147483647 h 46"/>
              <a:gd name="T50" fmla="*/ 2147483647 w 54"/>
              <a:gd name="T51" fmla="*/ 2147483647 h 46"/>
              <a:gd name="T52" fmla="*/ 0 w 54"/>
              <a:gd name="T53" fmla="*/ 0 h 46"/>
              <a:gd name="T54" fmla="*/ 0 w 54"/>
              <a:gd name="T55" fmla="*/ 2147483647 h 46"/>
              <a:gd name="T56" fmla="*/ 2147483647 w 54"/>
              <a:gd name="T57" fmla="*/ 2147483647 h 46"/>
              <a:gd name="T58" fmla="*/ 2147483647 w 54"/>
              <a:gd name="T59" fmla="*/ 2147483647 h 46"/>
              <a:gd name="T60" fmla="*/ 2147483647 w 54"/>
              <a:gd name="T61" fmla="*/ 2147483647 h 46"/>
              <a:gd name="T62" fmla="*/ 2147483647 w 54"/>
              <a:gd name="T63" fmla="*/ 2147483647 h 46"/>
              <a:gd name="T64" fmla="*/ 2147483647 w 54"/>
              <a:gd name="T65" fmla="*/ 2147483647 h 46"/>
              <a:gd name="T66" fmla="*/ 2147483647 w 54"/>
              <a:gd name="T67" fmla="*/ 2147483647 h 46"/>
              <a:gd name="T68" fmla="*/ 2147483647 w 54"/>
              <a:gd name="T69" fmla="*/ 2147483647 h 46"/>
              <a:gd name="T70" fmla="*/ 2147483647 w 54"/>
              <a:gd name="T71" fmla="*/ 2147483647 h 46"/>
              <a:gd name="T72" fmla="*/ 2147483647 w 54"/>
              <a:gd name="T73" fmla="*/ 2147483647 h 46"/>
              <a:gd name="T74" fmla="*/ 2147483647 w 54"/>
              <a:gd name="T75" fmla="*/ 2147483647 h 46"/>
              <a:gd name="T76" fmla="*/ 2147483647 w 54"/>
              <a:gd name="T77" fmla="*/ 2147483647 h 46"/>
              <a:gd name="T78" fmla="*/ 2147483647 w 54"/>
              <a:gd name="T79" fmla="*/ 2147483647 h 4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54"/>
              <a:gd name="T121" fmla="*/ 0 h 46"/>
              <a:gd name="T122" fmla="*/ 54 w 54"/>
              <a:gd name="T123" fmla="*/ 46 h 4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54" h="46">
                <a:moveTo>
                  <a:pt x="43" y="37"/>
                </a:moveTo>
                <a:lnTo>
                  <a:pt x="43" y="35"/>
                </a:lnTo>
                <a:lnTo>
                  <a:pt x="46" y="35"/>
                </a:lnTo>
                <a:lnTo>
                  <a:pt x="46" y="29"/>
                </a:lnTo>
                <a:lnTo>
                  <a:pt x="51" y="26"/>
                </a:lnTo>
                <a:lnTo>
                  <a:pt x="51" y="23"/>
                </a:lnTo>
                <a:lnTo>
                  <a:pt x="51" y="20"/>
                </a:lnTo>
                <a:lnTo>
                  <a:pt x="54" y="20"/>
                </a:lnTo>
                <a:lnTo>
                  <a:pt x="49" y="12"/>
                </a:lnTo>
                <a:lnTo>
                  <a:pt x="49" y="6"/>
                </a:lnTo>
                <a:lnTo>
                  <a:pt x="40" y="3"/>
                </a:lnTo>
                <a:lnTo>
                  <a:pt x="37" y="3"/>
                </a:lnTo>
                <a:lnTo>
                  <a:pt x="31" y="3"/>
                </a:lnTo>
                <a:lnTo>
                  <a:pt x="26" y="0"/>
                </a:lnTo>
                <a:lnTo>
                  <a:pt x="20" y="0"/>
                </a:lnTo>
                <a:lnTo>
                  <a:pt x="14" y="0"/>
                </a:lnTo>
                <a:lnTo>
                  <a:pt x="11" y="0"/>
                </a:lnTo>
                <a:lnTo>
                  <a:pt x="6" y="6"/>
                </a:ln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lnTo>
                  <a:pt x="3" y="6"/>
                </a:lnTo>
                <a:lnTo>
                  <a:pt x="6" y="14"/>
                </a:lnTo>
                <a:lnTo>
                  <a:pt x="11" y="20"/>
                </a:lnTo>
                <a:lnTo>
                  <a:pt x="17" y="29"/>
                </a:lnTo>
                <a:lnTo>
                  <a:pt x="14" y="32"/>
                </a:lnTo>
                <a:lnTo>
                  <a:pt x="14" y="35"/>
                </a:lnTo>
                <a:lnTo>
                  <a:pt x="23" y="37"/>
                </a:lnTo>
                <a:lnTo>
                  <a:pt x="31" y="43"/>
                </a:lnTo>
                <a:lnTo>
                  <a:pt x="40" y="46"/>
                </a:lnTo>
                <a:lnTo>
                  <a:pt x="40" y="40"/>
                </a:lnTo>
                <a:lnTo>
                  <a:pt x="43" y="3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4B4B4B"/>
              </a:solidFill>
            </a:endParaRPr>
          </a:p>
        </p:txBody>
      </p:sp>
      <p:sp>
        <p:nvSpPr>
          <p:cNvPr id="81938" name="Freeform 208"/>
          <p:cNvSpPr>
            <a:spLocks noChangeAspect="1"/>
          </p:cNvSpPr>
          <p:nvPr/>
        </p:nvSpPr>
        <p:spPr bwMode="gray">
          <a:xfrm>
            <a:off x="6869238" y="3771102"/>
            <a:ext cx="502091" cy="445513"/>
          </a:xfrm>
          <a:custGeom>
            <a:avLst/>
            <a:gdLst>
              <a:gd name="T0" fmla="*/ 2147483647 w 66"/>
              <a:gd name="T1" fmla="*/ 2147483647 h 78"/>
              <a:gd name="T2" fmla="*/ 2147483647 w 66"/>
              <a:gd name="T3" fmla="*/ 2147483647 h 78"/>
              <a:gd name="T4" fmla="*/ 2147483647 w 66"/>
              <a:gd name="T5" fmla="*/ 2147483647 h 78"/>
              <a:gd name="T6" fmla="*/ 2147483647 w 66"/>
              <a:gd name="T7" fmla="*/ 2147483647 h 78"/>
              <a:gd name="T8" fmla="*/ 2147483647 w 66"/>
              <a:gd name="T9" fmla="*/ 2147483647 h 78"/>
              <a:gd name="T10" fmla="*/ 2147483647 w 66"/>
              <a:gd name="T11" fmla="*/ 2147483647 h 78"/>
              <a:gd name="T12" fmla="*/ 2147483647 w 66"/>
              <a:gd name="T13" fmla="*/ 2147483647 h 78"/>
              <a:gd name="T14" fmla="*/ 2147483647 w 66"/>
              <a:gd name="T15" fmla="*/ 2147483647 h 78"/>
              <a:gd name="T16" fmla="*/ 2147483647 w 66"/>
              <a:gd name="T17" fmla="*/ 2147483647 h 78"/>
              <a:gd name="T18" fmla="*/ 2147483647 w 66"/>
              <a:gd name="T19" fmla="*/ 2147483647 h 78"/>
              <a:gd name="T20" fmla="*/ 2147483647 w 66"/>
              <a:gd name="T21" fmla="*/ 2147483647 h 78"/>
              <a:gd name="T22" fmla="*/ 2147483647 w 66"/>
              <a:gd name="T23" fmla="*/ 2147483647 h 78"/>
              <a:gd name="T24" fmla="*/ 2147483647 w 66"/>
              <a:gd name="T25" fmla="*/ 2147483647 h 78"/>
              <a:gd name="T26" fmla="*/ 2147483647 w 66"/>
              <a:gd name="T27" fmla="*/ 2147483647 h 78"/>
              <a:gd name="T28" fmla="*/ 2147483647 w 66"/>
              <a:gd name="T29" fmla="*/ 2147483647 h 78"/>
              <a:gd name="T30" fmla="*/ 2147483647 w 66"/>
              <a:gd name="T31" fmla="*/ 2147483647 h 78"/>
              <a:gd name="T32" fmla="*/ 2147483647 w 66"/>
              <a:gd name="T33" fmla="*/ 2147483647 h 78"/>
              <a:gd name="T34" fmla="*/ 2147483647 w 66"/>
              <a:gd name="T35" fmla="*/ 2147483647 h 78"/>
              <a:gd name="T36" fmla="*/ 2147483647 w 66"/>
              <a:gd name="T37" fmla="*/ 2147483647 h 78"/>
              <a:gd name="T38" fmla="*/ 2147483647 w 66"/>
              <a:gd name="T39" fmla="*/ 2147483647 h 78"/>
              <a:gd name="T40" fmla="*/ 2147483647 w 66"/>
              <a:gd name="T41" fmla="*/ 2147483647 h 78"/>
              <a:gd name="T42" fmla="*/ 2147483647 w 66"/>
              <a:gd name="T43" fmla="*/ 2147483647 h 78"/>
              <a:gd name="T44" fmla="*/ 2147483647 w 66"/>
              <a:gd name="T45" fmla="*/ 2147483647 h 78"/>
              <a:gd name="T46" fmla="*/ 2147483647 w 66"/>
              <a:gd name="T47" fmla="*/ 2147483647 h 78"/>
              <a:gd name="T48" fmla="*/ 2147483647 w 66"/>
              <a:gd name="T49" fmla="*/ 2147483647 h 78"/>
              <a:gd name="T50" fmla="*/ 2147483647 w 66"/>
              <a:gd name="T51" fmla="*/ 2147483647 h 78"/>
              <a:gd name="T52" fmla="*/ 2147483647 w 66"/>
              <a:gd name="T53" fmla="*/ 2147483647 h 78"/>
              <a:gd name="T54" fmla="*/ 2147483647 w 66"/>
              <a:gd name="T55" fmla="*/ 2147483647 h 78"/>
              <a:gd name="T56" fmla="*/ 2147483647 w 66"/>
              <a:gd name="T57" fmla="*/ 2147483647 h 78"/>
              <a:gd name="T58" fmla="*/ 2147483647 w 66"/>
              <a:gd name="T59" fmla="*/ 2147483647 h 78"/>
              <a:gd name="T60" fmla="*/ 2147483647 w 66"/>
              <a:gd name="T61" fmla="*/ 0 h 78"/>
              <a:gd name="T62" fmla="*/ 2147483647 w 66"/>
              <a:gd name="T63" fmla="*/ 0 h 78"/>
              <a:gd name="T64" fmla="*/ 2147483647 w 66"/>
              <a:gd name="T65" fmla="*/ 2147483647 h 78"/>
              <a:gd name="T66" fmla="*/ 2147483647 w 66"/>
              <a:gd name="T67" fmla="*/ 2147483647 h 78"/>
              <a:gd name="T68" fmla="*/ 2147483647 w 66"/>
              <a:gd name="T69" fmla="*/ 2147483647 h 78"/>
              <a:gd name="T70" fmla="*/ 2147483647 w 66"/>
              <a:gd name="T71" fmla="*/ 2147483647 h 78"/>
              <a:gd name="T72" fmla="*/ 2147483647 w 66"/>
              <a:gd name="T73" fmla="*/ 2147483647 h 78"/>
              <a:gd name="T74" fmla="*/ 2147483647 w 66"/>
              <a:gd name="T75" fmla="*/ 2147483647 h 78"/>
              <a:gd name="T76" fmla="*/ 2147483647 w 66"/>
              <a:gd name="T77" fmla="*/ 2147483647 h 78"/>
              <a:gd name="T78" fmla="*/ 2147483647 w 66"/>
              <a:gd name="T79" fmla="*/ 2147483647 h 78"/>
              <a:gd name="T80" fmla="*/ 2147483647 w 66"/>
              <a:gd name="T81" fmla="*/ 2147483647 h 78"/>
              <a:gd name="T82" fmla="*/ 2147483647 w 66"/>
              <a:gd name="T83" fmla="*/ 2147483647 h 78"/>
              <a:gd name="T84" fmla="*/ 2147483647 w 66"/>
              <a:gd name="T85" fmla="*/ 2147483647 h 78"/>
              <a:gd name="T86" fmla="*/ 2147483647 w 66"/>
              <a:gd name="T87" fmla="*/ 2147483647 h 78"/>
              <a:gd name="T88" fmla="*/ 2147483647 w 66"/>
              <a:gd name="T89" fmla="*/ 2147483647 h 78"/>
              <a:gd name="T90" fmla="*/ 2147483647 w 66"/>
              <a:gd name="T91" fmla="*/ 2147483647 h 78"/>
              <a:gd name="T92" fmla="*/ 2147483647 w 66"/>
              <a:gd name="T93" fmla="*/ 2147483647 h 78"/>
              <a:gd name="T94" fmla="*/ 2147483647 w 66"/>
              <a:gd name="T95" fmla="*/ 2147483647 h 78"/>
              <a:gd name="T96" fmla="*/ 2147483647 w 66"/>
              <a:gd name="T97" fmla="*/ 2147483647 h 78"/>
              <a:gd name="T98" fmla="*/ 2147483647 w 66"/>
              <a:gd name="T99" fmla="*/ 2147483647 h 78"/>
              <a:gd name="T100" fmla="*/ 2147483647 w 66"/>
              <a:gd name="T101" fmla="*/ 2147483647 h 78"/>
              <a:gd name="T102" fmla="*/ 2147483647 w 66"/>
              <a:gd name="T103" fmla="*/ 2147483647 h 78"/>
              <a:gd name="T104" fmla="*/ 2147483647 w 66"/>
              <a:gd name="T105" fmla="*/ 2147483647 h 78"/>
              <a:gd name="T106" fmla="*/ 2147483647 w 66"/>
              <a:gd name="T107" fmla="*/ 2147483647 h 78"/>
              <a:gd name="T108" fmla="*/ 2147483647 w 66"/>
              <a:gd name="T109" fmla="*/ 2147483647 h 78"/>
              <a:gd name="T110" fmla="*/ 0 w 66"/>
              <a:gd name="T111" fmla="*/ 2147483647 h 78"/>
              <a:gd name="T112" fmla="*/ 0 w 66"/>
              <a:gd name="T113" fmla="*/ 2147483647 h 78"/>
              <a:gd name="T114" fmla="*/ 0 w 66"/>
              <a:gd name="T115" fmla="*/ 2147483647 h 78"/>
              <a:gd name="T116" fmla="*/ 2147483647 w 66"/>
              <a:gd name="T117" fmla="*/ 2147483647 h 78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66"/>
              <a:gd name="T178" fmla="*/ 0 h 78"/>
              <a:gd name="T179" fmla="*/ 66 w 66"/>
              <a:gd name="T180" fmla="*/ 78 h 78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66" h="78">
                <a:moveTo>
                  <a:pt x="8" y="78"/>
                </a:moveTo>
                <a:lnTo>
                  <a:pt x="11" y="72"/>
                </a:lnTo>
                <a:lnTo>
                  <a:pt x="17" y="66"/>
                </a:lnTo>
                <a:lnTo>
                  <a:pt x="20" y="69"/>
                </a:lnTo>
                <a:lnTo>
                  <a:pt x="23" y="66"/>
                </a:lnTo>
                <a:lnTo>
                  <a:pt x="29" y="75"/>
                </a:lnTo>
                <a:lnTo>
                  <a:pt x="31" y="78"/>
                </a:lnTo>
                <a:lnTo>
                  <a:pt x="40" y="75"/>
                </a:lnTo>
                <a:lnTo>
                  <a:pt x="49" y="75"/>
                </a:lnTo>
                <a:lnTo>
                  <a:pt x="57" y="75"/>
                </a:lnTo>
                <a:lnTo>
                  <a:pt x="60" y="72"/>
                </a:lnTo>
                <a:lnTo>
                  <a:pt x="57" y="63"/>
                </a:lnTo>
                <a:lnTo>
                  <a:pt x="60" y="63"/>
                </a:lnTo>
                <a:lnTo>
                  <a:pt x="63" y="60"/>
                </a:lnTo>
                <a:lnTo>
                  <a:pt x="66" y="57"/>
                </a:lnTo>
                <a:lnTo>
                  <a:pt x="57" y="52"/>
                </a:lnTo>
                <a:lnTo>
                  <a:pt x="57" y="40"/>
                </a:lnTo>
                <a:lnTo>
                  <a:pt x="60" y="37"/>
                </a:lnTo>
                <a:lnTo>
                  <a:pt x="54" y="34"/>
                </a:lnTo>
                <a:lnTo>
                  <a:pt x="57" y="32"/>
                </a:lnTo>
                <a:lnTo>
                  <a:pt x="60" y="29"/>
                </a:lnTo>
                <a:lnTo>
                  <a:pt x="57" y="29"/>
                </a:lnTo>
                <a:lnTo>
                  <a:pt x="54" y="34"/>
                </a:lnTo>
                <a:lnTo>
                  <a:pt x="43" y="29"/>
                </a:lnTo>
                <a:lnTo>
                  <a:pt x="40" y="26"/>
                </a:lnTo>
                <a:lnTo>
                  <a:pt x="29" y="14"/>
                </a:lnTo>
                <a:lnTo>
                  <a:pt x="29" y="11"/>
                </a:lnTo>
                <a:lnTo>
                  <a:pt x="31" y="9"/>
                </a:lnTo>
                <a:lnTo>
                  <a:pt x="23" y="0"/>
                </a:lnTo>
                <a:lnTo>
                  <a:pt x="11" y="0"/>
                </a:lnTo>
                <a:lnTo>
                  <a:pt x="8" y="3"/>
                </a:lnTo>
                <a:lnTo>
                  <a:pt x="3" y="6"/>
                </a:lnTo>
                <a:lnTo>
                  <a:pt x="3" y="9"/>
                </a:lnTo>
                <a:lnTo>
                  <a:pt x="6" y="11"/>
                </a:lnTo>
                <a:lnTo>
                  <a:pt x="11" y="17"/>
                </a:lnTo>
                <a:lnTo>
                  <a:pt x="11" y="23"/>
                </a:lnTo>
                <a:lnTo>
                  <a:pt x="8" y="32"/>
                </a:lnTo>
                <a:lnTo>
                  <a:pt x="14" y="40"/>
                </a:lnTo>
                <a:lnTo>
                  <a:pt x="11" y="43"/>
                </a:lnTo>
                <a:lnTo>
                  <a:pt x="14" y="49"/>
                </a:lnTo>
                <a:lnTo>
                  <a:pt x="11" y="49"/>
                </a:lnTo>
                <a:lnTo>
                  <a:pt x="6" y="52"/>
                </a:lnTo>
                <a:lnTo>
                  <a:pt x="6" y="55"/>
                </a:lnTo>
                <a:lnTo>
                  <a:pt x="6" y="57"/>
                </a:lnTo>
                <a:lnTo>
                  <a:pt x="3" y="57"/>
                </a:lnTo>
                <a:lnTo>
                  <a:pt x="0" y="63"/>
                </a:lnTo>
                <a:lnTo>
                  <a:pt x="0" y="69"/>
                </a:lnTo>
                <a:lnTo>
                  <a:pt x="8" y="7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257" name="Freeform 209"/>
          <p:cNvSpPr>
            <a:spLocks noChangeAspect="1"/>
          </p:cNvSpPr>
          <p:nvPr/>
        </p:nvSpPr>
        <p:spPr bwMode="gray">
          <a:xfrm>
            <a:off x="6719211" y="4132612"/>
            <a:ext cx="58010" cy="33001"/>
          </a:xfrm>
          <a:custGeom>
            <a:avLst/>
            <a:gdLst>
              <a:gd name="T0" fmla="*/ 2147483647 w 8"/>
              <a:gd name="T1" fmla="*/ 2147483647 h 6"/>
              <a:gd name="T2" fmla="*/ 2147483647 w 8"/>
              <a:gd name="T3" fmla="*/ 2147483647 h 6"/>
              <a:gd name="T4" fmla="*/ 2147483647 w 8"/>
              <a:gd name="T5" fmla="*/ 0 h 6"/>
              <a:gd name="T6" fmla="*/ 0 w 8"/>
              <a:gd name="T7" fmla="*/ 2147483647 h 6"/>
              <a:gd name="T8" fmla="*/ 2147483647 w 8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"/>
              <a:gd name="T16" fmla="*/ 0 h 6"/>
              <a:gd name="T17" fmla="*/ 8 w 8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" h="6">
                <a:moveTo>
                  <a:pt x="6" y="6"/>
                </a:moveTo>
                <a:lnTo>
                  <a:pt x="8" y="3"/>
                </a:lnTo>
                <a:lnTo>
                  <a:pt x="3" y="0"/>
                </a:lnTo>
                <a:lnTo>
                  <a:pt x="0" y="3"/>
                </a:lnTo>
                <a:lnTo>
                  <a:pt x="6" y="6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58" name="Freeform 210"/>
          <p:cNvSpPr>
            <a:spLocks noChangeAspect="1"/>
          </p:cNvSpPr>
          <p:nvPr/>
        </p:nvSpPr>
        <p:spPr bwMode="gray">
          <a:xfrm>
            <a:off x="5669021" y="4116112"/>
            <a:ext cx="134025" cy="160505"/>
          </a:xfrm>
          <a:custGeom>
            <a:avLst/>
            <a:gdLst>
              <a:gd name="T0" fmla="*/ 2147483647 w 17"/>
              <a:gd name="T1" fmla="*/ 0 h 29"/>
              <a:gd name="T2" fmla="*/ 2147483647 w 17"/>
              <a:gd name="T3" fmla="*/ 0 h 29"/>
              <a:gd name="T4" fmla="*/ 2147483647 w 17"/>
              <a:gd name="T5" fmla="*/ 2147483647 h 29"/>
              <a:gd name="T6" fmla="*/ 2147483647 w 17"/>
              <a:gd name="T7" fmla="*/ 2147483647 h 29"/>
              <a:gd name="T8" fmla="*/ 2147483647 w 17"/>
              <a:gd name="T9" fmla="*/ 2147483647 h 29"/>
              <a:gd name="T10" fmla="*/ 2147483647 w 17"/>
              <a:gd name="T11" fmla="*/ 2147483647 h 29"/>
              <a:gd name="T12" fmla="*/ 0 w 17"/>
              <a:gd name="T13" fmla="*/ 2147483647 h 29"/>
              <a:gd name="T14" fmla="*/ 0 w 17"/>
              <a:gd name="T15" fmla="*/ 2147483647 h 29"/>
              <a:gd name="T16" fmla="*/ 0 w 17"/>
              <a:gd name="T17" fmla="*/ 2147483647 h 29"/>
              <a:gd name="T18" fmla="*/ 2147483647 w 17"/>
              <a:gd name="T19" fmla="*/ 2147483647 h 29"/>
              <a:gd name="T20" fmla="*/ 2147483647 w 17"/>
              <a:gd name="T21" fmla="*/ 2147483647 h 29"/>
              <a:gd name="T22" fmla="*/ 2147483647 w 17"/>
              <a:gd name="T23" fmla="*/ 2147483647 h 29"/>
              <a:gd name="T24" fmla="*/ 2147483647 w 17"/>
              <a:gd name="T25" fmla="*/ 2147483647 h 29"/>
              <a:gd name="T26" fmla="*/ 2147483647 w 17"/>
              <a:gd name="T27" fmla="*/ 2147483647 h 29"/>
              <a:gd name="T28" fmla="*/ 2147483647 w 17"/>
              <a:gd name="T29" fmla="*/ 2147483647 h 29"/>
              <a:gd name="T30" fmla="*/ 2147483647 w 17"/>
              <a:gd name="T31" fmla="*/ 2147483647 h 29"/>
              <a:gd name="T32" fmla="*/ 2147483647 w 17"/>
              <a:gd name="T33" fmla="*/ 2147483647 h 29"/>
              <a:gd name="T34" fmla="*/ 2147483647 w 17"/>
              <a:gd name="T35" fmla="*/ 2147483647 h 29"/>
              <a:gd name="T36" fmla="*/ 2147483647 w 17"/>
              <a:gd name="T37" fmla="*/ 0 h 2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7"/>
              <a:gd name="T58" fmla="*/ 0 h 29"/>
              <a:gd name="T59" fmla="*/ 17 w 17"/>
              <a:gd name="T60" fmla="*/ 29 h 29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7" h="29">
                <a:moveTo>
                  <a:pt x="14" y="0"/>
                </a:moveTo>
                <a:lnTo>
                  <a:pt x="14" y="0"/>
                </a:lnTo>
                <a:lnTo>
                  <a:pt x="11" y="3"/>
                </a:lnTo>
                <a:lnTo>
                  <a:pt x="9" y="6"/>
                </a:lnTo>
                <a:lnTo>
                  <a:pt x="3" y="12"/>
                </a:lnTo>
                <a:lnTo>
                  <a:pt x="0" y="15"/>
                </a:lnTo>
                <a:lnTo>
                  <a:pt x="0" y="18"/>
                </a:lnTo>
                <a:lnTo>
                  <a:pt x="6" y="29"/>
                </a:lnTo>
                <a:lnTo>
                  <a:pt x="11" y="29"/>
                </a:lnTo>
                <a:lnTo>
                  <a:pt x="14" y="26"/>
                </a:lnTo>
                <a:lnTo>
                  <a:pt x="14" y="18"/>
                </a:lnTo>
                <a:lnTo>
                  <a:pt x="17" y="12"/>
                </a:lnTo>
                <a:lnTo>
                  <a:pt x="17" y="3"/>
                </a:lnTo>
                <a:lnTo>
                  <a:pt x="14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59" name="Freeform 211"/>
          <p:cNvSpPr>
            <a:spLocks noChangeAspect="1"/>
          </p:cNvSpPr>
          <p:nvPr/>
        </p:nvSpPr>
        <p:spPr bwMode="gray">
          <a:xfrm>
            <a:off x="6125104" y="3265589"/>
            <a:ext cx="700126" cy="231006"/>
          </a:xfrm>
          <a:custGeom>
            <a:avLst/>
            <a:gdLst>
              <a:gd name="T0" fmla="*/ 2147483647 w 92"/>
              <a:gd name="T1" fmla="*/ 2147483647 h 40"/>
              <a:gd name="T2" fmla="*/ 2147483647 w 92"/>
              <a:gd name="T3" fmla="*/ 2147483647 h 40"/>
              <a:gd name="T4" fmla="*/ 2147483647 w 92"/>
              <a:gd name="T5" fmla="*/ 2147483647 h 40"/>
              <a:gd name="T6" fmla="*/ 2147483647 w 92"/>
              <a:gd name="T7" fmla="*/ 2147483647 h 40"/>
              <a:gd name="T8" fmla="*/ 2147483647 w 92"/>
              <a:gd name="T9" fmla="*/ 2147483647 h 40"/>
              <a:gd name="T10" fmla="*/ 2147483647 w 92"/>
              <a:gd name="T11" fmla="*/ 2147483647 h 40"/>
              <a:gd name="T12" fmla="*/ 2147483647 w 92"/>
              <a:gd name="T13" fmla="*/ 2147483647 h 40"/>
              <a:gd name="T14" fmla="*/ 2147483647 w 92"/>
              <a:gd name="T15" fmla="*/ 2147483647 h 40"/>
              <a:gd name="T16" fmla="*/ 2147483647 w 92"/>
              <a:gd name="T17" fmla="*/ 2147483647 h 40"/>
              <a:gd name="T18" fmla="*/ 2147483647 w 92"/>
              <a:gd name="T19" fmla="*/ 2147483647 h 40"/>
              <a:gd name="T20" fmla="*/ 2147483647 w 92"/>
              <a:gd name="T21" fmla="*/ 2147483647 h 40"/>
              <a:gd name="T22" fmla="*/ 2147483647 w 92"/>
              <a:gd name="T23" fmla="*/ 2147483647 h 40"/>
              <a:gd name="T24" fmla="*/ 2147483647 w 92"/>
              <a:gd name="T25" fmla="*/ 2147483647 h 40"/>
              <a:gd name="T26" fmla="*/ 2147483647 w 92"/>
              <a:gd name="T27" fmla="*/ 2147483647 h 40"/>
              <a:gd name="T28" fmla="*/ 2147483647 w 92"/>
              <a:gd name="T29" fmla="*/ 2147483647 h 40"/>
              <a:gd name="T30" fmla="*/ 2147483647 w 92"/>
              <a:gd name="T31" fmla="*/ 2147483647 h 40"/>
              <a:gd name="T32" fmla="*/ 2147483647 w 92"/>
              <a:gd name="T33" fmla="*/ 2147483647 h 40"/>
              <a:gd name="T34" fmla="*/ 2147483647 w 92"/>
              <a:gd name="T35" fmla="*/ 2147483647 h 40"/>
              <a:gd name="T36" fmla="*/ 2147483647 w 92"/>
              <a:gd name="T37" fmla="*/ 2147483647 h 40"/>
              <a:gd name="T38" fmla="*/ 2147483647 w 92"/>
              <a:gd name="T39" fmla="*/ 2147483647 h 40"/>
              <a:gd name="T40" fmla="*/ 2147483647 w 92"/>
              <a:gd name="T41" fmla="*/ 2147483647 h 40"/>
              <a:gd name="T42" fmla="*/ 2147483647 w 92"/>
              <a:gd name="T43" fmla="*/ 2147483647 h 40"/>
              <a:gd name="T44" fmla="*/ 2147483647 w 92"/>
              <a:gd name="T45" fmla="*/ 2147483647 h 40"/>
              <a:gd name="T46" fmla="*/ 2147483647 w 92"/>
              <a:gd name="T47" fmla="*/ 2147483647 h 40"/>
              <a:gd name="T48" fmla="*/ 2147483647 w 92"/>
              <a:gd name="T49" fmla="*/ 2147483647 h 40"/>
              <a:gd name="T50" fmla="*/ 2147483647 w 92"/>
              <a:gd name="T51" fmla="*/ 2147483647 h 40"/>
              <a:gd name="T52" fmla="*/ 2147483647 w 92"/>
              <a:gd name="T53" fmla="*/ 2147483647 h 40"/>
              <a:gd name="T54" fmla="*/ 2147483647 w 92"/>
              <a:gd name="T55" fmla="*/ 2147483647 h 40"/>
              <a:gd name="T56" fmla="*/ 2147483647 w 92"/>
              <a:gd name="T57" fmla="*/ 2147483647 h 40"/>
              <a:gd name="T58" fmla="*/ 2147483647 w 92"/>
              <a:gd name="T59" fmla="*/ 0 h 40"/>
              <a:gd name="T60" fmla="*/ 2147483647 w 92"/>
              <a:gd name="T61" fmla="*/ 2147483647 h 40"/>
              <a:gd name="T62" fmla="*/ 2147483647 w 92"/>
              <a:gd name="T63" fmla="*/ 2147483647 h 40"/>
              <a:gd name="T64" fmla="*/ 2147483647 w 92"/>
              <a:gd name="T65" fmla="*/ 0 h 40"/>
              <a:gd name="T66" fmla="*/ 2147483647 w 92"/>
              <a:gd name="T67" fmla="*/ 0 h 40"/>
              <a:gd name="T68" fmla="*/ 2147483647 w 92"/>
              <a:gd name="T69" fmla="*/ 2147483647 h 40"/>
              <a:gd name="T70" fmla="*/ 2147483647 w 92"/>
              <a:gd name="T71" fmla="*/ 2147483647 h 40"/>
              <a:gd name="T72" fmla="*/ 2147483647 w 92"/>
              <a:gd name="T73" fmla="*/ 2147483647 h 40"/>
              <a:gd name="T74" fmla="*/ 2147483647 w 92"/>
              <a:gd name="T75" fmla="*/ 2147483647 h 40"/>
              <a:gd name="T76" fmla="*/ 0 w 92"/>
              <a:gd name="T77" fmla="*/ 2147483647 h 40"/>
              <a:gd name="T78" fmla="*/ 0 w 92"/>
              <a:gd name="T79" fmla="*/ 2147483647 h 40"/>
              <a:gd name="T80" fmla="*/ 2147483647 w 92"/>
              <a:gd name="T81" fmla="*/ 2147483647 h 40"/>
              <a:gd name="T82" fmla="*/ 2147483647 w 92"/>
              <a:gd name="T83" fmla="*/ 2147483647 h 40"/>
              <a:gd name="T84" fmla="*/ 2147483647 w 92"/>
              <a:gd name="T85" fmla="*/ 2147483647 h 40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92"/>
              <a:gd name="T130" fmla="*/ 0 h 40"/>
              <a:gd name="T131" fmla="*/ 92 w 92"/>
              <a:gd name="T132" fmla="*/ 40 h 40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92" h="40">
                <a:moveTo>
                  <a:pt x="12" y="29"/>
                </a:moveTo>
                <a:lnTo>
                  <a:pt x="23" y="40"/>
                </a:lnTo>
                <a:lnTo>
                  <a:pt x="32" y="40"/>
                </a:lnTo>
                <a:lnTo>
                  <a:pt x="35" y="37"/>
                </a:lnTo>
                <a:lnTo>
                  <a:pt x="38" y="32"/>
                </a:lnTo>
                <a:lnTo>
                  <a:pt x="46" y="34"/>
                </a:lnTo>
                <a:lnTo>
                  <a:pt x="49" y="34"/>
                </a:lnTo>
                <a:lnTo>
                  <a:pt x="55" y="37"/>
                </a:lnTo>
                <a:lnTo>
                  <a:pt x="61" y="37"/>
                </a:lnTo>
                <a:lnTo>
                  <a:pt x="61" y="34"/>
                </a:lnTo>
                <a:lnTo>
                  <a:pt x="69" y="40"/>
                </a:lnTo>
                <a:lnTo>
                  <a:pt x="72" y="34"/>
                </a:lnTo>
                <a:lnTo>
                  <a:pt x="78" y="34"/>
                </a:lnTo>
                <a:lnTo>
                  <a:pt x="86" y="26"/>
                </a:lnTo>
                <a:lnTo>
                  <a:pt x="92" y="23"/>
                </a:lnTo>
                <a:lnTo>
                  <a:pt x="89" y="17"/>
                </a:lnTo>
                <a:lnTo>
                  <a:pt x="84" y="17"/>
                </a:lnTo>
                <a:lnTo>
                  <a:pt x="81" y="20"/>
                </a:lnTo>
                <a:lnTo>
                  <a:pt x="78" y="17"/>
                </a:lnTo>
                <a:lnTo>
                  <a:pt x="75" y="14"/>
                </a:lnTo>
                <a:lnTo>
                  <a:pt x="75" y="11"/>
                </a:lnTo>
                <a:lnTo>
                  <a:pt x="69" y="11"/>
                </a:lnTo>
                <a:lnTo>
                  <a:pt x="58" y="6"/>
                </a:lnTo>
                <a:lnTo>
                  <a:pt x="49" y="6"/>
                </a:lnTo>
                <a:lnTo>
                  <a:pt x="38" y="0"/>
                </a:lnTo>
                <a:lnTo>
                  <a:pt x="32" y="3"/>
                </a:lnTo>
                <a:lnTo>
                  <a:pt x="29" y="0"/>
                </a:lnTo>
                <a:lnTo>
                  <a:pt x="26" y="0"/>
                </a:lnTo>
                <a:lnTo>
                  <a:pt x="20" y="3"/>
                </a:lnTo>
                <a:lnTo>
                  <a:pt x="12" y="6"/>
                </a:lnTo>
                <a:lnTo>
                  <a:pt x="9" y="11"/>
                </a:lnTo>
                <a:lnTo>
                  <a:pt x="0" y="9"/>
                </a:lnTo>
                <a:lnTo>
                  <a:pt x="0" y="11"/>
                </a:lnTo>
                <a:lnTo>
                  <a:pt x="3" y="14"/>
                </a:lnTo>
                <a:lnTo>
                  <a:pt x="3" y="23"/>
                </a:lnTo>
                <a:lnTo>
                  <a:pt x="12" y="29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60" name="Freeform 212"/>
          <p:cNvSpPr>
            <a:spLocks noChangeAspect="1"/>
          </p:cNvSpPr>
          <p:nvPr/>
        </p:nvSpPr>
        <p:spPr bwMode="gray">
          <a:xfrm>
            <a:off x="5955073" y="3463594"/>
            <a:ext cx="696125" cy="372010"/>
          </a:xfrm>
          <a:custGeom>
            <a:avLst/>
            <a:gdLst>
              <a:gd name="T0" fmla="*/ 2147483647 w 348"/>
              <a:gd name="T1" fmla="*/ 2147483647 h 248"/>
              <a:gd name="T2" fmla="*/ 2147483647 w 348"/>
              <a:gd name="T3" fmla="*/ 2147483647 h 248"/>
              <a:gd name="T4" fmla="*/ 2147483647 w 348"/>
              <a:gd name="T5" fmla="*/ 2147483647 h 248"/>
              <a:gd name="T6" fmla="*/ 2147483647 w 348"/>
              <a:gd name="T7" fmla="*/ 2147483647 h 248"/>
              <a:gd name="T8" fmla="*/ 2147483647 w 348"/>
              <a:gd name="T9" fmla="*/ 2147483647 h 248"/>
              <a:gd name="T10" fmla="*/ 2147483647 w 348"/>
              <a:gd name="T11" fmla="*/ 2147483647 h 248"/>
              <a:gd name="T12" fmla="*/ 2147483647 w 348"/>
              <a:gd name="T13" fmla="*/ 2147483647 h 248"/>
              <a:gd name="T14" fmla="*/ 2147483647 w 348"/>
              <a:gd name="T15" fmla="*/ 2147483647 h 248"/>
              <a:gd name="T16" fmla="*/ 2147483647 w 348"/>
              <a:gd name="T17" fmla="*/ 2147483647 h 248"/>
              <a:gd name="T18" fmla="*/ 2147483647 w 348"/>
              <a:gd name="T19" fmla="*/ 2147483647 h 248"/>
              <a:gd name="T20" fmla="*/ 2147483647 w 348"/>
              <a:gd name="T21" fmla="*/ 2147483647 h 248"/>
              <a:gd name="T22" fmla="*/ 2147483647 w 348"/>
              <a:gd name="T23" fmla="*/ 2147483647 h 248"/>
              <a:gd name="T24" fmla="*/ 2147483647 w 348"/>
              <a:gd name="T25" fmla="*/ 2147483647 h 248"/>
              <a:gd name="T26" fmla="*/ 2147483647 w 348"/>
              <a:gd name="T27" fmla="*/ 2147483647 h 248"/>
              <a:gd name="T28" fmla="*/ 2147483647 w 348"/>
              <a:gd name="T29" fmla="*/ 2147483647 h 248"/>
              <a:gd name="T30" fmla="*/ 2147483647 w 348"/>
              <a:gd name="T31" fmla="*/ 2147483647 h 248"/>
              <a:gd name="T32" fmla="*/ 2147483647 w 348"/>
              <a:gd name="T33" fmla="*/ 2147483647 h 248"/>
              <a:gd name="T34" fmla="*/ 0 w 348"/>
              <a:gd name="T35" fmla="*/ 2147483647 h 248"/>
              <a:gd name="T36" fmla="*/ 2147483647 w 348"/>
              <a:gd name="T37" fmla="*/ 2147483647 h 248"/>
              <a:gd name="T38" fmla="*/ 2147483647 w 348"/>
              <a:gd name="T39" fmla="*/ 2147483647 h 248"/>
              <a:gd name="T40" fmla="*/ 2147483647 w 348"/>
              <a:gd name="T41" fmla="*/ 2147483647 h 248"/>
              <a:gd name="T42" fmla="*/ 2147483647 w 348"/>
              <a:gd name="T43" fmla="*/ 2147483647 h 248"/>
              <a:gd name="T44" fmla="*/ 2147483647 w 348"/>
              <a:gd name="T45" fmla="*/ 2147483647 h 248"/>
              <a:gd name="T46" fmla="*/ 2147483647 w 348"/>
              <a:gd name="T47" fmla="*/ 2147483647 h 248"/>
              <a:gd name="T48" fmla="*/ 2147483647 w 348"/>
              <a:gd name="T49" fmla="*/ 2147483647 h 248"/>
              <a:gd name="T50" fmla="*/ 2147483647 w 348"/>
              <a:gd name="T51" fmla="*/ 2147483647 h 248"/>
              <a:gd name="T52" fmla="*/ 2147483647 w 348"/>
              <a:gd name="T53" fmla="*/ 2147483647 h 248"/>
              <a:gd name="T54" fmla="*/ 2147483647 w 348"/>
              <a:gd name="T55" fmla="*/ 2147483647 h 248"/>
              <a:gd name="T56" fmla="*/ 2147483647 w 348"/>
              <a:gd name="T57" fmla="*/ 2147483647 h 248"/>
              <a:gd name="T58" fmla="*/ 2147483647 w 348"/>
              <a:gd name="T59" fmla="*/ 2147483647 h 248"/>
              <a:gd name="T60" fmla="*/ 2147483647 w 348"/>
              <a:gd name="T61" fmla="*/ 2147483647 h 248"/>
              <a:gd name="T62" fmla="*/ 2147483647 w 348"/>
              <a:gd name="T63" fmla="*/ 2147483647 h 24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348"/>
              <a:gd name="T97" fmla="*/ 0 h 248"/>
              <a:gd name="T98" fmla="*/ 92 w 348"/>
              <a:gd name="T99" fmla="*/ 66 h 248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348" h="248">
                <a:moveTo>
                  <a:pt x="318" y="143"/>
                </a:moveTo>
                <a:lnTo>
                  <a:pt x="318" y="120"/>
                </a:lnTo>
                <a:lnTo>
                  <a:pt x="325" y="109"/>
                </a:lnTo>
                <a:lnTo>
                  <a:pt x="318" y="98"/>
                </a:lnTo>
                <a:lnTo>
                  <a:pt x="325" y="86"/>
                </a:lnTo>
                <a:lnTo>
                  <a:pt x="348" y="86"/>
                </a:lnTo>
                <a:lnTo>
                  <a:pt x="348" y="68"/>
                </a:lnTo>
                <a:lnTo>
                  <a:pt x="337" y="34"/>
                </a:lnTo>
                <a:lnTo>
                  <a:pt x="325" y="23"/>
                </a:lnTo>
                <a:lnTo>
                  <a:pt x="318" y="23"/>
                </a:lnTo>
                <a:lnTo>
                  <a:pt x="295" y="34"/>
                </a:lnTo>
                <a:lnTo>
                  <a:pt x="295" y="23"/>
                </a:lnTo>
                <a:lnTo>
                  <a:pt x="272" y="11"/>
                </a:lnTo>
                <a:lnTo>
                  <a:pt x="250" y="11"/>
                </a:lnTo>
                <a:lnTo>
                  <a:pt x="238" y="0"/>
                </a:lnTo>
                <a:lnTo>
                  <a:pt x="231" y="11"/>
                </a:lnTo>
                <a:lnTo>
                  <a:pt x="219" y="34"/>
                </a:lnTo>
                <a:lnTo>
                  <a:pt x="174" y="34"/>
                </a:lnTo>
                <a:lnTo>
                  <a:pt x="163" y="34"/>
                </a:lnTo>
                <a:lnTo>
                  <a:pt x="151" y="34"/>
                </a:lnTo>
                <a:lnTo>
                  <a:pt x="132" y="56"/>
                </a:lnTo>
                <a:lnTo>
                  <a:pt x="121" y="56"/>
                </a:lnTo>
                <a:lnTo>
                  <a:pt x="121" y="68"/>
                </a:lnTo>
                <a:lnTo>
                  <a:pt x="132" y="98"/>
                </a:lnTo>
                <a:lnTo>
                  <a:pt x="132" y="120"/>
                </a:lnTo>
                <a:lnTo>
                  <a:pt x="121" y="109"/>
                </a:lnTo>
                <a:lnTo>
                  <a:pt x="110" y="109"/>
                </a:lnTo>
                <a:lnTo>
                  <a:pt x="76" y="109"/>
                </a:lnTo>
                <a:lnTo>
                  <a:pt x="34" y="120"/>
                </a:lnTo>
                <a:lnTo>
                  <a:pt x="0" y="120"/>
                </a:lnTo>
                <a:lnTo>
                  <a:pt x="0" y="143"/>
                </a:lnTo>
                <a:lnTo>
                  <a:pt x="11" y="143"/>
                </a:lnTo>
                <a:lnTo>
                  <a:pt x="87" y="132"/>
                </a:lnTo>
                <a:lnTo>
                  <a:pt x="98" y="154"/>
                </a:lnTo>
                <a:lnTo>
                  <a:pt x="149" y="180"/>
                </a:lnTo>
                <a:lnTo>
                  <a:pt x="158" y="210"/>
                </a:lnTo>
                <a:lnTo>
                  <a:pt x="148" y="181"/>
                </a:lnTo>
                <a:lnTo>
                  <a:pt x="127" y="193"/>
                </a:lnTo>
                <a:lnTo>
                  <a:pt x="151" y="195"/>
                </a:lnTo>
                <a:lnTo>
                  <a:pt x="164" y="234"/>
                </a:lnTo>
                <a:lnTo>
                  <a:pt x="174" y="240"/>
                </a:lnTo>
                <a:lnTo>
                  <a:pt x="185" y="240"/>
                </a:lnTo>
                <a:lnTo>
                  <a:pt x="197" y="240"/>
                </a:lnTo>
                <a:lnTo>
                  <a:pt x="219" y="248"/>
                </a:lnTo>
                <a:lnTo>
                  <a:pt x="250" y="248"/>
                </a:lnTo>
                <a:lnTo>
                  <a:pt x="261" y="229"/>
                </a:lnTo>
                <a:lnTo>
                  <a:pt x="272" y="218"/>
                </a:lnTo>
                <a:lnTo>
                  <a:pt x="272" y="195"/>
                </a:lnTo>
                <a:lnTo>
                  <a:pt x="318" y="173"/>
                </a:lnTo>
                <a:lnTo>
                  <a:pt x="295" y="154"/>
                </a:lnTo>
                <a:lnTo>
                  <a:pt x="306" y="143"/>
                </a:lnTo>
                <a:lnTo>
                  <a:pt x="318" y="14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4B4B4B"/>
              </a:solidFill>
            </a:endParaRPr>
          </a:p>
        </p:txBody>
      </p:sp>
      <p:sp>
        <p:nvSpPr>
          <p:cNvPr id="261" name="Freeform 215"/>
          <p:cNvSpPr>
            <a:spLocks noChangeAspect="1"/>
          </p:cNvSpPr>
          <p:nvPr/>
        </p:nvSpPr>
        <p:spPr bwMode="gray">
          <a:xfrm>
            <a:off x="5955074" y="1426539"/>
            <a:ext cx="1290232" cy="1450539"/>
          </a:xfrm>
          <a:custGeom>
            <a:avLst/>
            <a:gdLst>
              <a:gd name="T0" fmla="*/ 2147483647 w 170"/>
              <a:gd name="T1" fmla="*/ 2147483647 h 255"/>
              <a:gd name="T2" fmla="*/ 2147483647 w 170"/>
              <a:gd name="T3" fmla="*/ 2147483647 h 255"/>
              <a:gd name="T4" fmla="*/ 2147483647 w 170"/>
              <a:gd name="T5" fmla="*/ 2147483647 h 255"/>
              <a:gd name="T6" fmla="*/ 2147483647 w 170"/>
              <a:gd name="T7" fmla="*/ 2147483647 h 255"/>
              <a:gd name="T8" fmla="*/ 2147483647 w 170"/>
              <a:gd name="T9" fmla="*/ 2147483647 h 255"/>
              <a:gd name="T10" fmla="*/ 2147483647 w 170"/>
              <a:gd name="T11" fmla="*/ 2147483647 h 255"/>
              <a:gd name="T12" fmla="*/ 2147483647 w 170"/>
              <a:gd name="T13" fmla="*/ 2147483647 h 255"/>
              <a:gd name="T14" fmla="*/ 2147483647 w 170"/>
              <a:gd name="T15" fmla="*/ 2147483647 h 255"/>
              <a:gd name="T16" fmla="*/ 2147483647 w 170"/>
              <a:gd name="T17" fmla="*/ 2147483647 h 255"/>
              <a:gd name="T18" fmla="*/ 2147483647 w 170"/>
              <a:gd name="T19" fmla="*/ 2147483647 h 255"/>
              <a:gd name="T20" fmla="*/ 2147483647 w 170"/>
              <a:gd name="T21" fmla="*/ 2147483647 h 255"/>
              <a:gd name="T22" fmla="*/ 2147483647 w 170"/>
              <a:gd name="T23" fmla="*/ 2147483647 h 255"/>
              <a:gd name="T24" fmla="*/ 2147483647 w 170"/>
              <a:gd name="T25" fmla="*/ 2147483647 h 255"/>
              <a:gd name="T26" fmla="*/ 2147483647 w 170"/>
              <a:gd name="T27" fmla="*/ 2147483647 h 255"/>
              <a:gd name="T28" fmla="*/ 2147483647 w 170"/>
              <a:gd name="T29" fmla="*/ 2147483647 h 255"/>
              <a:gd name="T30" fmla="*/ 2147483647 w 170"/>
              <a:gd name="T31" fmla="*/ 2147483647 h 255"/>
              <a:gd name="T32" fmla="*/ 2147483647 w 170"/>
              <a:gd name="T33" fmla="*/ 2147483647 h 255"/>
              <a:gd name="T34" fmla="*/ 2147483647 w 170"/>
              <a:gd name="T35" fmla="*/ 2147483647 h 255"/>
              <a:gd name="T36" fmla="*/ 2147483647 w 170"/>
              <a:gd name="T37" fmla="*/ 2147483647 h 255"/>
              <a:gd name="T38" fmla="*/ 2147483647 w 170"/>
              <a:gd name="T39" fmla="*/ 2147483647 h 255"/>
              <a:gd name="T40" fmla="*/ 2147483647 w 170"/>
              <a:gd name="T41" fmla="*/ 2147483647 h 255"/>
              <a:gd name="T42" fmla="*/ 2147483647 w 170"/>
              <a:gd name="T43" fmla="*/ 2147483647 h 255"/>
              <a:gd name="T44" fmla="*/ 2147483647 w 170"/>
              <a:gd name="T45" fmla="*/ 2147483647 h 255"/>
              <a:gd name="T46" fmla="*/ 2147483647 w 170"/>
              <a:gd name="T47" fmla="*/ 2147483647 h 255"/>
              <a:gd name="T48" fmla="*/ 2147483647 w 170"/>
              <a:gd name="T49" fmla="*/ 2147483647 h 255"/>
              <a:gd name="T50" fmla="*/ 2147483647 w 170"/>
              <a:gd name="T51" fmla="*/ 2147483647 h 255"/>
              <a:gd name="T52" fmla="*/ 2147483647 w 170"/>
              <a:gd name="T53" fmla="*/ 2147483647 h 255"/>
              <a:gd name="T54" fmla="*/ 2147483647 w 170"/>
              <a:gd name="T55" fmla="*/ 2147483647 h 255"/>
              <a:gd name="T56" fmla="*/ 2147483647 w 170"/>
              <a:gd name="T57" fmla="*/ 2147483647 h 255"/>
              <a:gd name="T58" fmla="*/ 2147483647 w 170"/>
              <a:gd name="T59" fmla="*/ 2147483647 h 255"/>
              <a:gd name="T60" fmla="*/ 2147483647 w 170"/>
              <a:gd name="T61" fmla="*/ 2147483647 h 255"/>
              <a:gd name="T62" fmla="*/ 2147483647 w 170"/>
              <a:gd name="T63" fmla="*/ 2147483647 h 255"/>
              <a:gd name="T64" fmla="*/ 2147483647 w 170"/>
              <a:gd name="T65" fmla="*/ 2147483647 h 255"/>
              <a:gd name="T66" fmla="*/ 2147483647 w 170"/>
              <a:gd name="T67" fmla="*/ 2147483647 h 255"/>
              <a:gd name="T68" fmla="*/ 2147483647 w 170"/>
              <a:gd name="T69" fmla="*/ 2147483647 h 255"/>
              <a:gd name="T70" fmla="*/ 2147483647 w 170"/>
              <a:gd name="T71" fmla="*/ 2147483647 h 255"/>
              <a:gd name="T72" fmla="*/ 2147483647 w 170"/>
              <a:gd name="T73" fmla="*/ 2147483647 h 255"/>
              <a:gd name="T74" fmla="*/ 2147483647 w 170"/>
              <a:gd name="T75" fmla="*/ 2147483647 h 255"/>
              <a:gd name="T76" fmla="*/ 2147483647 w 170"/>
              <a:gd name="T77" fmla="*/ 2147483647 h 255"/>
              <a:gd name="T78" fmla="*/ 2147483647 w 170"/>
              <a:gd name="T79" fmla="*/ 2147483647 h 255"/>
              <a:gd name="T80" fmla="*/ 2147483647 w 170"/>
              <a:gd name="T81" fmla="*/ 2147483647 h 255"/>
              <a:gd name="T82" fmla="*/ 2147483647 w 170"/>
              <a:gd name="T83" fmla="*/ 2147483647 h 255"/>
              <a:gd name="T84" fmla="*/ 2147483647 w 170"/>
              <a:gd name="T85" fmla="*/ 2147483647 h 255"/>
              <a:gd name="T86" fmla="*/ 2147483647 w 170"/>
              <a:gd name="T87" fmla="*/ 2147483647 h 255"/>
              <a:gd name="T88" fmla="*/ 2147483647 w 170"/>
              <a:gd name="T89" fmla="*/ 2147483647 h 255"/>
              <a:gd name="T90" fmla="*/ 2147483647 w 170"/>
              <a:gd name="T91" fmla="*/ 2147483647 h 255"/>
              <a:gd name="T92" fmla="*/ 2147483647 w 170"/>
              <a:gd name="T93" fmla="*/ 2147483647 h 255"/>
              <a:gd name="T94" fmla="*/ 2147483647 w 170"/>
              <a:gd name="T95" fmla="*/ 2147483647 h 255"/>
              <a:gd name="T96" fmla="*/ 2147483647 w 170"/>
              <a:gd name="T97" fmla="*/ 2147483647 h 255"/>
              <a:gd name="T98" fmla="*/ 2147483647 w 170"/>
              <a:gd name="T99" fmla="*/ 2147483647 h 255"/>
              <a:gd name="T100" fmla="*/ 2147483647 w 170"/>
              <a:gd name="T101" fmla="*/ 2147483647 h 255"/>
              <a:gd name="T102" fmla="*/ 2147483647 w 170"/>
              <a:gd name="T103" fmla="*/ 2147483647 h 255"/>
              <a:gd name="T104" fmla="*/ 2147483647 w 170"/>
              <a:gd name="T105" fmla="*/ 2147483647 h 255"/>
              <a:gd name="T106" fmla="*/ 2147483647 w 170"/>
              <a:gd name="T107" fmla="*/ 2147483647 h 255"/>
              <a:gd name="T108" fmla="*/ 2147483647 w 170"/>
              <a:gd name="T109" fmla="*/ 2147483647 h 255"/>
              <a:gd name="T110" fmla="*/ 2147483647 w 170"/>
              <a:gd name="T111" fmla="*/ 2147483647 h 255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70"/>
              <a:gd name="T169" fmla="*/ 0 h 255"/>
              <a:gd name="T170" fmla="*/ 170 w 170"/>
              <a:gd name="T171" fmla="*/ 255 h 255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70" h="255">
                <a:moveTo>
                  <a:pt x="23" y="229"/>
                </a:moveTo>
                <a:lnTo>
                  <a:pt x="20" y="226"/>
                </a:lnTo>
                <a:lnTo>
                  <a:pt x="15" y="232"/>
                </a:lnTo>
                <a:lnTo>
                  <a:pt x="9" y="229"/>
                </a:lnTo>
                <a:lnTo>
                  <a:pt x="3" y="232"/>
                </a:lnTo>
                <a:lnTo>
                  <a:pt x="0" y="235"/>
                </a:lnTo>
                <a:lnTo>
                  <a:pt x="3" y="241"/>
                </a:lnTo>
                <a:lnTo>
                  <a:pt x="9" y="244"/>
                </a:lnTo>
                <a:lnTo>
                  <a:pt x="12" y="249"/>
                </a:lnTo>
                <a:lnTo>
                  <a:pt x="3" y="249"/>
                </a:lnTo>
                <a:lnTo>
                  <a:pt x="9" y="255"/>
                </a:lnTo>
                <a:lnTo>
                  <a:pt x="18" y="252"/>
                </a:lnTo>
                <a:lnTo>
                  <a:pt x="23" y="246"/>
                </a:lnTo>
                <a:lnTo>
                  <a:pt x="18" y="244"/>
                </a:lnTo>
                <a:lnTo>
                  <a:pt x="20" y="238"/>
                </a:lnTo>
                <a:lnTo>
                  <a:pt x="23" y="232"/>
                </a:lnTo>
                <a:lnTo>
                  <a:pt x="29" y="232"/>
                </a:lnTo>
                <a:lnTo>
                  <a:pt x="29" y="241"/>
                </a:lnTo>
                <a:lnTo>
                  <a:pt x="40" y="238"/>
                </a:lnTo>
                <a:lnTo>
                  <a:pt x="46" y="238"/>
                </a:lnTo>
                <a:lnTo>
                  <a:pt x="49" y="232"/>
                </a:lnTo>
                <a:lnTo>
                  <a:pt x="52" y="226"/>
                </a:lnTo>
                <a:lnTo>
                  <a:pt x="63" y="226"/>
                </a:lnTo>
                <a:lnTo>
                  <a:pt x="72" y="224"/>
                </a:lnTo>
                <a:lnTo>
                  <a:pt x="75" y="221"/>
                </a:lnTo>
                <a:lnTo>
                  <a:pt x="78" y="226"/>
                </a:lnTo>
                <a:lnTo>
                  <a:pt x="86" y="206"/>
                </a:lnTo>
                <a:lnTo>
                  <a:pt x="84" y="209"/>
                </a:lnTo>
                <a:lnTo>
                  <a:pt x="78" y="212"/>
                </a:lnTo>
                <a:lnTo>
                  <a:pt x="81" y="203"/>
                </a:lnTo>
                <a:lnTo>
                  <a:pt x="81" y="189"/>
                </a:lnTo>
                <a:lnTo>
                  <a:pt x="84" y="183"/>
                </a:lnTo>
                <a:lnTo>
                  <a:pt x="86" y="178"/>
                </a:lnTo>
                <a:lnTo>
                  <a:pt x="98" y="175"/>
                </a:lnTo>
                <a:lnTo>
                  <a:pt x="104" y="175"/>
                </a:lnTo>
                <a:lnTo>
                  <a:pt x="104" y="166"/>
                </a:lnTo>
                <a:lnTo>
                  <a:pt x="109" y="163"/>
                </a:lnTo>
                <a:lnTo>
                  <a:pt x="112" y="157"/>
                </a:lnTo>
                <a:lnTo>
                  <a:pt x="104" y="152"/>
                </a:lnTo>
                <a:lnTo>
                  <a:pt x="101" y="146"/>
                </a:lnTo>
                <a:lnTo>
                  <a:pt x="92" y="143"/>
                </a:lnTo>
                <a:lnTo>
                  <a:pt x="86" y="140"/>
                </a:lnTo>
                <a:lnTo>
                  <a:pt x="84" y="126"/>
                </a:lnTo>
                <a:lnTo>
                  <a:pt x="89" y="126"/>
                </a:lnTo>
                <a:lnTo>
                  <a:pt x="86" y="120"/>
                </a:lnTo>
                <a:lnTo>
                  <a:pt x="89" y="117"/>
                </a:lnTo>
                <a:lnTo>
                  <a:pt x="86" y="112"/>
                </a:lnTo>
                <a:lnTo>
                  <a:pt x="92" y="112"/>
                </a:lnTo>
                <a:lnTo>
                  <a:pt x="92" y="103"/>
                </a:lnTo>
                <a:lnTo>
                  <a:pt x="95" y="103"/>
                </a:lnTo>
                <a:lnTo>
                  <a:pt x="101" y="103"/>
                </a:lnTo>
                <a:lnTo>
                  <a:pt x="104" y="100"/>
                </a:lnTo>
                <a:lnTo>
                  <a:pt x="109" y="97"/>
                </a:lnTo>
                <a:lnTo>
                  <a:pt x="112" y="94"/>
                </a:lnTo>
                <a:lnTo>
                  <a:pt x="118" y="94"/>
                </a:lnTo>
                <a:lnTo>
                  <a:pt x="127" y="89"/>
                </a:lnTo>
                <a:lnTo>
                  <a:pt x="135" y="80"/>
                </a:lnTo>
                <a:lnTo>
                  <a:pt x="141" y="74"/>
                </a:lnTo>
                <a:lnTo>
                  <a:pt x="138" y="74"/>
                </a:lnTo>
                <a:lnTo>
                  <a:pt x="135" y="74"/>
                </a:lnTo>
                <a:lnTo>
                  <a:pt x="135" y="71"/>
                </a:lnTo>
                <a:lnTo>
                  <a:pt x="141" y="63"/>
                </a:lnTo>
                <a:lnTo>
                  <a:pt x="147" y="57"/>
                </a:lnTo>
                <a:lnTo>
                  <a:pt x="150" y="57"/>
                </a:lnTo>
                <a:lnTo>
                  <a:pt x="147" y="57"/>
                </a:lnTo>
                <a:lnTo>
                  <a:pt x="147" y="54"/>
                </a:lnTo>
                <a:lnTo>
                  <a:pt x="150" y="54"/>
                </a:lnTo>
                <a:lnTo>
                  <a:pt x="164" y="54"/>
                </a:lnTo>
                <a:lnTo>
                  <a:pt x="170" y="54"/>
                </a:lnTo>
                <a:lnTo>
                  <a:pt x="167" y="48"/>
                </a:lnTo>
                <a:lnTo>
                  <a:pt x="164" y="43"/>
                </a:lnTo>
                <a:lnTo>
                  <a:pt x="164" y="40"/>
                </a:lnTo>
                <a:lnTo>
                  <a:pt x="164" y="34"/>
                </a:lnTo>
                <a:lnTo>
                  <a:pt x="158" y="28"/>
                </a:lnTo>
                <a:lnTo>
                  <a:pt x="161" y="28"/>
                </a:lnTo>
                <a:lnTo>
                  <a:pt x="161" y="25"/>
                </a:lnTo>
                <a:lnTo>
                  <a:pt x="158" y="17"/>
                </a:lnTo>
                <a:lnTo>
                  <a:pt x="155" y="14"/>
                </a:lnTo>
                <a:lnTo>
                  <a:pt x="150" y="11"/>
                </a:lnTo>
                <a:lnTo>
                  <a:pt x="147" y="11"/>
                </a:lnTo>
                <a:lnTo>
                  <a:pt x="141" y="11"/>
                </a:lnTo>
                <a:lnTo>
                  <a:pt x="135" y="8"/>
                </a:lnTo>
                <a:lnTo>
                  <a:pt x="129" y="8"/>
                </a:lnTo>
                <a:lnTo>
                  <a:pt x="121" y="0"/>
                </a:lnTo>
                <a:lnTo>
                  <a:pt x="118" y="0"/>
                </a:lnTo>
                <a:lnTo>
                  <a:pt x="118" y="8"/>
                </a:lnTo>
                <a:lnTo>
                  <a:pt x="115" y="11"/>
                </a:lnTo>
                <a:lnTo>
                  <a:pt x="112" y="11"/>
                </a:lnTo>
                <a:lnTo>
                  <a:pt x="104" y="11"/>
                </a:lnTo>
                <a:lnTo>
                  <a:pt x="95" y="8"/>
                </a:lnTo>
                <a:lnTo>
                  <a:pt x="92" y="8"/>
                </a:lnTo>
                <a:lnTo>
                  <a:pt x="92" y="17"/>
                </a:lnTo>
                <a:lnTo>
                  <a:pt x="89" y="20"/>
                </a:lnTo>
                <a:lnTo>
                  <a:pt x="86" y="20"/>
                </a:lnTo>
                <a:lnTo>
                  <a:pt x="81" y="17"/>
                </a:lnTo>
                <a:lnTo>
                  <a:pt x="78" y="20"/>
                </a:lnTo>
                <a:lnTo>
                  <a:pt x="75" y="23"/>
                </a:lnTo>
                <a:lnTo>
                  <a:pt x="72" y="23"/>
                </a:lnTo>
                <a:lnTo>
                  <a:pt x="75" y="23"/>
                </a:lnTo>
                <a:lnTo>
                  <a:pt x="66" y="28"/>
                </a:lnTo>
                <a:lnTo>
                  <a:pt x="69" y="34"/>
                </a:lnTo>
                <a:lnTo>
                  <a:pt x="61" y="40"/>
                </a:lnTo>
                <a:lnTo>
                  <a:pt x="61" y="46"/>
                </a:lnTo>
                <a:lnTo>
                  <a:pt x="58" y="48"/>
                </a:lnTo>
                <a:lnTo>
                  <a:pt x="52" y="48"/>
                </a:lnTo>
                <a:lnTo>
                  <a:pt x="49" y="48"/>
                </a:lnTo>
                <a:lnTo>
                  <a:pt x="46" y="63"/>
                </a:lnTo>
                <a:lnTo>
                  <a:pt x="38" y="74"/>
                </a:lnTo>
                <a:lnTo>
                  <a:pt x="43" y="77"/>
                </a:lnTo>
                <a:lnTo>
                  <a:pt x="43" y="80"/>
                </a:lnTo>
                <a:lnTo>
                  <a:pt x="40" y="83"/>
                </a:lnTo>
                <a:lnTo>
                  <a:pt x="38" y="86"/>
                </a:lnTo>
                <a:lnTo>
                  <a:pt x="29" y="86"/>
                </a:lnTo>
                <a:lnTo>
                  <a:pt x="20" y="89"/>
                </a:lnTo>
                <a:lnTo>
                  <a:pt x="18" y="97"/>
                </a:lnTo>
                <a:lnTo>
                  <a:pt x="18" y="100"/>
                </a:lnTo>
                <a:lnTo>
                  <a:pt x="18" y="103"/>
                </a:lnTo>
                <a:lnTo>
                  <a:pt x="18" y="106"/>
                </a:lnTo>
                <a:lnTo>
                  <a:pt x="20" y="114"/>
                </a:lnTo>
                <a:lnTo>
                  <a:pt x="18" y="123"/>
                </a:lnTo>
                <a:lnTo>
                  <a:pt x="26" y="129"/>
                </a:lnTo>
                <a:lnTo>
                  <a:pt x="29" y="132"/>
                </a:lnTo>
                <a:lnTo>
                  <a:pt x="29" y="135"/>
                </a:lnTo>
                <a:lnTo>
                  <a:pt x="26" y="137"/>
                </a:lnTo>
                <a:lnTo>
                  <a:pt x="23" y="137"/>
                </a:lnTo>
                <a:lnTo>
                  <a:pt x="20" y="140"/>
                </a:lnTo>
                <a:lnTo>
                  <a:pt x="23" y="146"/>
                </a:lnTo>
                <a:lnTo>
                  <a:pt x="23" y="149"/>
                </a:lnTo>
                <a:lnTo>
                  <a:pt x="23" y="155"/>
                </a:lnTo>
                <a:lnTo>
                  <a:pt x="20" y="157"/>
                </a:lnTo>
                <a:lnTo>
                  <a:pt x="15" y="160"/>
                </a:lnTo>
                <a:lnTo>
                  <a:pt x="12" y="175"/>
                </a:lnTo>
                <a:lnTo>
                  <a:pt x="6" y="175"/>
                </a:lnTo>
                <a:lnTo>
                  <a:pt x="3" y="175"/>
                </a:lnTo>
                <a:lnTo>
                  <a:pt x="3" y="180"/>
                </a:lnTo>
                <a:lnTo>
                  <a:pt x="9" y="192"/>
                </a:lnTo>
                <a:lnTo>
                  <a:pt x="20" y="206"/>
                </a:lnTo>
                <a:lnTo>
                  <a:pt x="29" y="221"/>
                </a:lnTo>
                <a:lnTo>
                  <a:pt x="23" y="226"/>
                </a:lnTo>
                <a:lnTo>
                  <a:pt x="23" y="229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62" name="Freeform 216"/>
          <p:cNvSpPr>
            <a:spLocks noChangeAspect="1"/>
          </p:cNvSpPr>
          <p:nvPr/>
        </p:nvSpPr>
        <p:spPr bwMode="gray">
          <a:xfrm>
            <a:off x="5472986" y="3676600"/>
            <a:ext cx="1456262" cy="994526"/>
          </a:xfrm>
          <a:custGeom>
            <a:avLst/>
            <a:gdLst>
              <a:gd name="T0" fmla="*/ 2147483647 w 192"/>
              <a:gd name="T1" fmla="*/ 2147483647 h 175"/>
              <a:gd name="T2" fmla="*/ 2147483647 w 192"/>
              <a:gd name="T3" fmla="*/ 2147483647 h 175"/>
              <a:gd name="T4" fmla="*/ 2147483647 w 192"/>
              <a:gd name="T5" fmla="*/ 2147483647 h 175"/>
              <a:gd name="T6" fmla="*/ 2147483647 w 192"/>
              <a:gd name="T7" fmla="*/ 2147483647 h 175"/>
              <a:gd name="T8" fmla="*/ 2147483647 w 192"/>
              <a:gd name="T9" fmla="*/ 2147483647 h 175"/>
              <a:gd name="T10" fmla="*/ 2147483647 w 192"/>
              <a:gd name="T11" fmla="*/ 2147483647 h 175"/>
              <a:gd name="T12" fmla="*/ 2147483647 w 192"/>
              <a:gd name="T13" fmla="*/ 2147483647 h 175"/>
              <a:gd name="T14" fmla="*/ 2147483647 w 192"/>
              <a:gd name="T15" fmla="*/ 2147483647 h 175"/>
              <a:gd name="T16" fmla="*/ 2147483647 w 192"/>
              <a:gd name="T17" fmla="*/ 2147483647 h 175"/>
              <a:gd name="T18" fmla="*/ 2147483647 w 192"/>
              <a:gd name="T19" fmla="*/ 2147483647 h 175"/>
              <a:gd name="T20" fmla="*/ 2147483647 w 192"/>
              <a:gd name="T21" fmla="*/ 2147483647 h 175"/>
              <a:gd name="T22" fmla="*/ 2147483647 w 192"/>
              <a:gd name="T23" fmla="*/ 2147483647 h 175"/>
              <a:gd name="T24" fmla="*/ 2147483647 w 192"/>
              <a:gd name="T25" fmla="*/ 2147483647 h 175"/>
              <a:gd name="T26" fmla="*/ 2147483647 w 192"/>
              <a:gd name="T27" fmla="*/ 2147483647 h 175"/>
              <a:gd name="T28" fmla="*/ 2147483647 w 192"/>
              <a:gd name="T29" fmla="*/ 2147483647 h 175"/>
              <a:gd name="T30" fmla="*/ 2147483647 w 192"/>
              <a:gd name="T31" fmla="*/ 2147483647 h 175"/>
              <a:gd name="T32" fmla="*/ 2147483647 w 192"/>
              <a:gd name="T33" fmla="*/ 2147483647 h 175"/>
              <a:gd name="T34" fmla="*/ 2147483647 w 192"/>
              <a:gd name="T35" fmla="*/ 2147483647 h 175"/>
              <a:gd name="T36" fmla="*/ 2147483647 w 192"/>
              <a:gd name="T37" fmla="*/ 2147483647 h 175"/>
              <a:gd name="T38" fmla="*/ 2147483647 w 192"/>
              <a:gd name="T39" fmla="*/ 2147483647 h 175"/>
              <a:gd name="T40" fmla="*/ 2147483647 w 192"/>
              <a:gd name="T41" fmla="*/ 2147483647 h 175"/>
              <a:gd name="T42" fmla="*/ 2147483647 w 192"/>
              <a:gd name="T43" fmla="*/ 2147483647 h 175"/>
              <a:gd name="T44" fmla="*/ 2147483647 w 192"/>
              <a:gd name="T45" fmla="*/ 2147483647 h 175"/>
              <a:gd name="T46" fmla="*/ 2147483647 w 192"/>
              <a:gd name="T47" fmla="*/ 2147483647 h 175"/>
              <a:gd name="T48" fmla="*/ 2147483647 w 192"/>
              <a:gd name="T49" fmla="*/ 2147483647 h 175"/>
              <a:gd name="T50" fmla="*/ 2147483647 w 192"/>
              <a:gd name="T51" fmla="*/ 2147483647 h 175"/>
              <a:gd name="T52" fmla="*/ 2147483647 w 192"/>
              <a:gd name="T53" fmla="*/ 2147483647 h 175"/>
              <a:gd name="T54" fmla="*/ 2147483647 w 192"/>
              <a:gd name="T55" fmla="*/ 2147483647 h 175"/>
              <a:gd name="T56" fmla="*/ 2147483647 w 192"/>
              <a:gd name="T57" fmla="*/ 2147483647 h 175"/>
              <a:gd name="T58" fmla="*/ 2147483647 w 192"/>
              <a:gd name="T59" fmla="*/ 2147483647 h 175"/>
              <a:gd name="T60" fmla="*/ 2147483647 w 192"/>
              <a:gd name="T61" fmla="*/ 2147483647 h 175"/>
              <a:gd name="T62" fmla="*/ 2147483647 w 192"/>
              <a:gd name="T63" fmla="*/ 2147483647 h 175"/>
              <a:gd name="T64" fmla="*/ 2147483647 w 192"/>
              <a:gd name="T65" fmla="*/ 2147483647 h 175"/>
              <a:gd name="T66" fmla="*/ 2147483647 w 192"/>
              <a:gd name="T67" fmla="*/ 2147483647 h 175"/>
              <a:gd name="T68" fmla="*/ 2147483647 w 192"/>
              <a:gd name="T69" fmla="*/ 2147483647 h 175"/>
              <a:gd name="T70" fmla="*/ 2147483647 w 192"/>
              <a:gd name="T71" fmla="*/ 2147483647 h 175"/>
              <a:gd name="T72" fmla="*/ 2147483647 w 192"/>
              <a:gd name="T73" fmla="*/ 2147483647 h 175"/>
              <a:gd name="T74" fmla="*/ 2147483647 w 192"/>
              <a:gd name="T75" fmla="*/ 2147483647 h 175"/>
              <a:gd name="T76" fmla="*/ 2147483647 w 192"/>
              <a:gd name="T77" fmla="*/ 2147483647 h 175"/>
              <a:gd name="T78" fmla="*/ 2147483647 w 192"/>
              <a:gd name="T79" fmla="*/ 2147483647 h 175"/>
              <a:gd name="T80" fmla="*/ 2147483647 w 192"/>
              <a:gd name="T81" fmla="*/ 2147483647 h 175"/>
              <a:gd name="T82" fmla="*/ 2147483647 w 192"/>
              <a:gd name="T83" fmla="*/ 2147483647 h 175"/>
              <a:gd name="T84" fmla="*/ 2147483647 w 192"/>
              <a:gd name="T85" fmla="*/ 2147483647 h 175"/>
              <a:gd name="T86" fmla="*/ 2147483647 w 192"/>
              <a:gd name="T87" fmla="*/ 2147483647 h 175"/>
              <a:gd name="T88" fmla="*/ 2147483647 w 192"/>
              <a:gd name="T89" fmla="*/ 2147483647 h 175"/>
              <a:gd name="T90" fmla="*/ 2147483647 w 192"/>
              <a:gd name="T91" fmla="*/ 2147483647 h 175"/>
              <a:gd name="T92" fmla="*/ 2147483647 w 192"/>
              <a:gd name="T93" fmla="*/ 2147483647 h 175"/>
              <a:gd name="T94" fmla="*/ 2147483647 w 192"/>
              <a:gd name="T95" fmla="*/ 2147483647 h 175"/>
              <a:gd name="T96" fmla="*/ 2147483647 w 192"/>
              <a:gd name="T97" fmla="*/ 2147483647 h 175"/>
              <a:gd name="T98" fmla="*/ 2147483647 w 192"/>
              <a:gd name="T99" fmla="*/ 2147483647 h 175"/>
              <a:gd name="T100" fmla="*/ 2147483647 w 192"/>
              <a:gd name="T101" fmla="*/ 2147483647 h 175"/>
              <a:gd name="T102" fmla="*/ 2147483647 w 192"/>
              <a:gd name="T103" fmla="*/ 2147483647 h 175"/>
              <a:gd name="T104" fmla="*/ 2147483647 w 192"/>
              <a:gd name="T105" fmla="*/ 2147483647 h 175"/>
              <a:gd name="T106" fmla="*/ 2147483647 w 192"/>
              <a:gd name="T107" fmla="*/ 2147483647 h 175"/>
              <a:gd name="T108" fmla="*/ 2147483647 w 192"/>
              <a:gd name="T109" fmla="*/ 2147483647 h 175"/>
              <a:gd name="T110" fmla="*/ 0 w 192"/>
              <a:gd name="T111" fmla="*/ 2147483647 h 175"/>
              <a:gd name="T112" fmla="*/ 2147483647 w 192"/>
              <a:gd name="T113" fmla="*/ 2147483647 h 175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92"/>
              <a:gd name="T172" fmla="*/ 0 h 175"/>
              <a:gd name="T173" fmla="*/ 192 w 192"/>
              <a:gd name="T174" fmla="*/ 175 h 175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92" h="175">
                <a:moveTo>
                  <a:pt x="14" y="60"/>
                </a:moveTo>
                <a:lnTo>
                  <a:pt x="14" y="63"/>
                </a:lnTo>
                <a:lnTo>
                  <a:pt x="14" y="60"/>
                </a:lnTo>
                <a:lnTo>
                  <a:pt x="20" y="60"/>
                </a:lnTo>
                <a:lnTo>
                  <a:pt x="26" y="51"/>
                </a:lnTo>
                <a:lnTo>
                  <a:pt x="32" y="49"/>
                </a:lnTo>
                <a:lnTo>
                  <a:pt x="40" y="54"/>
                </a:lnTo>
                <a:lnTo>
                  <a:pt x="43" y="57"/>
                </a:lnTo>
                <a:lnTo>
                  <a:pt x="46" y="57"/>
                </a:lnTo>
                <a:lnTo>
                  <a:pt x="49" y="57"/>
                </a:lnTo>
                <a:lnTo>
                  <a:pt x="52" y="60"/>
                </a:lnTo>
                <a:lnTo>
                  <a:pt x="58" y="72"/>
                </a:lnTo>
                <a:lnTo>
                  <a:pt x="58" y="77"/>
                </a:lnTo>
                <a:lnTo>
                  <a:pt x="58" y="80"/>
                </a:lnTo>
                <a:lnTo>
                  <a:pt x="66" y="83"/>
                </a:lnTo>
                <a:lnTo>
                  <a:pt x="69" y="92"/>
                </a:lnTo>
                <a:lnTo>
                  <a:pt x="75" y="95"/>
                </a:lnTo>
                <a:lnTo>
                  <a:pt x="86" y="100"/>
                </a:lnTo>
                <a:lnTo>
                  <a:pt x="95" y="109"/>
                </a:lnTo>
                <a:lnTo>
                  <a:pt x="98" y="109"/>
                </a:lnTo>
                <a:lnTo>
                  <a:pt x="101" y="109"/>
                </a:lnTo>
                <a:lnTo>
                  <a:pt x="103" y="112"/>
                </a:lnTo>
                <a:lnTo>
                  <a:pt x="106" y="115"/>
                </a:lnTo>
                <a:lnTo>
                  <a:pt x="112" y="117"/>
                </a:lnTo>
                <a:lnTo>
                  <a:pt x="118" y="120"/>
                </a:lnTo>
                <a:lnTo>
                  <a:pt x="121" y="123"/>
                </a:lnTo>
                <a:lnTo>
                  <a:pt x="121" y="126"/>
                </a:lnTo>
                <a:lnTo>
                  <a:pt x="124" y="123"/>
                </a:lnTo>
                <a:lnTo>
                  <a:pt x="126" y="123"/>
                </a:lnTo>
                <a:lnTo>
                  <a:pt x="126" y="129"/>
                </a:lnTo>
                <a:lnTo>
                  <a:pt x="129" y="132"/>
                </a:lnTo>
                <a:lnTo>
                  <a:pt x="138" y="135"/>
                </a:lnTo>
                <a:lnTo>
                  <a:pt x="141" y="143"/>
                </a:lnTo>
                <a:lnTo>
                  <a:pt x="147" y="155"/>
                </a:lnTo>
                <a:lnTo>
                  <a:pt x="147" y="161"/>
                </a:lnTo>
                <a:lnTo>
                  <a:pt x="144" y="161"/>
                </a:lnTo>
                <a:lnTo>
                  <a:pt x="144" y="166"/>
                </a:lnTo>
                <a:lnTo>
                  <a:pt x="138" y="172"/>
                </a:lnTo>
                <a:lnTo>
                  <a:pt x="144" y="175"/>
                </a:lnTo>
                <a:lnTo>
                  <a:pt x="152" y="169"/>
                </a:lnTo>
                <a:lnTo>
                  <a:pt x="152" y="161"/>
                </a:lnTo>
                <a:lnTo>
                  <a:pt x="158" y="158"/>
                </a:lnTo>
                <a:lnTo>
                  <a:pt x="164" y="158"/>
                </a:lnTo>
                <a:lnTo>
                  <a:pt x="164" y="146"/>
                </a:lnTo>
                <a:lnTo>
                  <a:pt x="155" y="143"/>
                </a:lnTo>
                <a:lnTo>
                  <a:pt x="152" y="140"/>
                </a:lnTo>
                <a:lnTo>
                  <a:pt x="155" y="132"/>
                </a:lnTo>
                <a:lnTo>
                  <a:pt x="161" y="126"/>
                </a:lnTo>
                <a:lnTo>
                  <a:pt x="161" y="123"/>
                </a:lnTo>
                <a:lnTo>
                  <a:pt x="164" y="126"/>
                </a:lnTo>
                <a:lnTo>
                  <a:pt x="164" y="129"/>
                </a:lnTo>
                <a:lnTo>
                  <a:pt x="167" y="132"/>
                </a:lnTo>
                <a:lnTo>
                  <a:pt x="170" y="129"/>
                </a:lnTo>
                <a:lnTo>
                  <a:pt x="172" y="129"/>
                </a:lnTo>
                <a:lnTo>
                  <a:pt x="172" y="132"/>
                </a:lnTo>
                <a:lnTo>
                  <a:pt x="178" y="138"/>
                </a:lnTo>
                <a:lnTo>
                  <a:pt x="184" y="135"/>
                </a:lnTo>
                <a:lnTo>
                  <a:pt x="178" y="126"/>
                </a:lnTo>
                <a:lnTo>
                  <a:pt x="172" y="120"/>
                </a:lnTo>
                <a:lnTo>
                  <a:pt x="161" y="115"/>
                </a:lnTo>
                <a:lnTo>
                  <a:pt x="149" y="109"/>
                </a:lnTo>
                <a:lnTo>
                  <a:pt x="141" y="106"/>
                </a:lnTo>
                <a:lnTo>
                  <a:pt x="147" y="100"/>
                </a:lnTo>
                <a:lnTo>
                  <a:pt x="141" y="97"/>
                </a:lnTo>
                <a:lnTo>
                  <a:pt x="135" y="97"/>
                </a:lnTo>
                <a:lnTo>
                  <a:pt x="126" y="97"/>
                </a:lnTo>
                <a:lnTo>
                  <a:pt x="118" y="89"/>
                </a:lnTo>
                <a:lnTo>
                  <a:pt x="112" y="83"/>
                </a:lnTo>
                <a:lnTo>
                  <a:pt x="109" y="74"/>
                </a:lnTo>
                <a:lnTo>
                  <a:pt x="106" y="66"/>
                </a:lnTo>
                <a:lnTo>
                  <a:pt x="92" y="57"/>
                </a:lnTo>
                <a:lnTo>
                  <a:pt x="86" y="51"/>
                </a:lnTo>
                <a:lnTo>
                  <a:pt x="83" y="46"/>
                </a:lnTo>
                <a:lnTo>
                  <a:pt x="86" y="43"/>
                </a:lnTo>
                <a:lnTo>
                  <a:pt x="89" y="40"/>
                </a:lnTo>
                <a:lnTo>
                  <a:pt x="86" y="37"/>
                </a:lnTo>
                <a:lnTo>
                  <a:pt x="86" y="34"/>
                </a:lnTo>
                <a:lnTo>
                  <a:pt x="89" y="28"/>
                </a:lnTo>
                <a:lnTo>
                  <a:pt x="98" y="26"/>
                </a:lnTo>
                <a:lnTo>
                  <a:pt x="101" y="26"/>
                </a:lnTo>
                <a:lnTo>
                  <a:pt x="101" y="31"/>
                </a:lnTo>
                <a:lnTo>
                  <a:pt x="106" y="34"/>
                </a:lnTo>
                <a:lnTo>
                  <a:pt x="106" y="40"/>
                </a:lnTo>
                <a:lnTo>
                  <a:pt x="109" y="43"/>
                </a:lnTo>
                <a:lnTo>
                  <a:pt x="115" y="37"/>
                </a:lnTo>
                <a:lnTo>
                  <a:pt x="115" y="40"/>
                </a:lnTo>
                <a:lnTo>
                  <a:pt x="112" y="43"/>
                </a:lnTo>
                <a:lnTo>
                  <a:pt x="118" y="46"/>
                </a:lnTo>
                <a:lnTo>
                  <a:pt x="121" y="43"/>
                </a:lnTo>
                <a:lnTo>
                  <a:pt x="118" y="37"/>
                </a:lnTo>
                <a:lnTo>
                  <a:pt x="121" y="34"/>
                </a:lnTo>
                <a:lnTo>
                  <a:pt x="124" y="37"/>
                </a:lnTo>
                <a:lnTo>
                  <a:pt x="124" y="43"/>
                </a:lnTo>
                <a:lnTo>
                  <a:pt x="126" y="49"/>
                </a:lnTo>
                <a:lnTo>
                  <a:pt x="132" y="51"/>
                </a:lnTo>
                <a:lnTo>
                  <a:pt x="129" y="51"/>
                </a:lnTo>
                <a:lnTo>
                  <a:pt x="126" y="51"/>
                </a:lnTo>
                <a:lnTo>
                  <a:pt x="135" y="60"/>
                </a:lnTo>
                <a:lnTo>
                  <a:pt x="144" y="66"/>
                </a:lnTo>
                <a:lnTo>
                  <a:pt x="147" y="66"/>
                </a:lnTo>
                <a:lnTo>
                  <a:pt x="152" y="66"/>
                </a:lnTo>
                <a:lnTo>
                  <a:pt x="149" y="57"/>
                </a:lnTo>
                <a:lnTo>
                  <a:pt x="144" y="54"/>
                </a:lnTo>
                <a:lnTo>
                  <a:pt x="141" y="46"/>
                </a:lnTo>
                <a:lnTo>
                  <a:pt x="135" y="43"/>
                </a:lnTo>
                <a:lnTo>
                  <a:pt x="141" y="34"/>
                </a:lnTo>
                <a:lnTo>
                  <a:pt x="147" y="37"/>
                </a:lnTo>
                <a:lnTo>
                  <a:pt x="152" y="34"/>
                </a:lnTo>
                <a:lnTo>
                  <a:pt x="155" y="31"/>
                </a:lnTo>
                <a:lnTo>
                  <a:pt x="161" y="34"/>
                </a:lnTo>
                <a:lnTo>
                  <a:pt x="167" y="34"/>
                </a:lnTo>
                <a:lnTo>
                  <a:pt x="172" y="37"/>
                </a:lnTo>
                <a:lnTo>
                  <a:pt x="178" y="37"/>
                </a:lnTo>
                <a:lnTo>
                  <a:pt x="184" y="37"/>
                </a:lnTo>
                <a:lnTo>
                  <a:pt x="190" y="40"/>
                </a:lnTo>
                <a:lnTo>
                  <a:pt x="192" y="40"/>
                </a:lnTo>
                <a:lnTo>
                  <a:pt x="192" y="34"/>
                </a:lnTo>
                <a:lnTo>
                  <a:pt x="187" y="31"/>
                </a:lnTo>
                <a:lnTo>
                  <a:pt x="184" y="28"/>
                </a:lnTo>
                <a:lnTo>
                  <a:pt x="184" y="23"/>
                </a:lnTo>
                <a:lnTo>
                  <a:pt x="181" y="26"/>
                </a:lnTo>
                <a:lnTo>
                  <a:pt x="175" y="26"/>
                </a:lnTo>
                <a:lnTo>
                  <a:pt x="167" y="26"/>
                </a:lnTo>
                <a:lnTo>
                  <a:pt x="161" y="20"/>
                </a:lnTo>
                <a:lnTo>
                  <a:pt x="155" y="17"/>
                </a:lnTo>
                <a:lnTo>
                  <a:pt x="147" y="11"/>
                </a:lnTo>
                <a:lnTo>
                  <a:pt x="138" y="17"/>
                </a:lnTo>
                <a:lnTo>
                  <a:pt x="138" y="23"/>
                </a:lnTo>
                <a:lnTo>
                  <a:pt x="132" y="26"/>
                </a:lnTo>
                <a:lnTo>
                  <a:pt x="132" y="31"/>
                </a:lnTo>
                <a:lnTo>
                  <a:pt x="118" y="31"/>
                </a:lnTo>
                <a:lnTo>
                  <a:pt x="115" y="28"/>
                </a:lnTo>
                <a:lnTo>
                  <a:pt x="106" y="28"/>
                </a:lnTo>
                <a:lnTo>
                  <a:pt x="101" y="17"/>
                </a:lnTo>
                <a:lnTo>
                  <a:pt x="95" y="14"/>
                </a:lnTo>
                <a:lnTo>
                  <a:pt x="89" y="11"/>
                </a:lnTo>
                <a:lnTo>
                  <a:pt x="86" y="11"/>
                </a:lnTo>
                <a:lnTo>
                  <a:pt x="86" y="8"/>
                </a:lnTo>
                <a:lnTo>
                  <a:pt x="86" y="6"/>
                </a:lnTo>
                <a:lnTo>
                  <a:pt x="83" y="0"/>
                </a:lnTo>
                <a:lnTo>
                  <a:pt x="66" y="6"/>
                </a:lnTo>
                <a:lnTo>
                  <a:pt x="60" y="6"/>
                </a:lnTo>
                <a:lnTo>
                  <a:pt x="58" y="14"/>
                </a:lnTo>
                <a:lnTo>
                  <a:pt x="55" y="11"/>
                </a:lnTo>
                <a:lnTo>
                  <a:pt x="52" y="11"/>
                </a:lnTo>
                <a:lnTo>
                  <a:pt x="52" y="20"/>
                </a:lnTo>
                <a:lnTo>
                  <a:pt x="49" y="17"/>
                </a:lnTo>
                <a:lnTo>
                  <a:pt x="49" y="14"/>
                </a:lnTo>
                <a:lnTo>
                  <a:pt x="43" y="20"/>
                </a:lnTo>
                <a:lnTo>
                  <a:pt x="43" y="17"/>
                </a:lnTo>
                <a:lnTo>
                  <a:pt x="40" y="14"/>
                </a:lnTo>
                <a:lnTo>
                  <a:pt x="35" y="26"/>
                </a:lnTo>
                <a:lnTo>
                  <a:pt x="26" y="14"/>
                </a:lnTo>
                <a:lnTo>
                  <a:pt x="20" y="14"/>
                </a:lnTo>
                <a:lnTo>
                  <a:pt x="20" y="26"/>
                </a:lnTo>
                <a:lnTo>
                  <a:pt x="12" y="20"/>
                </a:lnTo>
                <a:lnTo>
                  <a:pt x="6" y="23"/>
                </a:lnTo>
                <a:lnTo>
                  <a:pt x="3" y="26"/>
                </a:lnTo>
                <a:lnTo>
                  <a:pt x="9" y="34"/>
                </a:lnTo>
                <a:lnTo>
                  <a:pt x="6" y="34"/>
                </a:lnTo>
                <a:lnTo>
                  <a:pt x="3" y="37"/>
                </a:lnTo>
                <a:lnTo>
                  <a:pt x="0" y="37"/>
                </a:lnTo>
                <a:lnTo>
                  <a:pt x="6" y="43"/>
                </a:lnTo>
                <a:lnTo>
                  <a:pt x="3" y="51"/>
                </a:lnTo>
                <a:lnTo>
                  <a:pt x="6" y="51"/>
                </a:lnTo>
                <a:lnTo>
                  <a:pt x="14" y="54"/>
                </a:lnTo>
                <a:lnTo>
                  <a:pt x="14" y="6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4B4B4B"/>
              </a:solidFill>
            </a:endParaRPr>
          </a:p>
        </p:txBody>
      </p:sp>
      <p:sp>
        <p:nvSpPr>
          <p:cNvPr id="263" name="Freeform 217"/>
          <p:cNvSpPr>
            <a:spLocks noChangeAspect="1"/>
          </p:cNvSpPr>
          <p:nvPr/>
        </p:nvSpPr>
        <p:spPr bwMode="gray">
          <a:xfrm>
            <a:off x="6125103" y="4018609"/>
            <a:ext cx="22005" cy="34500"/>
          </a:xfrm>
          <a:custGeom>
            <a:avLst/>
            <a:gdLst>
              <a:gd name="T0" fmla="*/ 2147483647 w 3"/>
              <a:gd name="T1" fmla="*/ 2147483647 h 6"/>
              <a:gd name="T2" fmla="*/ 2147483647 w 3"/>
              <a:gd name="T3" fmla="*/ 2147483647 h 6"/>
              <a:gd name="T4" fmla="*/ 2147483647 w 3"/>
              <a:gd name="T5" fmla="*/ 2147483647 h 6"/>
              <a:gd name="T6" fmla="*/ 2147483647 w 3"/>
              <a:gd name="T7" fmla="*/ 2147483647 h 6"/>
              <a:gd name="T8" fmla="*/ 2147483647 w 3"/>
              <a:gd name="T9" fmla="*/ 0 h 6"/>
              <a:gd name="T10" fmla="*/ 2147483647 w 3"/>
              <a:gd name="T11" fmla="*/ 0 h 6"/>
              <a:gd name="T12" fmla="*/ 0 w 3"/>
              <a:gd name="T13" fmla="*/ 2147483647 h 6"/>
              <a:gd name="T14" fmla="*/ 0 w 3"/>
              <a:gd name="T15" fmla="*/ 2147483647 h 6"/>
              <a:gd name="T16" fmla="*/ 2147483647 w 3"/>
              <a:gd name="T17" fmla="*/ 2147483647 h 6"/>
              <a:gd name="T18" fmla="*/ 2147483647 w 3"/>
              <a:gd name="T19" fmla="*/ 2147483647 h 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"/>
              <a:gd name="T31" fmla="*/ 0 h 6"/>
              <a:gd name="T32" fmla="*/ 3 w 3"/>
              <a:gd name="T33" fmla="*/ 6 h 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" h="6">
                <a:moveTo>
                  <a:pt x="3" y="6"/>
                </a:moveTo>
                <a:lnTo>
                  <a:pt x="3" y="6"/>
                </a:lnTo>
                <a:lnTo>
                  <a:pt x="3" y="3"/>
                </a:ln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4B4B4B"/>
              </a:solidFill>
            </a:endParaRPr>
          </a:p>
        </p:txBody>
      </p:sp>
      <p:sp>
        <p:nvSpPr>
          <p:cNvPr id="81946" name="Freeform 218"/>
          <p:cNvSpPr>
            <a:spLocks noChangeAspect="1"/>
          </p:cNvSpPr>
          <p:nvPr/>
        </p:nvSpPr>
        <p:spPr bwMode="gray">
          <a:xfrm>
            <a:off x="5414977" y="2842578"/>
            <a:ext cx="996179" cy="781521"/>
          </a:xfrm>
          <a:custGeom>
            <a:avLst/>
            <a:gdLst>
              <a:gd name="T0" fmla="*/ 2147483647 w 132"/>
              <a:gd name="T1" fmla="*/ 2147483647 h 138"/>
              <a:gd name="T2" fmla="*/ 2147483647 w 132"/>
              <a:gd name="T3" fmla="*/ 2147483647 h 138"/>
              <a:gd name="T4" fmla="*/ 2147483647 w 132"/>
              <a:gd name="T5" fmla="*/ 2147483647 h 138"/>
              <a:gd name="T6" fmla="*/ 2147483647 w 132"/>
              <a:gd name="T7" fmla="*/ 2147483647 h 138"/>
              <a:gd name="T8" fmla="*/ 2147483647 w 132"/>
              <a:gd name="T9" fmla="*/ 2147483647 h 138"/>
              <a:gd name="T10" fmla="*/ 2147483647 w 132"/>
              <a:gd name="T11" fmla="*/ 2147483647 h 138"/>
              <a:gd name="T12" fmla="*/ 2147483647 w 132"/>
              <a:gd name="T13" fmla="*/ 2147483647 h 138"/>
              <a:gd name="T14" fmla="*/ 2147483647 w 132"/>
              <a:gd name="T15" fmla="*/ 2147483647 h 138"/>
              <a:gd name="T16" fmla="*/ 2147483647 w 132"/>
              <a:gd name="T17" fmla="*/ 2147483647 h 138"/>
              <a:gd name="T18" fmla="*/ 2147483647 w 132"/>
              <a:gd name="T19" fmla="*/ 2147483647 h 138"/>
              <a:gd name="T20" fmla="*/ 2147483647 w 132"/>
              <a:gd name="T21" fmla="*/ 2147483647 h 138"/>
              <a:gd name="T22" fmla="*/ 2147483647 w 132"/>
              <a:gd name="T23" fmla="*/ 2147483647 h 138"/>
              <a:gd name="T24" fmla="*/ 2147483647 w 132"/>
              <a:gd name="T25" fmla="*/ 2147483647 h 138"/>
              <a:gd name="T26" fmla="*/ 2147483647 w 132"/>
              <a:gd name="T27" fmla="*/ 2147483647 h 138"/>
              <a:gd name="T28" fmla="*/ 2147483647 w 132"/>
              <a:gd name="T29" fmla="*/ 2147483647 h 138"/>
              <a:gd name="T30" fmla="*/ 2147483647 w 132"/>
              <a:gd name="T31" fmla="*/ 2147483647 h 138"/>
              <a:gd name="T32" fmla="*/ 2147483647 w 132"/>
              <a:gd name="T33" fmla="*/ 2147483647 h 138"/>
              <a:gd name="T34" fmla="*/ 2147483647 w 132"/>
              <a:gd name="T35" fmla="*/ 2147483647 h 138"/>
              <a:gd name="T36" fmla="*/ 2147483647 w 132"/>
              <a:gd name="T37" fmla="*/ 2147483647 h 138"/>
              <a:gd name="T38" fmla="*/ 2147483647 w 132"/>
              <a:gd name="T39" fmla="*/ 2147483647 h 138"/>
              <a:gd name="T40" fmla="*/ 2147483647 w 132"/>
              <a:gd name="T41" fmla="*/ 2147483647 h 138"/>
              <a:gd name="T42" fmla="*/ 2147483647 w 132"/>
              <a:gd name="T43" fmla="*/ 2147483647 h 138"/>
              <a:gd name="T44" fmla="*/ 2147483647 w 132"/>
              <a:gd name="T45" fmla="*/ 2147483647 h 138"/>
              <a:gd name="T46" fmla="*/ 2147483647 w 132"/>
              <a:gd name="T47" fmla="*/ 2147483647 h 138"/>
              <a:gd name="T48" fmla="*/ 2147483647 w 132"/>
              <a:gd name="T49" fmla="*/ 2147483647 h 138"/>
              <a:gd name="T50" fmla="*/ 2147483647 w 132"/>
              <a:gd name="T51" fmla="*/ 2147483647 h 138"/>
              <a:gd name="T52" fmla="*/ 2147483647 w 132"/>
              <a:gd name="T53" fmla="*/ 2147483647 h 138"/>
              <a:gd name="T54" fmla="*/ 2147483647 w 132"/>
              <a:gd name="T55" fmla="*/ 2147483647 h 138"/>
              <a:gd name="T56" fmla="*/ 2147483647 w 132"/>
              <a:gd name="T57" fmla="*/ 2147483647 h 138"/>
              <a:gd name="T58" fmla="*/ 2147483647 w 132"/>
              <a:gd name="T59" fmla="*/ 2147483647 h 138"/>
              <a:gd name="T60" fmla="*/ 2147483647 w 132"/>
              <a:gd name="T61" fmla="*/ 2147483647 h 138"/>
              <a:gd name="T62" fmla="*/ 2147483647 w 132"/>
              <a:gd name="T63" fmla="*/ 2147483647 h 138"/>
              <a:gd name="T64" fmla="*/ 2147483647 w 132"/>
              <a:gd name="T65" fmla="*/ 2147483647 h 138"/>
              <a:gd name="T66" fmla="*/ 2147483647 w 132"/>
              <a:gd name="T67" fmla="*/ 0 h 138"/>
              <a:gd name="T68" fmla="*/ 2147483647 w 132"/>
              <a:gd name="T69" fmla="*/ 2147483647 h 138"/>
              <a:gd name="T70" fmla="*/ 2147483647 w 132"/>
              <a:gd name="T71" fmla="*/ 2147483647 h 138"/>
              <a:gd name="T72" fmla="*/ 2147483647 w 132"/>
              <a:gd name="T73" fmla="*/ 2147483647 h 138"/>
              <a:gd name="T74" fmla="*/ 2147483647 w 132"/>
              <a:gd name="T75" fmla="*/ 2147483647 h 138"/>
              <a:gd name="T76" fmla="*/ 2147483647 w 132"/>
              <a:gd name="T77" fmla="*/ 2147483647 h 138"/>
              <a:gd name="T78" fmla="*/ 2147483647 w 132"/>
              <a:gd name="T79" fmla="*/ 2147483647 h 138"/>
              <a:gd name="T80" fmla="*/ 0 w 132"/>
              <a:gd name="T81" fmla="*/ 2147483647 h 138"/>
              <a:gd name="T82" fmla="*/ 0 w 132"/>
              <a:gd name="T83" fmla="*/ 2147483647 h 138"/>
              <a:gd name="T84" fmla="*/ 2147483647 w 132"/>
              <a:gd name="T85" fmla="*/ 2147483647 h 138"/>
              <a:gd name="T86" fmla="*/ 2147483647 w 132"/>
              <a:gd name="T87" fmla="*/ 2147483647 h 138"/>
              <a:gd name="T88" fmla="*/ 2147483647 w 132"/>
              <a:gd name="T89" fmla="*/ 2147483647 h 13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32"/>
              <a:gd name="T136" fmla="*/ 0 h 138"/>
              <a:gd name="T137" fmla="*/ 132 w 132"/>
              <a:gd name="T138" fmla="*/ 138 h 138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32" h="138">
                <a:moveTo>
                  <a:pt x="5" y="101"/>
                </a:moveTo>
                <a:lnTo>
                  <a:pt x="8" y="104"/>
                </a:lnTo>
                <a:lnTo>
                  <a:pt x="14" y="104"/>
                </a:lnTo>
                <a:lnTo>
                  <a:pt x="17" y="107"/>
                </a:lnTo>
                <a:lnTo>
                  <a:pt x="20" y="104"/>
                </a:lnTo>
                <a:lnTo>
                  <a:pt x="22" y="104"/>
                </a:lnTo>
                <a:lnTo>
                  <a:pt x="28" y="107"/>
                </a:lnTo>
                <a:lnTo>
                  <a:pt x="34" y="109"/>
                </a:lnTo>
                <a:lnTo>
                  <a:pt x="25" y="118"/>
                </a:lnTo>
                <a:lnTo>
                  <a:pt x="22" y="135"/>
                </a:lnTo>
                <a:lnTo>
                  <a:pt x="31" y="135"/>
                </a:lnTo>
                <a:lnTo>
                  <a:pt x="37" y="130"/>
                </a:lnTo>
                <a:lnTo>
                  <a:pt x="43" y="132"/>
                </a:lnTo>
                <a:lnTo>
                  <a:pt x="51" y="135"/>
                </a:lnTo>
                <a:lnTo>
                  <a:pt x="57" y="135"/>
                </a:lnTo>
                <a:lnTo>
                  <a:pt x="63" y="138"/>
                </a:lnTo>
                <a:lnTo>
                  <a:pt x="66" y="135"/>
                </a:lnTo>
                <a:lnTo>
                  <a:pt x="74" y="135"/>
                </a:lnTo>
                <a:lnTo>
                  <a:pt x="74" y="138"/>
                </a:lnTo>
                <a:lnTo>
                  <a:pt x="80" y="138"/>
                </a:lnTo>
                <a:lnTo>
                  <a:pt x="91" y="132"/>
                </a:lnTo>
                <a:lnTo>
                  <a:pt x="100" y="132"/>
                </a:lnTo>
                <a:lnTo>
                  <a:pt x="100" y="135"/>
                </a:lnTo>
                <a:lnTo>
                  <a:pt x="103" y="135"/>
                </a:lnTo>
                <a:lnTo>
                  <a:pt x="100" y="127"/>
                </a:lnTo>
                <a:lnTo>
                  <a:pt x="100" y="121"/>
                </a:lnTo>
                <a:lnTo>
                  <a:pt x="106" y="121"/>
                </a:lnTo>
                <a:lnTo>
                  <a:pt x="109" y="115"/>
                </a:lnTo>
                <a:lnTo>
                  <a:pt x="111" y="115"/>
                </a:lnTo>
                <a:lnTo>
                  <a:pt x="106" y="107"/>
                </a:lnTo>
                <a:lnTo>
                  <a:pt x="94" y="98"/>
                </a:lnTo>
                <a:lnTo>
                  <a:pt x="94" y="89"/>
                </a:lnTo>
                <a:lnTo>
                  <a:pt x="86" y="86"/>
                </a:lnTo>
                <a:lnTo>
                  <a:pt x="89" y="84"/>
                </a:lnTo>
                <a:lnTo>
                  <a:pt x="91" y="84"/>
                </a:lnTo>
                <a:lnTo>
                  <a:pt x="91" y="81"/>
                </a:lnTo>
                <a:lnTo>
                  <a:pt x="94" y="81"/>
                </a:lnTo>
                <a:lnTo>
                  <a:pt x="100" y="81"/>
                </a:lnTo>
                <a:lnTo>
                  <a:pt x="103" y="78"/>
                </a:lnTo>
                <a:lnTo>
                  <a:pt x="111" y="75"/>
                </a:lnTo>
                <a:lnTo>
                  <a:pt x="120" y="72"/>
                </a:lnTo>
                <a:lnTo>
                  <a:pt x="123" y="69"/>
                </a:lnTo>
                <a:lnTo>
                  <a:pt x="126" y="69"/>
                </a:lnTo>
                <a:lnTo>
                  <a:pt x="126" y="75"/>
                </a:lnTo>
                <a:lnTo>
                  <a:pt x="129" y="72"/>
                </a:lnTo>
                <a:lnTo>
                  <a:pt x="132" y="66"/>
                </a:lnTo>
                <a:lnTo>
                  <a:pt x="126" y="58"/>
                </a:lnTo>
                <a:lnTo>
                  <a:pt x="123" y="55"/>
                </a:lnTo>
                <a:lnTo>
                  <a:pt x="126" y="52"/>
                </a:lnTo>
                <a:lnTo>
                  <a:pt x="129" y="52"/>
                </a:lnTo>
                <a:lnTo>
                  <a:pt x="126" y="49"/>
                </a:lnTo>
                <a:lnTo>
                  <a:pt x="123" y="49"/>
                </a:lnTo>
                <a:lnTo>
                  <a:pt x="120" y="49"/>
                </a:lnTo>
                <a:lnTo>
                  <a:pt x="123" y="46"/>
                </a:lnTo>
                <a:lnTo>
                  <a:pt x="123" y="43"/>
                </a:lnTo>
                <a:lnTo>
                  <a:pt x="117" y="35"/>
                </a:lnTo>
                <a:lnTo>
                  <a:pt x="120" y="29"/>
                </a:lnTo>
                <a:lnTo>
                  <a:pt x="117" y="15"/>
                </a:lnTo>
                <a:lnTo>
                  <a:pt x="109" y="12"/>
                </a:lnTo>
                <a:lnTo>
                  <a:pt x="103" y="9"/>
                </a:lnTo>
                <a:lnTo>
                  <a:pt x="97" y="9"/>
                </a:lnTo>
                <a:lnTo>
                  <a:pt x="94" y="9"/>
                </a:lnTo>
                <a:lnTo>
                  <a:pt x="80" y="15"/>
                </a:lnTo>
                <a:lnTo>
                  <a:pt x="68" y="15"/>
                </a:lnTo>
                <a:lnTo>
                  <a:pt x="74" y="9"/>
                </a:lnTo>
                <a:lnTo>
                  <a:pt x="71" y="9"/>
                </a:lnTo>
                <a:lnTo>
                  <a:pt x="66" y="9"/>
                </a:lnTo>
                <a:lnTo>
                  <a:pt x="60" y="9"/>
                </a:lnTo>
                <a:lnTo>
                  <a:pt x="57" y="6"/>
                </a:lnTo>
                <a:lnTo>
                  <a:pt x="57" y="3"/>
                </a:lnTo>
                <a:lnTo>
                  <a:pt x="54" y="3"/>
                </a:lnTo>
                <a:lnTo>
                  <a:pt x="45" y="0"/>
                </a:lnTo>
                <a:lnTo>
                  <a:pt x="37" y="0"/>
                </a:lnTo>
                <a:lnTo>
                  <a:pt x="37" y="3"/>
                </a:lnTo>
                <a:lnTo>
                  <a:pt x="40" y="9"/>
                </a:lnTo>
                <a:lnTo>
                  <a:pt x="40" y="15"/>
                </a:lnTo>
                <a:lnTo>
                  <a:pt x="40" y="18"/>
                </a:lnTo>
                <a:lnTo>
                  <a:pt x="37" y="23"/>
                </a:lnTo>
                <a:lnTo>
                  <a:pt x="31" y="23"/>
                </a:lnTo>
                <a:lnTo>
                  <a:pt x="25" y="20"/>
                </a:lnTo>
                <a:lnTo>
                  <a:pt x="17" y="23"/>
                </a:lnTo>
                <a:lnTo>
                  <a:pt x="20" y="35"/>
                </a:lnTo>
                <a:lnTo>
                  <a:pt x="17" y="41"/>
                </a:lnTo>
                <a:lnTo>
                  <a:pt x="11" y="43"/>
                </a:lnTo>
                <a:lnTo>
                  <a:pt x="17" y="49"/>
                </a:lnTo>
                <a:lnTo>
                  <a:pt x="11" y="52"/>
                </a:lnTo>
                <a:lnTo>
                  <a:pt x="11" y="58"/>
                </a:lnTo>
                <a:lnTo>
                  <a:pt x="0" y="55"/>
                </a:lnTo>
                <a:lnTo>
                  <a:pt x="0" y="58"/>
                </a:lnTo>
                <a:lnTo>
                  <a:pt x="5" y="61"/>
                </a:lnTo>
                <a:lnTo>
                  <a:pt x="0" y="72"/>
                </a:lnTo>
                <a:lnTo>
                  <a:pt x="2" y="75"/>
                </a:lnTo>
                <a:lnTo>
                  <a:pt x="5" y="81"/>
                </a:lnTo>
                <a:lnTo>
                  <a:pt x="2" y="86"/>
                </a:lnTo>
                <a:lnTo>
                  <a:pt x="5" y="92"/>
                </a:lnTo>
                <a:lnTo>
                  <a:pt x="8" y="98"/>
                </a:lnTo>
                <a:lnTo>
                  <a:pt x="5" y="101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265" name="Freeform 219"/>
          <p:cNvSpPr>
            <a:spLocks noChangeAspect="1"/>
          </p:cNvSpPr>
          <p:nvPr/>
        </p:nvSpPr>
        <p:spPr bwMode="gray">
          <a:xfrm>
            <a:off x="5368967" y="3325590"/>
            <a:ext cx="82015" cy="90002"/>
          </a:xfrm>
          <a:custGeom>
            <a:avLst/>
            <a:gdLst>
              <a:gd name="T0" fmla="*/ 2147483647 w 11"/>
              <a:gd name="T1" fmla="*/ 2147483647 h 15"/>
              <a:gd name="T2" fmla="*/ 0 w 11"/>
              <a:gd name="T3" fmla="*/ 2147483647 h 15"/>
              <a:gd name="T4" fmla="*/ 2147483647 w 11"/>
              <a:gd name="T5" fmla="*/ 2147483647 h 15"/>
              <a:gd name="T6" fmla="*/ 2147483647 w 11"/>
              <a:gd name="T7" fmla="*/ 2147483647 h 15"/>
              <a:gd name="T8" fmla="*/ 2147483647 w 11"/>
              <a:gd name="T9" fmla="*/ 2147483647 h 15"/>
              <a:gd name="T10" fmla="*/ 2147483647 w 11"/>
              <a:gd name="T11" fmla="*/ 2147483647 h 15"/>
              <a:gd name="T12" fmla="*/ 2147483647 w 11"/>
              <a:gd name="T13" fmla="*/ 2147483647 h 15"/>
              <a:gd name="T14" fmla="*/ 2147483647 w 11"/>
              <a:gd name="T15" fmla="*/ 0 h 15"/>
              <a:gd name="T16" fmla="*/ 2147483647 w 11"/>
              <a:gd name="T17" fmla="*/ 0 h 15"/>
              <a:gd name="T18" fmla="*/ 2147483647 w 11"/>
              <a:gd name="T19" fmla="*/ 2147483647 h 1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1"/>
              <a:gd name="T31" fmla="*/ 0 h 15"/>
              <a:gd name="T32" fmla="*/ 11 w 11"/>
              <a:gd name="T33" fmla="*/ 15 h 15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1" h="15">
                <a:moveTo>
                  <a:pt x="3" y="3"/>
                </a:moveTo>
                <a:lnTo>
                  <a:pt x="0" y="6"/>
                </a:lnTo>
                <a:lnTo>
                  <a:pt x="6" y="15"/>
                </a:lnTo>
                <a:lnTo>
                  <a:pt x="8" y="12"/>
                </a:lnTo>
                <a:lnTo>
                  <a:pt x="11" y="12"/>
                </a:lnTo>
                <a:lnTo>
                  <a:pt x="8" y="9"/>
                </a:lnTo>
                <a:lnTo>
                  <a:pt x="6" y="0"/>
                </a:lnTo>
                <a:lnTo>
                  <a:pt x="3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66" name="Freeform 221"/>
          <p:cNvSpPr>
            <a:spLocks noChangeAspect="1"/>
          </p:cNvSpPr>
          <p:nvPr/>
        </p:nvSpPr>
        <p:spPr bwMode="gray">
          <a:xfrm>
            <a:off x="7799406" y="4507623"/>
            <a:ext cx="44008" cy="51001"/>
          </a:xfrm>
          <a:custGeom>
            <a:avLst/>
            <a:gdLst>
              <a:gd name="T0" fmla="*/ 2147483647 w 6"/>
              <a:gd name="T1" fmla="*/ 0 h 9"/>
              <a:gd name="T2" fmla="*/ 0 w 6"/>
              <a:gd name="T3" fmla="*/ 2147483647 h 9"/>
              <a:gd name="T4" fmla="*/ 2147483647 w 6"/>
              <a:gd name="T5" fmla="*/ 2147483647 h 9"/>
              <a:gd name="T6" fmla="*/ 2147483647 w 6"/>
              <a:gd name="T7" fmla="*/ 0 h 9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9"/>
              <a:gd name="T14" fmla="*/ 6 w 6"/>
              <a:gd name="T15" fmla="*/ 9 h 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9">
                <a:moveTo>
                  <a:pt x="3" y="0"/>
                </a:moveTo>
                <a:lnTo>
                  <a:pt x="0" y="6"/>
                </a:lnTo>
                <a:lnTo>
                  <a:pt x="6" y="9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67" name="Freeform 223"/>
          <p:cNvSpPr>
            <a:spLocks noChangeAspect="1"/>
          </p:cNvSpPr>
          <p:nvPr/>
        </p:nvSpPr>
        <p:spPr bwMode="gray">
          <a:xfrm>
            <a:off x="5625013" y="2535069"/>
            <a:ext cx="330060" cy="291008"/>
          </a:xfrm>
          <a:custGeom>
            <a:avLst/>
            <a:gdLst>
              <a:gd name="T0" fmla="*/ 2147483647 w 43"/>
              <a:gd name="T1" fmla="*/ 2147483647 h 51"/>
              <a:gd name="T2" fmla="*/ 2147483647 w 43"/>
              <a:gd name="T3" fmla="*/ 2147483647 h 51"/>
              <a:gd name="T4" fmla="*/ 2147483647 w 43"/>
              <a:gd name="T5" fmla="*/ 2147483647 h 51"/>
              <a:gd name="T6" fmla="*/ 2147483647 w 43"/>
              <a:gd name="T7" fmla="*/ 2147483647 h 51"/>
              <a:gd name="T8" fmla="*/ 2147483647 w 43"/>
              <a:gd name="T9" fmla="*/ 2147483647 h 51"/>
              <a:gd name="T10" fmla="*/ 2147483647 w 43"/>
              <a:gd name="T11" fmla="*/ 2147483647 h 51"/>
              <a:gd name="T12" fmla="*/ 2147483647 w 43"/>
              <a:gd name="T13" fmla="*/ 2147483647 h 51"/>
              <a:gd name="T14" fmla="*/ 0 w 43"/>
              <a:gd name="T15" fmla="*/ 2147483647 h 51"/>
              <a:gd name="T16" fmla="*/ 0 w 43"/>
              <a:gd name="T17" fmla="*/ 2147483647 h 51"/>
              <a:gd name="T18" fmla="*/ 0 w 43"/>
              <a:gd name="T19" fmla="*/ 2147483647 h 51"/>
              <a:gd name="T20" fmla="*/ 2147483647 w 43"/>
              <a:gd name="T21" fmla="*/ 2147483647 h 51"/>
              <a:gd name="T22" fmla="*/ 2147483647 w 43"/>
              <a:gd name="T23" fmla="*/ 2147483647 h 51"/>
              <a:gd name="T24" fmla="*/ 2147483647 w 43"/>
              <a:gd name="T25" fmla="*/ 2147483647 h 51"/>
              <a:gd name="T26" fmla="*/ 2147483647 w 43"/>
              <a:gd name="T27" fmla="*/ 2147483647 h 51"/>
              <a:gd name="T28" fmla="*/ 2147483647 w 43"/>
              <a:gd name="T29" fmla="*/ 2147483647 h 51"/>
              <a:gd name="T30" fmla="*/ 2147483647 w 43"/>
              <a:gd name="T31" fmla="*/ 2147483647 h 51"/>
              <a:gd name="T32" fmla="*/ 2147483647 w 43"/>
              <a:gd name="T33" fmla="*/ 2147483647 h 51"/>
              <a:gd name="T34" fmla="*/ 2147483647 w 43"/>
              <a:gd name="T35" fmla="*/ 2147483647 h 51"/>
              <a:gd name="T36" fmla="*/ 2147483647 w 43"/>
              <a:gd name="T37" fmla="*/ 2147483647 h 51"/>
              <a:gd name="T38" fmla="*/ 2147483647 w 43"/>
              <a:gd name="T39" fmla="*/ 2147483647 h 51"/>
              <a:gd name="T40" fmla="*/ 2147483647 w 43"/>
              <a:gd name="T41" fmla="*/ 2147483647 h 51"/>
              <a:gd name="T42" fmla="*/ 2147483647 w 43"/>
              <a:gd name="T43" fmla="*/ 2147483647 h 51"/>
              <a:gd name="T44" fmla="*/ 2147483647 w 43"/>
              <a:gd name="T45" fmla="*/ 2147483647 h 51"/>
              <a:gd name="T46" fmla="*/ 2147483647 w 43"/>
              <a:gd name="T47" fmla="*/ 2147483647 h 51"/>
              <a:gd name="T48" fmla="*/ 2147483647 w 43"/>
              <a:gd name="T49" fmla="*/ 2147483647 h 51"/>
              <a:gd name="T50" fmla="*/ 2147483647 w 43"/>
              <a:gd name="T51" fmla="*/ 2147483647 h 51"/>
              <a:gd name="T52" fmla="*/ 2147483647 w 43"/>
              <a:gd name="T53" fmla="*/ 2147483647 h 51"/>
              <a:gd name="T54" fmla="*/ 2147483647 w 43"/>
              <a:gd name="T55" fmla="*/ 2147483647 h 51"/>
              <a:gd name="T56" fmla="*/ 2147483647 w 43"/>
              <a:gd name="T57" fmla="*/ 2147483647 h 51"/>
              <a:gd name="T58" fmla="*/ 2147483647 w 43"/>
              <a:gd name="T59" fmla="*/ 2147483647 h 51"/>
              <a:gd name="T60" fmla="*/ 2147483647 w 43"/>
              <a:gd name="T61" fmla="*/ 2147483647 h 51"/>
              <a:gd name="T62" fmla="*/ 2147483647 w 43"/>
              <a:gd name="T63" fmla="*/ 2147483647 h 51"/>
              <a:gd name="T64" fmla="*/ 2147483647 w 43"/>
              <a:gd name="T65" fmla="*/ 2147483647 h 51"/>
              <a:gd name="T66" fmla="*/ 2147483647 w 43"/>
              <a:gd name="T67" fmla="*/ 2147483647 h 51"/>
              <a:gd name="T68" fmla="*/ 2147483647 w 43"/>
              <a:gd name="T69" fmla="*/ 2147483647 h 51"/>
              <a:gd name="T70" fmla="*/ 2147483647 w 43"/>
              <a:gd name="T71" fmla="*/ 2147483647 h 51"/>
              <a:gd name="T72" fmla="*/ 2147483647 w 43"/>
              <a:gd name="T73" fmla="*/ 2147483647 h 51"/>
              <a:gd name="T74" fmla="*/ 2147483647 w 43"/>
              <a:gd name="T75" fmla="*/ 2147483647 h 51"/>
              <a:gd name="T76" fmla="*/ 2147483647 w 43"/>
              <a:gd name="T77" fmla="*/ 2147483647 h 51"/>
              <a:gd name="T78" fmla="*/ 2147483647 w 43"/>
              <a:gd name="T79" fmla="*/ 2147483647 h 51"/>
              <a:gd name="T80" fmla="*/ 2147483647 w 43"/>
              <a:gd name="T81" fmla="*/ 2147483647 h 51"/>
              <a:gd name="T82" fmla="*/ 2147483647 w 43"/>
              <a:gd name="T83" fmla="*/ 0 h 51"/>
              <a:gd name="T84" fmla="*/ 2147483647 w 43"/>
              <a:gd name="T85" fmla="*/ 2147483647 h 51"/>
              <a:gd name="T86" fmla="*/ 2147483647 w 43"/>
              <a:gd name="T87" fmla="*/ 2147483647 h 51"/>
              <a:gd name="T88" fmla="*/ 2147483647 w 43"/>
              <a:gd name="T89" fmla="*/ 2147483647 h 51"/>
              <a:gd name="T90" fmla="*/ 2147483647 w 43"/>
              <a:gd name="T91" fmla="*/ 2147483647 h 51"/>
              <a:gd name="T92" fmla="*/ 2147483647 w 43"/>
              <a:gd name="T93" fmla="*/ 2147483647 h 51"/>
              <a:gd name="T94" fmla="*/ 2147483647 w 43"/>
              <a:gd name="T95" fmla="*/ 2147483647 h 51"/>
              <a:gd name="T96" fmla="*/ 2147483647 w 43"/>
              <a:gd name="T97" fmla="*/ 2147483647 h 51"/>
              <a:gd name="T98" fmla="*/ 2147483647 w 43"/>
              <a:gd name="T99" fmla="*/ 2147483647 h 51"/>
              <a:gd name="T100" fmla="*/ 2147483647 w 43"/>
              <a:gd name="T101" fmla="*/ 2147483647 h 51"/>
              <a:gd name="T102" fmla="*/ 2147483647 w 43"/>
              <a:gd name="T103" fmla="*/ 2147483647 h 51"/>
              <a:gd name="T104" fmla="*/ 2147483647 w 43"/>
              <a:gd name="T105" fmla="*/ 2147483647 h 51"/>
              <a:gd name="T106" fmla="*/ 2147483647 w 43"/>
              <a:gd name="T107" fmla="*/ 2147483647 h 51"/>
              <a:gd name="T108" fmla="*/ 2147483647 w 43"/>
              <a:gd name="T109" fmla="*/ 2147483647 h 51"/>
              <a:gd name="T110" fmla="*/ 2147483647 w 43"/>
              <a:gd name="T111" fmla="*/ 2147483647 h 51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43"/>
              <a:gd name="T169" fmla="*/ 0 h 51"/>
              <a:gd name="T170" fmla="*/ 43 w 43"/>
              <a:gd name="T171" fmla="*/ 51 h 51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43" h="51">
                <a:moveTo>
                  <a:pt x="17" y="11"/>
                </a:moveTo>
                <a:lnTo>
                  <a:pt x="17" y="11"/>
                </a:lnTo>
                <a:lnTo>
                  <a:pt x="15" y="11"/>
                </a:lnTo>
                <a:lnTo>
                  <a:pt x="12" y="14"/>
                </a:lnTo>
                <a:lnTo>
                  <a:pt x="3" y="23"/>
                </a:lnTo>
                <a:lnTo>
                  <a:pt x="0" y="26"/>
                </a:lnTo>
                <a:lnTo>
                  <a:pt x="0" y="31"/>
                </a:lnTo>
                <a:lnTo>
                  <a:pt x="3" y="37"/>
                </a:lnTo>
                <a:lnTo>
                  <a:pt x="3" y="40"/>
                </a:lnTo>
                <a:lnTo>
                  <a:pt x="6" y="43"/>
                </a:lnTo>
                <a:lnTo>
                  <a:pt x="9" y="46"/>
                </a:lnTo>
                <a:lnTo>
                  <a:pt x="6" y="51"/>
                </a:lnTo>
                <a:lnTo>
                  <a:pt x="9" y="51"/>
                </a:lnTo>
                <a:lnTo>
                  <a:pt x="17" y="51"/>
                </a:lnTo>
                <a:lnTo>
                  <a:pt x="26" y="51"/>
                </a:lnTo>
                <a:lnTo>
                  <a:pt x="23" y="49"/>
                </a:lnTo>
                <a:lnTo>
                  <a:pt x="23" y="46"/>
                </a:lnTo>
                <a:lnTo>
                  <a:pt x="23" y="43"/>
                </a:lnTo>
                <a:lnTo>
                  <a:pt x="26" y="37"/>
                </a:lnTo>
                <a:lnTo>
                  <a:pt x="35" y="31"/>
                </a:lnTo>
                <a:lnTo>
                  <a:pt x="38" y="29"/>
                </a:lnTo>
                <a:lnTo>
                  <a:pt x="43" y="23"/>
                </a:lnTo>
                <a:lnTo>
                  <a:pt x="38" y="23"/>
                </a:lnTo>
                <a:lnTo>
                  <a:pt x="35" y="20"/>
                </a:lnTo>
                <a:lnTo>
                  <a:pt x="35" y="17"/>
                </a:lnTo>
                <a:lnTo>
                  <a:pt x="38" y="14"/>
                </a:lnTo>
                <a:lnTo>
                  <a:pt x="38" y="11"/>
                </a:lnTo>
                <a:lnTo>
                  <a:pt x="38" y="0"/>
                </a:lnTo>
                <a:lnTo>
                  <a:pt x="29" y="3"/>
                </a:lnTo>
                <a:lnTo>
                  <a:pt x="29" y="6"/>
                </a:lnTo>
                <a:lnTo>
                  <a:pt x="26" y="8"/>
                </a:lnTo>
                <a:lnTo>
                  <a:pt x="20" y="11"/>
                </a:lnTo>
                <a:lnTo>
                  <a:pt x="17" y="14"/>
                </a:lnTo>
                <a:lnTo>
                  <a:pt x="17" y="17"/>
                </a:lnTo>
                <a:lnTo>
                  <a:pt x="15" y="17"/>
                </a:lnTo>
                <a:lnTo>
                  <a:pt x="17" y="11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950" name="Freeform 224"/>
          <p:cNvSpPr>
            <a:spLocks noChangeAspect="1"/>
          </p:cNvSpPr>
          <p:nvPr/>
        </p:nvSpPr>
        <p:spPr bwMode="gray">
          <a:xfrm>
            <a:off x="6455163" y="4018609"/>
            <a:ext cx="46008" cy="345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0 h 6"/>
              <a:gd name="T4" fmla="*/ 0 w 6"/>
              <a:gd name="T5" fmla="*/ 2147483647 h 6"/>
              <a:gd name="T6" fmla="*/ 2147483647 w 6"/>
              <a:gd name="T7" fmla="*/ 2147483647 h 6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6"/>
              <a:gd name="T14" fmla="*/ 6 w 6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6">
                <a:moveTo>
                  <a:pt x="6" y="6"/>
                </a:moveTo>
                <a:lnTo>
                  <a:pt x="6" y="0"/>
                </a:lnTo>
                <a:lnTo>
                  <a:pt x="0" y="3"/>
                </a:lnTo>
                <a:lnTo>
                  <a:pt x="6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269" name="Freeform 225"/>
          <p:cNvSpPr>
            <a:spLocks noChangeAspect="1"/>
          </p:cNvSpPr>
          <p:nvPr/>
        </p:nvSpPr>
        <p:spPr bwMode="gray">
          <a:xfrm>
            <a:off x="5106921" y="4423620"/>
            <a:ext cx="66011" cy="34500"/>
          </a:xfrm>
          <a:custGeom>
            <a:avLst/>
            <a:gdLst>
              <a:gd name="T0" fmla="*/ 2147483647 w 9"/>
              <a:gd name="T1" fmla="*/ 2147483647 h 6"/>
              <a:gd name="T2" fmla="*/ 2147483647 w 9"/>
              <a:gd name="T3" fmla="*/ 0 h 6"/>
              <a:gd name="T4" fmla="*/ 2147483647 w 9"/>
              <a:gd name="T5" fmla="*/ 0 h 6"/>
              <a:gd name="T6" fmla="*/ 2147483647 w 9"/>
              <a:gd name="T7" fmla="*/ 0 h 6"/>
              <a:gd name="T8" fmla="*/ 0 w 9"/>
              <a:gd name="T9" fmla="*/ 2147483647 h 6"/>
              <a:gd name="T10" fmla="*/ 0 w 9"/>
              <a:gd name="T11" fmla="*/ 2147483647 h 6"/>
              <a:gd name="T12" fmla="*/ 0 w 9"/>
              <a:gd name="T13" fmla="*/ 2147483647 h 6"/>
              <a:gd name="T14" fmla="*/ 2147483647 w 9"/>
              <a:gd name="T15" fmla="*/ 2147483647 h 6"/>
              <a:gd name="T16" fmla="*/ 2147483647 w 9"/>
              <a:gd name="T17" fmla="*/ 2147483647 h 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9"/>
              <a:gd name="T28" fmla="*/ 0 h 6"/>
              <a:gd name="T29" fmla="*/ 9 w 9"/>
              <a:gd name="T30" fmla="*/ 6 h 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9" h="6">
                <a:moveTo>
                  <a:pt x="9" y="6"/>
                </a:moveTo>
                <a:lnTo>
                  <a:pt x="9" y="0"/>
                </a:lnTo>
                <a:lnTo>
                  <a:pt x="3" y="0"/>
                </a:lnTo>
                <a:lnTo>
                  <a:pt x="0" y="3"/>
                </a:lnTo>
                <a:lnTo>
                  <a:pt x="0" y="6"/>
                </a:lnTo>
                <a:lnTo>
                  <a:pt x="6" y="6"/>
                </a:lnTo>
                <a:lnTo>
                  <a:pt x="9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70" name="Freeform 226"/>
          <p:cNvSpPr>
            <a:spLocks noChangeAspect="1"/>
          </p:cNvSpPr>
          <p:nvPr/>
        </p:nvSpPr>
        <p:spPr bwMode="gray">
          <a:xfrm>
            <a:off x="7327320" y="3985608"/>
            <a:ext cx="718129" cy="307508"/>
          </a:xfrm>
          <a:custGeom>
            <a:avLst/>
            <a:gdLst>
              <a:gd name="T0" fmla="*/ 2147483647 w 95"/>
              <a:gd name="T1" fmla="*/ 2147483647 h 55"/>
              <a:gd name="T2" fmla="*/ 2147483647 w 95"/>
              <a:gd name="T3" fmla="*/ 2147483647 h 55"/>
              <a:gd name="T4" fmla="*/ 2147483647 w 95"/>
              <a:gd name="T5" fmla="*/ 2147483647 h 55"/>
              <a:gd name="T6" fmla="*/ 2147483647 w 95"/>
              <a:gd name="T7" fmla="*/ 2147483647 h 55"/>
              <a:gd name="T8" fmla="*/ 2147483647 w 95"/>
              <a:gd name="T9" fmla="*/ 2147483647 h 55"/>
              <a:gd name="T10" fmla="*/ 2147483647 w 95"/>
              <a:gd name="T11" fmla="*/ 2147483647 h 55"/>
              <a:gd name="T12" fmla="*/ 2147483647 w 95"/>
              <a:gd name="T13" fmla="*/ 2147483647 h 55"/>
              <a:gd name="T14" fmla="*/ 2147483647 w 95"/>
              <a:gd name="T15" fmla="*/ 2147483647 h 55"/>
              <a:gd name="T16" fmla="*/ 2147483647 w 95"/>
              <a:gd name="T17" fmla="*/ 2147483647 h 55"/>
              <a:gd name="T18" fmla="*/ 2147483647 w 95"/>
              <a:gd name="T19" fmla="*/ 2147483647 h 55"/>
              <a:gd name="T20" fmla="*/ 2147483647 w 95"/>
              <a:gd name="T21" fmla="*/ 2147483647 h 55"/>
              <a:gd name="T22" fmla="*/ 2147483647 w 95"/>
              <a:gd name="T23" fmla="*/ 2147483647 h 55"/>
              <a:gd name="T24" fmla="*/ 2147483647 w 95"/>
              <a:gd name="T25" fmla="*/ 0 h 55"/>
              <a:gd name="T26" fmla="*/ 0 w 95"/>
              <a:gd name="T27" fmla="*/ 2147483647 h 55"/>
              <a:gd name="T28" fmla="*/ 0 w 95"/>
              <a:gd name="T29" fmla="*/ 2147483647 h 55"/>
              <a:gd name="T30" fmla="*/ 2147483647 w 95"/>
              <a:gd name="T31" fmla="*/ 2147483647 h 55"/>
              <a:gd name="T32" fmla="*/ 2147483647 w 95"/>
              <a:gd name="T33" fmla="*/ 2147483647 h 55"/>
              <a:gd name="T34" fmla="*/ 2147483647 w 95"/>
              <a:gd name="T35" fmla="*/ 2147483647 h 55"/>
              <a:gd name="T36" fmla="*/ 2147483647 w 95"/>
              <a:gd name="T37" fmla="*/ 2147483647 h 55"/>
              <a:gd name="T38" fmla="*/ 2147483647 w 95"/>
              <a:gd name="T39" fmla="*/ 2147483647 h 55"/>
              <a:gd name="T40" fmla="*/ 2147483647 w 95"/>
              <a:gd name="T41" fmla="*/ 2147483647 h 55"/>
              <a:gd name="T42" fmla="*/ 2147483647 w 95"/>
              <a:gd name="T43" fmla="*/ 2147483647 h 55"/>
              <a:gd name="T44" fmla="*/ 2147483647 w 95"/>
              <a:gd name="T45" fmla="*/ 2147483647 h 55"/>
              <a:gd name="T46" fmla="*/ 2147483647 w 95"/>
              <a:gd name="T47" fmla="*/ 2147483647 h 55"/>
              <a:gd name="T48" fmla="*/ 2147483647 w 95"/>
              <a:gd name="T49" fmla="*/ 2147483647 h 55"/>
              <a:gd name="T50" fmla="*/ 2147483647 w 95"/>
              <a:gd name="T51" fmla="*/ 2147483647 h 55"/>
              <a:gd name="T52" fmla="*/ 2147483647 w 95"/>
              <a:gd name="T53" fmla="*/ 2147483647 h 55"/>
              <a:gd name="T54" fmla="*/ 2147483647 w 95"/>
              <a:gd name="T55" fmla="*/ 2147483647 h 55"/>
              <a:gd name="T56" fmla="*/ 2147483647 w 95"/>
              <a:gd name="T57" fmla="*/ 2147483647 h 55"/>
              <a:gd name="T58" fmla="*/ 2147483647 w 95"/>
              <a:gd name="T59" fmla="*/ 2147483647 h 55"/>
              <a:gd name="T60" fmla="*/ 2147483647 w 95"/>
              <a:gd name="T61" fmla="*/ 2147483647 h 55"/>
              <a:gd name="T62" fmla="*/ 2147483647 w 95"/>
              <a:gd name="T63" fmla="*/ 2147483647 h 55"/>
              <a:gd name="T64" fmla="*/ 2147483647 w 95"/>
              <a:gd name="T65" fmla="*/ 2147483647 h 55"/>
              <a:gd name="T66" fmla="*/ 2147483647 w 95"/>
              <a:gd name="T67" fmla="*/ 2147483647 h 55"/>
              <a:gd name="T68" fmla="*/ 2147483647 w 95"/>
              <a:gd name="T69" fmla="*/ 2147483647 h 55"/>
              <a:gd name="T70" fmla="*/ 2147483647 w 95"/>
              <a:gd name="T71" fmla="*/ 2147483647 h 55"/>
              <a:gd name="T72" fmla="*/ 2147483647 w 95"/>
              <a:gd name="T73" fmla="*/ 2147483647 h 55"/>
              <a:gd name="T74" fmla="*/ 2147483647 w 95"/>
              <a:gd name="T75" fmla="*/ 2147483647 h 55"/>
              <a:gd name="T76" fmla="*/ 2147483647 w 95"/>
              <a:gd name="T77" fmla="*/ 2147483647 h 55"/>
              <a:gd name="T78" fmla="*/ 2147483647 w 95"/>
              <a:gd name="T79" fmla="*/ 2147483647 h 55"/>
              <a:gd name="T80" fmla="*/ 2147483647 w 95"/>
              <a:gd name="T81" fmla="*/ 2147483647 h 55"/>
              <a:gd name="T82" fmla="*/ 2147483647 w 95"/>
              <a:gd name="T83" fmla="*/ 2147483647 h 55"/>
              <a:gd name="T84" fmla="*/ 2147483647 w 95"/>
              <a:gd name="T85" fmla="*/ 2147483647 h 5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95"/>
              <a:gd name="T130" fmla="*/ 0 h 55"/>
              <a:gd name="T131" fmla="*/ 95 w 95"/>
              <a:gd name="T132" fmla="*/ 55 h 5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95" h="55">
                <a:moveTo>
                  <a:pt x="92" y="18"/>
                </a:moveTo>
                <a:lnTo>
                  <a:pt x="95" y="12"/>
                </a:lnTo>
                <a:lnTo>
                  <a:pt x="86" y="9"/>
                </a:lnTo>
                <a:lnTo>
                  <a:pt x="78" y="3"/>
                </a:lnTo>
                <a:lnTo>
                  <a:pt x="66" y="3"/>
                </a:lnTo>
                <a:lnTo>
                  <a:pt x="55" y="6"/>
                </a:lnTo>
                <a:lnTo>
                  <a:pt x="46" y="12"/>
                </a:lnTo>
                <a:lnTo>
                  <a:pt x="32" y="9"/>
                </a:lnTo>
                <a:lnTo>
                  <a:pt x="29" y="15"/>
                </a:lnTo>
                <a:lnTo>
                  <a:pt x="3" y="6"/>
                </a:lnTo>
                <a:lnTo>
                  <a:pt x="3" y="3"/>
                </a:lnTo>
                <a:lnTo>
                  <a:pt x="3" y="0"/>
                </a:lnTo>
                <a:lnTo>
                  <a:pt x="0" y="6"/>
                </a:lnTo>
                <a:lnTo>
                  <a:pt x="0" y="12"/>
                </a:lnTo>
                <a:lnTo>
                  <a:pt x="9" y="18"/>
                </a:lnTo>
                <a:lnTo>
                  <a:pt x="9" y="20"/>
                </a:lnTo>
                <a:lnTo>
                  <a:pt x="6" y="26"/>
                </a:lnTo>
                <a:lnTo>
                  <a:pt x="3" y="29"/>
                </a:lnTo>
                <a:lnTo>
                  <a:pt x="3" y="35"/>
                </a:lnTo>
                <a:lnTo>
                  <a:pt x="3" y="38"/>
                </a:lnTo>
                <a:lnTo>
                  <a:pt x="9" y="41"/>
                </a:lnTo>
                <a:lnTo>
                  <a:pt x="12" y="49"/>
                </a:lnTo>
                <a:lnTo>
                  <a:pt x="29" y="52"/>
                </a:lnTo>
                <a:lnTo>
                  <a:pt x="40" y="52"/>
                </a:lnTo>
                <a:lnTo>
                  <a:pt x="49" y="55"/>
                </a:lnTo>
                <a:lnTo>
                  <a:pt x="58" y="55"/>
                </a:lnTo>
                <a:lnTo>
                  <a:pt x="55" y="46"/>
                </a:lnTo>
                <a:lnTo>
                  <a:pt x="58" y="46"/>
                </a:lnTo>
                <a:lnTo>
                  <a:pt x="63" y="43"/>
                </a:lnTo>
                <a:lnTo>
                  <a:pt x="66" y="43"/>
                </a:lnTo>
                <a:lnTo>
                  <a:pt x="75" y="41"/>
                </a:lnTo>
                <a:lnTo>
                  <a:pt x="78" y="41"/>
                </a:lnTo>
                <a:lnTo>
                  <a:pt x="81" y="43"/>
                </a:lnTo>
                <a:lnTo>
                  <a:pt x="89" y="43"/>
                </a:lnTo>
                <a:lnTo>
                  <a:pt x="86" y="41"/>
                </a:lnTo>
                <a:lnTo>
                  <a:pt x="83" y="35"/>
                </a:lnTo>
                <a:lnTo>
                  <a:pt x="83" y="23"/>
                </a:lnTo>
                <a:lnTo>
                  <a:pt x="92" y="1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4B4B4B"/>
              </a:solidFill>
            </a:endParaRPr>
          </a:p>
        </p:txBody>
      </p:sp>
      <p:sp>
        <p:nvSpPr>
          <p:cNvPr id="271" name="Freeform 228"/>
          <p:cNvSpPr>
            <a:spLocks noChangeAspect="1"/>
          </p:cNvSpPr>
          <p:nvPr/>
        </p:nvSpPr>
        <p:spPr bwMode="gray">
          <a:xfrm>
            <a:off x="7763400" y="4605124"/>
            <a:ext cx="36006" cy="49502"/>
          </a:xfrm>
          <a:custGeom>
            <a:avLst/>
            <a:gdLst>
              <a:gd name="T0" fmla="*/ 0 w 5"/>
              <a:gd name="T1" fmla="*/ 0 h 9"/>
              <a:gd name="T2" fmla="*/ 0 w 5"/>
              <a:gd name="T3" fmla="*/ 2147483647 h 9"/>
              <a:gd name="T4" fmla="*/ 0 w 5"/>
              <a:gd name="T5" fmla="*/ 2147483647 h 9"/>
              <a:gd name="T6" fmla="*/ 2147483647 w 5"/>
              <a:gd name="T7" fmla="*/ 2147483647 h 9"/>
              <a:gd name="T8" fmla="*/ 2147483647 w 5"/>
              <a:gd name="T9" fmla="*/ 0 h 9"/>
              <a:gd name="T10" fmla="*/ 0 w 5"/>
              <a:gd name="T11" fmla="*/ 0 h 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"/>
              <a:gd name="T19" fmla="*/ 0 h 9"/>
              <a:gd name="T20" fmla="*/ 5 w 5"/>
              <a:gd name="T21" fmla="*/ 9 h 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" h="9">
                <a:moveTo>
                  <a:pt x="0" y="0"/>
                </a:moveTo>
                <a:lnTo>
                  <a:pt x="0" y="3"/>
                </a:lnTo>
                <a:lnTo>
                  <a:pt x="0" y="6"/>
                </a:lnTo>
                <a:lnTo>
                  <a:pt x="5" y="9"/>
                </a:lnTo>
                <a:lnTo>
                  <a:pt x="5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72" name="Freeform 229"/>
          <p:cNvSpPr>
            <a:spLocks noChangeAspect="1"/>
          </p:cNvSpPr>
          <p:nvPr/>
        </p:nvSpPr>
        <p:spPr bwMode="gray">
          <a:xfrm>
            <a:off x="7245305" y="3100584"/>
            <a:ext cx="2032366" cy="784521"/>
          </a:xfrm>
          <a:custGeom>
            <a:avLst/>
            <a:gdLst>
              <a:gd name="T0" fmla="*/ 2147483647 w 269"/>
              <a:gd name="T1" fmla="*/ 2147483647 h 138"/>
              <a:gd name="T2" fmla="*/ 2147483647 w 269"/>
              <a:gd name="T3" fmla="*/ 2147483647 h 138"/>
              <a:gd name="T4" fmla="*/ 2147483647 w 269"/>
              <a:gd name="T5" fmla="*/ 2147483647 h 138"/>
              <a:gd name="T6" fmla="*/ 2147483647 w 269"/>
              <a:gd name="T7" fmla="*/ 2147483647 h 138"/>
              <a:gd name="T8" fmla="*/ 2147483647 w 269"/>
              <a:gd name="T9" fmla="*/ 2147483647 h 138"/>
              <a:gd name="T10" fmla="*/ 2147483647 w 269"/>
              <a:gd name="T11" fmla="*/ 2147483647 h 138"/>
              <a:gd name="T12" fmla="*/ 2147483647 w 269"/>
              <a:gd name="T13" fmla="*/ 2147483647 h 138"/>
              <a:gd name="T14" fmla="*/ 2147483647 w 269"/>
              <a:gd name="T15" fmla="*/ 2147483647 h 138"/>
              <a:gd name="T16" fmla="*/ 2147483647 w 269"/>
              <a:gd name="T17" fmla="*/ 2147483647 h 138"/>
              <a:gd name="T18" fmla="*/ 2147483647 w 269"/>
              <a:gd name="T19" fmla="*/ 2147483647 h 138"/>
              <a:gd name="T20" fmla="*/ 2147483647 w 269"/>
              <a:gd name="T21" fmla="*/ 2147483647 h 138"/>
              <a:gd name="T22" fmla="*/ 2147483647 w 269"/>
              <a:gd name="T23" fmla="*/ 2147483647 h 138"/>
              <a:gd name="T24" fmla="*/ 2147483647 w 269"/>
              <a:gd name="T25" fmla="*/ 2147483647 h 138"/>
              <a:gd name="T26" fmla="*/ 2147483647 w 269"/>
              <a:gd name="T27" fmla="*/ 2147483647 h 138"/>
              <a:gd name="T28" fmla="*/ 2147483647 w 269"/>
              <a:gd name="T29" fmla="*/ 2147483647 h 138"/>
              <a:gd name="T30" fmla="*/ 2147483647 w 269"/>
              <a:gd name="T31" fmla="*/ 2147483647 h 138"/>
              <a:gd name="T32" fmla="*/ 2147483647 w 269"/>
              <a:gd name="T33" fmla="*/ 2147483647 h 138"/>
              <a:gd name="T34" fmla="*/ 2147483647 w 269"/>
              <a:gd name="T35" fmla="*/ 2147483647 h 138"/>
              <a:gd name="T36" fmla="*/ 2147483647 w 269"/>
              <a:gd name="T37" fmla="*/ 2147483647 h 138"/>
              <a:gd name="T38" fmla="*/ 2147483647 w 269"/>
              <a:gd name="T39" fmla="*/ 2147483647 h 138"/>
              <a:gd name="T40" fmla="*/ 2147483647 w 269"/>
              <a:gd name="T41" fmla="*/ 2147483647 h 138"/>
              <a:gd name="T42" fmla="*/ 2147483647 w 269"/>
              <a:gd name="T43" fmla="*/ 2147483647 h 138"/>
              <a:gd name="T44" fmla="*/ 0 w 269"/>
              <a:gd name="T45" fmla="*/ 2147483647 h 138"/>
              <a:gd name="T46" fmla="*/ 2147483647 w 269"/>
              <a:gd name="T47" fmla="*/ 2147483647 h 138"/>
              <a:gd name="T48" fmla="*/ 2147483647 w 269"/>
              <a:gd name="T49" fmla="*/ 2147483647 h 138"/>
              <a:gd name="T50" fmla="*/ 2147483647 w 269"/>
              <a:gd name="T51" fmla="*/ 2147483647 h 138"/>
              <a:gd name="T52" fmla="*/ 2147483647 w 269"/>
              <a:gd name="T53" fmla="*/ 2147483647 h 138"/>
              <a:gd name="T54" fmla="*/ 2147483647 w 269"/>
              <a:gd name="T55" fmla="*/ 2147483647 h 138"/>
              <a:gd name="T56" fmla="*/ 2147483647 w 269"/>
              <a:gd name="T57" fmla="*/ 2147483647 h 138"/>
              <a:gd name="T58" fmla="*/ 2147483647 w 269"/>
              <a:gd name="T59" fmla="*/ 2147483647 h 138"/>
              <a:gd name="T60" fmla="*/ 2147483647 w 269"/>
              <a:gd name="T61" fmla="*/ 2147483647 h 138"/>
              <a:gd name="T62" fmla="*/ 2147483647 w 269"/>
              <a:gd name="T63" fmla="*/ 2147483647 h 138"/>
              <a:gd name="T64" fmla="*/ 2147483647 w 269"/>
              <a:gd name="T65" fmla="*/ 2147483647 h 138"/>
              <a:gd name="T66" fmla="*/ 2147483647 w 269"/>
              <a:gd name="T67" fmla="*/ 2147483647 h 138"/>
              <a:gd name="T68" fmla="*/ 2147483647 w 269"/>
              <a:gd name="T69" fmla="*/ 2147483647 h 138"/>
              <a:gd name="T70" fmla="*/ 2147483647 w 269"/>
              <a:gd name="T71" fmla="*/ 2147483647 h 138"/>
              <a:gd name="T72" fmla="*/ 2147483647 w 269"/>
              <a:gd name="T73" fmla="*/ 2147483647 h 138"/>
              <a:gd name="T74" fmla="*/ 2147483647 w 269"/>
              <a:gd name="T75" fmla="*/ 2147483647 h 138"/>
              <a:gd name="T76" fmla="*/ 2147483647 w 269"/>
              <a:gd name="T77" fmla="*/ 2147483647 h 138"/>
              <a:gd name="T78" fmla="*/ 2147483647 w 269"/>
              <a:gd name="T79" fmla="*/ 2147483647 h 138"/>
              <a:gd name="T80" fmla="*/ 2147483647 w 269"/>
              <a:gd name="T81" fmla="*/ 2147483647 h 138"/>
              <a:gd name="T82" fmla="*/ 2147483647 w 269"/>
              <a:gd name="T83" fmla="*/ 2147483647 h 138"/>
              <a:gd name="T84" fmla="*/ 2147483647 w 269"/>
              <a:gd name="T85" fmla="*/ 2147483647 h 138"/>
              <a:gd name="T86" fmla="*/ 2147483647 w 269"/>
              <a:gd name="T87" fmla="*/ 2147483647 h 138"/>
              <a:gd name="T88" fmla="*/ 2147483647 w 269"/>
              <a:gd name="T89" fmla="*/ 2147483647 h 138"/>
              <a:gd name="T90" fmla="*/ 2147483647 w 269"/>
              <a:gd name="T91" fmla="*/ 2147483647 h 138"/>
              <a:gd name="T92" fmla="*/ 2147483647 w 269"/>
              <a:gd name="T93" fmla="*/ 2147483647 h 138"/>
              <a:gd name="T94" fmla="*/ 2147483647 w 269"/>
              <a:gd name="T95" fmla="*/ 2147483647 h 138"/>
              <a:gd name="T96" fmla="*/ 2147483647 w 269"/>
              <a:gd name="T97" fmla="*/ 2147483647 h 138"/>
              <a:gd name="T98" fmla="*/ 2147483647 w 269"/>
              <a:gd name="T99" fmla="*/ 2147483647 h 138"/>
              <a:gd name="T100" fmla="*/ 2147483647 w 269"/>
              <a:gd name="T101" fmla="*/ 2147483647 h 138"/>
              <a:gd name="T102" fmla="*/ 2147483647 w 269"/>
              <a:gd name="T103" fmla="*/ 2147483647 h 138"/>
              <a:gd name="T104" fmla="*/ 2147483647 w 269"/>
              <a:gd name="T105" fmla="*/ 2147483647 h 138"/>
              <a:gd name="T106" fmla="*/ 2147483647 w 269"/>
              <a:gd name="T107" fmla="*/ 2147483647 h 138"/>
              <a:gd name="T108" fmla="*/ 2147483647 w 269"/>
              <a:gd name="T109" fmla="*/ 2147483647 h 138"/>
              <a:gd name="T110" fmla="*/ 2147483647 w 269"/>
              <a:gd name="T111" fmla="*/ 2147483647 h 138"/>
              <a:gd name="T112" fmla="*/ 2147483647 w 269"/>
              <a:gd name="T113" fmla="*/ 2147483647 h 138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269"/>
              <a:gd name="T172" fmla="*/ 0 h 138"/>
              <a:gd name="T173" fmla="*/ 269 w 269"/>
              <a:gd name="T174" fmla="*/ 138 h 138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269" h="138">
                <a:moveTo>
                  <a:pt x="175" y="9"/>
                </a:moveTo>
                <a:lnTo>
                  <a:pt x="169" y="6"/>
                </a:lnTo>
                <a:lnTo>
                  <a:pt x="163" y="3"/>
                </a:lnTo>
                <a:lnTo>
                  <a:pt x="158" y="0"/>
                </a:lnTo>
                <a:lnTo>
                  <a:pt x="152" y="6"/>
                </a:lnTo>
                <a:lnTo>
                  <a:pt x="146" y="3"/>
                </a:lnTo>
                <a:lnTo>
                  <a:pt x="143" y="9"/>
                </a:lnTo>
                <a:lnTo>
                  <a:pt x="135" y="6"/>
                </a:lnTo>
                <a:lnTo>
                  <a:pt x="126" y="9"/>
                </a:lnTo>
                <a:lnTo>
                  <a:pt x="120" y="15"/>
                </a:lnTo>
                <a:lnTo>
                  <a:pt x="126" y="20"/>
                </a:lnTo>
                <a:lnTo>
                  <a:pt x="117" y="23"/>
                </a:lnTo>
                <a:lnTo>
                  <a:pt x="112" y="20"/>
                </a:lnTo>
                <a:lnTo>
                  <a:pt x="109" y="18"/>
                </a:lnTo>
                <a:lnTo>
                  <a:pt x="103" y="20"/>
                </a:lnTo>
                <a:lnTo>
                  <a:pt x="100" y="20"/>
                </a:lnTo>
                <a:lnTo>
                  <a:pt x="97" y="15"/>
                </a:lnTo>
                <a:lnTo>
                  <a:pt x="94" y="20"/>
                </a:lnTo>
                <a:lnTo>
                  <a:pt x="92" y="18"/>
                </a:lnTo>
                <a:lnTo>
                  <a:pt x="86" y="15"/>
                </a:lnTo>
                <a:lnTo>
                  <a:pt x="77" y="18"/>
                </a:lnTo>
                <a:lnTo>
                  <a:pt x="71" y="18"/>
                </a:lnTo>
                <a:lnTo>
                  <a:pt x="69" y="12"/>
                </a:lnTo>
                <a:lnTo>
                  <a:pt x="60" y="12"/>
                </a:lnTo>
                <a:lnTo>
                  <a:pt x="51" y="9"/>
                </a:lnTo>
                <a:lnTo>
                  <a:pt x="48" y="9"/>
                </a:lnTo>
                <a:lnTo>
                  <a:pt x="34" y="12"/>
                </a:lnTo>
                <a:lnTo>
                  <a:pt x="28" y="12"/>
                </a:lnTo>
                <a:lnTo>
                  <a:pt x="25" y="18"/>
                </a:lnTo>
                <a:lnTo>
                  <a:pt x="23" y="18"/>
                </a:lnTo>
                <a:lnTo>
                  <a:pt x="20" y="15"/>
                </a:lnTo>
                <a:lnTo>
                  <a:pt x="25" y="26"/>
                </a:lnTo>
                <a:lnTo>
                  <a:pt x="28" y="35"/>
                </a:lnTo>
                <a:lnTo>
                  <a:pt x="20" y="40"/>
                </a:lnTo>
                <a:lnTo>
                  <a:pt x="14" y="46"/>
                </a:lnTo>
                <a:lnTo>
                  <a:pt x="8" y="55"/>
                </a:lnTo>
                <a:lnTo>
                  <a:pt x="11" y="63"/>
                </a:lnTo>
                <a:lnTo>
                  <a:pt x="14" y="66"/>
                </a:lnTo>
                <a:lnTo>
                  <a:pt x="8" y="66"/>
                </a:lnTo>
                <a:lnTo>
                  <a:pt x="5" y="63"/>
                </a:lnTo>
                <a:lnTo>
                  <a:pt x="3" y="69"/>
                </a:lnTo>
                <a:lnTo>
                  <a:pt x="0" y="72"/>
                </a:lnTo>
                <a:lnTo>
                  <a:pt x="3" y="75"/>
                </a:lnTo>
                <a:lnTo>
                  <a:pt x="11" y="78"/>
                </a:lnTo>
                <a:lnTo>
                  <a:pt x="14" y="81"/>
                </a:lnTo>
                <a:lnTo>
                  <a:pt x="20" y="78"/>
                </a:lnTo>
                <a:lnTo>
                  <a:pt x="25" y="81"/>
                </a:lnTo>
                <a:lnTo>
                  <a:pt x="31" y="81"/>
                </a:lnTo>
                <a:lnTo>
                  <a:pt x="37" y="78"/>
                </a:lnTo>
                <a:lnTo>
                  <a:pt x="46" y="86"/>
                </a:lnTo>
                <a:lnTo>
                  <a:pt x="48" y="84"/>
                </a:lnTo>
                <a:lnTo>
                  <a:pt x="60" y="81"/>
                </a:lnTo>
                <a:lnTo>
                  <a:pt x="66" y="75"/>
                </a:lnTo>
                <a:lnTo>
                  <a:pt x="71" y="75"/>
                </a:lnTo>
                <a:lnTo>
                  <a:pt x="74" y="75"/>
                </a:lnTo>
                <a:lnTo>
                  <a:pt x="83" y="72"/>
                </a:lnTo>
                <a:lnTo>
                  <a:pt x="97" y="78"/>
                </a:lnTo>
                <a:lnTo>
                  <a:pt x="103" y="78"/>
                </a:lnTo>
                <a:lnTo>
                  <a:pt x="112" y="86"/>
                </a:lnTo>
                <a:lnTo>
                  <a:pt x="109" y="89"/>
                </a:lnTo>
                <a:lnTo>
                  <a:pt x="109" y="92"/>
                </a:lnTo>
                <a:lnTo>
                  <a:pt x="117" y="101"/>
                </a:lnTo>
                <a:lnTo>
                  <a:pt x="123" y="109"/>
                </a:lnTo>
                <a:lnTo>
                  <a:pt x="123" y="112"/>
                </a:lnTo>
                <a:lnTo>
                  <a:pt x="123" y="115"/>
                </a:lnTo>
                <a:lnTo>
                  <a:pt x="112" y="112"/>
                </a:lnTo>
                <a:lnTo>
                  <a:pt x="109" y="115"/>
                </a:lnTo>
                <a:lnTo>
                  <a:pt x="109" y="118"/>
                </a:lnTo>
                <a:lnTo>
                  <a:pt x="109" y="121"/>
                </a:lnTo>
                <a:lnTo>
                  <a:pt x="103" y="127"/>
                </a:lnTo>
                <a:lnTo>
                  <a:pt x="100" y="132"/>
                </a:lnTo>
                <a:lnTo>
                  <a:pt x="103" y="132"/>
                </a:lnTo>
                <a:lnTo>
                  <a:pt x="114" y="129"/>
                </a:lnTo>
                <a:lnTo>
                  <a:pt x="120" y="138"/>
                </a:lnTo>
                <a:lnTo>
                  <a:pt x="120" y="132"/>
                </a:lnTo>
                <a:lnTo>
                  <a:pt x="123" y="127"/>
                </a:lnTo>
                <a:lnTo>
                  <a:pt x="132" y="121"/>
                </a:lnTo>
                <a:lnTo>
                  <a:pt x="135" y="115"/>
                </a:lnTo>
                <a:lnTo>
                  <a:pt x="137" y="112"/>
                </a:lnTo>
                <a:lnTo>
                  <a:pt x="143" y="109"/>
                </a:lnTo>
                <a:lnTo>
                  <a:pt x="149" y="109"/>
                </a:lnTo>
                <a:lnTo>
                  <a:pt x="152" y="112"/>
                </a:lnTo>
                <a:lnTo>
                  <a:pt x="155" y="118"/>
                </a:lnTo>
                <a:lnTo>
                  <a:pt x="169" y="118"/>
                </a:lnTo>
                <a:lnTo>
                  <a:pt x="181" y="118"/>
                </a:lnTo>
                <a:lnTo>
                  <a:pt x="189" y="118"/>
                </a:lnTo>
                <a:lnTo>
                  <a:pt x="201" y="115"/>
                </a:lnTo>
                <a:lnTo>
                  <a:pt x="209" y="112"/>
                </a:lnTo>
                <a:lnTo>
                  <a:pt x="221" y="107"/>
                </a:lnTo>
                <a:lnTo>
                  <a:pt x="232" y="104"/>
                </a:lnTo>
                <a:lnTo>
                  <a:pt x="244" y="101"/>
                </a:lnTo>
                <a:lnTo>
                  <a:pt x="247" y="89"/>
                </a:lnTo>
                <a:lnTo>
                  <a:pt x="255" y="84"/>
                </a:lnTo>
                <a:lnTo>
                  <a:pt x="267" y="84"/>
                </a:lnTo>
                <a:lnTo>
                  <a:pt x="269" y="78"/>
                </a:lnTo>
                <a:lnTo>
                  <a:pt x="261" y="69"/>
                </a:lnTo>
                <a:lnTo>
                  <a:pt x="264" y="69"/>
                </a:lnTo>
                <a:lnTo>
                  <a:pt x="267" y="66"/>
                </a:lnTo>
                <a:lnTo>
                  <a:pt x="264" y="63"/>
                </a:lnTo>
                <a:lnTo>
                  <a:pt x="269" y="58"/>
                </a:lnTo>
                <a:lnTo>
                  <a:pt x="267" y="52"/>
                </a:lnTo>
                <a:lnTo>
                  <a:pt x="252" y="52"/>
                </a:lnTo>
                <a:lnTo>
                  <a:pt x="241" y="46"/>
                </a:lnTo>
                <a:lnTo>
                  <a:pt x="238" y="49"/>
                </a:lnTo>
                <a:lnTo>
                  <a:pt x="226" y="38"/>
                </a:lnTo>
                <a:lnTo>
                  <a:pt x="212" y="43"/>
                </a:lnTo>
                <a:lnTo>
                  <a:pt x="203" y="38"/>
                </a:lnTo>
                <a:lnTo>
                  <a:pt x="201" y="40"/>
                </a:lnTo>
                <a:lnTo>
                  <a:pt x="201" y="38"/>
                </a:lnTo>
                <a:lnTo>
                  <a:pt x="198" y="35"/>
                </a:lnTo>
                <a:lnTo>
                  <a:pt x="192" y="29"/>
                </a:lnTo>
                <a:lnTo>
                  <a:pt x="189" y="26"/>
                </a:lnTo>
                <a:lnTo>
                  <a:pt x="189" y="23"/>
                </a:lnTo>
                <a:lnTo>
                  <a:pt x="186" y="23"/>
                </a:lnTo>
                <a:lnTo>
                  <a:pt x="172" y="20"/>
                </a:lnTo>
                <a:lnTo>
                  <a:pt x="169" y="15"/>
                </a:lnTo>
                <a:lnTo>
                  <a:pt x="172" y="12"/>
                </a:lnTo>
                <a:lnTo>
                  <a:pt x="175" y="9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955" name="Freeform 230"/>
          <p:cNvSpPr>
            <a:spLocks noChangeAspect="1"/>
          </p:cNvSpPr>
          <p:nvPr/>
        </p:nvSpPr>
        <p:spPr bwMode="gray">
          <a:xfrm>
            <a:off x="7327321" y="2709073"/>
            <a:ext cx="1020184" cy="505514"/>
          </a:xfrm>
          <a:custGeom>
            <a:avLst/>
            <a:gdLst>
              <a:gd name="T0" fmla="*/ 2147483647 w 135"/>
              <a:gd name="T1" fmla="*/ 2147483647 h 89"/>
              <a:gd name="T2" fmla="*/ 2147483647 w 135"/>
              <a:gd name="T3" fmla="*/ 0 h 89"/>
              <a:gd name="T4" fmla="*/ 2147483647 w 135"/>
              <a:gd name="T5" fmla="*/ 2147483647 h 89"/>
              <a:gd name="T6" fmla="*/ 2147483647 w 135"/>
              <a:gd name="T7" fmla="*/ 2147483647 h 89"/>
              <a:gd name="T8" fmla="*/ 2147483647 w 135"/>
              <a:gd name="T9" fmla="*/ 2147483647 h 89"/>
              <a:gd name="T10" fmla="*/ 2147483647 w 135"/>
              <a:gd name="T11" fmla="*/ 2147483647 h 89"/>
              <a:gd name="T12" fmla="*/ 2147483647 w 135"/>
              <a:gd name="T13" fmla="*/ 2147483647 h 89"/>
              <a:gd name="T14" fmla="*/ 2147483647 w 135"/>
              <a:gd name="T15" fmla="*/ 2147483647 h 89"/>
              <a:gd name="T16" fmla="*/ 2147483647 w 135"/>
              <a:gd name="T17" fmla="*/ 2147483647 h 89"/>
              <a:gd name="T18" fmla="*/ 2147483647 w 135"/>
              <a:gd name="T19" fmla="*/ 2147483647 h 89"/>
              <a:gd name="T20" fmla="*/ 2147483647 w 135"/>
              <a:gd name="T21" fmla="*/ 2147483647 h 89"/>
              <a:gd name="T22" fmla="*/ 2147483647 w 135"/>
              <a:gd name="T23" fmla="*/ 2147483647 h 89"/>
              <a:gd name="T24" fmla="*/ 2147483647 w 135"/>
              <a:gd name="T25" fmla="*/ 2147483647 h 89"/>
              <a:gd name="T26" fmla="*/ 2147483647 w 135"/>
              <a:gd name="T27" fmla="*/ 2147483647 h 89"/>
              <a:gd name="T28" fmla="*/ 2147483647 w 135"/>
              <a:gd name="T29" fmla="*/ 2147483647 h 89"/>
              <a:gd name="T30" fmla="*/ 2147483647 w 135"/>
              <a:gd name="T31" fmla="*/ 2147483647 h 89"/>
              <a:gd name="T32" fmla="*/ 2147483647 w 135"/>
              <a:gd name="T33" fmla="*/ 2147483647 h 89"/>
              <a:gd name="T34" fmla="*/ 2147483647 w 135"/>
              <a:gd name="T35" fmla="*/ 2147483647 h 89"/>
              <a:gd name="T36" fmla="*/ 2147483647 w 135"/>
              <a:gd name="T37" fmla="*/ 2147483647 h 89"/>
              <a:gd name="T38" fmla="*/ 2147483647 w 135"/>
              <a:gd name="T39" fmla="*/ 2147483647 h 89"/>
              <a:gd name="T40" fmla="*/ 2147483647 w 135"/>
              <a:gd name="T41" fmla="*/ 2147483647 h 89"/>
              <a:gd name="T42" fmla="*/ 2147483647 w 135"/>
              <a:gd name="T43" fmla="*/ 2147483647 h 89"/>
              <a:gd name="T44" fmla="*/ 2147483647 w 135"/>
              <a:gd name="T45" fmla="*/ 2147483647 h 89"/>
              <a:gd name="T46" fmla="*/ 2147483647 w 135"/>
              <a:gd name="T47" fmla="*/ 2147483647 h 89"/>
              <a:gd name="T48" fmla="*/ 2147483647 w 135"/>
              <a:gd name="T49" fmla="*/ 2147483647 h 89"/>
              <a:gd name="T50" fmla="*/ 2147483647 w 135"/>
              <a:gd name="T51" fmla="*/ 2147483647 h 89"/>
              <a:gd name="T52" fmla="*/ 2147483647 w 135"/>
              <a:gd name="T53" fmla="*/ 2147483647 h 89"/>
              <a:gd name="T54" fmla="*/ 2147483647 w 135"/>
              <a:gd name="T55" fmla="*/ 2147483647 h 89"/>
              <a:gd name="T56" fmla="*/ 2147483647 w 135"/>
              <a:gd name="T57" fmla="*/ 2147483647 h 89"/>
              <a:gd name="T58" fmla="*/ 2147483647 w 135"/>
              <a:gd name="T59" fmla="*/ 2147483647 h 89"/>
              <a:gd name="T60" fmla="*/ 2147483647 w 135"/>
              <a:gd name="T61" fmla="*/ 2147483647 h 89"/>
              <a:gd name="T62" fmla="*/ 2147483647 w 135"/>
              <a:gd name="T63" fmla="*/ 2147483647 h 89"/>
              <a:gd name="T64" fmla="*/ 2147483647 w 135"/>
              <a:gd name="T65" fmla="*/ 2147483647 h 89"/>
              <a:gd name="T66" fmla="*/ 2147483647 w 135"/>
              <a:gd name="T67" fmla="*/ 2147483647 h 89"/>
              <a:gd name="T68" fmla="*/ 2147483647 w 135"/>
              <a:gd name="T69" fmla="*/ 2147483647 h 89"/>
              <a:gd name="T70" fmla="*/ 2147483647 w 135"/>
              <a:gd name="T71" fmla="*/ 2147483647 h 89"/>
              <a:gd name="T72" fmla="*/ 2147483647 w 135"/>
              <a:gd name="T73" fmla="*/ 2147483647 h 89"/>
              <a:gd name="T74" fmla="*/ 2147483647 w 135"/>
              <a:gd name="T75" fmla="*/ 2147483647 h 89"/>
              <a:gd name="T76" fmla="*/ 2147483647 w 135"/>
              <a:gd name="T77" fmla="*/ 2147483647 h 89"/>
              <a:gd name="T78" fmla="*/ 2147483647 w 135"/>
              <a:gd name="T79" fmla="*/ 2147483647 h 89"/>
              <a:gd name="T80" fmla="*/ 2147483647 w 135"/>
              <a:gd name="T81" fmla="*/ 2147483647 h 89"/>
              <a:gd name="T82" fmla="*/ 2147483647 w 135"/>
              <a:gd name="T83" fmla="*/ 2147483647 h 89"/>
              <a:gd name="T84" fmla="*/ 2147483647 w 135"/>
              <a:gd name="T85" fmla="*/ 2147483647 h 89"/>
              <a:gd name="T86" fmla="*/ 2147483647 w 135"/>
              <a:gd name="T87" fmla="*/ 2147483647 h 89"/>
              <a:gd name="T88" fmla="*/ 2147483647 w 135"/>
              <a:gd name="T89" fmla="*/ 2147483647 h 89"/>
              <a:gd name="T90" fmla="*/ 2147483647 w 135"/>
              <a:gd name="T91" fmla="*/ 2147483647 h 89"/>
              <a:gd name="T92" fmla="*/ 2147483647 w 135"/>
              <a:gd name="T93" fmla="*/ 2147483647 h 89"/>
              <a:gd name="T94" fmla="*/ 2147483647 w 135"/>
              <a:gd name="T95" fmla="*/ 2147483647 h 89"/>
              <a:gd name="T96" fmla="*/ 2147483647 w 135"/>
              <a:gd name="T97" fmla="*/ 2147483647 h 89"/>
              <a:gd name="T98" fmla="*/ 2147483647 w 135"/>
              <a:gd name="T99" fmla="*/ 2147483647 h 89"/>
              <a:gd name="T100" fmla="*/ 2147483647 w 135"/>
              <a:gd name="T101" fmla="*/ 2147483647 h 89"/>
              <a:gd name="T102" fmla="*/ 2147483647 w 135"/>
              <a:gd name="T103" fmla="*/ 2147483647 h 89"/>
              <a:gd name="T104" fmla="*/ 2147483647 w 135"/>
              <a:gd name="T105" fmla="*/ 2147483647 h 89"/>
              <a:gd name="T106" fmla="*/ 2147483647 w 135"/>
              <a:gd name="T107" fmla="*/ 2147483647 h 89"/>
              <a:gd name="T108" fmla="*/ 2147483647 w 135"/>
              <a:gd name="T109" fmla="*/ 2147483647 h 89"/>
              <a:gd name="T110" fmla="*/ 2147483647 w 135"/>
              <a:gd name="T111" fmla="*/ 2147483647 h 89"/>
              <a:gd name="T112" fmla="*/ 2147483647 w 135"/>
              <a:gd name="T113" fmla="*/ 2147483647 h 89"/>
              <a:gd name="T114" fmla="*/ 2147483647 w 135"/>
              <a:gd name="T115" fmla="*/ 2147483647 h 89"/>
              <a:gd name="T116" fmla="*/ 2147483647 w 135"/>
              <a:gd name="T117" fmla="*/ 2147483647 h 89"/>
              <a:gd name="T118" fmla="*/ 2147483647 w 135"/>
              <a:gd name="T119" fmla="*/ 2147483647 h 89"/>
              <a:gd name="T120" fmla="*/ 2147483647 w 135"/>
              <a:gd name="T121" fmla="*/ 2147483647 h 89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135"/>
              <a:gd name="T184" fmla="*/ 0 h 89"/>
              <a:gd name="T185" fmla="*/ 135 w 135"/>
              <a:gd name="T186" fmla="*/ 89 h 89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135" h="89">
                <a:moveTo>
                  <a:pt x="78" y="3"/>
                </a:moveTo>
                <a:lnTo>
                  <a:pt x="72" y="3"/>
                </a:lnTo>
                <a:lnTo>
                  <a:pt x="69" y="0"/>
                </a:lnTo>
                <a:lnTo>
                  <a:pt x="66" y="3"/>
                </a:lnTo>
                <a:lnTo>
                  <a:pt x="58" y="6"/>
                </a:lnTo>
                <a:lnTo>
                  <a:pt x="43" y="9"/>
                </a:lnTo>
                <a:lnTo>
                  <a:pt x="43" y="12"/>
                </a:lnTo>
                <a:lnTo>
                  <a:pt x="49" y="12"/>
                </a:lnTo>
                <a:lnTo>
                  <a:pt x="49" y="15"/>
                </a:lnTo>
                <a:lnTo>
                  <a:pt x="46" y="20"/>
                </a:lnTo>
                <a:lnTo>
                  <a:pt x="43" y="20"/>
                </a:lnTo>
                <a:lnTo>
                  <a:pt x="40" y="20"/>
                </a:lnTo>
                <a:lnTo>
                  <a:pt x="35" y="23"/>
                </a:lnTo>
                <a:lnTo>
                  <a:pt x="35" y="29"/>
                </a:lnTo>
                <a:lnTo>
                  <a:pt x="37" y="35"/>
                </a:lnTo>
                <a:lnTo>
                  <a:pt x="29" y="38"/>
                </a:lnTo>
                <a:lnTo>
                  <a:pt x="29" y="35"/>
                </a:lnTo>
                <a:lnTo>
                  <a:pt x="26" y="38"/>
                </a:lnTo>
                <a:lnTo>
                  <a:pt x="23" y="38"/>
                </a:lnTo>
                <a:lnTo>
                  <a:pt x="20" y="43"/>
                </a:lnTo>
                <a:lnTo>
                  <a:pt x="17" y="43"/>
                </a:lnTo>
                <a:lnTo>
                  <a:pt x="9" y="41"/>
                </a:lnTo>
                <a:lnTo>
                  <a:pt x="3" y="43"/>
                </a:lnTo>
                <a:lnTo>
                  <a:pt x="12" y="58"/>
                </a:lnTo>
                <a:lnTo>
                  <a:pt x="9" y="64"/>
                </a:lnTo>
                <a:lnTo>
                  <a:pt x="0" y="72"/>
                </a:lnTo>
                <a:lnTo>
                  <a:pt x="6" y="81"/>
                </a:lnTo>
                <a:lnTo>
                  <a:pt x="12" y="84"/>
                </a:lnTo>
                <a:lnTo>
                  <a:pt x="14" y="78"/>
                </a:lnTo>
                <a:lnTo>
                  <a:pt x="23" y="78"/>
                </a:lnTo>
                <a:lnTo>
                  <a:pt x="37" y="75"/>
                </a:lnTo>
                <a:lnTo>
                  <a:pt x="40" y="75"/>
                </a:lnTo>
                <a:lnTo>
                  <a:pt x="58" y="78"/>
                </a:lnTo>
                <a:lnTo>
                  <a:pt x="58" y="81"/>
                </a:lnTo>
                <a:lnTo>
                  <a:pt x="60" y="84"/>
                </a:lnTo>
                <a:lnTo>
                  <a:pt x="66" y="84"/>
                </a:lnTo>
                <a:lnTo>
                  <a:pt x="75" y="81"/>
                </a:lnTo>
                <a:lnTo>
                  <a:pt x="81" y="84"/>
                </a:lnTo>
                <a:lnTo>
                  <a:pt x="86" y="81"/>
                </a:lnTo>
                <a:lnTo>
                  <a:pt x="89" y="81"/>
                </a:lnTo>
                <a:lnTo>
                  <a:pt x="92" y="87"/>
                </a:lnTo>
                <a:lnTo>
                  <a:pt x="95" y="87"/>
                </a:lnTo>
                <a:lnTo>
                  <a:pt x="95" y="84"/>
                </a:lnTo>
                <a:lnTo>
                  <a:pt x="98" y="84"/>
                </a:lnTo>
                <a:lnTo>
                  <a:pt x="103" y="87"/>
                </a:lnTo>
                <a:lnTo>
                  <a:pt x="106" y="89"/>
                </a:lnTo>
                <a:lnTo>
                  <a:pt x="109" y="87"/>
                </a:lnTo>
                <a:lnTo>
                  <a:pt x="106" y="84"/>
                </a:lnTo>
                <a:lnTo>
                  <a:pt x="112" y="75"/>
                </a:lnTo>
                <a:lnTo>
                  <a:pt x="121" y="72"/>
                </a:lnTo>
                <a:lnTo>
                  <a:pt x="115" y="61"/>
                </a:lnTo>
                <a:lnTo>
                  <a:pt x="115" y="58"/>
                </a:lnTo>
                <a:lnTo>
                  <a:pt x="118" y="52"/>
                </a:lnTo>
                <a:lnTo>
                  <a:pt x="121" y="52"/>
                </a:lnTo>
                <a:lnTo>
                  <a:pt x="124" y="55"/>
                </a:lnTo>
                <a:lnTo>
                  <a:pt x="129" y="55"/>
                </a:lnTo>
                <a:lnTo>
                  <a:pt x="132" y="52"/>
                </a:lnTo>
                <a:lnTo>
                  <a:pt x="135" y="49"/>
                </a:lnTo>
                <a:lnTo>
                  <a:pt x="132" y="49"/>
                </a:lnTo>
                <a:lnTo>
                  <a:pt x="132" y="46"/>
                </a:lnTo>
                <a:lnTo>
                  <a:pt x="129" y="43"/>
                </a:lnTo>
                <a:lnTo>
                  <a:pt x="124" y="43"/>
                </a:lnTo>
                <a:lnTo>
                  <a:pt x="121" y="38"/>
                </a:lnTo>
                <a:lnTo>
                  <a:pt x="112" y="35"/>
                </a:lnTo>
                <a:lnTo>
                  <a:pt x="106" y="26"/>
                </a:lnTo>
                <a:lnTo>
                  <a:pt x="103" y="23"/>
                </a:lnTo>
                <a:lnTo>
                  <a:pt x="106" y="20"/>
                </a:lnTo>
                <a:lnTo>
                  <a:pt x="103" y="18"/>
                </a:lnTo>
                <a:lnTo>
                  <a:pt x="103" y="9"/>
                </a:lnTo>
                <a:lnTo>
                  <a:pt x="95" y="6"/>
                </a:lnTo>
                <a:lnTo>
                  <a:pt x="92" y="3"/>
                </a:lnTo>
                <a:lnTo>
                  <a:pt x="89" y="6"/>
                </a:lnTo>
                <a:lnTo>
                  <a:pt x="89" y="9"/>
                </a:lnTo>
                <a:lnTo>
                  <a:pt x="86" y="9"/>
                </a:lnTo>
                <a:lnTo>
                  <a:pt x="83" y="9"/>
                </a:lnTo>
                <a:lnTo>
                  <a:pt x="81" y="6"/>
                </a:lnTo>
                <a:lnTo>
                  <a:pt x="81" y="3"/>
                </a:lnTo>
                <a:lnTo>
                  <a:pt x="78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81956" name="Freeform 231"/>
          <p:cNvSpPr>
            <a:spLocks noChangeAspect="1"/>
          </p:cNvSpPr>
          <p:nvPr/>
        </p:nvSpPr>
        <p:spPr bwMode="gray">
          <a:xfrm>
            <a:off x="7267310" y="2353564"/>
            <a:ext cx="474085" cy="198005"/>
          </a:xfrm>
          <a:custGeom>
            <a:avLst/>
            <a:gdLst>
              <a:gd name="T0" fmla="*/ 2147483647 w 63"/>
              <a:gd name="T1" fmla="*/ 2147483647 h 35"/>
              <a:gd name="T2" fmla="*/ 2147483647 w 63"/>
              <a:gd name="T3" fmla="*/ 2147483647 h 35"/>
              <a:gd name="T4" fmla="*/ 2147483647 w 63"/>
              <a:gd name="T5" fmla="*/ 2147483647 h 35"/>
              <a:gd name="T6" fmla="*/ 2147483647 w 63"/>
              <a:gd name="T7" fmla="*/ 2147483647 h 35"/>
              <a:gd name="T8" fmla="*/ 2147483647 w 63"/>
              <a:gd name="T9" fmla="*/ 2147483647 h 35"/>
              <a:gd name="T10" fmla="*/ 2147483647 w 63"/>
              <a:gd name="T11" fmla="*/ 2147483647 h 35"/>
              <a:gd name="T12" fmla="*/ 2147483647 w 63"/>
              <a:gd name="T13" fmla="*/ 2147483647 h 35"/>
              <a:gd name="T14" fmla="*/ 2147483647 w 63"/>
              <a:gd name="T15" fmla="*/ 0 h 35"/>
              <a:gd name="T16" fmla="*/ 2147483647 w 63"/>
              <a:gd name="T17" fmla="*/ 0 h 35"/>
              <a:gd name="T18" fmla="*/ 2147483647 w 63"/>
              <a:gd name="T19" fmla="*/ 0 h 35"/>
              <a:gd name="T20" fmla="*/ 2147483647 w 63"/>
              <a:gd name="T21" fmla="*/ 2147483647 h 35"/>
              <a:gd name="T22" fmla="*/ 2147483647 w 63"/>
              <a:gd name="T23" fmla="*/ 2147483647 h 35"/>
              <a:gd name="T24" fmla="*/ 0 w 63"/>
              <a:gd name="T25" fmla="*/ 2147483647 h 35"/>
              <a:gd name="T26" fmla="*/ 0 w 63"/>
              <a:gd name="T27" fmla="*/ 2147483647 h 35"/>
              <a:gd name="T28" fmla="*/ 0 w 63"/>
              <a:gd name="T29" fmla="*/ 2147483647 h 35"/>
              <a:gd name="T30" fmla="*/ 0 w 63"/>
              <a:gd name="T31" fmla="*/ 2147483647 h 35"/>
              <a:gd name="T32" fmla="*/ 0 w 63"/>
              <a:gd name="T33" fmla="*/ 2147483647 h 35"/>
              <a:gd name="T34" fmla="*/ 2147483647 w 63"/>
              <a:gd name="T35" fmla="*/ 2147483647 h 35"/>
              <a:gd name="T36" fmla="*/ 2147483647 w 63"/>
              <a:gd name="T37" fmla="*/ 2147483647 h 35"/>
              <a:gd name="T38" fmla="*/ 2147483647 w 63"/>
              <a:gd name="T39" fmla="*/ 2147483647 h 35"/>
              <a:gd name="T40" fmla="*/ 2147483647 w 63"/>
              <a:gd name="T41" fmla="*/ 2147483647 h 35"/>
              <a:gd name="T42" fmla="*/ 2147483647 w 63"/>
              <a:gd name="T43" fmla="*/ 2147483647 h 35"/>
              <a:gd name="T44" fmla="*/ 2147483647 w 63"/>
              <a:gd name="T45" fmla="*/ 2147483647 h 35"/>
              <a:gd name="T46" fmla="*/ 2147483647 w 63"/>
              <a:gd name="T47" fmla="*/ 2147483647 h 35"/>
              <a:gd name="T48" fmla="*/ 2147483647 w 63"/>
              <a:gd name="T49" fmla="*/ 2147483647 h 35"/>
              <a:gd name="T50" fmla="*/ 2147483647 w 63"/>
              <a:gd name="T51" fmla="*/ 2147483647 h 35"/>
              <a:gd name="T52" fmla="*/ 2147483647 w 63"/>
              <a:gd name="T53" fmla="*/ 2147483647 h 35"/>
              <a:gd name="T54" fmla="*/ 2147483647 w 63"/>
              <a:gd name="T55" fmla="*/ 2147483647 h 35"/>
              <a:gd name="T56" fmla="*/ 2147483647 w 63"/>
              <a:gd name="T57" fmla="*/ 2147483647 h 35"/>
              <a:gd name="T58" fmla="*/ 2147483647 w 63"/>
              <a:gd name="T59" fmla="*/ 2147483647 h 35"/>
              <a:gd name="T60" fmla="*/ 2147483647 w 63"/>
              <a:gd name="T61" fmla="*/ 2147483647 h 35"/>
              <a:gd name="T62" fmla="*/ 2147483647 w 63"/>
              <a:gd name="T63" fmla="*/ 2147483647 h 35"/>
              <a:gd name="T64" fmla="*/ 2147483647 w 63"/>
              <a:gd name="T65" fmla="*/ 2147483647 h 35"/>
              <a:gd name="T66" fmla="*/ 2147483647 w 63"/>
              <a:gd name="T67" fmla="*/ 2147483647 h 35"/>
              <a:gd name="T68" fmla="*/ 2147483647 w 63"/>
              <a:gd name="T69" fmla="*/ 2147483647 h 35"/>
              <a:gd name="T70" fmla="*/ 2147483647 w 63"/>
              <a:gd name="T71" fmla="*/ 2147483647 h 35"/>
              <a:gd name="T72" fmla="*/ 2147483647 w 63"/>
              <a:gd name="T73" fmla="*/ 2147483647 h 35"/>
              <a:gd name="T74" fmla="*/ 2147483647 w 63"/>
              <a:gd name="T75" fmla="*/ 2147483647 h 35"/>
              <a:gd name="T76" fmla="*/ 2147483647 w 63"/>
              <a:gd name="T77" fmla="*/ 2147483647 h 35"/>
              <a:gd name="T78" fmla="*/ 2147483647 w 63"/>
              <a:gd name="T79" fmla="*/ 2147483647 h 35"/>
              <a:gd name="T80" fmla="*/ 2147483647 w 63"/>
              <a:gd name="T81" fmla="*/ 2147483647 h 35"/>
              <a:gd name="T82" fmla="*/ 2147483647 w 63"/>
              <a:gd name="T83" fmla="*/ 2147483647 h 35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63"/>
              <a:gd name="T127" fmla="*/ 0 h 35"/>
              <a:gd name="T128" fmla="*/ 63 w 63"/>
              <a:gd name="T129" fmla="*/ 35 h 35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63" h="35">
                <a:moveTo>
                  <a:pt x="60" y="3"/>
                </a:moveTo>
                <a:lnTo>
                  <a:pt x="60" y="3"/>
                </a:lnTo>
                <a:lnTo>
                  <a:pt x="57" y="3"/>
                </a:lnTo>
                <a:lnTo>
                  <a:pt x="51" y="3"/>
                </a:lnTo>
                <a:lnTo>
                  <a:pt x="43" y="3"/>
                </a:lnTo>
                <a:lnTo>
                  <a:pt x="34" y="0"/>
                </a:lnTo>
                <a:lnTo>
                  <a:pt x="28" y="0"/>
                </a:lnTo>
                <a:lnTo>
                  <a:pt x="17" y="3"/>
                </a:lnTo>
                <a:lnTo>
                  <a:pt x="0" y="6"/>
                </a:lnTo>
                <a:lnTo>
                  <a:pt x="0" y="12"/>
                </a:lnTo>
                <a:lnTo>
                  <a:pt x="0" y="15"/>
                </a:lnTo>
                <a:lnTo>
                  <a:pt x="2" y="20"/>
                </a:lnTo>
                <a:lnTo>
                  <a:pt x="5" y="23"/>
                </a:lnTo>
                <a:lnTo>
                  <a:pt x="11" y="26"/>
                </a:lnTo>
                <a:lnTo>
                  <a:pt x="14" y="23"/>
                </a:lnTo>
                <a:lnTo>
                  <a:pt x="17" y="26"/>
                </a:lnTo>
                <a:lnTo>
                  <a:pt x="17" y="29"/>
                </a:lnTo>
                <a:lnTo>
                  <a:pt x="25" y="26"/>
                </a:lnTo>
                <a:lnTo>
                  <a:pt x="37" y="29"/>
                </a:lnTo>
                <a:lnTo>
                  <a:pt x="45" y="35"/>
                </a:lnTo>
                <a:lnTo>
                  <a:pt x="48" y="35"/>
                </a:lnTo>
                <a:lnTo>
                  <a:pt x="51" y="32"/>
                </a:lnTo>
                <a:lnTo>
                  <a:pt x="57" y="35"/>
                </a:lnTo>
                <a:lnTo>
                  <a:pt x="63" y="32"/>
                </a:lnTo>
                <a:lnTo>
                  <a:pt x="57" y="29"/>
                </a:lnTo>
                <a:lnTo>
                  <a:pt x="57" y="23"/>
                </a:lnTo>
                <a:lnTo>
                  <a:pt x="54" y="17"/>
                </a:lnTo>
                <a:lnTo>
                  <a:pt x="57" y="9"/>
                </a:lnTo>
                <a:lnTo>
                  <a:pt x="6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275" name="Freeform 232"/>
          <p:cNvSpPr>
            <a:spLocks noChangeAspect="1"/>
          </p:cNvSpPr>
          <p:nvPr/>
        </p:nvSpPr>
        <p:spPr bwMode="gray">
          <a:xfrm>
            <a:off x="6893241" y="1323036"/>
            <a:ext cx="1130204" cy="997527"/>
          </a:xfrm>
          <a:custGeom>
            <a:avLst/>
            <a:gdLst>
              <a:gd name="T0" fmla="*/ 2147483647 w 149"/>
              <a:gd name="T1" fmla="*/ 2147483647 h 175"/>
              <a:gd name="T2" fmla="*/ 2147483647 w 149"/>
              <a:gd name="T3" fmla="*/ 2147483647 h 175"/>
              <a:gd name="T4" fmla="*/ 2147483647 w 149"/>
              <a:gd name="T5" fmla="*/ 2147483647 h 175"/>
              <a:gd name="T6" fmla="*/ 2147483647 w 149"/>
              <a:gd name="T7" fmla="*/ 2147483647 h 175"/>
              <a:gd name="T8" fmla="*/ 2147483647 w 149"/>
              <a:gd name="T9" fmla="*/ 2147483647 h 175"/>
              <a:gd name="T10" fmla="*/ 2147483647 w 149"/>
              <a:gd name="T11" fmla="*/ 2147483647 h 175"/>
              <a:gd name="T12" fmla="*/ 2147483647 w 149"/>
              <a:gd name="T13" fmla="*/ 2147483647 h 175"/>
              <a:gd name="T14" fmla="*/ 2147483647 w 149"/>
              <a:gd name="T15" fmla="*/ 2147483647 h 175"/>
              <a:gd name="T16" fmla="*/ 2147483647 w 149"/>
              <a:gd name="T17" fmla="*/ 2147483647 h 175"/>
              <a:gd name="T18" fmla="*/ 2147483647 w 149"/>
              <a:gd name="T19" fmla="*/ 2147483647 h 175"/>
              <a:gd name="T20" fmla="*/ 2147483647 w 149"/>
              <a:gd name="T21" fmla="*/ 2147483647 h 175"/>
              <a:gd name="T22" fmla="*/ 2147483647 w 149"/>
              <a:gd name="T23" fmla="*/ 2147483647 h 175"/>
              <a:gd name="T24" fmla="*/ 2147483647 w 149"/>
              <a:gd name="T25" fmla="*/ 2147483647 h 175"/>
              <a:gd name="T26" fmla="*/ 0 w 149"/>
              <a:gd name="T27" fmla="*/ 2147483647 h 175"/>
              <a:gd name="T28" fmla="*/ 2147483647 w 149"/>
              <a:gd name="T29" fmla="*/ 2147483647 h 175"/>
              <a:gd name="T30" fmla="*/ 2147483647 w 149"/>
              <a:gd name="T31" fmla="*/ 2147483647 h 175"/>
              <a:gd name="T32" fmla="*/ 2147483647 w 149"/>
              <a:gd name="T33" fmla="*/ 2147483647 h 175"/>
              <a:gd name="T34" fmla="*/ 2147483647 w 149"/>
              <a:gd name="T35" fmla="*/ 2147483647 h 175"/>
              <a:gd name="T36" fmla="*/ 2147483647 w 149"/>
              <a:gd name="T37" fmla="*/ 2147483647 h 175"/>
              <a:gd name="T38" fmla="*/ 2147483647 w 149"/>
              <a:gd name="T39" fmla="*/ 2147483647 h 175"/>
              <a:gd name="T40" fmla="*/ 2147483647 w 149"/>
              <a:gd name="T41" fmla="*/ 2147483647 h 175"/>
              <a:gd name="T42" fmla="*/ 2147483647 w 149"/>
              <a:gd name="T43" fmla="*/ 2147483647 h 175"/>
              <a:gd name="T44" fmla="*/ 2147483647 w 149"/>
              <a:gd name="T45" fmla="*/ 2147483647 h 175"/>
              <a:gd name="T46" fmla="*/ 2147483647 w 149"/>
              <a:gd name="T47" fmla="*/ 2147483647 h 175"/>
              <a:gd name="T48" fmla="*/ 2147483647 w 149"/>
              <a:gd name="T49" fmla="*/ 2147483647 h 175"/>
              <a:gd name="T50" fmla="*/ 2147483647 w 149"/>
              <a:gd name="T51" fmla="*/ 2147483647 h 175"/>
              <a:gd name="T52" fmla="*/ 2147483647 w 149"/>
              <a:gd name="T53" fmla="*/ 2147483647 h 175"/>
              <a:gd name="T54" fmla="*/ 2147483647 w 149"/>
              <a:gd name="T55" fmla="*/ 2147483647 h 175"/>
              <a:gd name="T56" fmla="*/ 2147483647 w 149"/>
              <a:gd name="T57" fmla="*/ 2147483647 h 175"/>
              <a:gd name="T58" fmla="*/ 2147483647 w 149"/>
              <a:gd name="T59" fmla="*/ 2147483647 h 175"/>
              <a:gd name="T60" fmla="*/ 2147483647 w 149"/>
              <a:gd name="T61" fmla="*/ 2147483647 h 175"/>
              <a:gd name="T62" fmla="*/ 2147483647 w 149"/>
              <a:gd name="T63" fmla="*/ 2147483647 h 175"/>
              <a:gd name="T64" fmla="*/ 2147483647 w 149"/>
              <a:gd name="T65" fmla="*/ 2147483647 h 175"/>
              <a:gd name="T66" fmla="*/ 2147483647 w 149"/>
              <a:gd name="T67" fmla="*/ 2147483647 h 175"/>
              <a:gd name="T68" fmla="*/ 2147483647 w 149"/>
              <a:gd name="T69" fmla="*/ 2147483647 h 175"/>
              <a:gd name="T70" fmla="*/ 2147483647 w 149"/>
              <a:gd name="T71" fmla="*/ 2147483647 h 175"/>
              <a:gd name="T72" fmla="*/ 2147483647 w 149"/>
              <a:gd name="T73" fmla="*/ 2147483647 h 175"/>
              <a:gd name="T74" fmla="*/ 2147483647 w 149"/>
              <a:gd name="T75" fmla="*/ 2147483647 h 175"/>
              <a:gd name="T76" fmla="*/ 2147483647 w 149"/>
              <a:gd name="T77" fmla="*/ 2147483647 h 175"/>
              <a:gd name="T78" fmla="*/ 2147483647 w 149"/>
              <a:gd name="T79" fmla="*/ 2147483647 h 175"/>
              <a:gd name="T80" fmla="*/ 2147483647 w 149"/>
              <a:gd name="T81" fmla="*/ 2147483647 h 175"/>
              <a:gd name="T82" fmla="*/ 2147483647 w 149"/>
              <a:gd name="T83" fmla="*/ 2147483647 h 175"/>
              <a:gd name="T84" fmla="*/ 2147483647 w 149"/>
              <a:gd name="T85" fmla="*/ 2147483647 h 175"/>
              <a:gd name="T86" fmla="*/ 2147483647 w 149"/>
              <a:gd name="T87" fmla="*/ 2147483647 h 175"/>
              <a:gd name="T88" fmla="*/ 2147483647 w 149"/>
              <a:gd name="T89" fmla="*/ 2147483647 h 175"/>
              <a:gd name="T90" fmla="*/ 2147483647 w 149"/>
              <a:gd name="T91" fmla="*/ 2147483647 h 175"/>
              <a:gd name="T92" fmla="*/ 2147483647 w 149"/>
              <a:gd name="T93" fmla="*/ 2147483647 h 175"/>
              <a:gd name="T94" fmla="*/ 2147483647 w 149"/>
              <a:gd name="T95" fmla="*/ 2147483647 h 175"/>
              <a:gd name="T96" fmla="*/ 2147483647 w 149"/>
              <a:gd name="T97" fmla="*/ 2147483647 h 175"/>
              <a:gd name="T98" fmla="*/ 2147483647 w 149"/>
              <a:gd name="T99" fmla="*/ 2147483647 h 175"/>
              <a:gd name="T100" fmla="*/ 2147483647 w 149"/>
              <a:gd name="T101" fmla="*/ 2147483647 h 175"/>
              <a:gd name="T102" fmla="*/ 2147483647 w 149"/>
              <a:gd name="T103" fmla="*/ 2147483647 h 175"/>
              <a:gd name="T104" fmla="*/ 2147483647 w 149"/>
              <a:gd name="T105" fmla="*/ 2147483647 h 175"/>
              <a:gd name="T106" fmla="*/ 2147483647 w 149"/>
              <a:gd name="T107" fmla="*/ 2147483647 h 175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49"/>
              <a:gd name="T163" fmla="*/ 0 h 175"/>
              <a:gd name="T164" fmla="*/ 149 w 149"/>
              <a:gd name="T165" fmla="*/ 175 h 175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49" h="175">
                <a:moveTo>
                  <a:pt x="97" y="18"/>
                </a:moveTo>
                <a:lnTo>
                  <a:pt x="97" y="18"/>
                </a:lnTo>
                <a:lnTo>
                  <a:pt x="97" y="12"/>
                </a:lnTo>
                <a:lnTo>
                  <a:pt x="100" y="9"/>
                </a:lnTo>
                <a:lnTo>
                  <a:pt x="100" y="6"/>
                </a:lnTo>
                <a:lnTo>
                  <a:pt x="92" y="3"/>
                </a:lnTo>
                <a:lnTo>
                  <a:pt x="83" y="0"/>
                </a:lnTo>
                <a:lnTo>
                  <a:pt x="71" y="3"/>
                </a:lnTo>
                <a:lnTo>
                  <a:pt x="69" y="6"/>
                </a:lnTo>
                <a:lnTo>
                  <a:pt x="63" y="6"/>
                </a:lnTo>
                <a:lnTo>
                  <a:pt x="63" y="9"/>
                </a:lnTo>
                <a:lnTo>
                  <a:pt x="63" y="12"/>
                </a:lnTo>
                <a:lnTo>
                  <a:pt x="63" y="18"/>
                </a:lnTo>
                <a:lnTo>
                  <a:pt x="63" y="20"/>
                </a:lnTo>
                <a:lnTo>
                  <a:pt x="60" y="20"/>
                </a:lnTo>
                <a:lnTo>
                  <a:pt x="57" y="20"/>
                </a:lnTo>
                <a:lnTo>
                  <a:pt x="49" y="26"/>
                </a:lnTo>
                <a:lnTo>
                  <a:pt x="37" y="23"/>
                </a:lnTo>
                <a:lnTo>
                  <a:pt x="34" y="23"/>
                </a:lnTo>
                <a:lnTo>
                  <a:pt x="28" y="23"/>
                </a:lnTo>
                <a:lnTo>
                  <a:pt x="23" y="23"/>
                </a:lnTo>
                <a:lnTo>
                  <a:pt x="20" y="23"/>
                </a:lnTo>
                <a:lnTo>
                  <a:pt x="17" y="23"/>
                </a:lnTo>
                <a:lnTo>
                  <a:pt x="14" y="20"/>
                </a:lnTo>
                <a:lnTo>
                  <a:pt x="8" y="15"/>
                </a:lnTo>
                <a:lnTo>
                  <a:pt x="3" y="15"/>
                </a:lnTo>
                <a:lnTo>
                  <a:pt x="3" y="18"/>
                </a:lnTo>
                <a:lnTo>
                  <a:pt x="0" y="18"/>
                </a:lnTo>
                <a:lnTo>
                  <a:pt x="8" y="23"/>
                </a:lnTo>
                <a:lnTo>
                  <a:pt x="17" y="26"/>
                </a:lnTo>
                <a:lnTo>
                  <a:pt x="23" y="26"/>
                </a:lnTo>
                <a:lnTo>
                  <a:pt x="28" y="26"/>
                </a:lnTo>
                <a:lnTo>
                  <a:pt x="34" y="32"/>
                </a:lnTo>
                <a:lnTo>
                  <a:pt x="37" y="35"/>
                </a:lnTo>
                <a:lnTo>
                  <a:pt x="40" y="41"/>
                </a:lnTo>
                <a:lnTo>
                  <a:pt x="40" y="43"/>
                </a:lnTo>
                <a:lnTo>
                  <a:pt x="40" y="46"/>
                </a:lnTo>
                <a:lnTo>
                  <a:pt x="43" y="52"/>
                </a:lnTo>
                <a:lnTo>
                  <a:pt x="43" y="58"/>
                </a:lnTo>
                <a:lnTo>
                  <a:pt x="43" y="61"/>
                </a:lnTo>
                <a:lnTo>
                  <a:pt x="43" y="64"/>
                </a:lnTo>
                <a:lnTo>
                  <a:pt x="49" y="72"/>
                </a:lnTo>
                <a:lnTo>
                  <a:pt x="57" y="75"/>
                </a:lnTo>
                <a:lnTo>
                  <a:pt x="63" y="78"/>
                </a:lnTo>
                <a:lnTo>
                  <a:pt x="66" y="84"/>
                </a:lnTo>
                <a:lnTo>
                  <a:pt x="66" y="86"/>
                </a:lnTo>
                <a:lnTo>
                  <a:pt x="63" y="89"/>
                </a:lnTo>
                <a:lnTo>
                  <a:pt x="57" y="86"/>
                </a:lnTo>
                <a:lnTo>
                  <a:pt x="57" y="84"/>
                </a:lnTo>
                <a:lnTo>
                  <a:pt x="51" y="86"/>
                </a:lnTo>
                <a:lnTo>
                  <a:pt x="51" y="92"/>
                </a:lnTo>
                <a:lnTo>
                  <a:pt x="49" y="98"/>
                </a:lnTo>
                <a:lnTo>
                  <a:pt x="43" y="104"/>
                </a:lnTo>
                <a:lnTo>
                  <a:pt x="31" y="109"/>
                </a:lnTo>
                <a:lnTo>
                  <a:pt x="26" y="115"/>
                </a:lnTo>
                <a:lnTo>
                  <a:pt x="23" y="115"/>
                </a:lnTo>
                <a:lnTo>
                  <a:pt x="17" y="115"/>
                </a:lnTo>
                <a:lnTo>
                  <a:pt x="14" y="124"/>
                </a:lnTo>
                <a:lnTo>
                  <a:pt x="11" y="124"/>
                </a:lnTo>
                <a:lnTo>
                  <a:pt x="14" y="127"/>
                </a:lnTo>
                <a:lnTo>
                  <a:pt x="17" y="132"/>
                </a:lnTo>
                <a:lnTo>
                  <a:pt x="17" y="135"/>
                </a:lnTo>
                <a:lnTo>
                  <a:pt x="14" y="135"/>
                </a:lnTo>
                <a:lnTo>
                  <a:pt x="14" y="138"/>
                </a:lnTo>
                <a:lnTo>
                  <a:pt x="17" y="144"/>
                </a:lnTo>
                <a:lnTo>
                  <a:pt x="20" y="144"/>
                </a:lnTo>
                <a:lnTo>
                  <a:pt x="20" y="147"/>
                </a:lnTo>
                <a:lnTo>
                  <a:pt x="20" y="150"/>
                </a:lnTo>
                <a:lnTo>
                  <a:pt x="20" y="153"/>
                </a:lnTo>
                <a:lnTo>
                  <a:pt x="17" y="155"/>
                </a:lnTo>
                <a:lnTo>
                  <a:pt x="17" y="161"/>
                </a:lnTo>
                <a:lnTo>
                  <a:pt x="20" y="164"/>
                </a:lnTo>
                <a:lnTo>
                  <a:pt x="23" y="164"/>
                </a:lnTo>
                <a:lnTo>
                  <a:pt x="28" y="164"/>
                </a:lnTo>
                <a:lnTo>
                  <a:pt x="26" y="167"/>
                </a:lnTo>
                <a:lnTo>
                  <a:pt x="28" y="170"/>
                </a:lnTo>
                <a:lnTo>
                  <a:pt x="34" y="167"/>
                </a:lnTo>
                <a:lnTo>
                  <a:pt x="34" y="173"/>
                </a:lnTo>
                <a:lnTo>
                  <a:pt x="40" y="170"/>
                </a:lnTo>
                <a:lnTo>
                  <a:pt x="43" y="173"/>
                </a:lnTo>
                <a:lnTo>
                  <a:pt x="43" y="175"/>
                </a:lnTo>
                <a:lnTo>
                  <a:pt x="51" y="175"/>
                </a:lnTo>
                <a:lnTo>
                  <a:pt x="60" y="173"/>
                </a:lnTo>
                <a:lnTo>
                  <a:pt x="66" y="170"/>
                </a:lnTo>
                <a:lnTo>
                  <a:pt x="74" y="167"/>
                </a:lnTo>
                <a:lnTo>
                  <a:pt x="77" y="167"/>
                </a:lnTo>
                <a:lnTo>
                  <a:pt x="80" y="167"/>
                </a:lnTo>
                <a:lnTo>
                  <a:pt x="86" y="167"/>
                </a:lnTo>
                <a:lnTo>
                  <a:pt x="94" y="164"/>
                </a:lnTo>
                <a:lnTo>
                  <a:pt x="106" y="164"/>
                </a:lnTo>
                <a:lnTo>
                  <a:pt x="115" y="155"/>
                </a:lnTo>
                <a:lnTo>
                  <a:pt x="129" y="144"/>
                </a:lnTo>
                <a:lnTo>
                  <a:pt x="138" y="135"/>
                </a:lnTo>
                <a:lnTo>
                  <a:pt x="143" y="127"/>
                </a:lnTo>
                <a:lnTo>
                  <a:pt x="149" y="124"/>
                </a:lnTo>
                <a:lnTo>
                  <a:pt x="138" y="115"/>
                </a:lnTo>
                <a:lnTo>
                  <a:pt x="129" y="109"/>
                </a:lnTo>
                <a:lnTo>
                  <a:pt x="126" y="109"/>
                </a:lnTo>
                <a:lnTo>
                  <a:pt x="132" y="101"/>
                </a:lnTo>
                <a:lnTo>
                  <a:pt x="123" y="95"/>
                </a:lnTo>
                <a:lnTo>
                  <a:pt x="126" y="95"/>
                </a:lnTo>
                <a:lnTo>
                  <a:pt x="126" y="89"/>
                </a:lnTo>
                <a:lnTo>
                  <a:pt x="120" y="86"/>
                </a:lnTo>
                <a:lnTo>
                  <a:pt x="117" y="89"/>
                </a:lnTo>
                <a:lnTo>
                  <a:pt x="117" y="86"/>
                </a:lnTo>
                <a:lnTo>
                  <a:pt x="120" y="81"/>
                </a:lnTo>
                <a:lnTo>
                  <a:pt x="117" y="72"/>
                </a:lnTo>
                <a:lnTo>
                  <a:pt x="120" y="69"/>
                </a:lnTo>
                <a:lnTo>
                  <a:pt x="115" y="64"/>
                </a:lnTo>
                <a:lnTo>
                  <a:pt x="106" y="55"/>
                </a:lnTo>
                <a:lnTo>
                  <a:pt x="106" y="52"/>
                </a:lnTo>
                <a:lnTo>
                  <a:pt x="106" y="49"/>
                </a:lnTo>
                <a:lnTo>
                  <a:pt x="109" y="43"/>
                </a:lnTo>
                <a:lnTo>
                  <a:pt x="112" y="43"/>
                </a:lnTo>
                <a:lnTo>
                  <a:pt x="115" y="41"/>
                </a:lnTo>
                <a:lnTo>
                  <a:pt x="109" y="35"/>
                </a:lnTo>
                <a:lnTo>
                  <a:pt x="97" y="32"/>
                </a:lnTo>
                <a:lnTo>
                  <a:pt x="94" y="32"/>
                </a:lnTo>
                <a:lnTo>
                  <a:pt x="94" y="23"/>
                </a:lnTo>
                <a:lnTo>
                  <a:pt x="97" y="23"/>
                </a:lnTo>
                <a:lnTo>
                  <a:pt x="97" y="18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958" name="Freeform 233"/>
          <p:cNvSpPr>
            <a:spLocks noChangeAspect="1"/>
          </p:cNvSpPr>
          <p:nvPr/>
        </p:nvSpPr>
        <p:spPr bwMode="gray">
          <a:xfrm>
            <a:off x="7019266" y="2517068"/>
            <a:ext cx="780140" cy="225006"/>
          </a:xfrm>
          <a:custGeom>
            <a:avLst/>
            <a:gdLst>
              <a:gd name="T0" fmla="*/ 2147483647 w 103"/>
              <a:gd name="T1" fmla="*/ 2147483647 h 40"/>
              <a:gd name="T2" fmla="*/ 2147483647 w 103"/>
              <a:gd name="T3" fmla="*/ 2147483647 h 40"/>
              <a:gd name="T4" fmla="*/ 2147483647 w 103"/>
              <a:gd name="T5" fmla="*/ 2147483647 h 40"/>
              <a:gd name="T6" fmla="*/ 2147483647 w 103"/>
              <a:gd name="T7" fmla="*/ 2147483647 h 40"/>
              <a:gd name="T8" fmla="*/ 2147483647 w 103"/>
              <a:gd name="T9" fmla="*/ 2147483647 h 40"/>
              <a:gd name="T10" fmla="*/ 2147483647 w 103"/>
              <a:gd name="T11" fmla="*/ 2147483647 h 40"/>
              <a:gd name="T12" fmla="*/ 2147483647 w 103"/>
              <a:gd name="T13" fmla="*/ 2147483647 h 40"/>
              <a:gd name="T14" fmla="*/ 2147483647 w 103"/>
              <a:gd name="T15" fmla="*/ 2147483647 h 40"/>
              <a:gd name="T16" fmla="*/ 2147483647 w 103"/>
              <a:gd name="T17" fmla="*/ 2147483647 h 40"/>
              <a:gd name="T18" fmla="*/ 2147483647 w 103"/>
              <a:gd name="T19" fmla="*/ 2147483647 h 40"/>
              <a:gd name="T20" fmla="*/ 2147483647 w 103"/>
              <a:gd name="T21" fmla="*/ 2147483647 h 40"/>
              <a:gd name="T22" fmla="*/ 2147483647 w 103"/>
              <a:gd name="T23" fmla="*/ 2147483647 h 40"/>
              <a:gd name="T24" fmla="*/ 2147483647 w 103"/>
              <a:gd name="T25" fmla="*/ 2147483647 h 40"/>
              <a:gd name="T26" fmla="*/ 2147483647 w 103"/>
              <a:gd name="T27" fmla="*/ 2147483647 h 40"/>
              <a:gd name="T28" fmla="*/ 2147483647 w 103"/>
              <a:gd name="T29" fmla="*/ 2147483647 h 40"/>
              <a:gd name="T30" fmla="*/ 0 w 103"/>
              <a:gd name="T31" fmla="*/ 2147483647 h 40"/>
              <a:gd name="T32" fmla="*/ 2147483647 w 103"/>
              <a:gd name="T33" fmla="*/ 2147483647 h 40"/>
              <a:gd name="T34" fmla="*/ 2147483647 w 103"/>
              <a:gd name="T35" fmla="*/ 2147483647 h 40"/>
              <a:gd name="T36" fmla="*/ 2147483647 w 103"/>
              <a:gd name="T37" fmla="*/ 2147483647 h 40"/>
              <a:gd name="T38" fmla="*/ 2147483647 w 103"/>
              <a:gd name="T39" fmla="*/ 2147483647 h 40"/>
              <a:gd name="T40" fmla="*/ 2147483647 w 103"/>
              <a:gd name="T41" fmla="*/ 2147483647 h 40"/>
              <a:gd name="T42" fmla="*/ 2147483647 w 103"/>
              <a:gd name="T43" fmla="*/ 2147483647 h 40"/>
              <a:gd name="T44" fmla="*/ 2147483647 w 103"/>
              <a:gd name="T45" fmla="*/ 2147483647 h 40"/>
              <a:gd name="T46" fmla="*/ 2147483647 w 103"/>
              <a:gd name="T47" fmla="*/ 2147483647 h 40"/>
              <a:gd name="T48" fmla="*/ 2147483647 w 103"/>
              <a:gd name="T49" fmla="*/ 2147483647 h 40"/>
              <a:gd name="T50" fmla="*/ 2147483647 w 103"/>
              <a:gd name="T51" fmla="*/ 2147483647 h 40"/>
              <a:gd name="T52" fmla="*/ 2147483647 w 103"/>
              <a:gd name="T53" fmla="*/ 2147483647 h 40"/>
              <a:gd name="T54" fmla="*/ 2147483647 w 103"/>
              <a:gd name="T55" fmla="*/ 2147483647 h 40"/>
              <a:gd name="T56" fmla="*/ 2147483647 w 103"/>
              <a:gd name="T57" fmla="*/ 2147483647 h 40"/>
              <a:gd name="T58" fmla="*/ 2147483647 w 103"/>
              <a:gd name="T59" fmla="*/ 2147483647 h 40"/>
              <a:gd name="T60" fmla="*/ 2147483647 w 103"/>
              <a:gd name="T61" fmla="*/ 2147483647 h 40"/>
              <a:gd name="T62" fmla="*/ 2147483647 w 103"/>
              <a:gd name="T63" fmla="*/ 2147483647 h 40"/>
              <a:gd name="T64" fmla="*/ 2147483647 w 103"/>
              <a:gd name="T65" fmla="*/ 2147483647 h 40"/>
              <a:gd name="T66" fmla="*/ 2147483647 w 103"/>
              <a:gd name="T67" fmla="*/ 2147483647 h 40"/>
              <a:gd name="T68" fmla="*/ 2147483647 w 103"/>
              <a:gd name="T69" fmla="*/ 2147483647 h 40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03"/>
              <a:gd name="T106" fmla="*/ 0 h 40"/>
              <a:gd name="T107" fmla="*/ 103 w 103"/>
              <a:gd name="T108" fmla="*/ 40 h 40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03" h="40">
                <a:moveTo>
                  <a:pt x="98" y="11"/>
                </a:moveTo>
                <a:lnTo>
                  <a:pt x="98" y="11"/>
                </a:lnTo>
                <a:lnTo>
                  <a:pt x="92" y="11"/>
                </a:lnTo>
                <a:lnTo>
                  <a:pt x="89" y="11"/>
                </a:lnTo>
                <a:lnTo>
                  <a:pt x="86" y="11"/>
                </a:lnTo>
                <a:lnTo>
                  <a:pt x="86" y="9"/>
                </a:lnTo>
                <a:lnTo>
                  <a:pt x="83" y="9"/>
                </a:lnTo>
                <a:lnTo>
                  <a:pt x="80" y="9"/>
                </a:lnTo>
                <a:lnTo>
                  <a:pt x="77" y="9"/>
                </a:lnTo>
                <a:lnTo>
                  <a:pt x="75" y="9"/>
                </a:lnTo>
                <a:lnTo>
                  <a:pt x="69" y="3"/>
                </a:lnTo>
                <a:lnTo>
                  <a:pt x="57" y="0"/>
                </a:lnTo>
                <a:lnTo>
                  <a:pt x="49" y="3"/>
                </a:lnTo>
                <a:lnTo>
                  <a:pt x="49" y="14"/>
                </a:lnTo>
                <a:lnTo>
                  <a:pt x="43" y="17"/>
                </a:lnTo>
                <a:lnTo>
                  <a:pt x="37" y="17"/>
                </a:lnTo>
                <a:lnTo>
                  <a:pt x="23" y="9"/>
                </a:lnTo>
                <a:lnTo>
                  <a:pt x="17" y="6"/>
                </a:lnTo>
                <a:lnTo>
                  <a:pt x="11" y="6"/>
                </a:lnTo>
                <a:lnTo>
                  <a:pt x="6" y="11"/>
                </a:lnTo>
                <a:lnTo>
                  <a:pt x="0" y="17"/>
                </a:lnTo>
                <a:lnTo>
                  <a:pt x="0" y="23"/>
                </a:lnTo>
                <a:lnTo>
                  <a:pt x="3" y="34"/>
                </a:lnTo>
                <a:lnTo>
                  <a:pt x="17" y="29"/>
                </a:lnTo>
                <a:lnTo>
                  <a:pt x="20" y="29"/>
                </a:lnTo>
                <a:lnTo>
                  <a:pt x="32" y="29"/>
                </a:lnTo>
                <a:lnTo>
                  <a:pt x="34" y="29"/>
                </a:lnTo>
                <a:lnTo>
                  <a:pt x="46" y="26"/>
                </a:lnTo>
                <a:lnTo>
                  <a:pt x="57" y="26"/>
                </a:lnTo>
                <a:lnTo>
                  <a:pt x="63" y="32"/>
                </a:lnTo>
                <a:lnTo>
                  <a:pt x="69" y="34"/>
                </a:lnTo>
                <a:lnTo>
                  <a:pt x="83" y="40"/>
                </a:lnTo>
                <a:lnTo>
                  <a:pt x="98" y="37"/>
                </a:lnTo>
                <a:lnTo>
                  <a:pt x="103" y="34"/>
                </a:lnTo>
                <a:lnTo>
                  <a:pt x="100" y="26"/>
                </a:lnTo>
                <a:lnTo>
                  <a:pt x="95" y="23"/>
                </a:lnTo>
                <a:lnTo>
                  <a:pt x="95" y="20"/>
                </a:lnTo>
                <a:lnTo>
                  <a:pt x="98" y="1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277" name="Freeform 234"/>
          <p:cNvSpPr>
            <a:spLocks noChangeAspect="1"/>
          </p:cNvSpPr>
          <p:nvPr/>
        </p:nvSpPr>
        <p:spPr bwMode="gray">
          <a:xfrm>
            <a:off x="6321139" y="2842578"/>
            <a:ext cx="1112200" cy="607516"/>
          </a:xfrm>
          <a:custGeom>
            <a:avLst/>
            <a:gdLst>
              <a:gd name="T0" fmla="*/ 2147483647 w 146"/>
              <a:gd name="T1" fmla="*/ 2147483647 h 107"/>
              <a:gd name="T2" fmla="*/ 2147483647 w 146"/>
              <a:gd name="T3" fmla="*/ 2147483647 h 107"/>
              <a:gd name="T4" fmla="*/ 2147483647 w 146"/>
              <a:gd name="T5" fmla="*/ 2147483647 h 107"/>
              <a:gd name="T6" fmla="*/ 2147483647 w 146"/>
              <a:gd name="T7" fmla="*/ 2147483647 h 107"/>
              <a:gd name="T8" fmla="*/ 2147483647 w 146"/>
              <a:gd name="T9" fmla="*/ 2147483647 h 107"/>
              <a:gd name="T10" fmla="*/ 2147483647 w 146"/>
              <a:gd name="T11" fmla="*/ 2147483647 h 107"/>
              <a:gd name="T12" fmla="*/ 2147483647 w 146"/>
              <a:gd name="T13" fmla="*/ 2147483647 h 107"/>
              <a:gd name="T14" fmla="*/ 2147483647 w 146"/>
              <a:gd name="T15" fmla="*/ 2147483647 h 107"/>
              <a:gd name="T16" fmla="*/ 2147483647 w 146"/>
              <a:gd name="T17" fmla="*/ 2147483647 h 107"/>
              <a:gd name="T18" fmla="*/ 2147483647 w 146"/>
              <a:gd name="T19" fmla="*/ 2147483647 h 107"/>
              <a:gd name="T20" fmla="*/ 2147483647 w 146"/>
              <a:gd name="T21" fmla="*/ 2147483647 h 107"/>
              <a:gd name="T22" fmla="*/ 2147483647 w 146"/>
              <a:gd name="T23" fmla="*/ 2147483647 h 107"/>
              <a:gd name="T24" fmla="*/ 2147483647 w 146"/>
              <a:gd name="T25" fmla="*/ 2147483647 h 107"/>
              <a:gd name="T26" fmla="*/ 2147483647 w 146"/>
              <a:gd name="T27" fmla="*/ 2147483647 h 107"/>
              <a:gd name="T28" fmla="*/ 2147483647 w 146"/>
              <a:gd name="T29" fmla="*/ 2147483647 h 107"/>
              <a:gd name="T30" fmla="*/ 2147483647 w 146"/>
              <a:gd name="T31" fmla="*/ 2147483647 h 107"/>
              <a:gd name="T32" fmla="*/ 2147483647 w 146"/>
              <a:gd name="T33" fmla="*/ 2147483647 h 107"/>
              <a:gd name="T34" fmla="*/ 2147483647 w 146"/>
              <a:gd name="T35" fmla="*/ 2147483647 h 107"/>
              <a:gd name="T36" fmla="*/ 2147483647 w 146"/>
              <a:gd name="T37" fmla="*/ 2147483647 h 107"/>
              <a:gd name="T38" fmla="*/ 2147483647 w 146"/>
              <a:gd name="T39" fmla="*/ 2147483647 h 107"/>
              <a:gd name="T40" fmla="*/ 2147483647 w 146"/>
              <a:gd name="T41" fmla="*/ 2147483647 h 107"/>
              <a:gd name="T42" fmla="*/ 2147483647 w 146"/>
              <a:gd name="T43" fmla="*/ 2147483647 h 107"/>
              <a:gd name="T44" fmla="*/ 2147483647 w 146"/>
              <a:gd name="T45" fmla="*/ 2147483647 h 107"/>
              <a:gd name="T46" fmla="*/ 2147483647 w 146"/>
              <a:gd name="T47" fmla="*/ 2147483647 h 107"/>
              <a:gd name="T48" fmla="*/ 2147483647 w 146"/>
              <a:gd name="T49" fmla="*/ 2147483647 h 107"/>
              <a:gd name="T50" fmla="*/ 2147483647 w 146"/>
              <a:gd name="T51" fmla="*/ 2147483647 h 107"/>
              <a:gd name="T52" fmla="*/ 2147483647 w 146"/>
              <a:gd name="T53" fmla="*/ 2147483647 h 107"/>
              <a:gd name="T54" fmla="*/ 2147483647 w 146"/>
              <a:gd name="T55" fmla="*/ 2147483647 h 107"/>
              <a:gd name="T56" fmla="*/ 2147483647 w 146"/>
              <a:gd name="T57" fmla="*/ 2147483647 h 107"/>
              <a:gd name="T58" fmla="*/ 2147483647 w 146"/>
              <a:gd name="T59" fmla="*/ 2147483647 h 107"/>
              <a:gd name="T60" fmla="*/ 2147483647 w 146"/>
              <a:gd name="T61" fmla="*/ 2147483647 h 107"/>
              <a:gd name="T62" fmla="*/ 2147483647 w 146"/>
              <a:gd name="T63" fmla="*/ 2147483647 h 107"/>
              <a:gd name="T64" fmla="*/ 2147483647 w 146"/>
              <a:gd name="T65" fmla="*/ 2147483647 h 107"/>
              <a:gd name="T66" fmla="*/ 2147483647 w 146"/>
              <a:gd name="T67" fmla="*/ 0 h 107"/>
              <a:gd name="T68" fmla="*/ 2147483647 w 146"/>
              <a:gd name="T69" fmla="*/ 0 h 107"/>
              <a:gd name="T70" fmla="*/ 2147483647 w 146"/>
              <a:gd name="T71" fmla="*/ 2147483647 h 107"/>
              <a:gd name="T72" fmla="*/ 2147483647 w 146"/>
              <a:gd name="T73" fmla="*/ 2147483647 h 107"/>
              <a:gd name="T74" fmla="*/ 2147483647 w 146"/>
              <a:gd name="T75" fmla="*/ 2147483647 h 107"/>
              <a:gd name="T76" fmla="*/ 2147483647 w 146"/>
              <a:gd name="T77" fmla="*/ 2147483647 h 107"/>
              <a:gd name="T78" fmla="*/ 2147483647 w 146"/>
              <a:gd name="T79" fmla="*/ 2147483647 h 107"/>
              <a:gd name="T80" fmla="*/ 0 w 146"/>
              <a:gd name="T81" fmla="*/ 2147483647 h 107"/>
              <a:gd name="T82" fmla="*/ 2147483647 w 146"/>
              <a:gd name="T83" fmla="*/ 2147483647 h 107"/>
              <a:gd name="T84" fmla="*/ 2147483647 w 146"/>
              <a:gd name="T85" fmla="*/ 2147483647 h 107"/>
              <a:gd name="T86" fmla="*/ 2147483647 w 146"/>
              <a:gd name="T87" fmla="*/ 2147483647 h 107"/>
              <a:gd name="T88" fmla="*/ 2147483647 w 146"/>
              <a:gd name="T89" fmla="*/ 2147483647 h 107"/>
              <a:gd name="T90" fmla="*/ 2147483647 w 146"/>
              <a:gd name="T91" fmla="*/ 2147483647 h 107"/>
              <a:gd name="T92" fmla="*/ 2147483647 w 146"/>
              <a:gd name="T93" fmla="*/ 2147483647 h 107"/>
              <a:gd name="T94" fmla="*/ 2147483647 w 146"/>
              <a:gd name="T95" fmla="*/ 2147483647 h 107"/>
              <a:gd name="T96" fmla="*/ 2147483647 w 146"/>
              <a:gd name="T97" fmla="*/ 2147483647 h 107"/>
              <a:gd name="T98" fmla="*/ 2147483647 w 146"/>
              <a:gd name="T99" fmla="*/ 2147483647 h 107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146"/>
              <a:gd name="T151" fmla="*/ 0 h 107"/>
              <a:gd name="T152" fmla="*/ 146 w 146"/>
              <a:gd name="T153" fmla="*/ 107 h 107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146" h="107">
                <a:moveTo>
                  <a:pt x="9" y="55"/>
                </a:moveTo>
                <a:lnTo>
                  <a:pt x="9" y="55"/>
                </a:lnTo>
                <a:lnTo>
                  <a:pt x="9" y="58"/>
                </a:lnTo>
                <a:lnTo>
                  <a:pt x="14" y="64"/>
                </a:lnTo>
                <a:lnTo>
                  <a:pt x="14" y="66"/>
                </a:lnTo>
                <a:lnTo>
                  <a:pt x="12" y="72"/>
                </a:lnTo>
                <a:lnTo>
                  <a:pt x="23" y="78"/>
                </a:lnTo>
                <a:lnTo>
                  <a:pt x="35" y="78"/>
                </a:lnTo>
                <a:lnTo>
                  <a:pt x="43" y="84"/>
                </a:lnTo>
                <a:lnTo>
                  <a:pt x="52" y="81"/>
                </a:lnTo>
                <a:lnTo>
                  <a:pt x="52" y="84"/>
                </a:lnTo>
                <a:lnTo>
                  <a:pt x="55" y="89"/>
                </a:lnTo>
                <a:lnTo>
                  <a:pt x="58" y="89"/>
                </a:lnTo>
                <a:lnTo>
                  <a:pt x="58" y="86"/>
                </a:lnTo>
                <a:lnTo>
                  <a:pt x="66" y="89"/>
                </a:lnTo>
                <a:lnTo>
                  <a:pt x="75" y="101"/>
                </a:lnTo>
                <a:lnTo>
                  <a:pt x="78" y="95"/>
                </a:lnTo>
                <a:lnTo>
                  <a:pt x="86" y="104"/>
                </a:lnTo>
                <a:lnTo>
                  <a:pt x="92" y="98"/>
                </a:lnTo>
                <a:lnTo>
                  <a:pt x="101" y="101"/>
                </a:lnTo>
                <a:lnTo>
                  <a:pt x="106" y="101"/>
                </a:lnTo>
                <a:lnTo>
                  <a:pt x="118" y="104"/>
                </a:lnTo>
                <a:lnTo>
                  <a:pt x="129" y="107"/>
                </a:lnTo>
                <a:lnTo>
                  <a:pt x="126" y="101"/>
                </a:lnTo>
                <a:lnTo>
                  <a:pt x="126" y="98"/>
                </a:lnTo>
                <a:lnTo>
                  <a:pt x="132" y="89"/>
                </a:lnTo>
                <a:lnTo>
                  <a:pt x="138" y="84"/>
                </a:lnTo>
                <a:lnTo>
                  <a:pt x="146" y="81"/>
                </a:lnTo>
                <a:lnTo>
                  <a:pt x="144" y="75"/>
                </a:lnTo>
                <a:lnTo>
                  <a:pt x="138" y="61"/>
                </a:lnTo>
                <a:lnTo>
                  <a:pt x="129" y="46"/>
                </a:lnTo>
                <a:lnTo>
                  <a:pt x="138" y="38"/>
                </a:lnTo>
                <a:lnTo>
                  <a:pt x="138" y="35"/>
                </a:lnTo>
                <a:lnTo>
                  <a:pt x="132" y="20"/>
                </a:lnTo>
                <a:lnTo>
                  <a:pt x="129" y="15"/>
                </a:lnTo>
                <a:lnTo>
                  <a:pt x="121" y="12"/>
                </a:lnTo>
                <a:lnTo>
                  <a:pt x="101" y="12"/>
                </a:lnTo>
                <a:lnTo>
                  <a:pt x="98" y="12"/>
                </a:lnTo>
                <a:lnTo>
                  <a:pt x="83" y="9"/>
                </a:lnTo>
                <a:lnTo>
                  <a:pt x="78" y="9"/>
                </a:lnTo>
                <a:lnTo>
                  <a:pt x="72" y="12"/>
                </a:lnTo>
                <a:lnTo>
                  <a:pt x="66" y="9"/>
                </a:lnTo>
                <a:lnTo>
                  <a:pt x="63" y="9"/>
                </a:lnTo>
                <a:lnTo>
                  <a:pt x="60" y="6"/>
                </a:lnTo>
                <a:lnTo>
                  <a:pt x="60" y="3"/>
                </a:lnTo>
                <a:lnTo>
                  <a:pt x="60" y="0"/>
                </a:lnTo>
                <a:lnTo>
                  <a:pt x="52" y="0"/>
                </a:lnTo>
                <a:lnTo>
                  <a:pt x="40" y="3"/>
                </a:lnTo>
                <a:lnTo>
                  <a:pt x="32" y="9"/>
                </a:lnTo>
                <a:lnTo>
                  <a:pt x="23" y="12"/>
                </a:lnTo>
                <a:lnTo>
                  <a:pt x="12" y="15"/>
                </a:lnTo>
                <a:lnTo>
                  <a:pt x="9" y="18"/>
                </a:lnTo>
                <a:lnTo>
                  <a:pt x="3" y="18"/>
                </a:lnTo>
                <a:lnTo>
                  <a:pt x="0" y="18"/>
                </a:lnTo>
                <a:lnTo>
                  <a:pt x="3" y="26"/>
                </a:lnTo>
                <a:lnTo>
                  <a:pt x="3" y="29"/>
                </a:lnTo>
                <a:lnTo>
                  <a:pt x="0" y="35"/>
                </a:lnTo>
                <a:lnTo>
                  <a:pt x="9" y="41"/>
                </a:lnTo>
                <a:lnTo>
                  <a:pt x="9" y="43"/>
                </a:lnTo>
                <a:lnTo>
                  <a:pt x="6" y="46"/>
                </a:lnTo>
                <a:lnTo>
                  <a:pt x="9" y="49"/>
                </a:lnTo>
                <a:lnTo>
                  <a:pt x="12" y="52"/>
                </a:lnTo>
                <a:lnTo>
                  <a:pt x="9" y="55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78" name="Freeform 235"/>
          <p:cNvSpPr>
            <a:spLocks noChangeAspect="1"/>
          </p:cNvSpPr>
          <p:nvPr/>
        </p:nvSpPr>
        <p:spPr bwMode="gray">
          <a:xfrm>
            <a:off x="7763399" y="4507622"/>
            <a:ext cx="14002" cy="34500"/>
          </a:xfrm>
          <a:custGeom>
            <a:avLst/>
            <a:gdLst>
              <a:gd name="T0" fmla="*/ 2147483647 w 2"/>
              <a:gd name="T1" fmla="*/ 2147483647 h 6"/>
              <a:gd name="T2" fmla="*/ 2147483647 w 2"/>
              <a:gd name="T3" fmla="*/ 0 h 6"/>
              <a:gd name="T4" fmla="*/ 0 w 2"/>
              <a:gd name="T5" fmla="*/ 2147483647 h 6"/>
              <a:gd name="T6" fmla="*/ 2147483647 w 2"/>
              <a:gd name="T7" fmla="*/ 2147483647 h 6"/>
              <a:gd name="T8" fmla="*/ 0 60000 65536"/>
              <a:gd name="T9" fmla="*/ 0 60000 65536"/>
              <a:gd name="T10" fmla="*/ 0 60000 65536"/>
              <a:gd name="T11" fmla="*/ 0 60000 65536"/>
              <a:gd name="T12" fmla="*/ 0 w 2"/>
              <a:gd name="T13" fmla="*/ 0 h 6"/>
              <a:gd name="T14" fmla="*/ 2 w 2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" h="6">
                <a:moveTo>
                  <a:pt x="2" y="6"/>
                </a:moveTo>
                <a:lnTo>
                  <a:pt x="2" y="0"/>
                </a:lnTo>
                <a:lnTo>
                  <a:pt x="0" y="6"/>
                </a:lnTo>
                <a:lnTo>
                  <a:pt x="2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79" name="Freeform 236"/>
          <p:cNvSpPr>
            <a:spLocks noChangeAspect="1"/>
          </p:cNvSpPr>
          <p:nvPr/>
        </p:nvSpPr>
        <p:spPr bwMode="gray">
          <a:xfrm>
            <a:off x="7799406" y="4689127"/>
            <a:ext cx="44008" cy="33001"/>
          </a:xfrm>
          <a:custGeom>
            <a:avLst/>
            <a:gdLst>
              <a:gd name="T0" fmla="*/ 0 w 6"/>
              <a:gd name="T1" fmla="*/ 2147483647 h 6"/>
              <a:gd name="T2" fmla="*/ 0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0" y="3"/>
                </a:moveTo>
                <a:lnTo>
                  <a:pt x="0" y="6"/>
                </a:lnTo>
                <a:lnTo>
                  <a:pt x="6" y="6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80" name="Freeform 237"/>
          <p:cNvSpPr>
            <a:spLocks noChangeAspect="1"/>
          </p:cNvSpPr>
          <p:nvPr/>
        </p:nvSpPr>
        <p:spPr bwMode="gray">
          <a:xfrm>
            <a:off x="7085276" y="3546096"/>
            <a:ext cx="1066193" cy="489013"/>
          </a:xfrm>
          <a:custGeom>
            <a:avLst/>
            <a:gdLst>
              <a:gd name="T0" fmla="*/ 2147483647 w 140"/>
              <a:gd name="T1" fmla="*/ 2147483647 h 86"/>
              <a:gd name="T2" fmla="*/ 2147483647 w 140"/>
              <a:gd name="T3" fmla="*/ 2147483647 h 86"/>
              <a:gd name="T4" fmla="*/ 2147483647 w 140"/>
              <a:gd name="T5" fmla="*/ 2147483647 h 86"/>
              <a:gd name="T6" fmla="*/ 2147483647 w 140"/>
              <a:gd name="T7" fmla="*/ 2147483647 h 86"/>
              <a:gd name="T8" fmla="*/ 2147483647 w 140"/>
              <a:gd name="T9" fmla="*/ 2147483647 h 86"/>
              <a:gd name="T10" fmla="*/ 2147483647 w 140"/>
              <a:gd name="T11" fmla="*/ 2147483647 h 86"/>
              <a:gd name="T12" fmla="*/ 2147483647 w 140"/>
              <a:gd name="T13" fmla="*/ 2147483647 h 86"/>
              <a:gd name="T14" fmla="*/ 2147483647 w 140"/>
              <a:gd name="T15" fmla="*/ 2147483647 h 86"/>
              <a:gd name="T16" fmla="*/ 2147483647 w 140"/>
              <a:gd name="T17" fmla="*/ 2147483647 h 86"/>
              <a:gd name="T18" fmla="*/ 2147483647 w 140"/>
              <a:gd name="T19" fmla="*/ 2147483647 h 86"/>
              <a:gd name="T20" fmla="*/ 2147483647 w 140"/>
              <a:gd name="T21" fmla="*/ 2147483647 h 86"/>
              <a:gd name="T22" fmla="*/ 2147483647 w 140"/>
              <a:gd name="T23" fmla="*/ 2147483647 h 86"/>
              <a:gd name="T24" fmla="*/ 2147483647 w 140"/>
              <a:gd name="T25" fmla="*/ 2147483647 h 86"/>
              <a:gd name="T26" fmla="*/ 2147483647 w 140"/>
              <a:gd name="T27" fmla="*/ 2147483647 h 86"/>
              <a:gd name="T28" fmla="*/ 2147483647 w 140"/>
              <a:gd name="T29" fmla="*/ 2147483647 h 86"/>
              <a:gd name="T30" fmla="*/ 2147483647 w 140"/>
              <a:gd name="T31" fmla="*/ 0 h 86"/>
              <a:gd name="T32" fmla="*/ 2147483647 w 140"/>
              <a:gd name="T33" fmla="*/ 2147483647 h 86"/>
              <a:gd name="T34" fmla="*/ 2147483647 w 140"/>
              <a:gd name="T35" fmla="*/ 2147483647 h 86"/>
              <a:gd name="T36" fmla="*/ 2147483647 w 140"/>
              <a:gd name="T37" fmla="*/ 2147483647 h 86"/>
              <a:gd name="T38" fmla="*/ 2147483647 w 140"/>
              <a:gd name="T39" fmla="*/ 2147483647 h 86"/>
              <a:gd name="T40" fmla="*/ 2147483647 w 140"/>
              <a:gd name="T41" fmla="*/ 2147483647 h 86"/>
              <a:gd name="T42" fmla="*/ 2147483647 w 140"/>
              <a:gd name="T43" fmla="*/ 2147483647 h 86"/>
              <a:gd name="T44" fmla="*/ 2147483647 w 140"/>
              <a:gd name="T45" fmla="*/ 2147483647 h 86"/>
              <a:gd name="T46" fmla="*/ 2147483647 w 140"/>
              <a:gd name="T47" fmla="*/ 2147483647 h 86"/>
              <a:gd name="T48" fmla="*/ 2147483647 w 140"/>
              <a:gd name="T49" fmla="*/ 2147483647 h 86"/>
              <a:gd name="T50" fmla="*/ 2147483647 w 140"/>
              <a:gd name="T51" fmla="*/ 2147483647 h 86"/>
              <a:gd name="T52" fmla="*/ 2147483647 w 140"/>
              <a:gd name="T53" fmla="*/ 2147483647 h 86"/>
              <a:gd name="T54" fmla="*/ 2147483647 w 140"/>
              <a:gd name="T55" fmla="*/ 2147483647 h 86"/>
              <a:gd name="T56" fmla="*/ 2147483647 w 140"/>
              <a:gd name="T57" fmla="*/ 2147483647 h 86"/>
              <a:gd name="T58" fmla="*/ 2147483647 w 140"/>
              <a:gd name="T59" fmla="*/ 2147483647 h 86"/>
              <a:gd name="T60" fmla="*/ 2147483647 w 140"/>
              <a:gd name="T61" fmla="*/ 2147483647 h 86"/>
              <a:gd name="T62" fmla="*/ 2147483647 w 140"/>
              <a:gd name="T63" fmla="*/ 2147483647 h 86"/>
              <a:gd name="T64" fmla="*/ 2147483647 w 140"/>
              <a:gd name="T65" fmla="*/ 2147483647 h 86"/>
              <a:gd name="T66" fmla="*/ 2147483647 w 140"/>
              <a:gd name="T67" fmla="*/ 2147483647 h 86"/>
              <a:gd name="T68" fmla="*/ 2147483647 w 140"/>
              <a:gd name="T69" fmla="*/ 2147483647 h 86"/>
              <a:gd name="T70" fmla="*/ 2147483647 w 140"/>
              <a:gd name="T71" fmla="*/ 2147483647 h 86"/>
              <a:gd name="T72" fmla="*/ 2147483647 w 140"/>
              <a:gd name="T73" fmla="*/ 2147483647 h 86"/>
              <a:gd name="T74" fmla="*/ 2147483647 w 140"/>
              <a:gd name="T75" fmla="*/ 2147483647 h 86"/>
              <a:gd name="T76" fmla="*/ 0 w 140"/>
              <a:gd name="T77" fmla="*/ 2147483647 h 86"/>
              <a:gd name="T78" fmla="*/ 0 w 140"/>
              <a:gd name="T79" fmla="*/ 2147483647 h 86"/>
              <a:gd name="T80" fmla="*/ 2147483647 w 140"/>
              <a:gd name="T81" fmla="*/ 2147483647 h 86"/>
              <a:gd name="T82" fmla="*/ 2147483647 w 140"/>
              <a:gd name="T83" fmla="*/ 2147483647 h 86"/>
              <a:gd name="T84" fmla="*/ 2147483647 w 140"/>
              <a:gd name="T85" fmla="*/ 2147483647 h 86"/>
              <a:gd name="T86" fmla="*/ 2147483647 w 140"/>
              <a:gd name="T87" fmla="*/ 2147483647 h 86"/>
              <a:gd name="T88" fmla="*/ 2147483647 w 140"/>
              <a:gd name="T89" fmla="*/ 2147483647 h 86"/>
              <a:gd name="T90" fmla="*/ 2147483647 w 140"/>
              <a:gd name="T91" fmla="*/ 2147483647 h 86"/>
              <a:gd name="T92" fmla="*/ 2147483647 w 140"/>
              <a:gd name="T93" fmla="*/ 2147483647 h 86"/>
              <a:gd name="T94" fmla="*/ 2147483647 w 140"/>
              <a:gd name="T95" fmla="*/ 2147483647 h 86"/>
              <a:gd name="T96" fmla="*/ 2147483647 w 140"/>
              <a:gd name="T97" fmla="*/ 2147483647 h 86"/>
              <a:gd name="T98" fmla="*/ 2147483647 w 140"/>
              <a:gd name="T99" fmla="*/ 2147483647 h 86"/>
              <a:gd name="T100" fmla="*/ 2147483647 w 140"/>
              <a:gd name="T101" fmla="*/ 2147483647 h 86"/>
              <a:gd name="T102" fmla="*/ 2147483647 w 140"/>
              <a:gd name="T103" fmla="*/ 2147483647 h 86"/>
              <a:gd name="T104" fmla="*/ 2147483647 w 140"/>
              <a:gd name="T105" fmla="*/ 2147483647 h 86"/>
              <a:gd name="T106" fmla="*/ 2147483647 w 140"/>
              <a:gd name="T107" fmla="*/ 2147483647 h 86"/>
              <a:gd name="T108" fmla="*/ 2147483647 w 140"/>
              <a:gd name="T109" fmla="*/ 2147483647 h 86"/>
              <a:gd name="T110" fmla="*/ 2147483647 w 140"/>
              <a:gd name="T111" fmla="*/ 2147483647 h 86"/>
              <a:gd name="T112" fmla="*/ 2147483647 w 140"/>
              <a:gd name="T113" fmla="*/ 2147483647 h 86"/>
              <a:gd name="T114" fmla="*/ 2147483647 w 140"/>
              <a:gd name="T115" fmla="*/ 2147483647 h 86"/>
              <a:gd name="T116" fmla="*/ 2147483647 w 140"/>
              <a:gd name="T117" fmla="*/ 2147483647 h 86"/>
              <a:gd name="T118" fmla="*/ 2147483647 w 140"/>
              <a:gd name="T119" fmla="*/ 2147483647 h 86"/>
              <a:gd name="T120" fmla="*/ 2147483647 w 140"/>
              <a:gd name="T121" fmla="*/ 2147483647 h 86"/>
              <a:gd name="T122" fmla="*/ 2147483647 w 140"/>
              <a:gd name="T123" fmla="*/ 2147483647 h 8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40"/>
              <a:gd name="T187" fmla="*/ 0 h 86"/>
              <a:gd name="T188" fmla="*/ 140 w 140"/>
              <a:gd name="T189" fmla="*/ 86 h 8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40" h="86">
                <a:moveTo>
                  <a:pt x="126" y="83"/>
                </a:moveTo>
                <a:lnTo>
                  <a:pt x="126" y="83"/>
                </a:lnTo>
                <a:lnTo>
                  <a:pt x="129" y="77"/>
                </a:lnTo>
                <a:lnTo>
                  <a:pt x="132" y="69"/>
                </a:lnTo>
                <a:lnTo>
                  <a:pt x="132" y="66"/>
                </a:lnTo>
                <a:lnTo>
                  <a:pt x="137" y="66"/>
                </a:lnTo>
                <a:lnTo>
                  <a:pt x="140" y="63"/>
                </a:lnTo>
                <a:lnTo>
                  <a:pt x="134" y="57"/>
                </a:lnTo>
                <a:lnTo>
                  <a:pt x="123" y="57"/>
                </a:lnTo>
                <a:lnTo>
                  <a:pt x="112" y="51"/>
                </a:lnTo>
                <a:lnTo>
                  <a:pt x="114" y="37"/>
                </a:lnTo>
                <a:lnTo>
                  <a:pt x="114" y="31"/>
                </a:lnTo>
                <a:lnTo>
                  <a:pt x="106" y="20"/>
                </a:lnTo>
                <a:lnTo>
                  <a:pt x="91" y="0"/>
                </a:lnTo>
                <a:lnTo>
                  <a:pt x="89" y="3"/>
                </a:lnTo>
                <a:lnTo>
                  <a:pt x="80" y="6"/>
                </a:lnTo>
                <a:lnTo>
                  <a:pt x="68" y="8"/>
                </a:lnTo>
                <a:lnTo>
                  <a:pt x="66" y="14"/>
                </a:lnTo>
                <a:lnTo>
                  <a:pt x="57" y="6"/>
                </a:lnTo>
                <a:lnTo>
                  <a:pt x="54" y="8"/>
                </a:lnTo>
                <a:lnTo>
                  <a:pt x="45" y="8"/>
                </a:lnTo>
                <a:lnTo>
                  <a:pt x="37" y="3"/>
                </a:lnTo>
                <a:lnTo>
                  <a:pt x="34" y="6"/>
                </a:lnTo>
                <a:lnTo>
                  <a:pt x="31" y="8"/>
                </a:lnTo>
                <a:lnTo>
                  <a:pt x="23" y="11"/>
                </a:lnTo>
                <a:lnTo>
                  <a:pt x="20" y="14"/>
                </a:lnTo>
                <a:lnTo>
                  <a:pt x="23" y="20"/>
                </a:lnTo>
                <a:lnTo>
                  <a:pt x="20" y="23"/>
                </a:lnTo>
                <a:lnTo>
                  <a:pt x="17" y="26"/>
                </a:lnTo>
                <a:lnTo>
                  <a:pt x="11" y="31"/>
                </a:lnTo>
                <a:lnTo>
                  <a:pt x="5" y="37"/>
                </a:lnTo>
                <a:lnTo>
                  <a:pt x="2" y="37"/>
                </a:lnTo>
                <a:lnTo>
                  <a:pt x="0" y="40"/>
                </a:lnTo>
                <a:lnTo>
                  <a:pt x="5" y="46"/>
                </a:lnTo>
                <a:lnTo>
                  <a:pt x="5" y="49"/>
                </a:lnTo>
                <a:lnTo>
                  <a:pt x="2" y="51"/>
                </a:lnTo>
                <a:lnTo>
                  <a:pt x="14" y="63"/>
                </a:lnTo>
                <a:lnTo>
                  <a:pt x="17" y="66"/>
                </a:lnTo>
                <a:lnTo>
                  <a:pt x="23" y="69"/>
                </a:lnTo>
                <a:lnTo>
                  <a:pt x="25" y="63"/>
                </a:lnTo>
                <a:lnTo>
                  <a:pt x="37" y="69"/>
                </a:lnTo>
                <a:lnTo>
                  <a:pt x="37" y="72"/>
                </a:lnTo>
                <a:lnTo>
                  <a:pt x="31" y="74"/>
                </a:lnTo>
                <a:lnTo>
                  <a:pt x="40" y="77"/>
                </a:lnTo>
                <a:lnTo>
                  <a:pt x="37" y="80"/>
                </a:lnTo>
                <a:lnTo>
                  <a:pt x="57" y="86"/>
                </a:lnTo>
                <a:lnTo>
                  <a:pt x="60" y="83"/>
                </a:lnTo>
                <a:lnTo>
                  <a:pt x="77" y="86"/>
                </a:lnTo>
                <a:lnTo>
                  <a:pt x="86" y="80"/>
                </a:lnTo>
                <a:lnTo>
                  <a:pt x="97" y="77"/>
                </a:lnTo>
                <a:lnTo>
                  <a:pt x="109" y="77"/>
                </a:lnTo>
                <a:lnTo>
                  <a:pt x="120" y="83"/>
                </a:lnTo>
                <a:lnTo>
                  <a:pt x="126" y="86"/>
                </a:lnTo>
                <a:lnTo>
                  <a:pt x="126" y="8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963" name="Freeform 238"/>
          <p:cNvSpPr>
            <a:spLocks noChangeAspect="1"/>
          </p:cNvSpPr>
          <p:nvPr/>
        </p:nvSpPr>
        <p:spPr bwMode="gray">
          <a:xfrm>
            <a:off x="7799405" y="3529596"/>
            <a:ext cx="352063" cy="304508"/>
          </a:xfrm>
          <a:custGeom>
            <a:avLst/>
            <a:gdLst>
              <a:gd name="T0" fmla="*/ 2147483647 w 46"/>
              <a:gd name="T1" fmla="*/ 2147483647 h 54"/>
              <a:gd name="T2" fmla="*/ 2147483647 w 46"/>
              <a:gd name="T3" fmla="*/ 2147483647 h 54"/>
              <a:gd name="T4" fmla="*/ 2147483647 w 46"/>
              <a:gd name="T5" fmla="*/ 0 h 54"/>
              <a:gd name="T6" fmla="*/ 0 w 46"/>
              <a:gd name="T7" fmla="*/ 2147483647 h 54"/>
              <a:gd name="T8" fmla="*/ 0 w 46"/>
              <a:gd name="T9" fmla="*/ 2147483647 h 54"/>
              <a:gd name="T10" fmla="*/ 2147483647 w 46"/>
              <a:gd name="T11" fmla="*/ 2147483647 h 54"/>
              <a:gd name="T12" fmla="*/ 2147483647 w 46"/>
              <a:gd name="T13" fmla="*/ 2147483647 h 54"/>
              <a:gd name="T14" fmla="*/ 2147483647 w 46"/>
              <a:gd name="T15" fmla="*/ 2147483647 h 54"/>
              <a:gd name="T16" fmla="*/ 2147483647 w 46"/>
              <a:gd name="T17" fmla="*/ 2147483647 h 54"/>
              <a:gd name="T18" fmla="*/ 2147483647 w 46"/>
              <a:gd name="T19" fmla="*/ 2147483647 h 54"/>
              <a:gd name="T20" fmla="*/ 2147483647 w 46"/>
              <a:gd name="T21" fmla="*/ 2147483647 h 54"/>
              <a:gd name="T22" fmla="*/ 2147483647 w 46"/>
              <a:gd name="T23" fmla="*/ 2147483647 h 54"/>
              <a:gd name="T24" fmla="*/ 2147483647 w 46"/>
              <a:gd name="T25" fmla="*/ 2147483647 h 54"/>
              <a:gd name="T26" fmla="*/ 2147483647 w 46"/>
              <a:gd name="T27" fmla="*/ 2147483647 h 54"/>
              <a:gd name="T28" fmla="*/ 2147483647 w 46"/>
              <a:gd name="T29" fmla="*/ 2147483647 h 54"/>
              <a:gd name="T30" fmla="*/ 2147483647 w 46"/>
              <a:gd name="T31" fmla="*/ 2147483647 h 54"/>
              <a:gd name="T32" fmla="*/ 2147483647 w 46"/>
              <a:gd name="T33" fmla="*/ 2147483647 h 54"/>
              <a:gd name="T34" fmla="*/ 2147483647 w 46"/>
              <a:gd name="T35" fmla="*/ 2147483647 h 54"/>
              <a:gd name="T36" fmla="*/ 2147483647 w 46"/>
              <a:gd name="T37" fmla="*/ 2147483647 h 54"/>
              <a:gd name="T38" fmla="*/ 2147483647 w 46"/>
              <a:gd name="T39" fmla="*/ 2147483647 h 54"/>
              <a:gd name="T40" fmla="*/ 2147483647 w 46"/>
              <a:gd name="T41" fmla="*/ 2147483647 h 54"/>
              <a:gd name="T42" fmla="*/ 2147483647 w 46"/>
              <a:gd name="T43" fmla="*/ 2147483647 h 54"/>
              <a:gd name="T44" fmla="*/ 2147483647 w 46"/>
              <a:gd name="T45" fmla="*/ 2147483647 h 54"/>
              <a:gd name="T46" fmla="*/ 2147483647 w 46"/>
              <a:gd name="T47" fmla="*/ 2147483647 h 54"/>
              <a:gd name="T48" fmla="*/ 2147483647 w 46"/>
              <a:gd name="T49" fmla="*/ 2147483647 h 54"/>
              <a:gd name="T50" fmla="*/ 2147483647 w 46"/>
              <a:gd name="T51" fmla="*/ 2147483647 h 54"/>
              <a:gd name="T52" fmla="*/ 2147483647 w 46"/>
              <a:gd name="T53" fmla="*/ 2147483647 h 54"/>
              <a:gd name="T54" fmla="*/ 2147483647 w 46"/>
              <a:gd name="T55" fmla="*/ 2147483647 h 54"/>
              <a:gd name="T56" fmla="*/ 2147483647 w 46"/>
              <a:gd name="T57" fmla="*/ 2147483647 h 54"/>
              <a:gd name="T58" fmla="*/ 2147483647 w 46"/>
              <a:gd name="T59" fmla="*/ 2147483647 h 54"/>
              <a:gd name="T60" fmla="*/ 2147483647 w 46"/>
              <a:gd name="T61" fmla="*/ 2147483647 h 54"/>
              <a:gd name="T62" fmla="*/ 2147483647 w 46"/>
              <a:gd name="T63" fmla="*/ 2147483647 h 54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46"/>
              <a:gd name="T97" fmla="*/ 0 h 54"/>
              <a:gd name="T98" fmla="*/ 46 w 46"/>
              <a:gd name="T99" fmla="*/ 54 h 54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46" h="54">
                <a:moveTo>
                  <a:pt x="26" y="6"/>
                </a:moveTo>
                <a:lnTo>
                  <a:pt x="20" y="6"/>
                </a:lnTo>
                <a:lnTo>
                  <a:pt x="9" y="0"/>
                </a:lnTo>
                <a:lnTo>
                  <a:pt x="0" y="3"/>
                </a:lnTo>
                <a:lnTo>
                  <a:pt x="15" y="23"/>
                </a:lnTo>
                <a:lnTo>
                  <a:pt x="23" y="34"/>
                </a:lnTo>
                <a:lnTo>
                  <a:pt x="23" y="40"/>
                </a:lnTo>
                <a:lnTo>
                  <a:pt x="20" y="52"/>
                </a:lnTo>
                <a:lnTo>
                  <a:pt x="23" y="54"/>
                </a:lnTo>
                <a:lnTo>
                  <a:pt x="26" y="49"/>
                </a:lnTo>
                <a:lnTo>
                  <a:pt x="32" y="43"/>
                </a:lnTo>
                <a:lnTo>
                  <a:pt x="29" y="37"/>
                </a:lnTo>
                <a:lnTo>
                  <a:pt x="32" y="37"/>
                </a:lnTo>
                <a:lnTo>
                  <a:pt x="38" y="34"/>
                </a:lnTo>
                <a:lnTo>
                  <a:pt x="46" y="37"/>
                </a:lnTo>
                <a:lnTo>
                  <a:pt x="43" y="29"/>
                </a:lnTo>
                <a:lnTo>
                  <a:pt x="32" y="17"/>
                </a:lnTo>
                <a:lnTo>
                  <a:pt x="32" y="14"/>
                </a:lnTo>
                <a:lnTo>
                  <a:pt x="35" y="11"/>
                </a:lnTo>
                <a:lnTo>
                  <a:pt x="26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282" name="Freeform 239"/>
          <p:cNvSpPr>
            <a:spLocks noChangeAspect="1"/>
          </p:cNvSpPr>
          <p:nvPr/>
        </p:nvSpPr>
        <p:spPr bwMode="gray">
          <a:xfrm>
            <a:off x="7589368" y="4800130"/>
            <a:ext cx="36006" cy="18000"/>
          </a:xfrm>
          <a:custGeom>
            <a:avLst/>
            <a:gdLst>
              <a:gd name="T0" fmla="*/ 2147483647 w 5"/>
              <a:gd name="T1" fmla="*/ 2147483647 h 3"/>
              <a:gd name="T2" fmla="*/ 2147483647 w 5"/>
              <a:gd name="T3" fmla="*/ 0 h 3"/>
              <a:gd name="T4" fmla="*/ 0 w 5"/>
              <a:gd name="T5" fmla="*/ 0 h 3"/>
              <a:gd name="T6" fmla="*/ 2147483647 w 5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5"/>
              <a:gd name="T13" fmla="*/ 0 h 3"/>
              <a:gd name="T14" fmla="*/ 5 w 5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" h="3">
                <a:moveTo>
                  <a:pt x="5" y="3"/>
                </a:moveTo>
                <a:lnTo>
                  <a:pt x="5" y="0"/>
                </a:lnTo>
                <a:lnTo>
                  <a:pt x="0" y="0"/>
                </a:lnTo>
                <a:lnTo>
                  <a:pt x="5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83" name="Rectangle 240"/>
          <p:cNvSpPr>
            <a:spLocks noChangeAspect="1" noChangeArrowheads="1"/>
          </p:cNvSpPr>
          <p:nvPr/>
        </p:nvSpPr>
        <p:spPr bwMode="gray">
          <a:xfrm>
            <a:off x="7589367" y="4705628"/>
            <a:ext cx="14003" cy="165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84" name="Rectangle 241"/>
          <p:cNvSpPr>
            <a:spLocks noChangeAspect="1" noChangeArrowheads="1"/>
          </p:cNvSpPr>
          <p:nvPr/>
        </p:nvSpPr>
        <p:spPr bwMode="gray">
          <a:xfrm>
            <a:off x="7821409" y="4818130"/>
            <a:ext cx="46009" cy="180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85" name="Rectangle 242"/>
          <p:cNvSpPr>
            <a:spLocks noChangeAspect="1" noChangeArrowheads="1"/>
          </p:cNvSpPr>
          <p:nvPr/>
        </p:nvSpPr>
        <p:spPr bwMode="gray">
          <a:xfrm>
            <a:off x="5669021" y="2842578"/>
            <a:ext cx="6002" cy="7500"/>
          </a:xfrm>
          <a:prstGeom prst="rect">
            <a:avLst/>
          </a:pr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86" name="Freeform 243"/>
          <p:cNvSpPr>
            <a:spLocks noChangeAspect="1"/>
          </p:cNvSpPr>
          <p:nvPr/>
        </p:nvSpPr>
        <p:spPr bwMode="gray">
          <a:xfrm>
            <a:off x="4776860" y="4542123"/>
            <a:ext cx="66013" cy="33001"/>
          </a:xfrm>
          <a:custGeom>
            <a:avLst/>
            <a:gdLst>
              <a:gd name="T0" fmla="*/ 2147483647 w 9"/>
              <a:gd name="T1" fmla="*/ 0 h 6"/>
              <a:gd name="T2" fmla="*/ 2147483647 w 9"/>
              <a:gd name="T3" fmla="*/ 0 h 6"/>
              <a:gd name="T4" fmla="*/ 0 w 9"/>
              <a:gd name="T5" fmla="*/ 2147483647 h 6"/>
              <a:gd name="T6" fmla="*/ 0 w 9"/>
              <a:gd name="T7" fmla="*/ 2147483647 h 6"/>
              <a:gd name="T8" fmla="*/ 2147483647 w 9"/>
              <a:gd name="T9" fmla="*/ 2147483647 h 6"/>
              <a:gd name="T10" fmla="*/ 2147483647 w 9"/>
              <a:gd name="T11" fmla="*/ 2147483647 h 6"/>
              <a:gd name="T12" fmla="*/ 2147483647 w 9"/>
              <a:gd name="T13" fmla="*/ 2147483647 h 6"/>
              <a:gd name="T14" fmla="*/ 2147483647 w 9"/>
              <a:gd name="T15" fmla="*/ 2147483647 h 6"/>
              <a:gd name="T16" fmla="*/ 2147483647 w 9"/>
              <a:gd name="T17" fmla="*/ 0 h 6"/>
              <a:gd name="T18" fmla="*/ 2147483647 w 9"/>
              <a:gd name="T19" fmla="*/ 0 h 6"/>
              <a:gd name="T20" fmla="*/ 2147483647 w 9"/>
              <a:gd name="T21" fmla="*/ 0 h 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9"/>
              <a:gd name="T34" fmla="*/ 0 h 6"/>
              <a:gd name="T35" fmla="*/ 9 w 9"/>
              <a:gd name="T36" fmla="*/ 6 h 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9" h="6">
                <a:moveTo>
                  <a:pt x="9" y="0"/>
                </a:moveTo>
                <a:lnTo>
                  <a:pt x="6" y="0"/>
                </a:lnTo>
                <a:lnTo>
                  <a:pt x="0" y="3"/>
                </a:lnTo>
                <a:lnTo>
                  <a:pt x="3" y="6"/>
                </a:lnTo>
                <a:lnTo>
                  <a:pt x="6" y="6"/>
                </a:lnTo>
                <a:lnTo>
                  <a:pt x="9" y="6"/>
                </a:lnTo>
                <a:lnTo>
                  <a:pt x="9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87" name="Freeform 245"/>
          <p:cNvSpPr>
            <a:spLocks noChangeAspect="1"/>
          </p:cNvSpPr>
          <p:nvPr/>
        </p:nvSpPr>
        <p:spPr bwMode="gray">
          <a:xfrm>
            <a:off x="3522635" y="4227114"/>
            <a:ext cx="382068" cy="556516"/>
          </a:xfrm>
          <a:custGeom>
            <a:avLst/>
            <a:gdLst>
              <a:gd name="T0" fmla="*/ 0 w 51"/>
              <a:gd name="T1" fmla="*/ 2147483647 h 98"/>
              <a:gd name="T2" fmla="*/ 2147483647 w 51"/>
              <a:gd name="T3" fmla="*/ 2147483647 h 98"/>
              <a:gd name="T4" fmla="*/ 2147483647 w 51"/>
              <a:gd name="T5" fmla="*/ 2147483647 h 98"/>
              <a:gd name="T6" fmla="*/ 2147483647 w 51"/>
              <a:gd name="T7" fmla="*/ 2147483647 h 98"/>
              <a:gd name="T8" fmla="*/ 2147483647 w 51"/>
              <a:gd name="T9" fmla="*/ 2147483647 h 98"/>
              <a:gd name="T10" fmla="*/ 2147483647 w 51"/>
              <a:gd name="T11" fmla="*/ 2147483647 h 98"/>
              <a:gd name="T12" fmla="*/ 2147483647 w 51"/>
              <a:gd name="T13" fmla="*/ 2147483647 h 98"/>
              <a:gd name="T14" fmla="*/ 2147483647 w 51"/>
              <a:gd name="T15" fmla="*/ 2147483647 h 98"/>
              <a:gd name="T16" fmla="*/ 2147483647 w 51"/>
              <a:gd name="T17" fmla="*/ 2147483647 h 98"/>
              <a:gd name="T18" fmla="*/ 2147483647 w 51"/>
              <a:gd name="T19" fmla="*/ 2147483647 h 98"/>
              <a:gd name="T20" fmla="*/ 2147483647 w 51"/>
              <a:gd name="T21" fmla="*/ 2147483647 h 98"/>
              <a:gd name="T22" fmla="*/ 2147483647 w 51"/>
              <a:gd name="T23" fmla="*/ 2147483647 h 98"/>
              <a:gd name="T24" fmla="*/ 2147483647 w 51"/>
              <a:gd name="T25" fmla="*/ 2147483647 h 98"/>
              <a:gd name="T26" fmla="*/ 2147483647 w 51"/>
              <a:gd name="T27" fmla="*/ 2147483647 h 98"/>
              <a:gd name="T28" fmla="*/ 2147483647 w 51"/>
              <a:gd name="T29" fmla="*/ 2147483647 h 98"/>
              <a:gd name="T30" fmla="*/ 2147483647 w 51"/>
              <a:gd name="T31" fmla="*/ 2147483647 h 98"/>
              <a:gd name="T32" fmla="*/ 2147483647 w 51"/>
              <a:gd name="T33" fmla="*/ 2147483647 h 98"/>
              <a:gd name="T34" fmla="*/ 2147483647 w 51"/>
              <a:gd name="T35" fmla="*/ 2147483647 h 98"/>
              <a:gd name="T36" fmla="*/ 2147483647 w 51"/>
              <a:gd name="T37" fmla="*/ 2147483647 h 98"/>
              <a:gd name="T38" fmla="*/ 2147483647 w 51"/>
              <a:gd name="T39" fmla="*/ 2147483647 h 98"/>
              <a:gd name="T40" fmla="*/ 2147483647 w 51"/>
              <a:gd name="T41" fmla="*/ 2147483647 h 98"/>
              <a:gd name="T42" fmla="*/ 2147483647 w 51"/>
              <a:gd name="T43" fmla="*/ 2147483647 h 98"/>
              <a:gd name="T44" fmla="*/ 2147483647 w 51"/>
              <a:gd name="T45" fmla="*/ 2147483647 h 98"/>
              <a:gd name="T46" fmla="*/ 2147483647 w 51"/>
              <a:gd name="T47" fmla="*/ 2147483647 h 98"/>
              <a:gd name="T48" fmla="*/ 2147483647 w 51"/>
              <a:gd name="T49" fmla="*/ 2147483647 h 98"/>
              <a:gd name="T50" fmla="*/ 2147483647 w 51"/>
              <a:gd name="T51" fmla="*/ 2147483647 h 98"/>
              <a:gd name="T52" fmla="*/ 2147483647 w 51"/>
              <a:gd name="T53" fmla="*/ 2147483647 h 98"/>
              <a:gd name="T54" fmla="*/ 2147483647 w 51"/>
              <a:gd name="T55" fmla="*/ 2147483647 h 98"/>
              <a:gd name="T56" fmla="*/ 2147483647 w 51"/>
              <a:gd name="T57" fmla="*/ 2147483647 h 98"/>
              <a:gd name="T58" fmla="*/ 2147483647 w 51"/>
              <a:gd name="T59" fmla="*/ 2147483647 h 98"/>
              <a:gd name="T60" fmla="*/ 2147483647 w 51"/>
              <a:gd name="T61" fmla="*/ 2147483647 h 98"/>
              <a:gd name="T62" fmla="*/ 2147483647 w 51"/>
              <a:gd name="T63" fmla="*/ 2147483647 h 98"/>
              <a:gd name="T64" fmla="*/ 2147483647 w 51"/>
              <a:gd name="T65" fmla="*/ 2147483647 h 98"/>
              <a:gd name="T66" fmla="*/ 2147483647 w 51"/>
              <a:gd name="T67" fmla="*/ 2147483647 h 98"/>
              <a:gd name="T68" fmla="*/ 2147483647 w 51"/>
              <a:gd name="T69" fmla="*/ 2147483647 h 98"/>
              <a:gd name="T70" fmla="*/ 2147483647 w 51"/>
              <a:gd name="T71" fmla="*/ 2147483647 h 98"/>
              <a:gd name="T72" fmla="*/ 2147483647 w 51"/>
              <a:gd name="T73" fmla="*/ 2147483647 h 98"/>
              <a:gd name="T74" fmla="*/ 2147483647 w 51"/>
              <a:gd name="T75" fmla="*/ 0 h 98"/>
              <a:gd name="T76" fmla="*/ 2147483647 w 51"/>
              <a:gd name="T77" fmla="*/ 2147483647 h 98"/>
              <a:gd name="T78" fmla="*/ 2147483647 w 51"/>
              <a:gd name="T79" fmla="*/ 2147483647 h 98"/>
              <a:gd name="T80" fmla="*/ 2147483647 w 51"/>
              <a:gd name="T81" fmla="*/ 2147483647 h 98"/>
              <a:gd name="T82" fmla="*/ 2147483647 w 51"/>
              <a:gd name="T83" fmla="*/ 2147483647 h 98"/>
              <a:gd name="T84" fmla="*/ 2147483647 w 51"/>
              <a:gd name="T85" fmla="*/ 2147483647 h 98"/>
              <a:gd name="T86" fmla="*/ 2147483647 w 51"/>
              <a:gd name="T87" fmla="*/ 2147483647 h 98"/>
              <a:gd name="T88" fmla="*/ 2147483647 w 51"/>
              <a:gd name="T89" fmla="*/ 2147483647 h 98"/>
              <a:gd name="T90" fmla="*/ 2147483647 w 51"/>
              <a:gd name="T91" fmla="*/ 2147483647 h 98"/>
              <a:gd name="T92" fmla="*/ 2147483647 w 51"/>
              <a:gd name="T93" fmla="*/ 2147483647 h 98"/>
              <a:gd name="T94" fmla="*/ 2147483647 w 51"/>
              <a:gd name="T95" fmla="*/ 2147483647 h 98"/>
              <a:gd name="T96" fmla="*/ 0 w 51"/>
              <a:gd name="T97" fmla="*/ 2147483647 h 98"/>
              <a:gd name="T98" fmla="*/ 0 w 51"/>
              <a:gd name="T99" fmla="*/ 2147483647 h 98"/>
              <a:gd name="T100" fmla="*/ 0 w 51"/>
              <a:gd name="T101" fmla="*/ 2147483647 h 98"/>
              <a:gd name="T102" fmla="*/ 0 w 51"/>
              <a:gd name="T103" fmla="*/ 2147483647 h 98"/>
              <a:gd name="T104" fmla="*/ 0 w 51"/>
              <a:gd name="T105" fmla="*/ 2147483647 h 98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51"/>
              <a:gd name="T160" fmla="*/ 0 h 98"/>
              <a:gd name="T161" fmla="*/ 51 w 51"/>
              <a:gd name="T162" fmla="*/ 98 h 98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51" h="98">
                <a:moveTo>
                  <a:pt x="0" y="64"/>
                </a:moveTo>
                <a:lnTo>
                  <a:pt x="3" y="69"/>
                </a:lnTo>
                <a:lnTo>
                  <a:pt x="6" y="66"/>
                </a:lnTo>
                <a:lnTo>
                  <a:pt x="6" y="75"/>
                </a:lnTo>
                <a:lnTo>
                  <a:pt x="6" y="92"/>
                </a:lnTo>
                <a:lnTo>
                  <a:pt x="6" y="98"/>
                </a:lnTo>
                <a:lnTo>
                  <a:pt x="8" y="95"/>
                </a:lnTo>
                <a:lnTo>
                  <a:pt x="14" y="98"/>
                </a:lnTo>
                <a:lnTo>
                  <a:pt x="23" y="95"/>
                </a:lnTo>
                <a:lnTo>
                  <a:pt x="26" y="95"/>
                </a:lnTo>
                <a:lnTo>
                  <a:pt x="26" y="87"/>
                </a:lnTo>
                <a:lnTo>
                  <a:pt x="28" y="81"/>
                </a:lnTo>
                <a:lnTo>
                  <a:pt x="34" y="75"/>
                </a:lnTo>
                <a:lnTo>
                  <a:pt x="31" y="66"/>
                </a:lnTo>
                <a:lnTo>
                  <a:pt x="34" y="58"/>
                </a:lnTo>
                <a:lnTo>
                  <a:pt x="28" y="46"/>
                </a:lnTo>
                <a:lnTo>
                  <a:pt x="37" y="41"/>
                </a:lnTo>
                <a:lnTo>
                  <a:pt x="34" y="35"/>
                </a:lnTo>
                <a:lnTo>
                  <a:pt x="37" y="32"/>
                </a:lnTo>
                <a:lnTo>
                  <a:pt x="40" y="29"/>
                </a:lnTo>
                <a:lnTo>
                  <a:pt x="43" y="15"/>
                </a:lnTo>
                <a:lnTo>
                  <a:pt x="51" y="6"/>
                </a:lnTo>
                <a:lnTo>
                  <a:pt x="49" y="3"/>
                </a:lnTo>
                <a:lnTo>
                  <a:pt x="40" y="3"/>
                </a:lnTo>
                <a:lnTo>
                  <a:pt x="37" y="6"/>
                </a:lnTo>
                <a:lnTo>
                  <a:pt x="34" y="6"/>
                </a:lnTo>
                <a:lnTo>
                  <a:pt x="28" y="3"/>
                </a:lnTo>
                <a:lnTo>
                  <a:pt x="23" y="6"/>
                </a:lnTo>
                <a:lnTo>
                  <a:pt x="20" y="0"/>
                </a:lnTo>
                <a:lnTo>
                  <a:pt x="11" y="3"/>
                </a:lnTo>
                <a:lnTo>
                  <a:pt x="11" y="9"/>
                </a:lnTo>
                <a:lnTo>
                  <a:pt x="11" y="18"/>
                </a:lnTo>
                <a:lnTo>
                  <a:pt x="11" y="26"/>
                </a:lnTo>
                <a:lnTo>
                  <a:pt x="8" y="35"/>
                </a:lnTo>
                <a:lnTo>
                  <a:pt x="6" y="43"/>
                </a:lnTo>
                <a:lnTo>
                  <a:pt x="0" y="52"/>
                </a:lnTo>
                <a:lnTo>
                  <a:pt x="0" y="58"/>
                </a:lnTo>
                <a:lnTo>
                  <a:pt x="0" y="64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88" name="Freeform 246"/>
          <p:cNvSpPr>
            <a:spLocks noChangeAspect="1"/>
          </p:cNvSpPr>
          <p:nvPr/>
        </p:nvSpPr>
        <p:spPr bwMode="gray">
          <a:xfrm>
            <a:off x="4820869" y="4149112"/>
            <a:ext cx="68012" cy="33001"/>
          </a:xfrm>
          <a:custGeom>
            <a:avLst/>
            <a:gdLst>
              <a:gd name="T0" fmla="*/ 2147483647 w 9"/>
              <a:gd name="T1" fmla="*/ 2147483647 h 6"/>
              <a:gd name="T2" fmla="*/ 2147483647 w 9"/>
              <a:gd name="T3" fmla="*/ 2147483647 h 6"/>
              <a:gd name="T4" fmla="*/ 2147483647 w 9"/>
              <a:gd name="T5" fmla="*/ 0 h 6"/>
              <a:gd name="T6" fmla="*/ 0 w 9"/>
              <a:gd name="T7" fmla="*/ 0 h 6"/>
              <a:gd name="T8" fmla="*/ 0 w 9"/>
              <a:gd name="T9" fmla="*/ 0 h 6"/>
              <a:gd name="T10" fmla="*/ 2147483647 w 9"/>
              <a:gd name="T11" fmla="*/ 2147483647 h 6"/>
              <a:gd name="T12" fmla="*/ 2147483647 w 9"/>
              <a:gd name="T13" fmla="*/ 2147483647 h 6"/>
              <a:gd name="T14" fmla="*/ 2147483647 w 9"/>
              <a:gd name="T15" fmla="*/ 2147483647 h 6"/>
              <a:gd name="T16" fmla="*/ 2147483647 w 9"/>
              <a:gd name="T17" fmla="*/ 2147483647 h 6"/>
              <a:gd name="T18" fmla="*/ 2147483647 w 9"/>
              <a:gd name="T19" fmla="*/ 2147483647 h 6"/>
              <a:gd name="T20" fmla="*/ 2147483647 w 9"/>
              <a:gd name="T21" fmla="*/ 2147483647 h 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9"/>
              <a:gd name="T34" fmla="*/ 0 h 6"/>
              <a:gd name="T35" fmla="*/ 9 w 9"/>
              <a:gd name="T36" fmla="*/ 6 h 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9" h="6">
                <a:moveTo>
                  <a:pt x="3" y="6"/>
                </a:moveTo>
                <a:lnTo>
                  <a:pt x="9" y="3"/>
                </a:lnTo>
                <a:lnTo>
                  <a:pt x="6" y="0"/>
                </a:lnTo>
                <a:lnTo>
                  <a:pt x="0" y="0"/>
                </a:lnTo>
                <a:lnTo>
                  <a:pt x="3" y="6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971" name="Freeform 247"/>
          <p:cNvSpPr>
            <a:spLocks noChangeAspect="1"/>
          </p:cNvSpPr>
          <p:nvPr/>
        </p:nvSpPr>
        <p:spPr bwMode="gray">
          <a:xfrm>
            <a:off x="6389150" y="3985608"/>
            <a:ext cx="66013" cy="16500"/>
          </a:xfrm>
          <a:custGeom>
            <a:avLst/>
            <a:gdLst>
              <a:gd name="T0" fmla="*/ 0 w 8"/>
              <a:gd name="T1" fmla="*/ 0 h 3"/>
              <a:gd name="T2" fmla="*/ 2147483647 w 8"/>
              <a:gd name="T3" fmla="*/ 2147483647 h 3"/>
              <a:gd name="T4" fmla="*/ 2147483647 w 8"/>
              <a:gd name="T5" fmla="*/ 0 h 3"/>
              <a:gd name="T6" fmla="*/ 0 w 8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8"/>
              <a:gd name="T13" fmla="*/ 0 h 3"/>
              <a:gd name="T14" fmla="*/ 8 w 8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" h="3">
                <a:moveTo>
                  <a:pt x="0" y="0"/>
                </a:moveTo>
                <a:lnTo>
                  <a:pt x="8" y="3"/>
                </a:lnTo>
                <a:lnTo>
                  <a:pt x="5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290" name="Freeform 248"/>
          <p:cNvSpPr>
            <a:spLocks noChangeAspect="1"/>
          </p:cNvSpPr>
          <p:nvPr/>
        </p:nvSpPr>
        <p:spPr bwMode="gray">
          <a:xfrm>
            <a:off x="5392972" y="3591097"/>
            <a:ext cx="540097" cy="196506"/>
          </a:xfrm>
          <a:custGeom>
            <a:avLst/>
            <a:gdLst>
              <a:gd name="T0" fmla="*/ 2147483647 w 71"/>
              <a:gd name="T1" fmla="*/ 2147483647 h 35"/>
              <a:gd name="T2" fmla="*/ 2147483647 w 71"/>
              <a:gd name="T3" fmla="*/ 2147483647 h 35"/>
              <a:gd name="T4" fmla="*/ 2147483647 w 71"/>
              <a:gd name="T5" fmla="*/ 2147483647 h 35"/>
              <a:gd name="T6" fmla="*/ 2147483647 w 71"/>
              <a:gd name="T7" fmla="*/ 2147483647 h 35"/>
              <a:gd name="T8" fmla="*/ 2147483647 w 71"/>
              <a:gd name="T9" fmla="*/ 2147483647 h 35"/>
              <a:gd name="T10" fmla="*/ 0 w 71"/>
              <a:gd name="T11" fmla="*/ 2147483647 h 35"/>
              <a:gd name="T12" fmla="*/ 2147483647 w 71"/>
              <a:gd name="T13" fmla="*/ 2147483647 h 35"/>
              <a:gd name="T14" fmla="*/ 2147483647 w 71"/>
              <a:gd name="T15" fmla="*/ 2147483647 h 35"/>
              <a:gd name="T16" fmla="*/ 2147483647 w 71"/>
              <a:gd name="T17" fmla="*/ 2147483647 h 35"/>
              <a:gd name="T18" fmla="*/ 2147483647 w 71"/>
              <a:gd name="T19" fmla="*/ 2147483647 h 35"/>
              <a:gd name="T20" fmla="*/ 2147483647 w 71"/>
              <a:gd name="T21" fmla="*/ 2147483647 h 35"/>
              <a:gd name="T22" fmla="*/ 2147483647 w 71"/>
              <a:gd name="T23" fmla="*/ 2147483647 h 35"/>
              <a:gd name="T24" fmla="*/ 2147483647 w 71"/>
              <a:gd name="T25" fmla="*/ 2147483647 h 35"/>
              <a:gd name="T26" fmla="*/ 2147483647 w 71"/>
              <a:gd name="T27" fmla="*/ 2147483647 h 35"/>
              <a:gd name="T28" fmla="*/ 2147483647 w 71"/>
              <a:gd name="T29" fmla="*/ 2147483647 h 35"/>
              <a:gd name="T30" fmla="*/ 2147483647 w 71"/>
              <a:gd name="T31" fmla="*/ 2147483647 h 35"/>
              <a:gd name="T32" fmla="*/ 2147483647 w 71"/>
              <a:gd name="T33" fmla="*/ 2147483647 h 35"/>
              <a:gd name="T34" fmla="*/ 2147483647 w 71"/>
              <a:gd name="T35" fmla="*/ 2147483647 h 35"/>
              <a:gd name="T36" fmla="*/ 2147483647 w 71"/>
              <a:gd name="T37" fmla="*/ 2147483647 h 35"/>
              <a:gd name="T38" fmla="*/ 2147483647 w 71"/>
              <a:gd name="T39" fmla="*/ 2147483647 h 35"/>
              <a:gd name="T40" fmla="*/ 2147483647 w 71"/>
              <a:gd name="T41" fmla="*/ 2147483647 h 35"/>
              <a:gd name="T42" fmla="*/ 2147483647 w 71"/>
              <a:gd name="T43" fmla="*/ 2147483647 h 35"/>
              <a:gd name="T44" fmla="*/ 2147483647 w 71"/>
              <a:gd name="T45" fmla="*/ 2147483647 h 35"/>
              <a:gd name="T46" fmla="*/ 2147483647 w 71"/>
              <a:gd name="T47" fmla="*/ 2147483647 h 35"/>
              <a:gd name="T48" fmla="*/ 2147483647 w 71"/>
              <a:gd name="T49" fmla="*/ 2147483647 h 35"/>
              <a:gd name="T50" fmla="*/ 2147483647 w 71"/>
              <a:gd name="T51" fmla="*/ 2147483647 h 35"/>
              <a:gd name="T52" fmla="*/ 2147483647 w 71"/>
              <a:gd name="T53" fmla="*/ 2147483647 h 35"/>
              <a:gd name="T54" fmla="*/ 2147483647 w 71"/>
              <a:gd name="T55" fmla="*/ 2147483647 h 35"/>
              <a:gd name="T56" fmla="*/ 2147483647 w 71"/>
              <a:gd name="T57" fmla="*/ 2147483647 h 35"/>
              <a:gd name="T58" fmla="*/ 2147483647 w 71"/>
              <a:gd name="T59" fmla="*/ 2147483647 h 35"/>
              <a:gd name="T60" fmla="*/ 2147483647 w 71"/>
              <a:gd name="T61" fmla="*/ 2147483647 h 35"/>
              <a:gd name="T62" fmla="*/ 2147483647 w 71"/>
              <a:gd name="T63" fmla="*/ 2147483647 h 35"/>
              <a:gd name="T64" fmla="*/ 2147483647 w 71"/>
              <a:gd name="T65" fmla="*/ 2147483647 h 35"/>
              <a:gd name="T66" fmla="*/ 2147483647 w 71"/>
              <a:gd name="T67" fmla="*/ 2147483647 h 35"/>
              <a:gd name="T68" fmla="*/ 2147483647 w 71"/>
              <a:gd name="T69" fmla="*/ 2147483647 h 35"/>
              <a:gd name="T70" fmla="*/ 2147483647 w 71"/>
              <a:gd name="T71" fmla="*/ 2147483647 h 35"/>
              <a:gd name="T72" fmla="*/ 2147483647 w 71"/>
              <a:gd name="T73" fmla="*/ 2147483647 h 35"/>
              <a:gd name="T74" fmla="*/ 2147483647 w 71"/>
              <a:gd name="T75" fmla="*/ 0 h 35"/>
              <a:gd name="T76" fmla="*/ 2147483647 w 71"/>
              <a:gd name="T77" fmla="*/ 2147483647 h 35"/>
              <a:gd name="T78" fmla="*/ 2147483647 w 71"/>
              <a:gd name="T79" fmla="*/ 2147483647 h 35"/>
              <a:gd name="T80" fmla="*/ 2147483647 w 71"/>
              <a:gd name="T81" fmla="*/ 2147483647 h 35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71"/>
              <a:gd name="T124" fmla="*/ 0 h 35"/>
              <a:gd name="T125" fmla="*/ 71 w 71"/>
              <a:gd name="T126" fmla="*/ 35 h 35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71" h="35">
                <a:moveTo>
                  <a:pt x="20" y="9"/>
                </a:moveTo>
                <a:lnTo>
                  <a:pt x="20" y="9"/>
                </a:lnTo>
                <a:lnTo>
                  <a:pt x="17" y="9"/>
                </a:lnTo>
                <a:lnTo>
                  <a:pt x="14" y="12"/>
                </a:lnTo>
                <a:lnTo>
                  <a:pt x="5" y="23"/>
                </a:lnTo>
                <a:lnTo>
                  <a:pt x="0" y="29"/>
                </a:lnTo>
                <a:lnTo>
                  <a:pt x="3" y="32"/>
                </a:lnTo>
                <a:lnTo>
                  <a:pt x="8" y="21"/>
                </a:lnTo>
                <a:lnTo>
                  <a:pt x="14" y="32"/>
                </a:lnTo>
                <a:lnTo>
                  <a:pt x="17" y="35"/>
                </a:lnTo>
                <a:lnTo>
                  <a:pt x="23" y="32"/>
                </a:lnTo>
                <a:lnTo>
                  <a:pt x="28" y="35"/>
                </a:lnTo>
                <a:lnTo>
                  <a:pt x="28" y="26"/>
                </a:lnTo>
                <a:lnTo>
                  <a:pt x="31" y="26"/>
                </a:lnTo>
                <a:lnTo>
                  <a:pt x="37" y="26"/>
                </a:lnTo>
                <a:lnTo>
                  <a:pt x="46" y="35"/>
                </a:lnTo>
                <a:lnTo>
                  <a:pt x="51" y="23"/>
                </a:lnTo>
                <a:lnTo>
                  <a:pt x="51" y="26"/>
                </a:lnTo>
                <a:lnTo>
                  <a:pt x="54" y="29"/>
                </a:lnTo>
                <a:lnTo>
                  <a:pt x="60" y="23"/>
                </a:lnTo>
                <a:lnTo>
                  <a:pt x="60" y="26"/>
                </a:lnTo>
                <a:lnTo>
                  <a:pt x="63" y="21"/>
                </a:lnTo>
                <a:lnTo>
                  <a:pt x="66" y="23"/>
                </a:lnTo>
                <a:lnTo>
                  <a:pt x="69" y="15"/>
                </a:lnTo>
                <a:lnTo>
                  <a:pt x="71" y="15"/>
                </a:lnTo>
                <a:lnTo>
                  <a:pt x="71" y="6"/>
                </a:lnTo>
                <a:lnTo>
                  <a:pt x="69" y="6"/>
                </a:lnTo>
                <a:lnTo>
                  <a:pt x="66" y="9"/>
                </a:lnTo>
                <a:lnTo>
                  <a:pt x="60" y="6"/>
                </a:lnTo>
                <a:lnTo>
                  <a:pt x="54" y="6"/>
                </a:lnTo>
                <a:lnTo>
                  <a:pt x="46" y="3"/>
                </a:lnTo>
                <a:lnTo>
                  <a:pt x="40" y="0"/>
                </a:lnTo>
                <a:lnTo>
                  <a:pt x="34" y="6"/>
                </a:lnTo>
                <a:lnTo>
                  <a:pt x="23" y="6"/>
                </a:lnTo>
                <a:lnTo>
                  <a:pt x="20" y="9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91" name="Freeform 250"/>
          <p:cNvSpPr>
            <a:spLocks noChangeAspect="1"/>
          </p:cNvSpPr>
          <p:nvPr/>
        </p:nvSpPr>
        <p:spPr bwMode="gray">
          <a:xfrm>
            <a:off x="7589368" y="4558624"/>
            <a:ext cx="36006" cy="16500"/>
          </a:xfrm>
          <a:custGeom>
            <a:avLst/>
            <a:gdLst>
              <a:gd name="T0" fmla="*/ 0 w 5"/>
              <a:gd name="T1" fmla="*/ 2147483647 h 3"/>
              <a:gd name="T2" fmla="*/ 2147483647 w 5"/>
              <a:gd name="T3" fmla="*/ 2147483647 h 3"/>
              <a:gd name="T4" fmla="*/ 2147483647 w 5"/>
              <a:gd name="T5" fmla="*/ 2147483647 h 3"/>
              <a:gd name="T6" fmla="*/ 2147483647 w 5"/>
              <a:gd name="T7" fmla="*/ 0 h 3"/>
              <a:gd name="T8" fmla="*/ 0 w 5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3"/>
              <a:gd name="T17" fmla="*/ 5 w 5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3">
                <a:moveTo>
                  <a:pt x="0" y="3"/>
                </a:moveTo>
                <a:lnTo>
                  <a:pt x="5" y="3"/>
                </a:lnTo>
                <a:lnTo>
                  <a:pt x="2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974" name="Freeform 252"/>
          <p:cNvSpPr>
            <a:spLocks noChangeAspect="1"/>
          </p:cNvSpPr>
          <p:nvPr/>
        </p:nvSpPr>
        <p:spPr bwMode="gray">
          <a:xfrm>
            <a:off x="6929248" y="2797576"/>
            <a:ext cx="316057" cy="96003"/>
          </a:xfrm>
          <a:custGeom>
            <a:avLst/>
            <a:gdLst>
              <a:gd name="T0" fmla="*/ 2147483647 w 41"/>
              <a:gd name="T1" fmla="*/ 0 h 17"/>
              <a:gd name="T2" fmla="*/ 2147483647 w 41"/>
              <a:gd name="T3" fmla="*/ 0 h 17"/>
              <a:gd name="T4" fmla="*/ 2147483647 w 41"/>
              <a:gd name="T5" fmla="*/ 2147483647 h 17"/>
              <a:gd name="T6" fmla="*/ 2147483647 w 41"/>
              <a:gd name="T7" fmla="*/ 2147483647 h 17"/>
              <a:gd name="T8" fmla="*/ 2147483647 w 41"/>
              <a:gd name="T9" fmla="*/ 2147483647 h 17"/>
              <a:gd name="T10" fmla="*/ 2147483647 w 41"/>
              <a:gd name="T11" fmla="*/ 2147483647 h 17"/>
              <a:gd name="T12" fmla="*/ 0 w 41"/>
              <a:gd name="T13" fmla="*/ 2147483647 h 17"/>
              <a:gd name="T14" fmla="*/ 0 w 41"/>
              <a:gd name="T15" fmla="*/ 2147483647 h 17"/>
              <a:gd name="T16" fmla="*/ 2147483647 w 41"/>
              <a:gd name="T17" fmla="*/ 2147483647 h 17"/>
              <a:gd name="T18" fmla="*/ 2147483647 w 41"/>
              <a:gd name="T19" fmla="*/ 2147483647 h 17"/>
              <a:gd name="T20" fmla="*/ 2147483647 w 41"/>
              <a:gd name="T21" fmla="*/ 2147483647 h 17"/>
              <a:gd name="T22" fmla="*/ 2147483647 w 41"/>
              <a:gd name="T23" fmla="*/ 2147483647 h 17"/>
              <a:gd name="T24" fmla="*/ 2147483647 w 41"/>
              <a:gd name="T25" fmla="*/ 2147483647 h 17"/>
              <a:gd name="T26" fmla="*/ 2147483647 w 41"/>
              <a:gd name="T27" fmla="*/ 2147483647 h 17"/>
              <a:gd name="T28" fmla="*/ 2147483647 w 41"/>
              <a:gd name="T29" fmla="*/ 2147483647 h 17"/>
              <a:gd name="T30" fmla="*/ 2147483647 w 41"/>
              <a:gd name="T31" fmla="*/ 2147483647 h 17"/>
              <a:gd name="T32" fmla="*/ 2147483647 w 41"/>
              <a:gd name="T33" fmla="*/ 2147483647 h 17"/>
              <a:gd name="T34" fmla="*/ 2147483647 w 41"/>
              <a:gd name="T35" fmla="*/ 2147483647 h 17"/>
              <a:gd name="T36" fmla="*/ 2147483647 w 41"/>
              <a:gd name="T37" fmla="*/ 2147483647 h 17"/>
              <a:gd name="T38" fmla="*/ 2147483647 w 41"/>
              <a:gd name="T39" fmla="*/ 2147483647 h 17"/>
              <a:gd name="T40" fmla="*/ 2147483647 w 41"/>
              <a:gd name="T41" fmla="*/ 2147483647 h 17"/>
              <a:gd name="T42" fmla="*/ 2147483647 w 41"/>
              <a:gd name="T43" fmla="*/ 2147483647 h 17"/>
              <a:gd name="T44" fmla="*/ 2147483647 w 41"/>
              <a:gd name="T45" fmla="*/ 2147483647 h 17"/>
              <a:gd name="T46" fmla="*/ 2147483647 w 41"/>
              <a:gd name="T47" fmla="*/ 2147483647 h 17"/>
              <a:gd name="T48" fmla="*/ 2147483647 w 41"/>
              <a:gd name="T49" fmla="*/ 2147483647 h 17"/>
              <a:gd name="T50" fmla="*/ 2147483647 w 41"/>
              <a:gd name="T51" fmla="*/ 2147483647 h 17"/>
              <a:gd name="T52" fmla="*/ 2147483647 w 41"/>
              <a:gd name="T53" fmla="*/ 2147483647 h 17"/>
              <a:gd name="T54" fmla="*/ 2147483647 w 41"/>
              <a:gd name="T55" fmla="*/ 2147483647 h 17"/>
              <a:gd name="T56" fmla="*/ 2147483647 w 41"/>
              <a:gd name="T57" fmla="*/ 2147483647 h 17"/>
              <a:gd name="T58" fmla="*/ 2147483647 w 41"/>
              <a:gd name="T59" fmla="*/ 0 h 17"/>
              <a:gd name="T60" fmla="*/ 2147483647 w 41"/>
              <a:gd name="T61" fmla="*/ 0 h 17"/>
              <a:gd name="T62" fmla="*/ 2147483647 w 41"/>
              <a:gd name="T63" fmla="*/ 0 h 17"/>
              <a:gd name="T64" fmla="*/ 2147483647 w 41"/>
              <a:gd name="T65" fmla="*/ 0 h 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41"/>
              <a:gd name="T100" fmla="*/ 0 h 17"/>
              <a:gd name="T101" fmla="*/ 41 w 41"/>
              <a:gd name="T102" fmla="*/ 17 h 17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41" h="17">
                <a:moveTo>
                  <a:pt x="15" y="0"/>
                </a:moveTo>
                <a:lnTo>
                  <a:pt x="15" y="0"/>
                </a:lnTo>
                <a:lnTo>
                  <a:pt x="12" y="3"/>
                </a:lnTo>
                <a:lnTo>
                  <a:pt x="6" y="5"/>
                </a:lnTo>
                <a:lnTo>
                  <a:pt x="3" y="5"/>
                </a:lnTo>
                <a:lnTo>
                  <a:pt x="0" y="14"/>
                </a:lnTo>
                <a:lnTo>
                  <a:pt x="3" y="14"/>
                </a:lnTo>
                <a:lnTo>
                  <a:pt x="18" y="17"/>
                </a:lnTo>
                <a:lnTo>
                  <a:pt x="21" y="17"/>
                </a:lnTo>
                <a:lnTo>
                  <a:pt x="41" y="14"/>
                </a:lnTo>
                <a:lnTo>
                  <a:pt x="41" y="11"/>
                </a:lnTo>
                <a:lnTo>
                  <a:pt x="38" y="5"/>
                </a:lnTo>
                <a:lnTo>
                  <a:pt x="32" y="5"/>
                </a:lnTo>
                <a:lnTo>
                  <a:pt x="29" y="5"/>
                </a:lnTo>
                <a:lnTo>
                  <a:pt x="18" y="3"/>
                </a:lnTo>
                <a:lnTo>
                  <a:pt x="15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293" name="Freeform 254"/>
          <p:cNvSpPr>
            <a:spLocks noChangeAspect="1"/>
          </p:cNvSpPr>
          <p:nvPr/>
        </p:nvSpPr>
        <p:spPr bwMode="gray">
          <a:xfrm>
            <a:off x="6651198" y="3415593"/>
            <a:ext cx="616111" cy="175504"/>
          </a:xfrm>
          <a:custGeom>
            <a:avLst/>
            <a:gdLst>
              <a:gd name="T0" fmla="*/ 2147483647 w 81"/>
              <a:gd name="T1" fmla="*/ 2147483647 h 31"/>
              <a:gd name="T2" fmla="*/ 2147483647 w 81"/>
              <a:gd name="T3" fmla="*/ 2147483647 h 31"/>
              <a:gd name="T4" fmla="*/ 2147483647 w 81"/>
              <a:gd name="T5" fmla="*/ 2147483647 h 31"/>
              <a:gd name="T6" fmla="*/ 2147483647 w 81"/>
              <a:gd name="T7" fmla="*/ 2147483647 h 31"/>
              <a:gd name="T8" fmla="*/ 2147483647 w 81"/>
              <a:gd name="T9" fmla="*/ 2147483647 h 31"/>
              <a:gd name="T10" fmla="*/ 2147483647 w 81"/>
              <a:gd name="T11" fmla="*/ 2147483647 h 31"/>
              <a:gd name="T12" fmla="*/ 2147483647 w 81"/>
              <a:gd name="T13" fmla="*/ 0 h 31"/>
              <a:gd name="T14" fmla="*/ 2147483647 w 81"/>
              <a:gd name="T15" fmla="*/ 2147483647 h 31"/>
              <a:gd name="T16" fmla="*/ 2147483647 w 81"/>
              <a:gd name="T17" fmla="*/ 0 h 31"/>
              <a:gd name="T18" fmla="*/ 2147483647 w 81"/>
              <a:gd name="T19" fmla="*/ 2147483647 h 31"/>
              <a:gd name="T20" fmla="*/ 2147483647 w 81"/>
              <a:gd name="T21" fmla="*/ 2147483647 h 31"/>
              <a:gd name="T22" fmla="*/ 2147483647 w 81"/>
              <a:gd name="T23" fmla="*/ 2147483647 h 31"/>
              <a:gd name="T24" fmla="*/ 0 w 81"/>
              <a:gd name="T25" fmla="*/ 2147483647 h 31"/>
              <a:gd name="T26" fmla="*/ 2147483647 w 81"/>
              <a:gd name="T27" fmla="*/ 2147483647 h 31"/>
              <a:gd name="T28" fmla="*/ 2147483647 w 81"/>
              <a:gd name="T29" fmla="*/ 2147483647 h 31"/>
              <a:gd name="T30" fmla="*/ 2147483647 w 81"/>
              <a:gd name="T31" fmla="*/ 2147483647 h 31"/>
              <a:gd name="T32" fmla="*/ 2147483647 w 81"/>
              <a:gd name="T33" fmla="*/ 2147483647 h 31"/>
              <a:gd name="T34" fmla="*/ 2147483647 w 81"/>
              <a:gd name="T35" fmla="*/ 2147483647 h 31"/>
              <a:gd name="T36" fmla="*/ 2147483647 w 81"/>
              <a:gd name="T37" fmla="*/ 2147483647 h 31"/>
              <a:gd name="T38" fmla="*/ 2147483647 w 81"/>
              <a:gd name="T39" fmla="*/ 2147483647 h 31"/>
              <a:gd name="T40" fmla="*/ 2147483647 w 81"/>
              <a:gd name="T41" fmla="*/ 2147483647 h 31"/>
              <a:gd name="T42" fmla="*/ 2147483647 w 81"/>
              <a:gd name="T43" fmla="*/ 2147483647 h 31"/>
              <a:gd name="T44" fmla="*/ 2147483647 w 81"/>
              <a:gd name="T45" fmla="*/ 2147483647 h 31"/>
              <a:gd name="T46" fmla="*/ 2147483647 w 81"/>
              <a:gd name="T47" fmla="*/ 2147483647 h 31"/>
              <a:gd name="T48" fmla="*/ 2147483647 w 81"/>
              <a:gd name="T49" fmla="*/ 2147483647 h 31"/>
              <a:gd name="T50" fmla="*/ 2147483647 w 81"/>
              <a:gd name="T51" fmla="*/ 2147483647 h 31"/>
              <a:gd name="T52" fmla="*/ 2147483647 w 81"/>
              <a:gd name="T53" fmla="*/ 2147483647 h 31"/>
              <a:gd name="T54" fmla="*/ 2147483647 w 81"/>
              <a:gd name="T55" fmla="*/ 2147483647 h 31"/>
              <a:gd name="T56" fmla="*/ 2147483647 w 81"/>
              <a:gd name="T57" fmla="*/ 2147483647 h 31"/>
              <a:gd name="T58" fmla="*/ 2147483647 w 81"/>
              <a:gd name="T59" fmla="*/ 2147483647 h 31"/>
              <a:gd name="T60" fmla="*/ 2147483647 w 81"/>
              <a:gd name="T61" fmla="*/ 2147483647 h 31"/>
              <a:gd name="T62" fmla="*/ 2147483647 w 81"/>
              <a:gd name="T63" fmla="*/ 2147483647 h 3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81"/>
              <a:gd name="T97" fmla="*/ 0 h 31"/>
              <a:gd name="T98" fmla="*/ 81 w 81"/>
              <a:gd name="T99" fmla="*/ 31 h 31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81" h="31">
                <a:moveTo>
                  <a:pt x="75" y="6"/>
                </a:moveTo>
                <a:lnTo>
                  <a:pt x="75" y="6"/>
                </a:lnTo>
                <a:lnTo>
                  <a:pt x="63" y="3"/>
                </a:lnTo>
                <a:lnTo>
                  <a:pt x="58" y="6"/>
                </a:lnTo>
                <a:lnTo>
                  <a:pt x="49" y="3"/>
                </a:lnTo>
                <a:lnTo>
                  <a:pt x="43" y="6"/>
                </a:lnTo>
                <a:lnTo>
                  <a:pt x="35" y="0"/>
                </a:lnTo>
                <a:lnTo>
                  <a:pt x="29" y="3"/>
                </a:lnTo>
                <a:lnTo>
                  <a:pt x="26" y="0"/>
                </a:lnTo>
                <a:lnTo>
                  <a:pt x="20" y="3"/>
                </a:lnTo>
                <a:lnTo>
                  <a:pt x="12" y="11"/>
                </a:lnTo>
                <a:lnTo>
                  <a:pt x="3" y="11"/>
                </a:lnTo>
                <a:lnTo>
                  <a:pt x="0" y="17"/>
                </a:lnTo>
                <a:lnTo>
                  <a:pt x="3" y="26"/>
                </a:lnTo>
                <a:lnTo>
                  <a:pt x="15" y="31"/>
                </a:lnTo>
                <a:lnTo>
                  <a:pt x="26" y="31"/>
                </a:lnTo>
                <a:lnTo>
                  <a:pt x="40" y="26"/>
                </a:lnTo>
                <a:lnTo>
                  <a:pt x="49" y="26"/>
                </a:lnTo>
                <a:lnTo>
                  <a:pt x="52" y="23"/>
                </a:lnTo>
                <a:lnTo>
                  <a:pt x="49" y="14"/>
                </a:lnTo>
                <a:lnTo>
                  <a:pt x="60" y="17"/>
                </a:lnTo>
                <a:lnTo>
                  <a:pt x="69" y="14"/>
                </a:lnTo>
                <a:lnTo>
                  <a:pt x="75" y="20"/>
                </a:lnTo>
                <a:lnTo>
                  <a:pt x="75" y="17"/>
                </a:lnTo>
                <a:lnTo>
                  <a:pt x="78" y="11"/>
                </a:lnTo>
                <a:lnTo>
                  <a:pt x="81" y="8"/>
                </a:lnTo>
                <a:lnTo>
                  <a:pt x="75" y="6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976" name="Freeform 255"/>
          <p:cNvSpPr>
            <a:spLocks noChangeAspect="1"/>
          </p:cNvSpPr>
          <p:nvPr/>
        </p:nvSpPr>
        <p:spPr bwMode="gray">
          <a:xfrm>
            <a:off x="7019265" y="4468621"/>
            <a:ext cx="44008" cy="16500"/>
          </a:xfrm>
          <a:custGeom>
            <a:avLst/>
            <a:gdLst>
              <a:gd name="T0" fmla="*/ 2147483647 w 6"/>
              <a:gd name="T1" fmla="*/ 0 h 3"/>
              <a:gd name="T2" fmla="*/ 0 w 6"/>
              <a:gd name="T3" fmla="*/ 0 h 3"/>
              <a:gd name="T4" fmla="*/ 0 w 6"/>
              <a:gd name="T5" fmla="*/ 0 h 3"/>
              <a:gd name="T6" fmla="*/ 2147483647 w 6"/>
              <a:gd name="T7" fmla="*/ 2147483647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6" y="0"/>
                </a:moveTo>
                <a:lnTo>
                  <a:pt x="0" y="0"/>
                </a:lnTo>
                <a:lnTo>
                  <a:pt x="3" y="3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81977" name="Rectangle 256"/>
          <p:cNvSpPr>
            <a:spLocks noChangeAspect="1" noChangeArrowheads="1"/>
          </p:cNvSpPr>
          <p:nvPr/>
        </p:nvSpPr>
        <p:spPr bwMode="gray">
          <a:xfrm>
            <a:off x="7019265" y="4485122"/>
            <a:ext cx="22003" cy="22501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algn="ctr"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978" name="Freeform 257"/>
          <p:cNvSpPr>
            <a:spLocks noChangeAspect="1"/>
          </p:cNvSpPr>
          <p:nvPr/>
        </p:nvSpPr>
        <p:spPr bwMode="gray">
          <a:xfrm>
            <a:off x="6995261" y="4458121"/>
            <a:ext cx="24004" cy="10501"/>
          </a:xfrm>
          <a:custGeom>
            <a:avLst/>
            <a:gdLst>
              <a:gd name="T0" fmla="*/ 0 w 3"/>
              <a:gd name="T1" fmla="*/ 0 h 2"/>
              <a:gd name="T2" fmla="*/ 2147483647 w 3"/>
              <a:gd name="T3" fmla="*/ 2147483647 h 2"/>
              <a:gd name="T4" fmla="*/ 2147483647 w 3"/>
              <a:gd name="T5" fmla="*/ 2147483647 h 2"/>
              <a:gd name="T6" fmla="*/ 0 w 3"/>
              <a:gd name="T7" fmla="*/ 0 h 2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2"/>
              <a:gd name="T14" fmla="*/ 3 w 3"/>
              <a:gd name="T15" fmla="*/ 2 h 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2">
                <a:moveTo>
                  <a:pt x="0" y="0"/>
                </a:moveTo>
                <a:lnTo>
                  <a:pt x="3" y="2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297" name="Freeform 258"/>
          <p:cNvSpPr>
            <a:spLocks noChangeAspect="1"/>
          </p:cNvSpPr>
          <p:nvPr/>
        </p:nvSpPr>
        <p:spPr bwMode="gray">
          <a:xfrm>
            <a:off x="7625373" y="4765629"/>
            <a:ext cx="24004" cy="18000"/>
          </a:xfrm>
          <a:custGeom>
            <a:avLst/>
            <a:gdLst>
              <a:gd name="T0" fmla="*/ 2147483647 w 3"/>
              <a:gd name="T1" fmla="*/ 0 h 3"/>
              <a:gd name="T2" fmla="*/ 0 w 3"/>
              <a:gd name="T3" fmla="*/ 0 h 3"/>
              <a:gd name="T4" fmla="*/ 2147483647 w 3"/>
              <a:gd name="T5" fmla="*/ 2147483647 h 3"/>
              <a:gd name="T6" fmla="*/ 2147483647 w 3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3" y="0"/>
                </a:moveTo>
                <a:lnTo>
                  <a:pt x="0" y="0"/>
                </a:lnTo>
                <a:lnTo>
                  <a:pt x="3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980" name="Freeform 259"/>
          <p:cNvSpPr>
            <a:spLocks noChangeAspect="1"/>
          </p:cNvSpPr>
          <p:nvPr/>
        </p:nvSpPr>
        <p:spPr bwMode="gray">
          <a:xfrm>
            <a:off x="7041268" y="2679072"/>
            <a:ext cx="608110" cy="265508"/>
          </a:xfrm>
          <a:custGeom>
            <a:avLst/>
            <a:gdLst>
              <a:gd name="T0" fmla="*/ 2147483647 w 80"/>
              <a:gd name="T1" fmla="*/ 2147483647 h 46"/>
              <a:gd name="T2" fmla="*/ 0 w 80"/>
              <a:gd name="T3" fmla="*/ 2147483647 h 46"/>
              <a:gd name="T4" fmla="*/ 0 w 80"/>
              <a:gd name="T5" fmla="*/ 2147483647 h 46"/>
              <a:gd name="T6" fmla="*/ 2147483647 w 80"/>
              <a:gd name="T7" fmla="*/ 2147483647 h 46"/>
              <a:gd name="T8" fmla="*/ 2147483647 w 80"/>
              <a:gd name="T9" fmla="*/ 2147483647 h 46"/>
              <a:gd name="T10" fmla="*/ 2147483647 w 80"/>
              <a:gd name="T11" fmla="*/ 2147483647 h 46"/>
              <a:gd name="T12" fmla="*/ 2147483647 w 80"/>
              <a:gd name="T13" fmla="*/ 2147483647 h 46"/>
              <a:gd name="T14" fmla="*/ 2147483647 w 80"/>
              <a:gd name="T15" fmla="*/ 2147483647 h 46"/>
              <a:gd name="T16" fmla="*/ 2147483647 w 80"/>
              <a:gd name="T17" fmla="*/ 2147483647 h 46"/>
              <a:gd name="T18" fmla="*/ 2147483647 w 80"/>
              <a:gd name="T19" fmla="*/ 2147483647 h 46"/>
              <a:gd name="T20" fmla="*/ 2147483647 w 80"/>
              <a:gd name="T21" fmla="*/ 2147483647 h 46"/>
              <a:gd name="T22" fmla="*/ 2147483647 w 80"/>
              <a:gd name="T23" fmla="*/ 2147483647 h 46"/>
              <a:gd name="T24" fmla="*/ 2147483647 w 80"/>
              <a:gd name="T25" fmla="*/ 2147483647 h 46"/>
              <a:gd name="T26" fmla="*/ 2147483647 w 80"/>
              <a:gd name="T27" fmla="*/ 2147483647 h 46"/>
              <a:gd name="T28" fmla="*/ 2147483647 w 80"/>
              <a:gd name="T29" fmla="*/ 2147483647 h 46"/>
              <a:gd name="T30" fmla="*/ 2147483647 w 80"/>
              <a:gd name="T31" fmla="*/ 2147483647 h 46"/>
              <a:gd name="T32" fmla="*/ 2147483647 w 80"/>
              <a:gd name="T33" fmla="*/ 2147483647 h 46"/>
              <a:gd name="T34" fmla="*/ 2147483647 w 80"/>
              <a:gd name="T35" fmla="*/ 2147483647 h 46"/>
              <a:gd name="T36" fmla="*/ 2147483647 w 80"/>
              <a:gd name="T37" fmla="*/ 2147483647 h 46"/>
              <a:gd name="T38" fmla="*/ 2147483647 w 80"/>
              <a:gd name="T39" fmla="*/ 2147483647 h 46"/>
              <a:gd name="T40" fmla="*/ 2147483647 w 80"/>
              <a:gd name="T41" fmla="*/ 2147483647 h 46"/>
              <a:gd name="T42" fmla="*/ 2147483647 w 80"/>
              <a:gd name="T43" fmla="*/ 2147483647 h 46"/>
              <a:gd name="T44" fmla="*/ 2147483647 w 80"/>
              <a:gd name="T45" fmla="*/ 2147483647 h 46"/>
              <a:gd name="T46" fmla="*/ 2147483647 w 80"/>
              <a:gd name="T47" fmla="*/ 0 h 46"/>
              <a:gd name="T48" fmla="*/ 2147483647 w 80"/>
              <a:gd name="T49" fmla="*/ 0 h 46"/>
              <a:gd name="T50" fmla="*/ 2147483647 w 80"/>
              <a:gd name="T51" fmla="*/ 2147483647 h 46"/>
              <a:gd name="T52" fmla="*/ 2147483647 w 80"/>
              <a:gd name="T53" fmla="*/ 2147483647 h 46"/>
              <a:gd name="T54" fmla="*/ 2147483647 w 80"/>
              <a:gd name="T55" fmla="*/ 2147483647 h 46"/>
              <a:gd name="T56" fmla="*/ 2147483647 w 80"/>
              <a:gd name="T57" fmla="*/ 2147483647 h 46"/>
              <a:gd name="T58" fmla="*/ 2147483647 w 80"/>
              <a:gd name="T59" fmla="*/ 2147483647 h 46"/>
              <a:gd name="T60" fmla="*/ 2147483647 w 80"/>
              <a:gd name="T61" fmla="*/ 2147483647 h 46"/>
              <a:gd name="T62" fmla="*/ 2147483647 w 80"/>
              <a:gd name="T63" fmla="*/ 2147483647 h 4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80"/>
              <a:gd name="T97" fmla="*/ 0 h 46"/>
              <a:gd name="T98" fmla="*/ 80 w 80"/>
              <a:gd name="T99" fmla="*/ 46 h 4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80" h="46">
                <a:moveTo>
                  <a:pt x="6" y="5"/>
                </a:moveTo>
                <a:lnTo>
                  <a:pt x="6" y="5"/>
                </a:lnTo>
                <a:lnTo>
                  <a:pt x="0" y="8"/>
                </a:lnTo>
                <a:lnTo>
                  <a:pt x="0" y="11"/>
                </a:lnTo>
                <a:lnTo>
                  <a:pt x="3" y="17"/>
                </a:lnTo>
                <a:lnTo>
                  <a:pt x="6" y="20"/>
                </a:lnTo>
                <a:lnTo>
                  <a:pt x="8" y="20"/>
                </a:lnTo>
                <a:lnTo>
                  <a:pt x="14" y="23"/>
                </a:lnTo>
                <a:lnTo>
                  <a:pt x="17" y="23"/>
                </a:lnTo>
                <a:lnTo>
                  <a:pt x="23" y="23"/>
                </a:lnTo>
                <a:lnTo>
                  <a:pt x="26" y="25"/>
                </a:lnTo>
                <a:lnTo>
                  <a:pt x="29" y="28"/>
                </a:lnTo>
                <a:lnTo>
                  <a:pt x="31" y="28"/>
                </a:lnTo>
                <a:lnTo>
                  <a:pt x="31" y="31"/>
                </a:lnTo>
                <a:lnTo>
                  <a:pt x="29" y="37"/>
                </a:lnTo>
                <a:lnTo>
                  <a:pt x="37" y="40"/>
                </a:lnTo>
                <a:lnTo>
                  <a:pt x="40" y="46"/>
                </a:lnTo>
                <a:lnTo>
                  <a:pt x="46" y="43"/>
                </a:lnTo>
                <a:lnTo>
                  <a:pt x="54" y="43"/>
                </a:lnTo>
                <a:lnTo>
                  <a:pt x="57" y="40"/>
                </a:lnTo>
                <a:lnTo>
                  <a:pt x="60" y="40"/>
                </a:lnTo>
                <a:lnTo>
                  <a:pt x="66" y="37"/>
                </a:lnTo>
                <a:lnTo>
                  <a:pt x="66" y="40"/>
                </a:lnTo>
                <a:lnTo>
                  <a:pt x="69" y="37"/>
                </a:lnTo>
                <a:lnTo>
                  <a:pt x="66" y="34"/>
                </a:lnTo>
                <a:lnTo>
                  <a:pt x="69" y="25"/>
                </a:lnTo>
                <a:lnTo>
                  <a:pt x="74" y="23"/>
                </a:lnTo>
                <a:lnTo>
                  <a:pt x="80" y="23"/>
                </a:lnTo>
                <a:lnTo>
                  <a:pt x="80" y="20"/>
                </a:lnTo>
                <a:lnTo>
                  <a:pt x="77" y="17"/>
                </a:lnTo>
                <a:lnTo>
                  <a:pt x="77" y="14"/>
                </a:lnTo>
                <a:lnTo>
                  <a:pt x="66" y="8"/>
                </a:lnTo>
                <a:lnTo>
                  <a:pt x="57" y="5"/>
                </a:lnTo>
                <a:lnTo>
                  <a:pt x="51" y="0"/>
                </a:lnTo>
                <a:lnTo>
                  <a:pt x="43" y="0"/>
                </a:lnTo>
                <a:lnTo>
                  <a:pt x="31" y="3"/>
                </a:lnTo>
                <a:lnTo>
                  <a:pt x="29" y="3"/>
                </a:lnTo>
                <a:lnTo>
                  <a:pt x="17" y="3"/>
                </a:lnTo>
                <a:lnTo>
                  <a:pt x="14" y="3"/>
                </a:lnTo>
                <a:lnTo>
                  <a:pt x="6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299" name="Freeform 260"/>
          <p:cNvSpPr>
            <a:spLocks noChangeAspect="1"/>
          </p:cNvSpPr>
          <p:nvPr/>
        </p:nvSpPr>
        <p:spPr bwMode="gray">
          <a:xfrm>
            <a:off x="7693386" y="4749129"/>
            <a:ext cx="70013" cy="34501"/>
          </a:xfrm>
          <a:custGeom>
            <a:avLst/>
            <a:gdLst>
              <a:gd name="T0" fmla="*/ 2147483647 w 9"/>
              <a:gd name="T1" fmla="*/ 0 h 6"/>
              <a:gd name="T2" fmla="*/ 0 w 9"/>
              <a:gd name="T3" fmla="*/ 2147483647 h 6"/>
              <a:gd name="T4" fmla="*/ 2147483647 w 9"/>
              <a:gd name="T5" fmla="*/ 2147483647 h 6"/>
              <a:gd name="T6" fmla="*/ 2147483647 w 9"/>
              <a:gd name="T7" fmla="*/ 0 h 6"/>
              <a:gd name="T8" fmla="*/ 2147483647 w 9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6"/>
              <a:gd name="T17" fmla="*/ 9 w 9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6">
                <a:moveTo>
                  <a:pt x="3" y="0"/>
                </a:moveTo>
                <a:lnTo>
                  <a:pt x="0" y="3"/>
                </a:lnTo>
                <a:lnTo>
                  <a:pt x="6" y="6"/>
                </a:lnTo>
                <a:lnTo>
                  <a:pt x="9" y="0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00" name="Freeform 261"/>
          <p:cNvSpPr>
            <a:spLocks noChangeAspect="1"/>
          </p:cNvSpPr>
          <p:nvPr/>
        </p:nvSpPr>
        <p:spPr bwMode="gray">
          <a:xfrm>
            <a:off x="7625374" y="4671127"/>
            <a:ext cx="68012" cy="51001"/>
          </a:xfrm>
          <a:custGeom>
            <a:avLst/>
            <a:gdLst>
              <a:gd name="T0" fmla="*/ 2147483647 w 9"/>
              <a:gd name="T1" fmla="*/ 2147483647 h 9"/>
              <a:gd name="T2" fmla="*/ 2147483647 w 9"/>
              <a:gd name="T3" fmla="*/ 2147483647 h 9"/>
              <a:gd name="T4" fmla="*/ 2147483647 w 9"/>
              <a:gd name="T5" fmla="*/ 2147483647 h 9"/>
              <a:gd name="T6" fmla="*/ 2147483647 w 9"/>
              <a:gd name="T7" fmla="*/ 2147483647 h 9"/>
              <a:gd name="T8" fmla="*/ 2147483647 w 9"/>
              <a:gd name="T9" fmla="*/ 0 h 9"/>
              <a:gd name="T10" fmla="*/ 0 w 9"/>
              <a:gd name="T11" fmla="*/ 2147483647 h 9"/>
              <a:gd name="T12" fmla="*/ 2147483647 w 9"/>
              <a:gd name="T13" fmla="*/ 2147483647 h 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"/>
              <a:gd name="T22" fmla="*/ 0 h 9"/>
              <a:gd name="T23" fmla="*/ 9 w 9"/>
              <a:gd name="T24" fmla="*/ 9 h 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" h="9">
                <a:moveTo>
                  <a:pt x="6" y="9"/>
                </a:moveTo>
                <a:lnTo>
                  <a:pt x="9" y="6"/>
                </a:lnTo>
                <a:lnTo>
                  <a:pt x="9" y="3"/>
                </a:lnTo>
                <a:lnTo>
                  <a:pt x="3" y="3"/>
                </a:lnTo>
                <a:lnTo>
                  <a:pt x="3" y="0"/>
                </a:lnTo>
                <a:lnTo>
                  <a:pt x="0" y="3"/>
                </a:lnTo>
                <a:lnTo>
                  <a:pt x="6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01" name="Freeform 262"/>
          <p:cNvSpPr>
            <a:spLocks noChangeAspect="1"/>
          </p:cNvSpPr>
          <p:nvPr/>
        </p:nvSpPr>
        <p:spPr bwMode="gray">
          <a:xfrm>
            <a:off x="7649378" y="4485122"/>
            <a:ext cx="22005" cy="22501"/>
          </a:xfrm>
          <a:custGeom>
            <a:avLst/>
            <a:gdLst>
              <a:gd name="T0" fmla="*/ 0 w 3"/>
              <a:gd name="T1" fmla="*/ 0 h 3"/>
              <a:gd name="T2" fmla="*/ 0 w 3"/>
              <a:gd name="T3" fmla="*/ 2147483647 h 3"/>
              <a:gd name="T4" fmla="*/ 2147483647 w 3"/>
              <a:gd name="T5" fmla="*/ 2147483647 h 3"/>
              <a:gd name="T6" fmla="*/ 0 w 3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0" y="0"/>
                </a:moveTo>
                <a:lnTo>
                  <a:pt x="0" y="3"/>
                </a:lnTo>
                <a:lnTo>
                  <a:pt x="3" y="3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02" name="Freeform 263"/>
          <p:cNvSpPr>
            <a:spLocks noChangeAspect="1"/>
          </p:cNvSpPr>
          <p:nvPr/>
        </p:nvSpPr>
        <p:spPr bwMode="gray">
          <a:xfrm>
            <a:off x="7719391" y="4800130"/>
            <a:ext cx="22003" cy="18000"/>
          </a:xfrm>
          <a:custGeom>
            <a:avLst/>
            <a:gdLst>
              <a:gd name="T0" fmla="*/ 0 w 3"/>
              <a:gd name="T1" fmla="*/ 2147483647 h 3"/>
              <a:gd name="T2" fmla="*/ 2147483647 w 3"/>
              <a:gd name="T3" fmla="*/ 0 h 3"/>
              <a:gd name="T4" fmla="*/ 0 w 3"/>
              <a:gd name="T5" fmla="*/ 0 h 3"/>
              <a:gd name="T6" fmla="*/ 0 w 3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0" y="3"/>
                </a:move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03" name="Freeform 264"/>
          <p:cNvSpPr>
            <a:spLocks noChangeAspect="1"/>
          </p:cNvSpPr>
          <p:nvPr/>
        </p:nvSpPr>
        <p:spPr bwMode="gray">
          <a:xfrm>
            <a:off x="7415336" y="4836131"/>
            <a:ext cx="40007" cy="27001"/>
          </a:xfrm>
          <a:custGeom>
            <a:avLst/>
            <a:gdLst>
              <a:gd name="T0" fmla="*/ 0 w 5"/>
              <a:gd name="T1" fmla="*/ 2147483647 h 5"/>
              <a:gd name="T2" fmla="*/ 2147483647 w 5"/>
              <a:gd name="T3" fmla="*/ 2147483647 h 5"/>
              <a:gd name="T4" fmla="*/ 2147483647 w 5"/>
              <a:gd name="T5" fmla="*/ 0 h 5"/>
              <a:gd name="T6" fmla="*/ 0 w 5"/>
              <a:gd name="T7" fmla="*/ 2147483647 h 5"/>
              <a:gd name="T8" fmla="*/ 0 w 5"/>
              <a:gd name="T9" fmla="*/ 2147483647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5"/>
              <a:gd name="T17" fmla="*/ 5 w 5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5">
                <a:moveTo>
                  <a:pt x="0" y="5"/>
                </a:moveTo>
                <a:lnTo>
                  <a:pt x="5" y="5"/>
                </a:lnTo>
                <a:lnTo>
                  <a:pt x="2" y="0"/>
                </a:lnTo>
                <a:lnTo>
                  <a:pt x="0" y="2"/>
                </a:lnTo>
                <a:lnTo>
                  <a:pt x="0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986" name="Freeform 265"/>
          <p:cNvSpPr>
            <a:spLocks noChangeAspect="1"/>
          </p:cNvSpPr>
          <p:nvPr/>
        </p:nvSpPr>
        <p:spPr bwMode="gray">
          <a:xfrm>
            <a:off x="6929248" y="4165614"/>
            <a:ext cx="240043" cy="303008"/>
          </a:xfrm>
          <a:custGeom>
            <a:avLst/>
            <a:gdLst>
              <a:gd name="T0" fmla="*/ 2147483647 w 32"/>
              <a:gd name="T1" fmla="*/ 2147483647 h 54"/>
              <a:gd name="T2" fmla="*/ 2147483647 w 32"/>
              <a:gd name="T3" fmla="*/ 2147483647 h 54"/>
              <a:gd name="T4" fmla="*/ 2147483647 w 32"/>
              <a:gd name="T5" fmla="*/ 2147483647 h 54"/>
              <a:gd name="T6" fmla="*/ 2147483647 w 32"/>
              <a:gd name="T7" fmla="*/ 2147483647 h 54"/>
              <a:gd name="T8" fmla="*/ 2147483647 w 32"/>
              <a:gd name="T9" fmla="*/ 2147483647 h 54"/>
              <a:gd name="T10" fmla="*/ 2147483647 w 32"/>
              <a:gd name="T11" fmla="*/ 2147483647 h 54"/>
              <a:gd name="T12" fmla="*/ 2147483647 w 32"/>
              <a:gd name="T13" fmla="*/ 2147483647 h 54"/>
              <a:gd name="T14" fmla="*/ 2147483647 w 32"/>
              <a:gd name="T15" fmla="*/ 2147483647 h 54"/>
              <a:gd name="T16" fmla="*/ 2147483647 w 32"/>
              <a:gd name="T17" fmla="*/ 2147483647 h 54"/>
              <a:gd name="T18" fmla="*/ 2147483647 w 32"/>
              <a:gd name="T19" fmla="*/ 2147483647 h 54"/>
              <a:gd name="T20" fmla="*/ 2147483647 w 32"/>
              <a:gd name="T21" fmla="*/ 2147483647 h 54"/>
              <a:gd name="T22" fmla="*/ 2147483647 w 32"/>
              <a:gd name="T23" fmla="*/ 0 h 54"/>
              <a:gd name="T24" fmla="*/ 2147483647 w 32"/>
              <a:gd name="T25" fmla="*/ 2147483647 h 54"/>
              <a:gd name="T26" fmla="*/ 2147483647 w 32"/>
              <a:gd name="T27" fmla="*/ 2147483647 h 54"/>
              <a:gd name="T28" fmla="*/ 2147483647 w 32"/>
              <a:gd name="T29" fmla="*/ 2147483647 h 54"/>
              <a:gd name="T30" fmla="*/ 2147483647 w 32"/>
              <a:gd name="T31" fmla="*/ 2147483647 h 54"/>
              <a:gd name="T32" fmla="*/ 0 w 32"/>
              <a:gd name="T33" fmla="*/ 2147483647 h 54"/>
              <a:gd name="T34" fmla="*/ 2147483647 w 32"/>
              <a:gd name="T35" fmla="*/ 2147483647 h 54"/>
              <a:gd name="T36" fmla="*/ 2147483647 w 32"/>
              <a:gd name="T37" fmla="*/ 2147483647 h 54"/>
              <a:gd name="T38" fmla="*/ 2147483647 w 32"/>
              <a:gd name="T39" fmla="*/ 2147483647 h 54"/>
              <a:gd name="T40" fmla="*/ 2147483647 w 32"/>
              <a:gd name="T41" fmla="*/ 2147483647 h 54"/>
              <a:gd name="T42" fmla="*/ 2147483647 w 32"/>
              <a:gd name="T43" fmla="*/ 2147483647 h 54"/>
              <a:gd name="T44" fmla="*/ 2147483647 w 32"/>
              <a:gd name="T45" fmla="*/ 2147483647 h 54"/>
              <a:gd name="T46" fmla="*/ 2147483647 w 32"/>
              <a:gd name="T47" fmla="*/ 2147483647 h 54"/>
              <a:gd name="T48" fmla="*/ 2147483647 w 32"/>
              <a:gd name="T49" fmla="*/ 2147483647 h 54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32"/>
              <a:gd name="T76" fmla="*/ 0 h 54"/>
              <a:gd name="T77" fmla="*/ 32 w 32"/>
              <a:gd name="T78" fmla="*/ 54 h 54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32" h="54">
                <a:moveTo>
                  <a:pt x="18" y="54"/>
                </a:moveTo>
                <a:lnTo>
                  <a:pt x="21" y="49"/>
                </a:lnTo>
                <a:lnTo>
                  <a:pt x="23" y="43"/>
                </a:lnTo>
                <a:lnTo>
                  <a:pt x="32" y="37"/>
                </a:lnTo>
                <a:lnTo>
                  <a:pt x="32" y="34"/>
                </a:lnTo>
                <a:lnTo>
                  <a:pt x="29" y="34"/>
                </a:lnTo>
                <a:lnTo>
                  <a:pt x="23" y="29"/>
                </a:lnTo>
                <a:lnTo>
                  <a:pt x="23" y="20"/>
                </a:lnTo>
                <a:lnTo>
                  <a:pt x="23" y="11"/>
                </a:lnTo>
                <a:lnTo>
                  <a:pt x="18" y="6"/>
                </a:lnTo>
                <a:lnTo>
                  <a:pt x="15" y="0"/>
                </a:lnTo>
                <a:lnTo>
                  <a:pt x="9" y="6"/>
                </a:lnTo>
                <a:lnTo>
                  <a:pt x="9" y="3"/>
                </a:lnTo>
                <a:lnTo>
                  <a:pt x="6" y="6"/>
                </a:lnTo>
                <a:lnTo>
                  <a:pt x="0" y="11"/>
                </a:lnTo>
                <a:lnTo>
                  <a:pt x="6" y="14"/>
                </a:lnTo>
                <a:lnTo>
                  <a:pt x="6" y="20"/>
                </a:lnTo>
                <a:lnTo>
                  <a:pt x="6" y="34"/>
                </a:lnTo>
                <a:lnTo>
                  <a:pt x="6" y="46"/>
                </a:lnTo>
                <a:lnTo>
                  <a:pt x="12" y="46"/>
                </a:lnTo>
                <a:lnTo>
                  <a:pt x="15" y="52"/>
                </a:lnTo>
                <a:lnTo>
                  <a:pt x="18" y="54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81987" name="Freeform 266"/>
          <p:cNvSpPr>
            <a:spLocks noChangeAspect="1"/>
          </p:cNvSpPr>
          <p:nvPr/>
        </p:nvSpPr>
        <p:spPr bwMode="gray">
          <a:xfrm>
            <a:off x="7125284" y="4216615"/>
            <a:ext cx="246045" cy="123003"/>
          </a:xfrm>
          <a:custGeom>
            <a:avLst/>
            <a:gdLst>
              <a:gd name="T0" fmla="*/ 2147483647 w 32"/>
              <a:gd name="T1" fmla="*/ 2147483647 h 22"/>
              <a:gd name="T2" fmla="*/ 2147483647 w 32"/>
              <a:gd name="T3" fmla="*/ 2147483647 h 22"/>
              <a:gd name="T4" fmla="*/ 2147483647 w 32"/>
              <a:gd name="T5" fmla="*/ 2147483647 h 22"/>
              <a:gd name="T6" fmla="*/ 2147483647 w 32"/>
              <a:gd name="T7" fmla="*/ 2147483647 h 22"/>
              <a:gd name="T8" fmla="*/ 2147483647 w 32"/>
              <a:gd name="T9" fmla="*/ 0 h 22"/>
              <a:gd name="T10" fmla="*/ 2147483647 w 32"/>
              <a:gd name="T11" fmla="*/ 0 h 22"/>
              <a:gd name="T12" fmla="*/ 2147483647 w 32"/>
              <a:gd name="T13" fmla="*/ 0 h 22"/>
              <a:gd name="T14" fmla="*/ 0 w 32"/>
              <a:gd name="T15" fmla="*/ 2147483647 h 22"/>
              <a:gd name="T16" fmla="*/ 0 w 32"/>
              <a:gd name="T17" fmla="*/ 2147483647 h 22"/>
              <a:gd name="T18" fmla="*/ 2147483647 w 32"/>
              <a:gd name="T19" fmla="*/ 2147483647 h 22"/>
              <a:gd name="T20" fmla="*/ 2147483647 w 32"/>
              <a:gd name="T21" fmla="*/ 2147483647 h 22"/>
              <a:gd name="T22" fmla="*/ 2147483647 w 32"/>
              <a:gd name="T23" fmla="*/ 2147483647 h 22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32"/>
              <a:gd name="T37" fmla="*/ 0 h 22"/>
              <a:gd name="T38" fmla="*/ 32 w 32"/>
              <a:gd name="T39" fmla="*/ 22 h 22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32" h="22">
                <a:moveTo>
                  <a:pt x="20" y="17"/>
                </a:moveTo>
                <a:lnTo>
                  <a:pt x="32" y="14"/>
                </a:lnTo>
                <a:lnTo>
                  <a:pt x="32" y="8"/>
                </a:lnTo>
                <a:lnTo>
                  <a:pt x="32" y="2"/>
                </a:lnTo>
                <a:lnTo>
                  <a:pt x="23" y="0"/>
                </a:lnTo>
                <a:lnTo>
                  <a:pt x="15" y="0"/>
                </a:lnTo>
                <a:lnTo>
                  <a:pt x="9" y="0"/>
                </a:lnTo>
                <a:lnTo>
                  <a:pt x="0" y="2"/>
                </a:lnTo>
                <a:lnTo>
                  <a:pt x="0" y="20"/>
                </a:lnTo>
                <a:lnTo>
                  <a:pt x="6" y="22"/>
                </a:lnTo>
                <a:lnTo>
                  <a:pt x="15" y="22"/>
                </a:lnTo>
                <a:lnTo>
                  <a:pt x="20" y="1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306" name="Freeform 267"/>
          <p:cNvSpPr>
            <a:spLocks noChangeAspect="1"/>
          </p:cNvSpPr>
          <p:nvPr/>
        </p:nvSpPr>
        <p:spPr bwMode="gray">
          <a:xfrm>
            <a:off x="7103281" y="4605124"/>
            <a:ext cx="66011" cy="49502"/>
          </a:xfrm>
          <a:custGeom>
            <a:avLst/>
            <a:gdLst>
              <a:gd name="T0" fmla="*/ 2147483647 w 9"/>
              <a:gd name="T1" fmla="*/ 2147483647 h 9"/>
              <a:gd name="T2" fmla="*/ 2147483647 w 9"/>
              <a:gd name="T3" fmla="*/ 0 h 9"/>
              <a:gd name="T4" fmla="*/ 0 w 9"/>
              <a:gd name="T5" fmla="*/ 2147483647 h 9"/>
              <a:gd name="T6" fmla="*/ 2147483647 w 9"/>
              <a:gd name="T7" fmla="*/ 2147483647 h 9"/>
              <a:gd name="T8" fmla="*/ 2147483647 w 9"/>
              <a:gd name="T9" fmla="*/ 2147483647 h 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9"/>
              <a:gd name="T17" fmla="*/ 9 w 9"/>
              <a:gd name="T18" fmla="*/ 9 h 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9">
                <a:moveTo>
                  <a:pt x="9" y="9"/>
                </a:moveTo>
                <a:lnTo>
                  <a:pt x="3" y="0"/>
                </a:lnTo>
                <a:lnTo>
                  <a:pt x="0" y="6"/>
                </a:lnTo>
                <a:lnTo>
                  <a:pt x="6" y="9"/>
                </a:lnTo>
                <a:lnTo>
                  <a:pt x="9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07" name="Freeform 268"/>
          <p:cNvSpPr>
            <a:spLocks noChangeAspect="1"/>
          </p:cNvSpPr>
          <p:nvPr/>
        </p:nvSpPr>
        <p:spPr bwMode="gray">
          <a:xfrm>
            <a:off x="7223302" y="4638125"/>
            <a:ext cx="254045" cy="198005"/>
          </a:xfrm>
          <a:custGeom>
            <a:avLst/>
            <a:gdLst>
              <a:gd name="T0" fmla="*/ 2147483647 w 34"/>
              <a:gd name="T1" fmla="*/ 2147483647 h 35"/>
              <a:gd name="T2" fmla="*/ 2147483647 w 34"/>
              <a:gd name="T3" fmla="*/ 2147483647 h 35"/>
              <a:gd name="T4" fmla="*/ 2147483647 w 34"/>
              <a:gd name="T5" fmla="*/ 2147483647 h 35"/>
              <a:gd name="T6" fmla="*/ 2147483647 w 34"/>
              <a:gd name="T7" fmla="*/ 2147483647 h 35"/>
              <a:gd name="T8" fmla="*/ 2147483647 w 34"/>
              <a:gd name="T9" fmla="*/ 2147483647 h 35"/>
              <a:gd name="T10" fmla="*/ 2147483647 w 34"/>
              <a:gd name="T11" fmla="*/ 0 h 35"/>
              <a:gd name="T12" fmla="*/ 2147483647 w 34"/>
              <a:gd name="T13" fmla="*/ 0 h 35"/>
              <a:gd name="T14" fmla="*/ 2147483647 w 34"/>
              <a:gd name="T15" fmla="*/ 0 h 35"/>
              <a:gd name="T16" fmla="*/ 2147483647 w 34"/>
              <a:gd name="T17" fmla="*/ 0 h 35"/>
              <a:gd name="T18" fmla="*/ 2147483647 w 34"/>
              <a:gd name="T19" fmla="*/ 2147483647 h 35"/>
              <a:gd name="T20" fmla="*/ 0 w 34"/>
              <a:gd name="T21" fmla="*/ 2147483647 h 35"/>
              <a:gd name="T22" fmla="*/ 0 w 34"/>
              <a:gd name="T23" fmla="*/ 2147483647 h 35"/>
              <a:gd name="T24" fmla="*/ 2147483647 w 34"/>
              <a:gd name="T25" fmla="*/ 2147483647 h 35"/>
              <a:gd name="T26" fmla="*/ 2147483647 w 34"/>
              <a:gd name="T27" fmla="*/ 2147483647 h 35"/>
              <a:gd name="T28" fmla="*/ 2147483647 w 34"/>
              <a:gd name="T29" fmla="*/ 2147483647 h 35"/>
              <a:gd name="T30" fmla="*/ 2147483647 w 34"/>
              <a:gd name="T31" fmla="*/ 2147483647 h 35"/>
              <a:gd name="T32" fmla="*/ 2147483647 w 34"/>
              <a:gd name="T33" fmla="*/ 2147483647 h 35"/>
              <a:gd name="T34" fmla="*/ 2147483647 w 34"/>
              <a:gd name="T35" fmla="*/ 2147483647 h 35"/>
              <a:gd name="T36" fmla="*/ 2147483647 w 34"/>
              <a:gd name="T37" fmla="*/ 2147483647 h 35"/>
              <a:gd name="T38" fmla="*/ 2147483647 w 34"/>
              <a:gd name="T39" fmla="*/ 2147483647 h 35"/>
              <a:gd name="T40" fmla="*/ 2147483647 w 34"/>
              <a:gd name="T41" fmla="*/ 2147483647 h 35"/>
              <a:gd name="T42" fmla="*/ 2147483647 w 34"/>
              <a:gd name="T43" fmla="*/ 2147483647 h 35"/>
              <a:gd name="T44" fmla="*/ 2147483647 w 34"/>
              <a:gd name="T45" fmla="*/ 2147483647 h 35"/>
              <a:gd name="T46" fmla="*/ 2147483647 w 34"/>
              <a:gd name="T47" fmla="*/ 2147483647 h 35"/>
              <a:gd name="T48" fmla="*/ 2147483647 w 34"/>
              <a:gd name="T49" fmla="*/ 2147483647 h 35"/>
              <a:gd name="T50" fmla="*/ 2147483647 w 34"/>
              <a:gd name="T51" fmla="*/ 2147483647 h 35"/>
              <a:gd name="T52" fmla="*/ 2147483647 w 34"/>
              <a:gd name="T53" fmla="*/ 2147483647 h 35"/>
              <a:gd name="T54" fmla="*/ 2147483647 w 34"/>
              <a:gd name="T55" fmla="*/ 2147483647 h 35"/>
              <a:gd name="T56" fmla="*/ 2147483647 w 34"/>
              <a:gd name="T57" fmla="*/ 2147483647 h 35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34"/>
              <a:gd name="T88" fmla="*/ 0 h 35"/>
              <a:gd name="T89" fmla="*/ 34 w 34"/>
              <a:gd name="T90" fmla="*/ 35 h 35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34" h="35">
                <a:moveTo>
                  <a:pt x="34" y="15"/>
                </a:moveTo>
                <a:lnTo>
                  <a:pt x="34" y="15"/>
                </a:lnTo>
                <a:lnTo>
                  <a:pt x="31" y="12"/>
                </a:lnTo>
                <a:lnTo>
                  <a:pt x="26" y="6"/>
                </a:lnTo>
                <a:lnTo>
                  <a:pt x="17" y="0"/>
                </a:lnTo>
                <a:lnTo>
                  <a:pt x="14" y="0"/>
                </a:lnTo>
                <a:lnTo>
                  <a:pt x="8" y="0"/>
                </a:lnTo>
                <a:lnTo>
                  <a:pt x="3" y="3"/>
                </a:lnTo>
                <a:lnTo>
                  <a:pt x="0" y="9"/>
                </a:lnTo>
                <a:lnTo>
                  <a:pt x="3" y="9"/>
                </a:lnTo>
                <a:lnTo>
                  <a:pt x="6" y="9"/>
                </a:lnTo>
                <a:lnTo>
                  <a:pt x="6" y="12"/>
                </a:lnTo>
                <a:lnTo>
                  <a:pt x="8" y="17"/>
                </a:lnTo>
                <a:lnTo>
                  <a:pt x="6" y="20"/>
                </a:lnTo>
                <a:lnTo>
                  <a:pt x="8" y="29"/>
                </a:lnTo>
                <a:lnTo>
                  <a:pt x="14" y="20"/>
                </a:lnTo>
                <a:lnTo>
                  <a:pt x="17" y="32"/>
                </a:lnTo>
                <a:lnTo>
                  <a:pt x="20" y="26"/>
                </a:lnTo>
                <a:lnTo>
                  <a:pt x="23" y="29"/>
                </a:lnTo>
                <a:lnTo>
                  <a:pt x="28" y="35"/>
                </a:lnTo>
                <a:lnTo>
                  <a:pt x="34" y="35"/>
                </a:lnTo>
                <a:lnTo>
                  <a:pt x="28" y="23"/>
                </a:lnTo>
                <a:lnTo>
                  <a:pt x="26" y="17"/>
                </a:lnTo>
                <a:lnTo>
                  <a:pt x="26" y="15"/>
                </a:lnTo>
                <a:lnTo>
                  <a:pt x="34" y="1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08" name="Freeform 269"/>
          <p:cNvSpPr>
            <a:spLocks noChangeAspect="1"/>
          </p:cNvSpPr>
          <p:nvPr/>
        </p:nvSpPr>
        <p:spPr bwMode="gray">
          <a:xfrm>
            <a:off x="4910886" y="4440120"/>
            <a:ext cx="156028" cy="84002"/>
          </a:xfrm>
          <a:custGeom>
            <a:avLst/>
            <a:gdLst>
              <a:gd name="T0" fmla="*/ 2147483647 w 20"/>
              <a:gd name="T1" fmla="*/ 0 h 14"/>
              <a:gd name="T2" fmla="*/ 2147483647 w 20"/>
              <a:gd name="T3" fmla="*/ 0 h 14"/>
              <a:gd name="T4" fmla="*/ 2147483647 w 20"/>
              <a:gd name="T5" fmla="*/ 2147483647 h 14"/>
              <a:gd name="T6" fmla="*/ 2147483647 w 20"/>
              <a:gd name="T7" fmla="*/ 2147483647 h 14"/>
              <a:gd name="T8" fmla="*/ 2147483647 w 20"/>
              <a:gd name="T9" fmla="*/ 2147483647 h 14"/>
              <a:gd name="T10" fmla="*/ 0 w 20"/>
              <a:gd name="T11" fmla="*/ 2147483647 h 14"/>
              <a:gd name="T12" fmla="*/ 2147483647 w 20"/>
              <a:gd name="T13" fmla="*/ 2147483647 h 14"/>
              <a:gd name="T14" fmla="*/ 2147483647 w 20"/>
              <a:gd name="T15" fmla="*/ 2147483647 h 14"/>
              <a:gd name="T16" fmla="*/ 2147483647 w 20"/>
              <a:gd name="T17" fmla="*/ 2147483647 h 14"/>
              <a:gd name="T18" fmla="*/ 2147483647 w 20"/>
              <a:gd name="T19" fmla="*/ 2147483647 h 14"/>
              <a:gd name="T20" fmla="*/ 2147483647 w 20"/>
              <a:gd name="T21" fmla="*/ 2147483647 h 14"/>
              <a:gd name="T22" fmla="*/ 2147483647 w 20"/>
              <a:gd name="T23" fmla="*/ 2147483647 h 14"/>
              <a:gd name="T24" fmla="*/ 2147483647 w 20"/>
              <a:gd name="T25" fmla="*/ 2147483647 h 14"/>
              <a:gd name="T26" fmla="*/ 2147483647 w 20"/>
              <a:gd name="T27" fmla="*/ 2147483647 h 14"/>
              <a:gd name="T28" fmla="*/ 2147483647 w 20"/>
              <a:gd name="T29" fmla="*/ 2147483647 h 14"/>
              <a:gd name="T30" fmla="*/ 2147483647 w 20"/>
              <a:gd name="T31" fmla="*/ 0 h 14"/>
              <a:gd name="T32" fmla="*/ 2147483647 w 20"/>
              <a:gd name="T33" fmla="*/ 0 h 1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20"/>
              <a:gd name="T52" fmla="*/ 0 h 14"/>
              <a:gd name="T53" fmla="*/ 20 w 20"/>
              <a:gd name="T54" fmla="*/ 14 h 14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20" h="14">
                <a:moveTo>
                  <a:pt x="14" y="0"/>
                </a:moveTo>
                <a:lnTo>
                  <a:pt x="14" y="0"/>
                </a:lnTo>
                <a:lnTo>
                  <a:pt x="8" y="3"/>
                </a:lnTo>
                <a:lnTo>
                  <a:pt x="2" y="5"/>
                </a:lnTo>
                <a:lnTo>
                  <a:pt x="0" y="8"/>
                </a:lnTo>
                <a:lnTo>
                  <a:pt x="2" y="11"/>
                </a:lnTo>
                <a:lnTo>
                  <a:pt x="8" y="11"/>
                </a:lnTo>
                <a:lnTo>
                  <a:pt x="17" y="14"/>
                </a:lnTo>
                <a:lnTo>
                  <a:pt x="20" y="8"/>
                </a:lnTo>
                <a:lnTo>
                  <a:pt x="20" y="3"/>
                </a:lnTo>
                <a:lnTo>
                  <a:pt x="17" y="3"/>
                </a:lnTo>
                <a:lnTo>
                  <a:pt x="14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09" name="Freeform 287"/>
          <p:cNvSpPr>
            <a:spLocks noChangeAspect="1"/>
          </p:cNvSpPr>
          <p:nvPr/>
        </p:nvSpPr>
        <p:spPr bwMode="gray">
          <a:xfrm>
            <a:off x="4408794" y="3693100"/>
            <a:ext cx="24004" cy="27001"/>
          </a:xfrm>
          <a:custGeom>
            <a:avLst/>
            <a:gdLst>
              <a:gd name="T0" fmla="*/ 0 w 3"/>
              <a:gd name="T1" fmla="*/ 0 h 5"/>
              <a:gd name="T2" fmla="*/ 0 w 3"/>
              <a:gd name="T3" fmla="*/ 2147483647 h 5"/>
              <a:gd name="T4" fmla="*/ 2147483647 w 3"/>
              <a:gd name="T5" fmla="*/ 2147483647 h 5"/>
              <a:gd name="T6" fmla="*/ 0 w 3"/>
              <a:gd name="T7" fmla="*/ 0 h 5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5"/>
              <a:gd name="T14" fmla="*/ 3 w 3"/>
              <a:gd name="T15" fmla="*/ 5 h 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5">
                <a:moveTo>
                  <a:pt x="0" y="0"/>
                </a:moveTo>
                <a:lnTo>
                  <a:pt x="0" y="5"/>
                </a:lnTo>
                <a:lnTo>
                  <a:pt x="3" y="5"/>
                </a:lnTo>
                <a:lnTo>
                  <a:pt x="0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10" name="Freeform 300"/>
          <p:cNvSpPr>
            <a:spLocks noChangeAspect="1"/>
          </p:cNvSpPr>
          <p:nvPr/>
        </p:nvSpPr>
        <p:spPr bwMode="gray">
          <a:xfrm>
            <a:off x="3928707" y="2448066"/>
            <a:ext cx="218040" cy="198005"/>
          </a:xfrm>
          <a:custGeom>
            <a:avLst/>
            <a:gdLst>
              <a:gd name="T0" fmla="*/ 2147483647 w 29"/>
              <a:gd name="T1" fmla="*/ 2147483647 h 35"/>
              <a:gd name="T2" fmla="*/ 2147483647 w 29"/>
              <a:gd name="T3" fmla="*/ 2147483647 h 35"/>
              <a:gd name="T4" fmla="*/ 2147483647 w 29"/>
              <a:gd name="T5" fmla="*/ 2147483647 h 35"/>
              <a:gd name="T6" fmla="*/ 0 w 29"/>
              <a:gd name="T7" fmla="*/ 2147483647 h 35"/>
              <a:gd name="T8" fmla="*/ 2147483647 w 29"/>
              <a:gd name="T9" fmla="*/ 2147483647 h 35"/>
              <a:gd name="T10" fmla="*/ 2147483647 w 29"/>
              <a:gd name="T11" fmla="*/ 2147483647 h 35"/>
              <a:gd name="T12" fmla="*/ 2147483647 w 29"/>
              <a:gd name="T13" fmla="*/ 2147483647 h 35"/>
              <a:gd name="T14" fmla="*/ 2147483647 w 29"/>
              <a:gd name="T15" fmla="*/ 2147483647 h 35"/>
              <a:gd name="T16" fmla="*/ 2147483647 w 29"/>
              <a:gd name="T17" fmla="*/ 2147483647 h 35"/>
              <a:gd name="T18" fmla="*/ 2147483647 w 29"/>
              <a:gd name="T19" fmla="*/ 0 h 35"/>
              <a:gd name="T20" fmla="*/ 2147483647 w 29"/>
              <a:gd name="T21" fmla="*/ 2147483647 h 35"/>
              <a:gd name="T22" fmla="*/ 2147483647 w 29"/>
              <a:gd name="T23" fmla="*/ 2147483647 h 35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29"/>
              <a:gd name="T37" fmla="*/ 0 h 35"/>
              <a:gd name="T38" fmla="*/ 29 w 29"/>
              <a:gd name="T39" fmla="*/ 35 h 35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29" h="35">
                <a:moveTo>
                  <a:pt x="15" y="15"/>
                </a:moveTo>
                <a:lnTo>
                  <a:pt x="9" y="18"/>
                </a:lnTo>
                <a:lnTo>
                  <a:pt x="9" y="23"/>
                </a:lnTo>
                <a:lnTo>
                  <a:pt x="0" y="35"/>
                </a:lnTo>
                <a:lnTo>
                  <a:pt x="9" y="32"/>
                </a:lnTo>
                <a:lnTo>
                  <a:pt x="12" y="21"/>
                </a:lnTo>
                <a:lnTo>
                  <a:pt x="18" y="15"/>
                </a:lnTo>
                <a:lnTo>
                  <a:pt x="23" y="12"/>
                </a:lnTo>
                <a:lnTo>
                  <a:pt x="29" y="6"/>
                </a:lnTo>
                <a:lnTo>
                  <a:pt x="29" y="0"/>
                </a:lnTo>
                <a:lnTo>
                  <a:pt x="15" y="9"/>
                </a:lnTo>
                <a:lnTo>
                  <a:pt x="15" y="15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11" name="Freeform 301"/>
          <p:cNvSpPr>
            <a:spLocks noChangeAspect="1"/>
          </p:cNvSpPr>
          <p:nvPr/>
        </p:nvSpPr>
        <p:spPr bwMode="gray">
          <a:xfrm>
            <a:off x="4078735" y="2662572"/>
            <a:ext cx="22003" cy="16500"/>
          </a:xfrm>
          <a:custGeom>
            <a:avLst/>
            <a:gdLst>
              <a:gd name="T0" fmla="*/ 2147483647 w 3"/>
              <a:gd name="T1" fmla="*/ 0 h 3"/>
              <a:gd name="T2" fmla="*/ 2147483647 w 3"/>
              <a:gd name="T3" fmla="*/ 0 h 3"/>
              <a:gd name="T4" fmla="*/ 0 w 3"/>
              <a:gd name="T5" fmla="*/ 2147483647 h 3"/>
              <a:gd name="T6" fmla="*/ 2147483647 w 3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3" y="0"/>
                </a:moveTo>
                <a:lnTo>
                  <a:pt x="3" y="0"/>
                </a:lnTo>
                <a:lnTo>
                  <a:pt x="0" y="3"/>
                </a:lnTo>
                <a:lnTo>
                  <a:pt x="3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12" name="Freeform 302"/>
          <p:cNvSpPr>
            <a:spLocks noChangeAspect="1"/>
          </p:cNvSpPr>
          <p:nvPr/>
        </p:nvSpPr>
        <p:spPr bwMode="gray">
          <a:xfrm>
            <a:off x="4100739" y="2646072"/>
            <a:ext cx="24004" cy="16501"/>
          </a:xfrm>
          <a:custGeom>
            <a:avLst/>
            <a:gdLst>
              <a:gd name="T0" fmla="*/ 0 w 3"/>
              <a:gd name="T1" fmla="*/ 0 h 3"/>
              <a:gd name="T2" fmla="*/ 0 w 3"/>
              <a:gd name="T3" fmla="*/ 2147483647 h 3"/>
              <a:gd name="T4" fmla="*/ 2147483647 w 3"/>
              <a:gd name="T5" fmla="*/ 0 h 3"/>
              <a:gd name="T6" fmla="*/ 0 w 3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0" y="0"/>
                </a:moveTo>
                <a:lnTo>
                  <a:pt x="0" y="3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13" name="Freeform 303"/>
          <p:cNvSpPr>
            <a:spLocks noChangeAspect="1"/>
          </p:cNvSpPr>
          <p:nvPr/>
        </p:nvSpPr>
        <p:spPr bwMode="gray">
          <a:xfrm>
            <a:off x="4062732" y="2568070"/>
            <a:ext cx="16003" cy="27001"/>
          </a:xfrm>
          <a:custGeom>
            <a:avLst/>
            <a:gdLst>
              <a:gd name="T0" fmla="*/ 2147483647 w 2"/>
              <a:gd name="T1" fmla="*/ 0 h 5"/>
              <a:gd name="T2" fmla="*/ 0 w 2"/>
              <a:gd name="T3" fmla="*/ 2147483647 h 5"/>
              <a:gd name="T4" fmla="*/ 0 w 2"/>
              <a:gd name="T5" fmla="*/ 2147483647 h 5"/>
              <a:gd name="T6" fmla="*/ 2147483647 w 2"/>
              <a:gd name="T7" fmla="*/ 2147483647 h 5"/>
              <a:gd name="T8" fmla="*/ 2147483647 w 2"/>
              <a:gd name="T9" fmla="*/ 0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"/>
              <a:gd name="T16" fmla="*/ 0 h 5"/>
              <a:gd name="T17" fmla="*/ 2 w 2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" h="5">
                <a:moveTo>
                  <a:pt x="2" y="0"/>
                </a:moveTo>
                <a:lnTo>
                  <a:pt x="0" y="2"/>
                </a:lnTo>
                <a:lnTo>
                  <a:pt x="0" y="5"/>
                </a:lnTo>
                <a:lnTo>
                  <a:pt x="2" y="5"/>
                </a:lnTo>
                <a:lnTo>
                  <a:pt x="2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996" name="Freeform 304"/>
          <p:cNvSpPr>
            <a:spLocks noChangeAspect="1"/>
          </p:cNvSpPr>
          <p:nvPr/>
        </p:nvSpPr>
        <p:spPr bwMode="gray">
          <a:xfrm>
            <a:off x="3566643" y="2815577"/>
            <a:ext cx="512092" cy="387010"/>
          </a:xfrm>
          <a:custGeom>
            <a:avLst/>
            <a:gdLst>
              <a:gd name="T0" fmla="*/ 0 w 68"/>
              <a:gd name="T1" fmla="*/ 2147483647 h 69"/>
              <a:gd name="T2" fmla="*/ 2147483647 w 68"/>
              <a:gd name="T3" fmla="*/ 2147483647 h 69"/>
              <a:gd name="T4" fmla="*/ 2147483647 w 68"/>
              <a:gd name="T5" fmla="*/ 2147483647 h 69"/>
              <a:gd name="T6" fmla="*/ 2147483647 w 68"/>
              <a:gd name="T7" fmla="*/ 2147483647 h 69"/>
              <a:gd name="T8" fmla="*/ 2147483647 w 68"/>
              <a:gd name="T9" fmla="*/ 2147483647 h 69"/>
              <a:gd name="T10" fmla="*/ 2147483647 w 68"/>
              <a:gd name="T11" fmla="*/ 2147483647 h 69"/>
              <a:gd name="T12" fmla="*/ 2147483647 w 68"/>
              <a:gd name="T13" fmla="*/ 2147483647 h 69"/>
              <a:gd name="T14" fmla="*/ 2147483647 w 68"/>
              <a:gd name="T15" fmla="*/ 2147483647 h 69"/>
              <a:gd name="T16" fmla="*/ 2147483647 w 68"/>
              <a:gd name="T17" fmla="*/ 2147483647 h 69"/>
              <a:gd name="T18" fmla="*/ 2147483647 w 68"/>
              <a:gd name="T19" fmla="*/ 2147483647 h 69"/>
              <a:gd name="T20" fmla="*/ 2147483647 w 68"/>
              <a:gd name="T21" fmla="*/ 2147483647 h 69"/>
              <a:gd name="T22" fmla="*/ 2147483647 w 68"/>
              <a:gd name="T23" fmla="*/ 2147483647 h 69"/>
              <a:gd name="T24" fmla="*/ 2147483647 w 68"/>
              <a:gd name="T25" fmla="*/ 2147483647 h 69"/>
              <a:gd name="T26" fmla="*/ 2147483647 w 68"/>
              <a:gd name="T27" fmla="*/ 2147483647 h 69"/>
              <a:gd name="T28" fmla="*/ 2147483647 w 68"/>
              <a:gd name="T29" fmla="*/ 2147483647 h 69"/>
              <a:gd name="T30" fmla="*/ 2147483647 w 68"/>
              <a:gd name="T31" fmla="*/ 2147483647 h 69"/>
              <a:gd name="T32" fmla="*/ 2147483647 w 68"/>
              <a:gd name="T33" fmla="*/ 2147483647 h 69"/>
              <a:gd name="T34" fmla="*/ 2147483647 w 68"/>
              <a:gd name="T35" fmla="*/ 2147483647 h 69"/>
              <a:gd name="T36" fmla="*/ 2147483647 w 68"/>
              <a:gd name="T37" fmla="*/ 2147483647 h 69"/>
              <a:gd name="T38" fmla="*/ 2147483647 w 68"/>
              <a:gd name="T39" fmla="*/ 0 h 69"/>
              <a:gd name="T40" fmla="*/ 2147483647 w 68"/>
              <a:gd name="T41" fmla="*/ 2147483647 h 69"/>
              <a:gd name="T42" fmla="*/ 2147483647 w 68"/>
              <a:gd name="T43" fmla="*/ 2147483647 h 69"/>
              <a:gd name="T44" fmla="*/ 2147483647 w 68"/>
              <a:gd name="T45" fmla="*/ 2147483647 h 69"/>
              <a:gd name="T46" fmla="*/ 2147483647 w 68"/>
              <a:gd name="T47" fmla="*/ 2147483647 h 69"/>
              <a:gd name="T48" fmla="*/ 2147483647 w 68"/>
              <a:gd name="T49" fmla="*/ 2147483647 h 69"/>
              <a:gd name="T50" fmla="*/ 2147483647 w 68"/>
              <a:gd name="T51" fmla="*/ 2147483647 h 69"/>
              <a:gd name="T52" fmla="*/ 2147483647 w 68"/>
              <a:gd name="T53" fmla="*/ 2147483647 h 69"/>
              <a:gd name="T54" fmla="*/ 2147483647 w 68"/>
              <a:gd name="T55" fmla="*/ 2147483647 h 69"/>
              <a:gd name="T56" fmla="*/ 2147483647 w 68"/>
              <a:gd name="T57" fmla="*/ 2147483647 h 69"/>
              <a:gd name="T58" fmla="*/ 2147483647 w 68"/>
              <a:gd name="T59" fmla="*/ 2147483647 h 69"/>
              <a:gd name="T60" fmla="*/ 2147483647 w 68"/>
              <a:gd name="T61" fmla="*/ 2147483647 h 69"/>
              <a:gd name="T62" fmla="*/ 2147483647 w 68"/>
              <a:gd name="T63" fmla="*/ 2147483647 h 69"/>
              <a:gd name="T64" fmla="*/ 2147483647 w 68"/>
              <a:gd name="T65" fmla="*/ 2147483647 h 69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68"/>
              <a:gd name="T100" fmla="*/ 0 h 69"/>
              <a:gd name="T101" fmla="*/ 68 w 68"/>
              <a:gd name="T102" fmla="*/ 69 h 69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68" h="69">
                <a:moveTo>
                  <a:pt x="8" y="48"/>
                </a:moveTo>
                <a:lnTo>
                  <a:pt x="0" y="57"/>
                </a:lnTo>
                <a:lnTo>
                  <a:pt x="5" y="66"/>
                </a:lnTo>
                <a:lnTo>
                  <a:pt x="11" y="60"/>
                </a:lnTo>
                <a:lnTo>
                  <a:pt x="11" y="66"/>
                </a:lnTo>
                <a:lnTo>
                  <a:pt x="20" y="69"/>
                </a:lnTo>
                <a:lnTo>
                  <a:pt x="31" y="66"/>
                </a:lnTo>
                <a:lnTo>
                  <a:pt x="40" y="60"/>
                </a:lnTo>
                <a:lnTo>
                  <a:pt x="45" y="57"/>
                </a:lnTo>
                <a:lnTo>
                  <a:pt x="48" y="54"/>
                </a:lnTo>
                <a:lnTo>
                  <a:pt x="57" y="54"/>
                </a:lnTo>
                <a:lnTo>
                  <a:pt x="60" y="54"/>
                </a:lnTo>
                <a:lnTo>
                  <a:pt x="66" y="43"/>
                </a:lnTo>
                <a:lnTo>
                  <a:pt x="68" y="37"/>
                </a:lnTo>
                <a:lnTo>
                  <a:pt x="66" y="31"/>
                </a:lnTo>
                <a:lnTo>
                  <a:pt x="66" y="23"/>
                </a:lnTo>
                <a:lnTo>
                  <a:pt x="63" y="20"/>
                </a:lnTo>
                <a:lnTo>
                  <a:pt x="57" y="20"/>
                </a:lnTo>
                <a:lnTo>
                  <a:pt x="57" y="17"/>
                </a:lnTo>
                <a:lnTo>
                  <a:pt x="54" y="20"/>
                </a:lnTo>
                <a:lnTo>
                  <a:pt x="45" y="23"/>
                </a:lnTo>
                <a:lnTo>
                  <a:pt x="40" y="20"/>
                </a:lnTo>
                <a:lnTo>
                  <a:pt x="40" y="17"/>
                </a:lnTo>
                <a:lnTo>
                  <a:pt x="40" y="14"/>
                </a:lnTo>
                <a:lnTo>
                  <a:pt x="43" y="8"/>
                </a:lnTo>
                <a:lnTo>
                  <a:pt x="48" y="5"/>
                </a:lnTo>
                <a:lnTo>
                  <a:pt x="48" y="0"/>
                </a:lnTo>
                <a:lnTo>
                  <a:pt x="40" y="0"/>
                </a:lnTo>
                <a:lnTo>
                  <a:pt x="37" y="2"/>
                </a:lnTo>
                <a:lnTo>
                  <a:pt x="31" y="8"/>
                </a:lnTo>
                <a:lnTo>
                  <a:pt x="34" y="11"/>
                </a:lnTo>
                <a:lnTo>
                  <a:pt x="34" y="14"/>
                </a:lnTo>
                <a:lnTo>
                  <a:pt x="34" y="17"/>
                </a:lnTo>
                <a:lnTo>
                  <a:pt x="28" y="17"/>
                </a:lnTo>
                <a:lnTo>
                  <a:pt x="20" y="17"/>
                </a:lnTo>
                <a:lnTo>
                  <a:pt x="14" y="17"/>
                </a:lnTo>
                <a:lnTo>
                  <a:pt x="11" y="20"/>
                </a:lnTo>
                <a:lnTo>
                  <a:pt x="11" y="23"/>
                </a:lnTo>
                <a:lnTo>
                  <a:pt x="11" y="28"/>
                </a:lnTo>
                <a:lnTo>
                  <a:pt x="14" y="34"/>
                </a:lnTo>
                <a:lnTo>
                  <a:pt x="20" y="37"/>
                </a:lnTo>
                <a:lnTo>
                  <a:pt x="22" y="37"/>
                </a:lnTo>
                <a:lnTo>
                  <a:pt x="17" y="43"/>
                </a:lnTo>
                <a:lnTo>
                  <a:pt x="11" y="46"/>
                </a:lnTo>
                <a:lnTo>
                  <a:pt x="20" y="46"/>
                </a:lnTo>
                <a:lnTo>
                  <a:pt x="14" y="51"/>
                </a:lnTo>
                <a:lnTo>
                  <a:pt x="8" y="4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315" name="Freeform 307"/>
          <p:cNvSpPr>
            <a:spLocks noChangeAspect="1"/>
          </p:cNvSpPr>
          <p:nvPr/>
        </p:nvSpPr>
        <p:spPr bwMode="gray">
          <a:xfrm>
            <a:off x="4016724" y="2646072"/>
            <a:ext cx="62012" cy="33001"/>
          </a:xfrm>
          <a:custGeom>
            <a:avLst/>
            <a:gdLst>
              <a:gd name="T0" fmla="*/ 0 w 8"/>
              <a:gd name="T1" fmla="*/ 2147483647 h 6"/>
              <a:gd name="T2" fmla="*/ 2147483647 w 8"/>
              <a:gd name="T3" fmla="*/ 2147483647 h 6"/>
              <a:gd name="T4" fmla="*/ 2147483647 w 8"/>
              <a:gd name="T5" fmla="*/ 2147483647 h 6"/>
              <a:gd name="T6" fmla="*/ 2147483647 w 8"/>
              <a:gd name="T7" fmla="*/ 0 h 6"/>
              <a:gd name="T8" fmla="*/ 2147483647 w 8"/>
              <a:gd name="T9" fmla="*/ 0 h 6"/>
              <a:gd name="T10" fmla="*/ 0 w 8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8"/>
              <a:gd name="T19" fmla="*/ 0 h 6"/>
              <a:gd name="T20" fmla="*/ 8 w 8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8" h="6">
                <a:moveTo>
                  <a:pt x="0" y="6"/>
                </a:moveTo>
                <a:lnTo>
                  <a:pt x="3" y="6"/>
                </a:lnTo>
                <a:lnTo>
                  <a:pt x="6" y="3"/>
                </a:lnTo>
                <a:lnTo>
                  <a:pt x="8" y="0"/>
                </a:lnTo>
                <a:lnTo>
                  <a:pt x="6" y="0"/>
                </a:lnTo>
                <a:lnTo>
                  <a:pt x="0" y="6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16" name="Freeform 308"/>
          <p:cNvSpPr>
            <a:spLocks noChangeAspect="1"/>
          </p:cNvSpPr>
          <p:nvPr/>
        </p:nvSpPr>
        <p:spPr bwMode="gray">
          <a:xfrm>
            <a:off x="4124743" y="3546096"/>
            <a:ext cx="44008" cy="34501"/>
          </a:xfrm>
          <a:custGeom>
            <a:avLst/>
            <a:gdLst>
              <a:gd name="T0" fmla="*/ 2147483647 w 6"/>
              <a:gd name="T1" fmla="*/ 0 h 6"/>
              <a:gd name="T2" fmla="*/ 0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6"/>
              <a:gd name="T14" fmla="*/ 6 w 6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6">
                <a:moveTo>
                  <a:pt x="6" y="0"/>
                </a:moveTo>
                <a:lnTo>
                  <a:pt x="0" y="3"/>
                </a:lnTo>
                <a:lnTo>
                  <a:pt x="6" y="6"/>
                </a:lnTo>
                <a:lnTo>
                  <a:pt x="6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17" name="Freeform 309"/>
          <p:cNvSpPr>
            <a:spLocks noChangeAspect="1"/>
          </p:cNvSpPr>
          <p:nvPr/>
        </p:nvSpPr>
        <p:spPr bwMode="gray">
          <a:xfrm>
            <a:off x="4100739" y="2595071"/>
            <a:ext cx="24004" cy="16501"/>
          </a:xfrm>
          <a:custGeom>
            <a:avLst/>
            <a:gdLst>
              <a:gd name="T0" fmla="*/ 0 w 3"/>
              <a:gd name="T1" fmla="*/ 2147483647 h 3"/>
              <a:gd name="T2" fmla="*/ 2147483647 w 3"/>
              <a:gd name="T3" fmla="*/ 0 h 3"/>
              <a:gd name="T4" fmla="*/ 0 w 3"/>
              <a:gd name="T5" fmla="*/ 2147483647 h 3"/>
              <a:gd name="T6" fmla="*/ 0 w 3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0" y="3"/>
                </a:move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18" name="Freeform 310"/>
          <p:cNvSpPr>
            <a:spLocks noChangeAspect="1"/>
          </p:cNvSpPr>
          <p:nvPr/>
        </p:nvSpPr>
        <p:spPr bwMode="gray">
          <a:xfrm>
            <a:off x="3890701" y="2797576"/>
            <a:ext cx="256046" cy="147004"/>
          </a:xfrm>
          <a:custGeom>
            <a:avLst/>
            <a:gdLst>
              <a:gd name="T0" fmla="*/ 0 w 34"/>
              <a:gd name="T1" fmla="*/ 2147483647 h 26"/>
              <a:gd name="T2" fmla="*/ 0 w 34"/>
              <a:gd name="T3" fmla="*/ 2147483647 h 26"/>
              <a:gd name="T4" fmla="*/ 2147483647 w 34"/>
              <a:gd name="T5" fmla="*/ 2147483647 h 26"/>
              <a:gd name="T6" fmla="*/ 2147483647 w 34"/>
              <a:gd name="T7" fmla="*/ 2147483647 h 26"/>
              <a:gd name="T8" fmla="*/ 2147483647 w 34"/>
              <a:gd name="T9" fmla="*/ 2147483647 h 26"/>
              <a:gd name="T10" fmla="*/ 2147483647 w 34"/>
              <a:gd name="T11" fmla="*/ 2147483647 h 26"/>
              <a:gd name="T12" fmla="*/ 2147483647 w 34"/>
              <a:gd name="T13" fmla="*/ 2147483647 h 26"/>
              <a:gd name="T14" fmla="*/ 2147483647 w 34"/>
              <a:gd name="T15" fmla="*/ 2147483647 h 26"/>
              <a:gd name="T16" fmla="*/ 2147483647 w 34"/>
              <a:gd name="T17" fmla="*/ 2147483647 h 26"/>
              <a:gd name="T18" fmla="*/ 2147483647 w 34"/>
              <a:gd name="T19" fmla="*/ 2147483647 h 26"/>
              <a:gd name="T20" fmla="*/ 2147483647 w 34"/>
              <a:gd name="T21" fmla="*/ 2147483647 h 26"/>
              <a:gd name="T22" fmla="*/ 2147483647 w 34"/>
              <a:gd name="T23" fmla="*/ 2147483647 h 26"/>
              <a:gd name="T24" fmla="*/ 2147483647 w 34"/>
              <a:gd name="T25" fmla="*/ 2147483647 h 26"/>
              <a:gd name="T26" fmla="*/ 2147483647 w 34"/>
              <a:gd name="T27" fmla="*/ 2147483647 h 26"/>
              <a:gd name="T28" fmla="*/ 2147483647 w 34"/>
              <a:gd name="T29" fmla="*/ 2147483647 h 26"/>
              <a:gd name="T30" fmla="*/ 2147483647 w 34"/>
              <a:gd name="T31" fmla="*/ 2147483647 h 26"/>
              <a:gd name="T32" fmla="*/ 2147483647 w 34"/>
              <a:gd name="T33" fmla="*/ 2147483647 h 26"/>
              <a:gd name="T34" fmla="*/ 2147483647 w 34"/>
              <a:gd name="T35" fmla="*/ 2147483647 h 26"/>
              <a:gd name="T36" fmla="*/ 2147483647 w 34"/>
              <a:gd name="T37" fmla="*/ 2147483647 h 26"/>
              <a:gd name="T38" fmla="*/ 2147483647 w 34"/>
              <a:gd name="T39" fmla="*/ 2147483647 h 26"/>
              <a:gd name="T40" fmla="*/ 2147483647 w 34"/>
              <a:gd name="T41" fmla="*/ 2147483647 h 26"/>
              <a:gd name="T42" fmla="*/ 2147483647 w 34"/>
              <a:gd name="T43" fmla="*/ 2147483647 h 26"/>
              <a:gd name="T44" fmla="*/ 2147483647 w 34"/>
              <a:gd name="T45" fmla="*/ 2147483647 h 26"/>
              <a:gd name="T46" fmla="*/ 2147483647 w 34"/>
              <a:gd name="T47" fmla="*/ 0 h 26"/>
              <a:gd name="T48" fmla="*/ 2147483647 w 34"/>
              <a:gd name="T49" fmla="*/ 2147483647 h 26"/>
              <a:gd name="T50" fmla="*/ 2147483647 w 34"/>
              <a:gd name="T51" fmla="*/ 0 h 26"/>
              <a:gd name="T52" fmla="*/ 2147483647 w 34"/>
              <a:gd name="T53" fmla="*/ 2147483647 h 26"/>
              <a:gd name="T54" fmla="*/ 2147483647 w 34"/>
              <a:gd name="T55" fmla="*/ 2147483647 h 26"/>
              <a:gd name="T56" fmla="*/ 2147483647 w 34"/>
              <a:gd name="T57" fmla="*/ 2147483647 h 26"/>
              <a:gd name="T58" fmla="*/ 0 w 34"/>
              <a:gd name="T59" fmla="*/ 2147483647 h 2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34"/>
              <a:gd name="T91" fmla="*/ 0 h 26"/>
              <a:gd name="T92" fmla="*/ 34 w 34"/>
              <a:gd name="T93" fmla="*/ 26 h 2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34" h="26">
                <a:moveTo>
                  <a:pt x="0" y="17"/>
                </a:moveTo>
                <a:lnTo>
                  <a:pt x="0" y="17"/>
                </a:lnTo>
                <a:lnTo>
                  <a:pt x="2" y="23"/>
                </a:lnTo>
                <a:lnTo>
                  <a:pt x="8" y="20"/>
                </a:lnTo>
                <a:lnTo>
                  <a:pt x="14" y="14"/>
                </a:lnTo>
                <a:lnTo>
                  <a:pt x="17" y="20"/>
                </a:lnTo>
                <a:lnTo>
                  <a:pt x="20" y="20"/>
                </a:lnTo>
                <a:lnTo>
                  <a:pt x="23" y="20"/>
                </a:lnTo>
                <a:lnTo>
                  <a:pt x="23" y="23"/>
                </a:lnTo>
                <a:lnTo>
                  <a:pt x="25" y="26"/>
                </a:lnTo>
                <a:lnTo>
                  <a:pt x="31" y="20"/>
                </a:lnTo>
                <a:lnTo>
                  <a:pt x="34" y="20"/>
                </a:lnTo>
                <a:lnTo>
                  <a:pt x="34" y="17"/>
                </a:lnTo>
                <a:lnTo>
                  <a:pt x="34" y="8"/>
                </a:lnTo>
                <a:lnTo>
                  <a:pt x="25" y="0"/>
                </a:lnTo>
                <a:lnTo>
                  <a:pt x="17" y="3"/>
                </a:lnTo>
                <a:lnTo>
                  <a:pt x="11" y="0"/>
                </a:lnTo>
                <a:lnTo>
                  <a:pt x="8" y="3"/>
                </a:lnTo>
                <a:lnTo>
                  <a:pt x="8" y="8"/>
                </a:lnTo>
                <a:lnTo>
                  <a:pt x="2" y="14"/>
                </a:lnTo>
                <a:lnTo>
                  <a:pt x="0" y="17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19" name="Freeform 312"/>
          <p:cNvSpPr>
            <a:spLocks noChangeAspect="1"/>
          </p:cNvSpPr>
          <p:nvPr/>
        </p:nvSpPr>
        <p:spPr bwMode="gray">
          <a:xfrm>
            <a:off x="4302775" y="3624098"/>
            <a:ext cx="46008" cy="33001"/>
          </a:xfrm>
          <a:custGeom>
            <a:avLst/>
            <a:gdLst>
              <a:gd name="T0" fmla="*/ 2147483647 w 6"/>
              <a:gd name="T1" fmla="*/ 0 h 6"/>
              <a:gd name="T2" fmla="*/ 0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6"/>
              <a:gd name="T14" fmla="*/ 6 w 6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6">
                <a:moveTo>
                  <a:pt x="6" y="0"/>
                </a:moveTo>
                <a:lnTo>
                  <a:pt x="0" y="6"/>
                </a:lnTo>
                <a:lnTo>
                  <a:pt x="6" y="6"/>
                </a:lnTo>
                <a:lnTo>
                  <a:pt x="6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20" name="Freeform 313"/>
          <p:cNvSpPr>
            <a:spLocks noChangeAspect="1"/>
          </p:cNvSpPr>
          <p:nvPr/>
        </p:nvSpPr>
        <p:spPr bwMode="gray">
          <a:xfrm>
            <a:off x="3584646" y="4035110"/>
            <a:ext cx="1460263" cy="844523"/>
          </a:xfrm>
          <a:custGeom>
            <a:avLst/>
            <a:gdLst>
              <a:gd name="T0" fmla="*/ 2147483647 w 193"/>
              <a:gd name="T1" fmla="*/ 2147483647 h 149"/>
              <a:gd name="T2" fmla="*/ 2147483647 w 193"/>
              <a:gd name="T3" fmla="*/ 2147483647 h 149"/>
              <a:gd name="T4" fmla="*/ 2147483647 w 193"/>
              <a:gd name="T5" fmla="*/ 0 h 149"/>
              <a:gd name="T6" fmla="*/ 2147483647 w 193"/>
              <a:gd name="T7" fmla="*/ 0 h 149"/>
              <a:gd name="T8" fmla="*/ 2147483647 w 193"/>
              <a:gd name="T9" fmla="*/ 2147483647 h 149"/>
              <a:gd name="T10" fmla="*/ 2147483647 w 193"/>
              <a:gd name="T11" fmla="*/ 2147483647 h 149"/>
              <a:gd name="T12" fmla="*/ 0 w 193"/>
              <a:gd name="T13" fmla="*/ 2147483647 h 149"/>
              <a:gd name="T14" fmla="*/ 2147483647 w 193"/>
              <a:gd name="T15" fmla="*/ 2147483647 h 149"/>
              <a:gd name="T16" fmla="*/ 2147483647 w 193"/>
              <a:gd name="T17" fmla="*/ 2147483647 h 149"/>
              <a:gd name="T18" fmla="*/ 2147483647 w 193"/>
              <a:gd name="T19" fmla="*/ 2147483647 h 149"/>
              <a:gd name="T20" fmla="*/ 2147483647 w 193"/>
              <a:gd name="T21" fmla="*/ 2147483647 h 149"/>
              <a:gd name="T22" fmla="*/ 2147483647 w 193"/>
              <a:gd name="T23" fmla="*/ 2147483647 h 149"/>
              <a:gd name="T24" fmla="*/ 2147483647 w 193"/>
              <a:gd name="T25" fmla="*/ 2147483647 h 149"/>
              <a:gd name="T26" fmla="*/ 2147483647 w 193"/>
              <a:gd name="T27" fmla="*/ 2147483647 h 149"/>
              <a:gd name="T28" fmla="*/ 2147483647 w 193"/>
              <a:gd name="T29" fmla="*/ 2147483647 h 149"/>
              <a:gd name="T30" fmla="*/ 2147483647 w 193"/>
              <a:gd name="T31" fmla="*/ 2147483647 h 149"/>
              <a:gd name="T32" fmla="*/ 2147483647 w 193"/>
              <a:gd name="T33" fmla="*/ 2147483647 h 149"/>
              <a:gd name="T34" fmla="*/ 2147483647 w 193"/>
              <a:gd name="T35" fmla="*/ 2147483647 h 149"/>
              <a:gd name="T36" fmla="*/ 2147483647 w 193"/>
              <a:gd name="T37" fmla="*/ 2147483647 h 149"/>
              <a:gd name="T38" fmla="*/ 2147483647 w 193"/>
              <a:gd name="T39" fmla="*/ 2147483647 h 149"/>
              <a:gd name="T40" fmla="*/ 2147483647 w 193"/>
              <a:gd name="T41" fmla="*/ 2147483647 h 149"/>
              <a:gd name="T42" fmla="*/ 2147483647 w 193"/>
              <a:gd name="T43" fmla="*/ 2147483647 h 149"/>
              <a:gd name="T44" fmla="*/ 2147483647 w 193"/>
              <a:gd name="T45" fmla="*/ 2147483647 h 149"/>
              <a:gd name="T46" fmla="*/ 2147483647 w 193"/>
              <a:gd name="T47" fmla="*/ 2147483647 h 149"/>
              <a:gd name="T48" fmla="*/ 2147483647 w 193"/>
              <a:gd name="T49" fmla="*/ 2147483647 h 149"/>
              <a:gd name="T50" fmla="*/ 2147483647 w 193"/>
              <a:gd name="T51" fmla="*/ 2147483647 h 149"/>
              <a:gd name="T52" fmla="*/ 2147483647 w 193"/>
              <a:gd name="T53" fmla="*/ 2147483647 h 149"/>
              <a:gd name="T54" fmla="*/ 2147483647 w 193"/>
              <a:gd name="T55" fmla="*/ 2147483647 h 149"/>
              <a:gd name="T56" fmla="*/ 2147483647 w 193"/>
              <a:gd name="T57" fmla="*/ 2147483647 h 149"/>
              <a:gd name="T58" fmla="*/ 2147483647 w 193"/>
              <a:gd name="T59" fmla="*/ 2147483647 h 149"/>
              <a:gd name="T60" fmla="*/ 2147483647 w 193"/>
              <a:gd name="T61" fmla="*/ 2147483647 h 149"/>
              <a:gd name="T62" fmla="*/ 2147483647 w 193"/>
              <a:gd name="T63" fmla="*/ 2147483647 h 149"/>
              <a:gd name="T64" fmla="*/ 2147483647 w 193"/>
              <a:gd name="T65" fmla="*/ 2147483647 h 149"/>
              <a:gd name="T66" fmla="*/ 2147483647 w 193"/>
              <a:gd name="T67" fmla="*/ 2147483647 h 149"/>
              <a:gd name="T68" fmla="*/ 2147483647 w 193"/>
              <a:gd name="T69" fmla="*/ 2147483647 h 149"/>
              <a:gd name="T70" fmla="*/ 2147483647 w 193"/>
              <a:gd name="T71" fmla="*/ 2147483647 h 149"/>
              <a:gd name="T72" fmla="*/ 2147483647 w 193"/>
              <a:gd name="T73" fmla="*/ 2147483647 h 149"/>
              <a:gd name="T74" fmla="*/ 2147483647 w 193"/>
              <a:gd name="T75" fmla="*/ 2147483647 h 149"/>
              <a:gd name="T76" fmla="*/ 2147483647 w 193"/>
              <a:gd name="T77" fmla="*/ 2147483647 h 149"/>
              <a:gd name="T78" fmla="*/ 2147483647 w 193"/>
              <a:gd name="T79" fmla="*/ 2147483647 h 149"/>
              <a:gd name="T80" fmla="*/ 2147483647 w 193"/>
              <a:gd name="T81" fmla="*/ 2147483647 h 149"/>
              <a:gd name="T82" fmla="*/ 2147483647 w 193"/>
              <a:gd name="T83" fmla="*/ 2147483647 h 149"/>
              <a:gd name="T84" fmla="*/ 2147483647 w 193"/>
              <a:gd name="T85" fmla="*/ 2147483647 h 149"/>
              <a:gd name="T86" fmla="*/ 2147483647 w 193"/>
              <a:gd name="T87" fmla="*/ 2147483647 h 149"/>
              <a:gd name="T88" fmla="*/ 2147483647 w 193"/>
              <a:gd name="T89" fmla="*/ 2147483647 h 149"/>
              <a:gd name="T90" fmla="*/ 2147483647 w 193"/>
              <a:gd name="T91" fmla="*/ 2147483647 h 149"/>
              <a:gd name="T92" fmla="*/ 2147483647 w 193"/>
              <a:gd name="T93" fmla="*/ 2147483647 h 149"/>
              <a:gd name="T94" fmla="*/ 2147483647 w 193"/>
              <a:gd name="T95" fmla="*/ 2147483647 h 149"/>
              <a:gd name="T96" fmla="*/ 2147483647 w 193"/>
              <a:gd name="T97" fmla="*/ 2147483647 h 149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193"/>
              <a:gd name="T148" fmla="*/ 0 h 149"/>
              <a:gd name="T149" fmla="*/ 193 w 193"/>
              <a:gd name="T150" fmla="*/ 149 h 149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193" h="149">
                <a:moveTo>
                  <a:pt x="58" y="3"/>
                </a:moveTo>
                <a:lnTo>
                  <a:pt x="58" y="3"/>
                </a:lnTo>
                <a:lnTo>
                  <a:pt x="52" y="3"/>
                </a:lnTo>
                <a:lnTo>
                  <a:pt x="49" y="3"/>
                </a:lnTo>
                <a:lnTo>
                  <a:pt x="38" y="3"/>
                </a:lnTo>
                <a:lnTo>
                  <a:pt x="32" y="3"/>
                </a:lnTo>
                <a:lnTo>
                  <a:pt x="29" y="0"/>
                </a:lnTo>
                <a:lnTo>
                  <a:pt x="26" y="0"/>
                </a:lnTo>
                <a:lnTo>
                  <a:pt x="23" y="0"/>
                </a:lnTo>
                <a:lnTo>
                  <a:pt x="20" y="0"/>
                </a:lnTo>
                <a:lnTo>
                  <a:pt x="15" y="6"/>
                </a:lnTo>
                <a:lnTo>
                  <a:pt x="12" y="9"/>
                </a:lnTo>
                <a:lnTo>
                  <a:pt x="3" y="9"/>
                </a:lnTo>
                <a:lnTo>
                  <a:pt x="0" y="11"/>
                </a:lnTo>
                <a:lnTo>
                  <a:pt x="0" y="14"/>
                </a:lnTo>
                <a:lnTo>
                  <a:pt x="0" y="20"/>
                </a:lnTo>
                <a:lnTo>
                  <a:pt x="6" y="26"/>
                </a:lnTo>
                <a:lnTo>
                  <a:pt x="6" y="29"/>
                </a:lnTo>
                <a:lnTo>
                  <a:pt x="3" y="29"/>
                </a:lnTo>
                <a:lnTo>
                  <a:pt x="3" y="32"/>
                </a:lnTo>
                <a:lnTo>
                  <a:pt x="3" y="34"/>
                </a:lnTo>
                <a:lnTo>
                  <a:pt x="15" y="29"/>
                </a:lnTo>
                <a:lnTo>
                  <a:pt x="15" y="32"/>
                </a:lnTo>
                <a:lnTo>
                  <a:pt x="18" y="37"/>
                </a:lnTo>
                <a:lnTo>
                  <a:pt x="20" y="34"/>
                </a:lnTo>
                <a:lnTo>
                  <a:pt x="23" y="34"/>
                </a:lnTo>
                <a:lnTo>
                  <a:pt x="26" y="37"/>
                </a:lnTo>
                <a:lnTo>
                  <a:pt x="29" y="34"/>
                </a:lnTo>
                <a:lnTo>
                  <a:pt x="41" y="34"/>
                </a:lnTo>
                <a:lnTo>
                  <a:pt x="46" y="43"/>
                </a:lnTo>
                <a:lnTo>
                  <a:pt x="38" y="52"/>
                </a:lnTo>
                <a:lnTo>
                  <a:pt x="35" y="63"/>
                </a:lnTo>
                <a:lnTo>
                  <a:pt x="32" y="69"/>
                </a:lnTo>
                <a:lnTo>
                  <a:pt x="32" y="75"/>
                </a:lnTo>
                <a:lnTo>
                  <a:pt x="23" y="80"/>
                </a:lnTo>
                <a:lnTo>
                  <a:pt x="29" y="92"/>
                </a:lnTo>
                <a:lnTo>
                  <a:pt x="26" y="100"/>
                </a:lnTo>
                <a:lnTo>
                  <a:pt x="29" y="109"/>
                </a:lnTo>
                <a:lnTo>
                  <a:pt x="20" y="118"/>
                </a:lnTo>
                <a:lnTo>
                  <a:pt x="20" y="121"/>
                </a:lnTo>
                <a:lnTo>
                  <a:pt x="23" y="126"/>
                </a:lnTo>
                <a:lnTo>
                  <a:pt x="26" y="126"/>
                </a:lnTo>
                <a:lnTo>
                  <a:pt x="32" y="129"/>
                </a:lnTo>
                <a:lnTo>
                  <a:pt x="35" y="135"/>
                </a:lnTo>
                <a:lnTo>
                  <a:pt x="38" y="141"/>
                </a:lnTo>
                <a:lnTo>
                  <a:pt x="41" y="146"/>
                </a:lnTo>
                <a:lnTo>
                  <a:pt x="46" y="149"/>
                </a:lnTo>
                <a:lnTo>
                  <a:pt x="55" y="146"/>
                </a:lnTo>
                <a:lnTo>
                  <a:pt x="66" y="138"/>
                </a:lnTo>
                <a:lnTo>
                  <a:pt x="72" y="138"/>
                </a:lnTo>
                <a:lnTo>
                  <a:pt x="84" y="135"/>
                </a:lnTo>
                <a:lnTo>
                  <a:pt x="95" y="138"/>
                </a:lnTo>
                <a:lnTo>
                  <a:pt x="101" y="135"/>
                </a:lnTo>
                <a:lnTo>
                  <a:pt x="104" y="135"/>
                </a:lnTo>
                <a:lnTo>
                  <a:pt x="109" y="132"/>
                </a:lnTo>
                <a:lnTo>
                  <a:pt x="112" y="126"/>
                </a:lnTo>
                <a:lnTo>
                  <a:pt x="118" y="121"/>
                </a:lnTo>
                <a:lnTo>
                  <a:pt x="127" y="121"/>
                </a:lnTo>
                <a:lnTo>
                  <a:pt x="130" y="112"/>
                </a:lnTo>
                <a:lnTo>
                  <a:pt x="130" y="109"/>
                </a:lnTo>
                <a:lnTo>
                  <a:pt x="135" y="103"/>
                </a:lnTo>
                <a:lnTo>
                  <a:pt x="144" y="98"/>
                </a:lnTo>
                <a:lnTo>
                  <a:pt x="141" y="92"/>
                </a:lnTo>
                <a:lnTo>
                  <a:pt x="138" y="89"/>
                </a:lnTo>
                <a:lnTo>
                  <a:pt x="135" y="86"/>
                </a:lnTo>
                <a:lnTo>
                  <a:pt x="138" y="77"/>
                </a:lnTo>
                <a:lnTo>
                  <a:pt x="144" y="69"/>
                </a:lnTo>
                <a:lnTo>
                  <a:pt x="153" y="63"/>
                </a:lnTo>
                <a:lnTo>
                  <a:pt x="155" y="60"/>
                </a:lnTo>
                <a:lnTo>
                  <a:pt x="155" y="57"/>
                </a:lnTo>
                <a:lnTo>
                  <a:pt x="155" y="54"/>
                </a:lnTo>
                <a:lnTo>
                  <a:pt x="167" y="49"/>
                </a:lnTo>
                <a:lnTo>
                  <a:pt x="181" y="43"/>
                </a:lnTo>
                <a:lnTo>
                  <a:pt x="193" y="37"/>
                </a:lnTo>
                <a:lnTo>
                  <a:pt x="190" y="29"/>
                </a:lnTo>
                <a:lnTo>
                  <a:pt x="193" y="29"/>
                </a:lnTo>
                <a:lnTo>
                  <a:pt x="190" y="26"/>
                </a:lnTo>
                <a:lnTo>
                  <a:pt x="181" y="29"/>
                </a:lnTo>
                <a:lnTo>
                  <a:pt x="178" y="26"/>
                </a:lnTo>
                <a:lnTo>
                  <a:pt x="176" y="29"/>
                </a:lnTo>
                <a:lnTo>
                  <a:pt x="173" y="26"/>
                </a:lnTo>
                <a:lnTo>
                  <a:pt x="170" y="29"/>
                </a:lnTo>
                <a:lnTo>
                  <a:pt x="167" y="29"/>
                </a:lnTo>
                <a:lnTo>
                  <a:pt x="164" y="29"/>
                </a:lnTo>
                <a:lnTo>
                  <a:pt x="161" y="20"/>
                </a:lnTo>
                <a:lnTo>
                  <a:pt x="158" y="14"/>
                </a:lnTo>
                <a:lnTo>
                  <a:pt x="155" y="20"/>
                </a:lnTo>
                <a:lnTo>
                  <a:pt x="141" y="20"/>
                </a:lnTo>
                <a:lnTo>
                  <a:pt x="138" y="17"/>
                </a:lnTo>
                <a:lnTo>
                  <a:pt x="135" y="17"/>
                </a:lnTo>
                <a:lnTo>
                  <a:pt x="124" y="17"/>
                </a:lnTo>
                <a:lnTo>
                  <a:pt x="118" y="11"/>
                </a:lnTo>
                <a:lnTo>
                  <a:pt x="112" y="9"/>
                </a:lnTo>
                <a:lnTo>
                  <a:pt x="104" y="9"/>
                </a:lnTo>
                <a:lnTo>
                  <a:pt x="98" y="9"/>
                </a:lnTo>
                <a:lnTo>
                  <a:pt x="92" y="6"/>
                </a:lnTo>
                <a:lnTo>
                  <a:pt x="87" y="6"/>
                </a:lnTo>
                <a:lnTo>
                  <a:pt x="84" y="6"/>
                </a:lnTo>
                <a:lnTo>
                  <a:pt x="75" y="6"/>
                </a:lnTo>
                <a:lnTo>
                  <a:pt x="69" y="3"/>
                </a:lnTo>
                <a:lnTo>
                  <a:pt x="61" y="3"/>
                </a:lnTo>
                <a:lnTo>
                  <a:pt x="58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21" name="Freeform 314"/>
          <p:cNvSpPr>
            <a:spLocks noChangeAspect="1"/>
          </p:cNvSpPr>
          <p:nvPr/>
        </p:nvSpPr>
        <p:spPr bwMode="gray">
          <a:xfrm>
            <a:off x="4100739" y="2551569"/>
            <a:ext cx="24004" cy="16500"/>
          </a:xfrm>
          <a:custGeom>
            <a:avLst/>
            <a:gdLst>
              <a:gd name="T0" fmla="*/ 0 w 3"/>
              <a:gd name="T1" fmla="*/ 0 h 3"/>
              <a:gd name="T2" fmla="*/ 0 w 3"/>
              <a:gd name="T3" fmla="*/ 0 h 3"/>
              <a:gd name="T4" fmla="*/ 0 w 3"/>
              <a:gd name="T5" fmla="*/ 2147483647 h 3"/>
              <a:gd name="T6" fmla="*/ 2147483647 w 3"/>
              <a:gd name="T7" fmla="*/ 0 h 3"/>
              <a:gd name="T8" fmla="*/ 0 w 3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0" y="0"/>
                </a:moveTo>
                <a:lnTo>
                  <a:pt x="0" y="0"/>
                </a:lnTo>
                <a:lnTo>
                  <a:pt x="0" y="3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22" name="Freeform 315"/>
          <p:cNvSpPr>
            <a:spLocks noChangeAspect="1"/>
          </p:cNvSpPr>
          <p:nvPr/>
        </p:nvSpPr>
        <p:spPr bwMode="gray">
          <a:xfrm>
            <a:off x="4078735" y="2578571"/>
            <a:ext cx="46008" cy="33001"/>
          </a:xfrm>
          <a:custGeom>
            <a:avLst/>
            <a:gdLst>
              <a:gd name="T0" fmla="*/ 0 w 6"/>
              <a:gd name="T1" fmla="*/ 0 h 6"/>
              <a:gd name="T2" fmla="*/ 0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w 6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0" y="0"/>
                </a:moveTo>
                <a:lnTo>
                  <a:pt x="0" y="6"/>
                </a:lnTo>
                <a:lnTo>
                  <a:pt x="6" y="3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23" name="Rectangle 316"/>
          <p:cNvSpPr>
            <a:spLocks noChangeAspect="1" noChangeArrowheads="1"/>
          </p:cNvSpPr>
          <p:nvPr/>
        </p:nvSpPr>
        <p:spPr bwMode="gray">
          <a:xfrm>
            <a:off x="4078735" y="2611571"/>
            <a:ext cx="22003" cy="18000"/>
          </a:xfrm>
          <a:prstGeom prst="rect">
            <a:avLst/>
          </a:pr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24" name="Rectangle 317"/>
          <p:cNvSpPr>
            <a:spLocks noChangeAspect="1" noChangeArrowheads="1"/>
          </p:cNvSpPr>
          <p:nvPr/>
        </p:nvSpPr>
        <p:spPr bwMode="gray">
          <a:xfrm>
            <a:off x="4124743" y="2568070"/>
            <a:ext cx="22005" cy="27001"/>
          </a:xfrm>
          <a:prstGeom prst="rect">
            <a:avLst/>
          </a:pr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25" name="Freeform 220"/>
          <p:cNvSpPr>
            <a:spLocks noChangeAspect="1"/>
          </p:cNvSpPr>
          <p:nvPr/>
        </p:nvSpPr>
        <p:spPr bwMode="gray">
          <a:xfrm>
            <a:off x="6147108" y="4638125"/>
            <a:ext cx="376068" cy="180005"/>
          </a:xfrm>
          <a:custGeom>
            <a:avLst/>
            <a:gdLst>
              <a:gd name="T0" fmla="*/ 2147483647 w 49"/>
              <a:gd name="T1" fmla="*/ 2147483647 h 32"/>
              <a:gd name="T2" fmla="*/ 2147483647 w 49"/>
              <a:gd name="T3" fmla="*/ 2147483647 h 32"/>
              <a:gd name="T4" fmla="*/ 2147483647 w 49"/>
              <a:gd name="T5" fmla="*/ 2147483647 h 32"/>
              <a:gd name="T6" fmla="*/ 2147483647 w 49"/>
              <a:gd name="T7" fmla="*/ 2147483647 h 32"/>
              <a:gd name="T8" fmla="*/ 2147483647 w 49"/>
              <a:gd name="T9" fmla="*/ 2147483647 h 32"/>
              <a:gd name="T10" fmla="*/ 2147483647 w 49"/>
              <a:gd name="T11" fmla="*/ 2147483647 h 32"/>
              <a:gd name="T12" fmla="*/ 2147483647 w 49"/>
              <a:gd name="T13" fmla="*/ 0 h 32"/>
              <a:gd name="T14" fmla="*/ 2147483647 w 49"/>
              <a:gd name="T15" fmla="*/ 2147483647 h 32"/>
              <a:gd name="T16" fmla="*/ 2147483647 w 49"/>
              <a:gd name="T17" fmla="*/ 2147483647 h 32"/>
              <a:gd name="T18" fmla="*/ 2147483647 w 49"/>
              <a:gd name="T19" fmla="*/ 2147483647 h 32"/>
              <a:gd name="T20" fmla="*/ 2147483647 w 49"/>
              <a:gd name="T21" fmla="*/ 0 h 32"/>
              <a:gd name="T22" fmla="*/ 2147483647 w 49"/>
              <a:gd name="T23" fmla="*/ 0 h 32"/>
              <a:gd name="T24" fmla="*/ 0 w 49"/>
              <a:gd name="T25" fmla="*/ 2147483647 h 32"/>
              <a:gd name="T26" fmla="*/ 0 w 49"/>
              <a:gd name="T27" fmla="*/ 2147483647 h 32"/>
              <a:gd name="T28" fmla="*/ 0 w 49"/>
              <a:gd name="T29" fmla="*/ 2147483647 h 32"/>
              <a:gd name="T30" fmla="*/ 0 w 49"/>
              <a:gd name="T31" fmla="*/ 2147483647 h 32"/>
              <a:gd name="T32" fmla="*/ 2147483647 w 49"/>
              <a:gd name="T33" fmla="*/ 2147483647 h 32"/>
              <a:gd name="T34" fmla="*/ 2147483647 w 49"/>
              <a:gd name="T35" fmla="*/ 2147483647 h 32"/>
              <a:gd name="T36" fmla="*/ 2147483647 w 49"/>
              <a:gd name="T37" fmla="*/ 2147483647 h 32"/>
              <a:gd name="T38" fmla="*/ 2147483647 w 49"/>
              <a:gd name="T39" fmla="*/ 2147483647 h 32"/>
              <a:gd name="T40" fmla="*/ 2147483647 w 49"/>
              <a:gd name="T41" fmla="*/ 2147483647 h 32"/>
              <a:gd name="T42" fmla="*/ 2147483647 w 49"/>
              <a:gd name="T43" fmla="*/ 2147483647 h 32"/>
              <a:gd name="T44" fmla="*/ 2147483647 w 49"/>
              <a:gd name="T45" fmla="*/ 2147483647 h 32"/>
              <a:gd name="T46" fmla="*/ 2147483647 w 49"/>
              <a:gd name="T47" fmla="*/ 2147483647 h 32"/>
              <a:gd name="T48" fmla="*/ 2147483647 w 49"/>
              <a:gd name="T49" fmla="*/ 2147483647 h 32"/>
              <a:gd name="T50" fmla="*/ 2147483647 w 49"/>
              <a:gd name="T51" fmla="*/ 2147483647 h 32"/>
              <a:gd name="T52" fmla="*/ 2147483647 w 49"/>
              <a:gd name="T53" fmla="*/ 2147483647 h 32"/>
              <a:gd name="T54" fmla="*/ 2147483647 w 49"/>
              <a:gd name="T55" fmla="*/ 2147483647 h 32"/>
              <a:gd name="T56" fmla="*/ 2147483647 w 49"/>
              <a:gd name="T57" fmla="*/ 2147483647 h 32"/>
              <a:gd name="T58" fmla="*/ 2147483647 w 49"/>
              <a:gd name="T59" fmla="*/ 2147483647 h 32"/>
              <a:gd name="T60" fmla="*/ 2147483647 w 49"/>
              <a:gd name="T61" fmla="*/ 2147483647 h 32"/>
              <a:gd name="T62" fmla="*/ 2147483647 w 49"/>
              <a:gd name="T63" fmla="*/ 2147483647 h 32"/>
              <a:gd name="T64" fmla="*/ 2147483647 w 49"/>
              <a:gd name="T65" fmla="*/ 2147483647 h 32"/>
              <a:gd name="T66" fmla="*/ 2147483647 w 49"/>
              <a:gd name="T67" fmla="*/ 2147483647 h 32"/>
              <a:gd name="T68" fmla="*/ 2147483647 w 49"/>
              <a:gd name="T69" fmla="*/ 2147483647 h 32"/>
              <a:gd name="T70" fmla="*/ 2147483647 w 49"/>
              <a:gd name="T71" fmla="*/ 2147483647 h 32"/>
              <a:gd name="T72" fmla="*/ 2147483647 w 49"/>
              <a:gd name="T73" fmla="*/ 0 h 32"/>
              <a:gd name="T74" fmla="*/ 2147483647 w 49"/>
              <a:gd name="T75" fmla="*/ 0 h 32"/>
              <a:gd name="T76" fmla="*/ 2147483647 w 49"/>
              <a:gd name="T77" fmla="*/ 0 h 32"/>
              <a:gd name="T78" fmla="*/ 2147483647 w 49"/>
              <a:gd name="T79" fmla="*/ 2147483647 h 32"/>
              <a:gd name="T80" fmla="*/ 2147483647 w 49"/>
              <a:gd name="T81" fmla="*/ 2147483647 h 32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49"/>
              <a:gd name="T124" fmla="*/ 0 h 32"/>
              <a:gd name="T125" fmla="*/ 49 w 49"/>
              <a:gd name="T126" fmla="*/ 32 h 32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49" h="32">
                <a:moveTo>
                  <a:pt x="37" y="3"/>
                </a:moveTo>
                <a:lnTo>
                  <a:pt x="37" y="3"/>
                </a:lnTo>
                <a:lnTo>
                  <a:pt x="35" y="6"/>
                </a:lnTo>
                <a:lnTo>
                  <a:pt x="29" y="6"/>
                </a:lnTo>
                <a:lnTo>
                  <a:pt x="17" y="3"/>
                </a:lnTo>
                <a:lnTo>
                  <a:pt x="12" y="0"/>
                </a:lnTo>
                <a:lnTo>
                  <a:pt x="9" y="6"/>
                </a:lnTo>
                <a:lnTo>
                  <a:pt x="6" y="3"/>
                </a:lnTo>
                <a:lnTo>
                  <a:pt x="6" y="0"/>
                </a:lnTo>
                <a:lnTo>
                  <a:pt x="0" y="6"/>
                </a:lnTo>
                <a:lnTo>
                  <a:pt x="0" y="9"/>
                </a:lnTo>
                <a:lnTo>
                  <a:pt x="0" y="12"/>
                </a:lnTo>
                <a:lnTo>
                  <a:pt x="9" y="15"/>
                </a:lnTo>
                <a:lnTo>
                  <a:pt x="17" y="20"/>
                </a:lnTo>
                <a:lnTo>
                  <a:pt x="20" y="20"/>
                </a:lnTo>
                <a:lnTo>
                  <a:pt x="23" y="23"/>
                </a:lnTo>
                <a:lnTo>
                  <a:pt x="26" y="23"/>
                </a:lnTo>
                <a:lnTo>
                  <a:pt x="29" y="23"/>
                </a:lnTo>
                <a:lnTo>
                  <a:pt x="32" y="29"/>
                </a:lnTo>
                <a:lnTo>
                  <a:pt x="37" y="32"/>
                </a:lnTo>
                <a:lnTo>
                  <a:pt x="43" y="29"/>
                </a:lnTo>
                <a:lnTo>
                  <a:pt x="46" y="26"/>
                </a:lnTo>
                <a:lnTo>
                  <a:pt x="43" y="20"/>
                </a:lnTo>
                <a:lnTo>
                  <a:pt x="46" y="15"/>
                </a:lnTo>
                <a:lnTo>
                  <a:pt x="46" y="6"/>
                </a:lnTo>
                <a:lnTo>
                  <a:pt x="49" y="3"/>
                </a:lnTo>
                <a:lnTo>
                  <a:pt x="46" y="0"/>
                </a:lnTo>
                <a:lnTo>
                  <a:pt x="40" y="0"/>
                </a:lnTo>
                <a:lnTo>
                  <a:pt x="37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26" name="Oval 204"/>
          <p:cNvSpPr>
            <a:spLocks noChangeArrowheads="1"/>
          </p:cNvSpPr>
          <p:nvPr/>
        </p:nvSpPr>
        <p:spPr bwMode="gray">
          <a:xfrm>
            <a:off x="5364967" y="3364592"/>
            <a:ext cx="68012" cy="51001"/>
          </a:xfrm>
          <a:prstGeom prst="ellipse">
            <a:avLst/>
          </a:prstGeom>
          <a:solidFill>
            <a:srgbClr val="FFFFFF">
              <a:lumMod val="7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2009" name="Freeform 216"/>
          <p:cNvSpPr>
            <a:spLocks noChangeAspect="1"/>
          </p:cNvSpPr>
          <p:nvPr/>
        </p:nvSpPr>
        <p:spPr bwMode="gray">
          <a:xfrm>
            <a:off x="6239125" y="3739602"/>
            <a:ext cx="690124" cy="312008"/>
          </a:xfrm>
          <a:custGeom>
            <a:avLst/>
            <a:gdLst>
              <a:gd name="T0" fmla="*/ 2147483647 w 345"/>
              <a:gd name="T1" fmla="*/ 2147483647 h 208"/>
              <a:gd name="T2" fmla="*/ 2147483647 w 345"/>
              <a:gd name="T3" fmla="*/ 2147483647 h 208"/>
              <a:gd name="T4" fmla="*/ 2147483647 w 345"/>
              <a:gd name="T5" fmla="*/ 2147483647 h 208"/>
              <a:gd name="T6" fmla="*/ 2147483647 w 345"/>
              <a:gd name="T7" fmla="*/ 2147483647 h 208"/>
              <a:gd name="T8" fmla="*/ 2147483647 w 345"/>
              <a:gd name="T9" fmla="*/ 2147483647 h 208"/>
              <a:gd name="T10" fmla="*/ 2147483647 w 345"/>
              <a:gd name="T11" fmla="*/ 2147483647 h 208"/>
              <a:gd name="T12" fmla="*/ 2147483647 w 345"/>
              <a:gd name="T13" fmla="*/ 2147483647 h 208"/>
              <a:gd name="T14" fmla="*/ 2147483647 w 345"/>
              <a:gd name="T15" fmla="*/ 2147483647 h 208"/>
              <a:gd name="T16" fmla="*/ 2147483647 w 345"/>
              <a:gd name="T17" fmla="*/ 2147483647 h 208"/>
              <a:gd name="T18" fmla="*/ 2147483647 w 345"/>
              <a:gd name="T19" fmla="*/ 2147483647 h 208"/>
              <a:gd name="T20" fmla="*/ 2147483647 w 345"/>
              <a:gd name="T21" fmla="*/ 2147483647 h 208"/>
              <a:gd name="T22" fmla="*/ 2147483647 w 345"/>
              <a:gd name="T23" fmla="*/ 2147483647 h 208"/>
              <a:gd name="T24" fmla="*/ 2147483647 w 345"/>
              <a:gd name="T25" fmla="*/ 2147483647 h 208"/>
              <a:gd name="T26" fmla="*/ 2147483647 w 345"/>
              <a:gd name="T27" fmla="*/ 2147483647 h 208"/>
              <a:gd name="T28" fmla="*/ 2147483647 w 345"/>
              <a:gd name="T29" fmla="*/ 2147483647 h 208"/>
              <a:gd name="T30" fmla="*/ 2147483647 w 345"/>
              <a:gd name="T31" fmla="*/ 2147483647 h 208"/>
              <a:gd name="T32" fmla="*/ 2147483647 w 345"/>
              <a:gd name="T33" fmla="*/ 2147483647 h 208"/>
              <a:gd name="T34" fmla="*/ 2147483647 w 345"/>
              <a:gd name="T35" fmla="*/ 2147483647 h 208"/>
              <a:gd name="T36" fmla="*/ 2147483647 w 345"/>
              <a:gd name="T37" fmla="*/ 2147483647 h 208"/>
              <a:gd name="T38" fmla="*/ 2147483647 w 345"/>
              <a:gd name="T39" fmla="*/ 2147483647 h 208"/>
              <a:gd name="T40" fmla="*/ 2147483647 w 345"/>
              <a:gd name="T41" fmla="*/ 2147483647 h 208"/>
              <a:gd name="T42" fmla="*/ 2147483647 w 345"/>
              <a:gd name="T43" fmla="*/ 2147483647 h 208"/>
              <a:gd name="T44" fmla="*/ 2147483647 w 345"/>
              <a:gd name="T45" fmla="*/ 2147483647 h 208"/>
              <a:gd name="T46" fmla="*/ 2147483647 w 345"/>
              <a:gd name="T47" fmla="*/ 2147483647 h 208"/>
              <a:gd name="T48" fmla="*/ 2147483647 w 345"/>
              <a:gd name="T49" fmla="*/ 2147483647 h 208"/>
              <a:gd name="T50" fmla="*/ 2147483647 w 345"/>
              <a:gd name="T51" fmla="*/ 2147483647 h 208"/>
              <a:gd name="T52" fmla="*/ 2147483647 w 345"/>
              <a:gd name="T53" fmla="*/ 2147483647 h 208"/>
              <a:gd name="T54" fmla="*/ 2147483647 w 345"/>
              <a:gd name="T55" fmla="*/ 2147483647 h 208"/>
              <a:gd name="T56" fmla="*/ 2147483647 w 345"/>
              <a:gd name="T57" fmla="*/ 2147483647 h 208"/>
              <a:gd name="T58" fmla="*/ 2147483647 w 345"/>
              <a:gd name="T59" fmla="*/ 2147483647 h 208"/>
              <a:gd name="T60" fmla="*/ 2147483647 w 345"/>
              <a:gd name="T61" fmla="*/ 2147483647 h 208"/>
              <a:gd name="T62" fmla="*/ 2147483647 w 345"/>
              <a:gd name="T63" fmla="*/ 2147483647 h 208"/>
              <a:gd name="T64" fmla="*/ 2147483647 w 345"/>
              <a:gd name="T65" fmla="*/ 2147483647 h 208"/>
              <a:gd name="T66" fmla="*/ 2147483647 w 345"/>
              <a:gd name="T67" fmla="*/ 2147483647 h 208"/>
              <a:gd name="T68" fmla="*/ 2147483647 w 345"/>
              <a:gd name="T69" fmla="*/ 2147483647 h 208"/>
              <a:gd name="T70" fmla="*/ 2147483647 w 345"/>
              <a:gd name="T71" fmla="*/ 2147483647 h 208"/>
              <a:gd name="T72" fmla="*/ 2147483647 w 345"/>
              <a:gd name="T73" fmla="*/ 2147483647 h 208"/>
              <a:gd name="T74" fmla="*/ 2147483647 w 345"/>
              <a:gd name="T75" fmla="*/ 2147483647 h 208"/>
              <a:gd name="T76" fmla="*/ 2147483647 w 345"/>
              <a:gd name="T77" fmla="*/ 2147483647 h 208"/>
              <a:gd name="T78" fmla="*/ 2147483647 w 345"/>
              <a:gd name="T79" fmla="*/ 2147483647 h 208"/>
              <a:gd name="T80" fmla="*/ 2147483647 w 345"/>
              <a:gd name="T81" fmla="*/ 2147483647 h 208"/>
              <a:gd name="T82" fmla="*/ 2147483647 w 345"/>
              <a:gd name="T83" fmla="*/ 2147483647 h 208"/>
              <a:gd name="T84" fmla="*/ 2147483647 w 345"/>
              <a:gd name="T85" fmla="*/ 2147483647 h 208"/>
              <a:gd name="T86" fmla="*/ 2147483647 w 345"/>
              <a:gd name="T87" fmla="*/ 2147483647 h 208"/>
              <a:gd name="T88" fmla="*/ 2147483647 w 345"/>
              <a:gd name="T89" fmla="*/ 2147483647 h 208"/>
              <a:gd name="T90" fmla="*/ 2147483647 w 345"/>
              <a:gd name="T91" fmla="*/ 2147483647 h 208"/>
              <a:gd name="T92" fmla="*/ 2147483647 w 345"/>
              <a:gd name="T93" fmla="*/ 2147483647 h 208"/>
              <a:gd name="T94" fmla="*/ 2147483647 w 345"/>
              <a:gd name="T95" fmla="*/ 2147483647 h 208"/>
              <a:gd name="T96" fmla="*/ 2147483647 w 345"/>
              <a:gd name="T97" fmla="*/ 2147483647 h 208"/>
              <a:gd name="T98" fmla="*/ 2147483647 w 345"/>
              <a:gd name="T99" fmla="*/ 2147483647 h 208"/>
              <a:gd name="T100" fmla="*/ 2147483647 w 345"/>
              <a:gd name="T101" fmla="*/ 2147483647 h 208"/>
              <a:gd name="T102" fmla="*/ 2147483647 w 345"/>
              <a:gd name="T103" fmla="*/ 2147483647 h 208"/>
              <a:gd name="T104" fmla="*/ 2147483647 w 345"/>
              <a:gd name="T105" fmla="*/ 2147483647 h 208"/>
              <a:gd name="T106" fmla="*/ 2147483647 w 345"/>
              <a:gd name="T107" fmla="*/ 2147483647 h 208"/>
              <a:gd name="T108" fmla="*/ 2147483647 w 345"/>
              <a:gd name="T109" fmla="*/ 2147483647 h 208"/>
              <a:gd name="T110" fmla="*/ 0 w 345"/>
              <a:gd name="T111" fmla="*/ 2147483647 h 208"/>
              <a:gd name="T112" fmla="*/ 2147483647 w 345"/>
              <a:gd name="T113" fmla="*/ 2147483647 h 208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345"/>
              <a:gd name="T172" fmla="*/ 0 h 208"/>
              <a:gd name="T173" fmla="*/ 192 w 345"/>
              <a:gd name="T174" fmla="*/ 175 h 208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345" h="208">
                <a:moveTo>
                  <a:pt x="0" y="57"/>
                </a:moveTo>
                <a:lnTo>
                  <a:pt x="0" y="75"/>
                </a:lnTo>
                <a:lnTo>
                  <a:pt x="19" y="87"/>
                </a:lnTo>
                <a:lnTo>
                  <a:pt x="19" y="110"/>
                </a:lnTo>
                <a:lnTo>
                  <a:pt x="30" y="121"/>
                </a:lnTo>
                <a:lnTo>
                  <a:pt x="53" y="98"/>
                </a:lnTo>
                <a:lnTo>
                  <a:pt x="53" y="110"/>
                </a:lnTo>
                <a:lnTo>
                  <a:pt x="42" y="121"/>
                </a:lnTo>
                <a:lnTo>
                  <a:pt x="64" y="132"/>
                </a:lnTo>
                <a:lnTo>
                  <a:pt x="76" y="121"/>
                </a:lnTo>
                <a:lnTo>
                  <a:pt x="64" y="98"/>
                </a:lnTo>
                <a:lnTo>
                  <a:pt x="76" y="87"/>
                </a:lnTo>
                <a:lnTo>
                  <a:pt x="87" y="98"/>
                </a:lnTo>
                <a:lnTo>
                  <a:pt x="87" y="121"/>
                </a:lnTo>
                <a:lnTo>
                  <a:pt x="95" y="144"/>
                </a:lnTo>
                <a:lnTo>
                  <a:pt x="118" y="151"/>
                </a:lnTo>
                <a:lnTo>
                  <a:pt x="106" y="151"/>
                </a:lnTo>
                <a:lnTo>
                  <a:pt x="95" y="151"/>
                </a:lnTo>
                <a:lnTo>
                  <a:pt x="129" y="185"/>
                </a:lnTo>
                <a:lnTo>
                  <a:pt x="163" y="208"/>
                </a:lnTo>
                <a:lnTo>
                  <a:pt x="174" y="208"/>
                </a:lnTo>
                <a:lnTo>
                  <a:pt x="193" y="208"/>
                </a:lnTo>
                <a:lnTo>
                  <a:pt x="182" y="174"/>
                </a:lnTo>
                <a:lnTo>
                  <a:pt x="163" y="163"/>
                </a:lnTo>
                <a:lnTo>
                  <a:pt x="152" y="132"/>
                </a:lnTo>
                <a:lnTo>
                  <a:pt x="129" y="121"/>
                </a:lnTo>
                <a:lnTo>
                  <a:pt x="152" y="87"/>
                </a:lnTo>
                <a:lnTo>
                  <a:pt x="174" y="98"/>
                </a:lnTo>
                <a:lnTo>
                  <a:pt x="193" y="87"/>
                </a:lnTo>
                <a:lnTo>
                  <a:pt x="205" y="75"/>
                </a:lnTo>
                <a:lnTo>
                  <a:pt x="227" y="87"/>
                </a:lnTo>
                <a:lnTo>
                  <a:pt x="250" y="87"/>
                </a:lnTo>
                <a:lnTo>
                  <a:pt x="269" y="98"/>
                </a:lnTo>
                <a:lnTo>
                  <a:pt x="292" y="98"/>
                </a:lnTo>
                <a:lnTo>
                  <a:pt x="315" y="98"/>
                </a:lnTo>
                <a:lnTo>
                  <a:pt x="337" y="110"/>
                </a:lnTo>
                <a:lnTo>
                  <a:pt x="345" y="110"/>
                </a:lnTo>
                <a:lnTo>
                  <a:pt x="345" y="87"/>
                </a:lnTo>
                <a:lnTo>
                  <a:pt x="326" y="75"/>
                </a:lnTo>
                <a:lnTo>
                  <a:pt x="315" y="64"/>
                </a:lnTo>
                <a:lnTo>
                  <a:pt x="315" y="45"/>
                </a:lnTo>
                <a:lnTo>
                  <a:pt x="303" y="57"/>
                </a:lnTo>
                <a:lnTo>
                  <a:pt x="281" y="57"/>
                </a:lnTo>
                <a:lnTo>
                  <a:pt x="250" y="57"/>
                </a:lnTo>
                <a:lnTo>
                  <a:pt x="227" y="34"/>
                </a:lnTo>
                <a:lnTo>
                  <a:pt x="205" y="22"/>
                </a:lnTo>
                <a:lnTo>
                  <a:pt x="174" y="0"/>
                </a:lnTo>
                <a:lnTo>
                  <a:pt x="140" y="22"/>
                </a:lnTo>
                <a:lnTo>
                  <a:pt x="140" y="45"/>
                </a:lnTo>
                <a:lnTo>
                  <a:pt x="118" y="57"/>
                </a:lnTo>
                <a:lnTo>
                  <a:pt x="118" y="75"/>
                </a:lnTo>
                <a:lnTo>
                  <a:pt x="64" y="75"/>
                </a:lnTo>
                <a:lnTo>
                  <a:pt x="53" y="64"/>
                </a:lnTo>
                <a:lnTo>
                  <a:pt x="19" y="64"/>
                </a:lnTo>
                <a:lnTo>
                  <a:pt x="0" y="22"/>
                </a:lnTo>
                <a:lnTo>
                  <a:pt x="0" y="38"/>
                </a:lnTo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328" name="Freeform 212"/>
          <p:cNvSpPr>
            <a:spLocks noChangeAspect="1"/>
          </p:cNvSpPr>
          <p:nvPr/>
        </p:nvSpPr>
        <p:spPr bwMode="gray">
          <a:xfrm>
            <a:off x="5955073" y="3462093"/>
            <a:ext cx="696125" cy="277508"/>
          </a:xfrm>
          <a:custGeom>
            <a:avLst/>
            <a:gdLst>
              <a:gd name="T0" fmla="*/ 2147483647 w 348"/>
              <a:gd name="T1" fmla="*/ 2147483647 h 185"/>
              <a:gd name="T2" fmla="*/ 2147483647 w 348"/>
              <a:gd name="T3" fmla="*/ 2147483647 h 185"/>
              <a:gd name="T4" fmla="*/ 2147483647 w 348"/>
              <a:gd name="T5" fmla="*/ 2147483647 h 185"/>
              <a:gd name="T6" fmla="*/ 2147483647 w 348"/>
              <a:gd name="T7" fmla="*/ 2147483647 h 185"/>
              <a:gd name="T8" fmla="*/ 2147483647 w 348"/>
              <a:gd name="T9" fmla="*/ 2147483647 h 185"/>
              <a:gd name="T10" fmla="*/ 2147483647 w 348"/>
              <a:gd name="T11" fmla="*/ 2147483647 h 185"/>
              <a:gd name="T12" fmla="*/ 2147483647 w 348"/>
              <a:gd name="T13" fmla="*/ 2147483647 h 185"/>
              <a:gd name="T14" fmla="*/ 2147483647 w 348"/>
              <a:gd name="T15" fmla="*/ 2147483647 h 185"/>
              <a:gd name="T16" fmla="*/ 2147483647 w 348"/>
              <a:gd name="T17" fmla="*/ 2147483647 h 185"/>
              <a:gd name="T18" fmla="*/ 2147483647 w 348"/>
              <a:gd name="T19" fmla="*/ 2147483647 h 185"/>
              <a:gd name="T20" fmla="*/ 2147483647 w 348"/>
              <a:gd name="T21" fmla="*/ 2147483647 h 185"/>
              <a:gd name="T22" fmla="*/ 2147483647 w 348"/>
              <a:gd name="T23" fmla="*/ 2147483647 h 185"/>
              <a:gd name="T24" fmla="*/ 2147483647 w 348"/>
              <a:gd name="T25" fmla="*/ 2147483647 h 185"/>
              <a:gd name="T26" fmla="*/ 2147483647 w 348"/>
              <a:gd name="T27" fmla="*/ 2147483647 h 185"/>
              <a:gd name="T28" fmla="*/ 2147483647 w 348"/>
              <a:gd name="T29" fmla="*/ 2147483647 h 185"/>
              <a:gd name="T30" fmla="*/ 2147483647 w 348"/>
              <a:gd name="T31" fmla="*/ 2147483647 h 185"/>
              <a:gd name="T32" fmla="*/ 2147483647 w 348"/>
              <a:gd name="T33" fmla="*/ 2147483647 h 185"/>
              <a:gd name="T34" fmla="*/ 0 w 348"/>
              <a:gd name="T35" fmla="*/ 2147483647 h 185"/>
              <a:gd name="T36" fmla="*/ 2147483647 w 348"/>
              <a:gd name="T37" fmla="*/ 2147483647 h 185"/>
              <a:gd name="T38" fmla="*/ 2147483647 w 348"/>
              <a:gd name="T39" fmla="*/ 2147483647 h 185"/>
              <a:gd name="T40" fmla="*/ 2147483647 w 348"/>
              <a:gd name="T41" fmla="*/ 2147483647 h 185"/>
              <a:gd name="T42" fmla="*/ 2147483647 w 348"/>
              <a:gd name="T43" fmla="*/ 2147483647 h 185"/>
              <a:gd name="T44" fmla="*/ 2147483647 w 348"/>
              <a:gd name="T45" fmla="*/ 2147483647 h 185"/>
              <a:gd name="T46" fmla="*/ 2147483647 w 348"/>
              <a:gd name="T47" fmla="*/ 2147483647 h 185"/>
              <a:gd name="T48" fmla="*/ 2147483647 w 348"/>
              <a:gd name="T49" fmla="*/ 2147483647 h 185"/>
              <a:gd name="T50" fmla="*/ 2147483647 w 348"/>
              <a:gd name="T51" fmla="*/ 2147483647 h 185"/>
              <a:gd name="T52" fmla="*/ 2147483647 w 348"/>
              <a:gd name="T53" fmla="*/ 2147483647 h 185"/>
              <a:gd name="T54" fmla="*/ 2147483647 w 348"/>
              <a:gd name="T55" fmla="*/ 2147483647 h 185"/>
              <a:gd name="T56" fmla="*/ 2147483647 w 348"/>
              <a:gd name="T57" fmla="*/ 2147483647 h 185"/>
              <a:gd name="T58" fmla="*/ 2147483647 w 348"/>
              <a:gd name="T59" fmla="*/ 2147483647 h 185"/>
              <a:gd name="T60" fmla="*/ 2147483647 w 348"/>
              <a:gd name="T61" fmla="*/ 2147483647 h 185"/>
              <a:gd name="T62" fmla="*/ 2147483647 w 348"/>
              <a:gd name="T63" fmla="*/ 2147483647 h 185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348"/>
              <a:gd name="T97" fmla="*/ 0 h 185"/>
              <a:gd name="T98" fmla="*/ 92 w 348"/>
              <a:gd name="T99" fmla="*/ 66 h 185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348" h="185">
                <a:moveTo>
                  <a:pt x="308" y="157"/>
                </a:moveTo>
                <a:lnTo>
                  <a:pt x="306" y="143"/>
                </a:lnTo>
                <a:lnTo>
                  <a:pt x="318" y="143"/>
                </a:lnTo>
                <a:lnTo>
                  <a:pt x="318" y="120"/>
                </a:lnTo>
                <a:lnTo>
                  <a:pt x="325" y="109"/>
                </a:lnTo>
                <a:lnTo>
                  <a:pt x="318" y="98"/>
                </a:lnTo>
                <a:lnTo>
                  <a:pt x="325" y="86"/>
                </a:lnTo>
                <a:lnTo>
                  <a:pt x="348" y="86"/>
                </a:lnTo>
                <a:lnTo>
                  <a:pt x="348" y="68"/>
                </a:lnTo>
                <a:lnTo>
                  <a:pt x="337" y="34"/>
                </a:lnTo>
                <a:lnTo>
                  <a:pt x="325" y="23"/>
                </a:lnTo>
                <a:lnTo>
                  <a:pt x="318" y="23"/>
                </a:lnTo>
                <a:lnTo>
                  <a:pt x="295" y="34"/>
                </a:lnTo>
                <a:lnTo>
                  <a:pt x="295" y="23"/>
                </a:lnTo>
                <a:lnTo>
                  <a:pt x="272" y="11"/>
                </a:lnTo>
                <a:lnTo>
                  <a:pt x="250" y="11"/>
                </a:lnTo>
                <a:lnTo>
                  <a:pt x="238" y="0"/>
                </a:lnTo>
                <a:lnTo>
                  <a:pt x="231" y="11"/>
                </a:lnTo>
                <a:lnTo>
                  <a:pt x="219" y="34"/>
                </a:lnTo>
                <a:lnTo>
                  <a:pt x="174" y="34"/>
                </a:lnTo>
                <a:lnTo>
                  <a:pt x="163" y="34"/>
                </a:lnTo>
                <a:lnTo>
                  <a:pt x="151" y="34"/>
                </a:lnTo>
                <a:lnTo>
                  <a:pt x="132" y="56"/>
                </a:lnTo>
                <a:lnTo>
                  <a:pt x="121" y="56"/>
                </a:lnTo>
                <a:lnTo>
                  <a:pt x="121" y="68"/>
                </a:lnTo>
                <a:lnTo>
                  <a:pt x="132" y="98"/>
                </a:lnTo>
                <a:lnTo>
                  <a:pt x="132" y="120"/>
                </a:lnTo>
                <a:lnTo>
                  <a:pt x="121" y="109"/>
                </a:lnTo>
                <a:lnTo>
                  <a:pt x="110" y="109"/>
                </a:lnTo>
                <a:lnTo>
                  <a:pt x="76" y="109"/>
                </a:lnTo>
                <a:lnTo>
                  <a:pt x="34" y="120"/>
                </a:lnTo>
                <a:lnTo>
                  <a:pt x="0" y="120"/>
                </a:lnTo>
                <a:lnTo>
                  <a:pt x="0" y="143"/>
                </a:lnTo>
                <a:lnTo>
                  <a:pt x="11" y="143"/>
                </a:lnTo>
                <a:lnTo>
                  <a:pt x="59" y="140"/>
                </a:lnTo>
                <a:lnTo>
                  <a:pt x="79" y="137"/>
                </a:lnTo>
                <a:lnTo>
                  <a:pt x="94" y="158"/>
                </a:lnTo>
                <a:lnTo>
                  <a:pt x="101" y="178"/>
                </a:lnTo>
                <a:lnTo>
                  <a:pt x="128" y="182"/>
                </a:lnTo>
                <a:lnTo>
                  <a:pt x="202" y="185"/>
                </a:lnTo>
                <a:lnTo>
                  <a:pt x="307" y="160"/>
                </a:lnTo>
              </a:path>
            </a:pathLst>
          </a:custGeom>
          <a:solidFill>
            <a:srgbClr val="E20074"/>
          </a:solidFill>
          <a:ln w="1587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30" name="Line 103"/>
          <p:cNvSpPr>
            <a:spLocks noChangeShapeType="1"/>
          </p:cNvSpPr>
          <p:nvPr/>
        </p:nvSpPr>
        <p:spPr bwMode="gray">
          <a:xfrm flipH="1" flipV="1">
            <a:off x="4524815" y="1426539"/>
            <a:ext cx="800144" cy="1705546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32" name="Line 105"/>
          <p:cNvSpPr>
            <a:spLocks noChangeShapeType="1"/>
          </p:cNvSpPr>
          <p:nvPr/>
        </p:nvSpPr>
        <p:spPr bwMode="gray">
          <a:xfrm flipH="1" flipV="1">
            <a:off x="3674663" y="2181060"/>
            <a:ext cx="1532276" cy="1072529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33" name="Line 106"/>
          <p:cNvSpPr>
            <a:spLocks noChangeShapeType="1"/>
          </p:cNvSpPr>
          <p:nvPr/>
        </p:nvSpPr>
        <p:spPr bwMode="gray">
          <a:xfrm flipH="1" flipV="1">
            <a:off x="3444621" y="3132085"/>
            <a:ext cx="1510273" cy="397511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35" name="Line 108"/>
          <p:cNvSpPr>
            <a:spLocks noChangeShapeType="1"/>
          </p:cNvSpPr>
          <p:nvPr/>
        </p:nvSpPr>
        <p:spPr bwMode="gray">
          <a:xfrm flipH="1">
            <a:off x="5262948" y="3630098"/>
            <a:ext cx="288052" cy="1524041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39" name="Line 112"/>
          <p:cNvSpPr>
            <a:spLocks noChangeShapeType="1"/>
          </p:cNvSpPr>
          <p:nvPr/>
        </p:nvSpPr>
        <p:spPr bwMode="gray">
          <a:xfrm flipH="1">
            <a:off x="3904704" y="4303617"/>
            <a:ext cx="916165" cy="879024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43" name="Line 118"/>
          <p:cNvSpPr>
            <a:spLocks noChangeShapeType="1"/>
          </p:cNvSpPr>
          <p:nvPr/>
        </p:nvSpPr>
        <p:spPr bwMode="gray">
          <a:xfrm flipH="1" flipV="1">
            <a:off x="3460624" y="2679072"/>
            <a:ext cx="1302235" cy="492013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45" name="Line 122"/>
          <p:cNvSpPr>
            <a:spLocks noChangeShapeType="1"/>
          </p:cNvSpPr>
          <p:nvPr/>
        </p:nvSpPr>
        <p:spPr bwMode="gray">
          <a:xfrm flipH="1">
            <a:off x="6375149" y="2505068"/>
            <a:ext cx="1950351" cy="843023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46" name="Line 124"/>
          <p:cNvSpPr>
            <a:spLocks noChangeShapeType="1"/>
          </p:cNvSpPr>
          <p:nvPr/>
        </p:nvSpPr>
        <p:spPr bwMode="gray">
          <a:xfrm>
            <a:off x="5893062" y="1272034"/>
            <a:ext cx="172031" cy="1512041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47" name="Line 128"/>
          <p:cNvSpPr>
            <a:spLocks noChangeShapeType="1"/>
          </p:cNvSpPr>
          <p:nvPr/>
        </p:nvSpPr>
        <p:spPr bwMode="gray">
          <a:xfrm flipH="1">
            <a:off x="6591188" y="2092557"/>
            <a:ext cx="1172211" cy="1129530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49" name="Line 132"/>
          <p:cNvSpPr>
            <a:spLocks noChangeShapeType="1"/>
          </p:cNvSpPr>
          <p:nvPr/>
        </p:nvSpPr>
        <p:spPr bwMode="gray">
          <a:xfrm flipH="1">
            <a:off x="3088556" y="4749129"/>
            <a:ext cx="552099" cy="69002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50" name="Line 134"/>
          <p:cNvSpPr>
            <a:spLocks noChangeShapeType="1"/>
          </p:cNvSpPr>
          <p:nvPr/>
        </p:nvSpPr>
        <p:spPr bwMode="gray">
          <a:xfrm flipH="1">
            <a:off x="3088557" y="4588625"/>
            <a:ext cx="478087" cy="21001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51" name="Line 139"/>
          <p:cNvSpPr>
            <a:spLocks noChangeShapeType="1"/>
          </p:cNvSpPr>
          <p:nvPr/>
        </p:nvSpPr>
        <p:spPr bwMode="gray">
          <a:xfrm flipH="1">
            <a:off x="6185114" y="1498541"/>
            <a:ext cx="1082196" cy="1251034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52" name="Line 140"/>
          <p:cNvSpPr>
            <a:spLocks noChangeShapeType="1"/>
          </p:cNvSpPr>
          <p:nvPr/>
        </p:nvSpPr>
        <p:spPr bwMode="gray">
          <a:xfrm flipH="1">
            <a:off x="6523175" y="1725047"/>
            <a:ext cx="1102198" cy="775521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65" name="Line 205"/>
          <p:cNvSpPr>
            <a:spLocks noChangeShapeType="1"/>
          </p:cNvSpPr>
          <p:nvPr/>
        </p:nvSpPr>
        <p:spPr bwMode="gray">
          <a:xfrm flipH="1" flipV="1">
            <a:off x="3750677" y="1965053"/>
            <a:ext cx="1642295" cy="1417539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66" name="Freeform 253"/>
          <p:cNvSpPr>
            <a:spLocks noChangeAspect="1"/>
          </p:cNvSpPr>
          <p:nvPr/>
        </p:nvSpPr>
        <p:spPr bwMode="gray">
          <a:xfrm>
            <a:off x="6591188" y="3529596"/>
            <a:ext cx="712128" cy="274507"/>
          </a:xfrm>
          <a:custGeom>
            <a:avLst/>
            <a:gdLst>
              <a:gd name="T0" fmla="*/ 2147483647 w 94"/>
              <a:gd name="T1" fmla="*/ 2147483647 h 49"/>
              <a:gd name="T2" fmla="*/ 2147483647 w 94"/>
              <a:gd name="T3" fmla="*/ 2147483647 h 49"/>
              <a:gd name="T4" fmla="*/ 2147483647 w 94"/>
              <a:gd name="T5" fmla="*/ 2147483647 h 49"/>
              <a:gd name="T6" fmla="*/ 2147483647 w 94"/>
              <a:gd name="T7" fmla="*/ 2147483647 h 49"/>
              <a:gd name="T8" fmla="*/ 2147483647 w 94"/>
              <a:gd name="T9" fmla="*/ 2147483647 h 49"/>
              <a:gd name="T10" fmla="*/ 2147483647 w 94"/>
              <a:gd name="T11" fmla="*/ 2147483647 h 49"/>
              <a:gd name="T12" fmla="*/ 2147483647 w 94"/>
              <a:gd name="T13" fmla="*/ 2147483647 h 49"/>
              <a:gd name="T14" fmla="*/ 2147483647 w 94"/>
              <a:gd name="T15" fmla="*/ 2147483647 h 49"/>
              <a:gd name="T16" fmla="*/ 2147483647 w 94"/>
              <a:gd name="T17" fmla="*/ 2147483647 h 49"/>
              <a:gd name="T18" fmla="*/ 2147483647 w 94"/>
              <a:gd name="T19" fmla="*/ 2147483647 h 49"/>
              <a:gd name="T20" fmla="*/ 2147483647 w 94"/>
              <a:gd name="T21" fmla="*/ 2147483647 h 49"/>
              <a:gd name="T22" fmla="*/ 2147483647 w 94"/>
              <a:gd name="T23" fmla="*/ 2147483647 h 49"/>
              <a:gd name="T24" fmla="*/ 2147483647 w 94"/>
              <a:gd name="T25" fmla="*/ 2147483647 h 49"/>
              <a:gd name="T26" fmla="*/ 2147483647 w 94"/>
              <a:gd name="T27" fmla="*/ 2147483647 h 49"/>
              <a:gd name="T28" fmla="*/ 2147483647 w 94"/>
              <a:gd name="T29" fmla="*/ 2147483647 h 49"/>
              <a:gd name="T30" fmla="*/ 2147483647 w 94"/>
              <a:gd name="T31" fmla="*/ 2147483647 h 49"/>
              <a:gd name="T32" fmla="*/ 2147483647 w 94"/>
              <a:gd name="T33" fmla="*/ 2147483647 h 49"/>
              <a:gd name="T34" fmla="*/ 2147483647 w 94"/>
              <a:gd name="T35" fmla="*/ 2147483647 h 49"/>
              <a:gd name="T36" fmla="*/ 2147483647 w 94"/>
              <a:gd name="T37" fmla="*/ 2147483647 h 49"/>
              <a:gd name="T38" fmla="*/ 2147483647 w 94"/>
              <a:gd name="T39" fmla="*/ 2147483647 h 49"/>
              <a:gd name="T40" fmla="*/ 2147483647 w 94"/>
              <a:gd name="T41" fmla="*/ 2147483647 h 49"/>
              <a:gd name="T42" fmla="*/ 2147483647 w 94"/>
              <a:gd name="T43" fmla="*/ 2147483647 h 49"/>
              <a:gd name="T44" fmla="*/ 2147483647 w 94"/>
              <a:gd name="T45" fmla="*/ 2147483647 h 49"/>
              <a:gd name="T46" fmla="*/ 2147483647 w 94"/>
              <a:gd name="T47" fmla="*/ 2147483647 h 49"/>
              <a:gd name="T48" fmla="*/ 2147483647 w 94"/>
              <a:gd name="T49" fmla="*/ 0 h 49"/>
              <a:gd name="T50" fmla="*/ 2147483647 w 94"/>
              <a:gd name="T51" fmla="*/ 0 h 49"/>
              <a:gd name="T52" fmla="*/ 2147483647 w 94"/>
              <a:gd name="T53" fmla="*/ 0 h 49"/>
              <a:gd name="T54" fmla="*/ 2147483647 w 94"/>
              <a:gd name="T55" fmla="*/ 2147483647 h 49"/>
              <a:gd name="T56" fmla="*/ 2147483647 w 94"/>
              <a:gd name="T57" fmla="*/ 2147483647 h 49"/>
              <a:gd name="T58" fmla="*/ 2147483647 w 94"/>
              <a:gd name="T59" fmla="*/ 2147483647 h 49"/>
              <a:gd name="T60" fmla="*/ 2147483647 w 94"/>
              <a:gd name="T61" fmla="*/ 2147483647 h 49"/>
              <a:gd name="T62" fmla="*/ 2147483647 w 94"/>
              <a:gd name="T63" fmla="*/ 2147483647 h 49"/>
              <a:gd name="T64" fmla="*/ 2147483647 w 94"/>
              <a:gd name="T65" fmla="*/ 2147483647 h 49"/>
              <a:gd name="T66" fmla="*/ 2147483647 w 94"/>
              <a:gd name="T67" fmla="*/ 2147483647 h 49"/>
              <a:gd name="T68" fmla="*/ 2147483647 w 94"/>
              <a:gd name="T69" fmla="*/ 2147483647 h 49"/>
              <a:gd name="T70" fmla="*/ 2147483647 w 94"/>
              <a:gd name="T71" fmla="*/ 2147483647 h 49"/>
              <a:gd name="T72" fmla="*/ 2147483647 w 94"/>
              <a:gd name="T73" fmla="*/ 2147483647 h 49"/>
              <a:gd name="T74" fmla="*/ 2147483647 w 94"/>
              <a:gd name="T75" fmla="*/ 2147483647 h 49"/>
              <a:gd name="T76" fmla="*/ 2147483647 w 94"/>
              <a:gd name="T77" fmla="*/ 2147483647 h 49"/>
              <a:gd name="T78" fmla="*/ 2147483647 w 94"/>
              <a:gd name="T79" fmla="*/ 2147483647 h 49"/>
              <a:gd name="T80" fmla="*/ 2147483647 w 94"/>
              <a:gd name="T81" fmla="*/ 2147483647 h 49"/>
              <a:gd name="T82" fmla="*/ 0 w 94"/>
              <a:gd name="T83" fmla="*/ 2147483647 h 49"/>
              <a:gd name="T84" fmla="*/ 0 w 94"/>
              <a:gd name="T85" fmla="*/ 2147483647 h 49"/>
              <a:gd name="T86" fmla="*/ 2147483647 w 94"/>
              <a:gd name="T87" fmla="*/ 2147483647 h 49"/>
              <a:gd name="T88" fmla="*/ 2147483647 w 94"/>
              <a:gd name="T89" fmla="*/ 2147483647 h 49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94"/>
              <a:gd name="T136" fmla="*/ 0 h 49"/>
              <a:gd name="T137" fmla="*/ 94 w 94"/>
              <a:gd name="T138" fmla="*/ 49 h 49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94" h="49">
                <a:moveTo>
                  <a:pt x="11" y="40"/>
                </a:moveTo>
                <a:lnTo>
                  <a:pt x="14" y="43"/>
                </a:lnTo>
                <a:lnTo>
                  <a:pt x="23" y="46"/>
                </a:lnTo>
                <a:lnTo>
                  <a:pt x="28" y="49"/>
                </a:lnTo>
                <a:lnTo>
                  <a:pt x="34" y="49"/>
                </a:lnTo>
                <a:lnTo>
                  <a:pt x="34" y="46"/>
                </a:lnTo>
                <a:lnTo>
                  <a:pt x="40" y="46"/>
                </a:lnTo>
                <a:lnTo>
                  <a:pt x="43" y="43"/>
                </a:lnTo>
                <a:lnTo>
                  <a:pt x="48" y="40"/>
                </a:lnTo>
                <a:lnTo>
                  <a:pt x="63" y="40"/>
                </a:lnTo>
                <a:lnTo>
                  <a:pt x="66" y="37"/>
                </a:lnTo>
                <a:lnTo>
                  <a:pt x="68" y="37"/>
                </a:lnTo>
                <a:lnTo>
                  <a:pt x="71" y="37"/>
                </a:lnTo>
                <a:lnTo>
                  <a:pt x="74" y="34"/>
                </a:lnTo>
                <a:lnTo>
                  <a:pt x="80" y="26"/>
                </a:lnTo>
                <a:lnTo>
                  <a:pt x="83" y="23"/>
                </a:lnTo>
                <a:lnTo>
                  <a:pt x="83" y="17"/>
                </a:lnTo>
                <a:lnTo>
                  <a:pt x="89" y="11"/>
                </a:lnTo>
                <a:lnTo>
                  <a:pt x="94" y="9"/>
                </a:lnTo>
                <a:lnTo>
                  <a:pt x="94" y="6"/>
                </a:lnTo>
                <a:lnTo>
                  <a:pt x="86" y="3"/>
                </a:lnTo>
                <a:lnTo>
                  <a:pt x="83" y="3"/>
                </a:lnTo>
                <a:lnTo>
                  <a:pt x="77" y="0"/>
                </a:lnTo>
                <a:lnTo>
                  <a:pt x="68" y="0"/>
                </a:lnTo>
                <a:lnTo>
                  <a:pt x="60" y="0"/>
                </a:lnTo>
                <a:lnTo>
                  <a:pt x="63" y="6"/>
                </a:lnTo>
                <a:lnTo>
                  <a:pt x="57" y="9"/>
                </a:lnTo>
                <a:lnTo>
                  <a:pt x="48" y="9"/>
                </a:lnTo>
                <a:lnTo>
                  <a:pt x="34" y="14"/>
                </a:lnTo>
                <a:lnTo>
                  <a:pt x="20" y="14"/>
                </a:lnTo>
                <a:lnTo>
                  <a:pt x="11" y="9"/>
                </a:lnTo>
                <a:lnTo>
                  <a:pt x="8" y="14"/>
                </a:lnTo>
                <a:lnTo>
                  <a:pt x="2" y="14"/>
                </a:lnTo>
                <a:lnTo>
                  <a:pt x="5" y="14"/>
                </a:lnTo>
                <a:lnTo>
                  <a:pt x="5" y="17"/>
                </a:lnTo>
                <a:lnTo>
                  <a:pt x="2" y="20"/>
                </a:lnTo>
                <a:lnTo>
                  <a:pt x="2" y="29"/>
                </a:lnTo>
                <a:lnTo>
                  <a:pt x="0" y="29"/>
                </a:lnTo>
                <a:lnTo>
                  <a:pt x="2" y="34"/>
                </a:lnTo>
                <a:lnTo>
                  <a:pt x="11" y="4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69" name="Line 219"/>
          <p:cNvSpPr>
            <a:spLocks noChangeShapeType="1"/>
          </p:cNvSpPr>
          <p:nvPr/>
        </p:nvSpPr>
        <p:spPr bwMode="gray">
          <a:xfrm flipH="1">
            <a:off x="6545179" y="3546096"/>
            <a:ext cx="3072553" cy="33001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72" name="Line 228"/>
          <p:cNvSpPr>
            <a:spLocks noChangeShapeType="1"/>
          </p:cNvSpPr>
          <p:nvPr/>
        </p:nvSpPr>
        <p:spPr bwMode="gray">
          <a:xfrm flipH="1" flipV="1">
            <a:off x="8153468" y="4362118"/>
            <a:ext cx="792143" cy="162004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73" name="Line 231"/>
          <p:cNvSpPr>
            <a:spLocks noChangeShapeType="1"/>
          </p:cNvSpPr>
          <p:nvPr/>
        </p:nvSpPr>
        <p:spPr bwMode="gray">
          <a:xfrm flipH="1">
            <a:off x="6983257" y="2797576"/>
            <a:ext cx="1650297" cy="705019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74" name="Line 233"/>
          <p:cNvSpPr>
            <a:spLocks noChangeShapeType="1"/>
          </p:cNvSpPr>
          <p:nvPr/>
        </p:nvSpPr>
        <p:spPr bwMode="gray">
          <a:xfrm flipH="1">
            <a:off x="8131466" y="3247589"/>
            <a:ext cx="1146206" cy="127503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76" name="Line 233"/>
          <p:cNvSpPr>
            <a:spLocks noChangeShapeType="1"/>
          </p:cNvSpPr>
          <p:nvPr/>
        </p:nvSpPr>
        <p:spPr bwMode="gray">
          <a:xfrm flipH="1">
            <a:off x="7695387" y="3885105"/>
            <a:ext cx="1835330" cy="78002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77" name="Line 239"/>
          <p:cNvSpPr>
            <a:spLocks noChangeShapeType="1"/>
          </p:cNvSpPr>
          <p:nvPr/>
        </p:nvSpPr>
        <p:spPr bwMode="gray">
          <a:xfrm flipH="1">
            <a:off x="7477346" y="1893052"/>
            <a:ext cx="722131" cy="310509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78" name="Line 242"/>
          <p:cNvSpPr>
            <a:spLocks noChangeShapeType="1"/>
          </p:cNvSpPr>
          <p:nvPr/>
        </p:nvSpPr>
        <p:spPr bwMode="gray">
          <a:xfrm>
            <a:off x="5705028" y="1650045"/>
            <a:ext cx="188034" cy="670519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79" name="Oval 216"/>
          <p:cNvSpPr>
            <a:spLocks noChangeArrowheads="1"/>
          </p:cNvSpPr>
          <p:nvPr/>
        </p:nvSpPr>
        <p:spPr bwMode="gray">
          <a:xfrm>
            <a:off x="6499172" y="3553597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80" name="Oval 88"/>
          <p:cNvSpPr>
            <a:spLocks noChangeArrowheads="1"/>
          </p:cNvSpPr>
          <p:nvPr/>
        </p:nvSpPr>
        <p:spPr bwMode="gray">
          <a:xfrm>
            <a:off x="5194937" y="3247589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81" name="Oval 89"/>
          <p:cNvSpPr>
            <a:spLocks noChangeArrowheads="1"/>
          </p:cNvSpPr>
          <p:nvPr/>
        </p:nvSpPr>
        <p:spPr bwMode="gray">
          <a:xfrm>
            <a:off x="4954894" y="3502596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87" name="Oval 95"/>
          <p:cNvSpPr>
            <a:spLocks noChangeArrowheads="1"/>
          </p:cNvSpPr>
          <p:nvPr/>
        </p:nvSpPr>
        <p:spPr bwMode="gray">
          <a:xfrm>
            <a:off x="5284953" y="3112585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90" name="Oval 98"/>
          <p:cNvSpPr>
            <a:spLocks noChangeArrowheads="1"/>
          </p:cNvSpPr>
          <p:nvPr/>
        </p:nvSpPr>
        <p:spPr bwMode="gray">
          <a:xfrm>
            <a:off x="4774861" y="4285617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93" name="Oval 101"/>
          <p:cNvSpPr>
            <a:spLocks noChangeArrowheads="1"/>
          </p:cNvSpPr>
          <p:nvPr/>
        </p:nvSpPr>
        <p:spPr bwMode="gray">
          <a:xfrm>
            <a:off x="5522996" y="3622599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95" name="Oval 117"/>
          <p:cNvSpPr>
            <a:spLocks noChangeArrowheads="1"/>
          </p:cNvSpPr>
          <p:nvPr/>
        </p:nvSpPr>
        <p:spPr bwMode="gray">
          <a:xfrm>
            <a:off x="4728852" y="3154586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97" name="Oval 121"/>
          <p:cNvSpPr>
            <a:spLocks noChangeArrowheads="1"/>
          </p:cNvSpPr>
          <p:nvPr/>
        </p:nvSpPr>
        <p:spPr bwMode="gray">
          <a:xfrm>
            <a:off x="6317138" y="3325591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98" name="Oval 123"/>
          <p:cNvSpPr>
            <a:spLocks noChangeArrowheads="1"/>
          </p:cNvSpPr>
          <p:nvPr/>
        </p:nvSpPr>
        <p:spPr bwMode="gray">
          <a:xfrm>
            <a:off x="6031088" y="2764576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99" name="Oval 127"/>
          <p:cNvSpPr>
            <a:spLocks noChangeArrowheads="1"/>
          </p:cNvSpPr>
          <p:nvPr/>
        </p:nvSpPr>
        <p:spPr bwMode="gray">
          <a:xfrm>
            <a:off x="6555182" y="3198087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401" name="Oval 131"/>
          <p:cNvSpPr>
            <a:spLocks noChangeArrowheads="1"/>
          </p:cNvSpPr>
          <p:nvPr/>
        </p:nvSpPr>
        <p:spPr bwMode="gray">
          <a:xfrm>
            <a:off x="3606651" y="4728128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402" name="Oval 133"/>
          <p:cNvSpPr>
            <a:spLocks noChangeArrowheads="1"/>
          </p:cNvSpPr>
          <p:nvPr/>
        </p:nvSpPr>
        <p:spPr bwMode="gray">
          <a:xfrm>
            <a:off x="3538639" y="4558624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403" name="Oval 135"/>
          <p:cNvSpPr>
            <a:spLocks noChangeArrowheads="1"/>
          </p:cNvSpPr>
          <p:nvPr/>
        </p:nvSpPr>
        <p:spPr bwMode="gray">
          <a:xfrm>
            <a:off x="6951253" y="3486095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404" name="Oval 137"/>
          <p:cNvSpPr>
            <a:spLocks noChangeArrowheads="1"/>
          </p:cNvSpPr>
          <p:nvPr/>
        </p:nvSpPr>
        <p:spPr bwMode="gray">
          <a:xfrm>
            <a:off x="6157110" y="2721074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405" name="Oval 138"/>
          <p:cNvSpPr>
            <a:spLocks noChangeArrowheads="1"/>
          </p:cNvSpPr>
          <p:nvPr/>
        </p:nvSpPr>
        <p:spPr bwMode="gray">
          <a:xfrm>
            <a:off x="6499172" y="2475068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416" name="Oval 199"/>
          <p:cNvSpPr>
            <a:spLocks noChangeArrowheads="1"/>
          </p:cNvSpPr>
          <p:nvPr/>
        </p:nvSpPr>
        <p:spPr bwMode="gray">
          <a:xfrm>
            <a:off x="8085457" y="3358592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418" name="Oval 211"/>
          <p:cNvSpPr>
            <a:spLocks noChangeArrowheads="1"/>
          </p:cNvSpPr>
          <p:nvPr/>
        </p:nvSpPr>
        <p:spPr bwMode="gray">
          <a:xfrm>
            <a:off x="8131466" y="4336618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424" name="Oval 199"/>
          <p:cNvSpPr>
            <a:spLocks noChangeArrowheads="1"/>
          </p:cNvSpPr>
          <p:nvPr/>
        </p:nvSpPr>
        <p:spPr bwMode="gray">
          <a:xfrm>
            <a:off x="7675384" y="3927107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425" name="Oval 241"/>
          <p:cNvSpPr>
            <a:spLocks noChangeArrowheads="1"/>
          </p:cNvSpPr>
          <p:nvPr/>
        </p:nvSpPr>
        <p:spPr bwMode="gray">
          <a:xfrm>
            <a:off x="7443342" y="2182560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  <a:extLst/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426" name="Oval 244"/>
          <p:cNvSpPr>
            <a:spLocks noChangeArrowheads="1"/>
          </p:cNvSpPr>
          <p:nvPr/>
        </p:nvSpPr>
        <p:spPr bwMode="gray">
          <a:xfrm>
            <a:off x="5865057" y="2299563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428" name="Abgerundetes Rechteck 25"/>
          <p:cNvSpPr>
            <a:spLocks noChangeArrowheads="1"/>
          </p:cNvSpPr>
          <p:nvPr/>
        </p:nvSpPr>
        <p:spPr bwMode="gray">
          <a:xfrm>
            <a:off x="3452622" y="1309536"/>
            <a:ext cx="1166211" cy="142503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 dirty="0" err="1">
                <a:solidFill>
                  <a:srgbClr val="4B4B4B"/>
                </a:solidFill>
                <a:cs typeface="Arial" charset="0"/>
              </a:rPr>
              <a:t>Vianen</a:t>
            </a: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, Netherlands</a:t>
            </a:r>
          </a:p>
        </p:txBody>
      </p:sp>
      <p:sp>
        <p:nvSpPr>
          <p:cNvPr id="430" name="Abgerundetes Rechteck 25"/>
          <p:cNvSpPr>
            <a:spLocks noChangeArrowheads="1"/>
          </p:cNvSpPr>
          <p:nvPr/>
        </p:nvSpPr>
        <p:spPr bwMode="gray">
          <a:xfrm>
            <a:off x="2286412" y="1842050"/>
            <a:ext cx="1478266" cy="1425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Luxembourg, Luxembourg</a:t>
            </a:r>
          </a:p>
        </p:txBody>
      </p:sp>
      <p:sp>
        <p:nvSpPr>
          <p:cNvPr id="431" name="Abgerundetes Rechteck 25"/>
          <p:cNvSpPr>
            <a:spLocks noChangeArrowheads="1"/>
          </p:cNvSpPr>
          <p:nvPr/>
        </p:nvSpPr>
        <p:spPr bwMode="gray">
          <a:xfrm>
            <a:off x="2206398" y="2103057"/>
            <a:ext cx="1478266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Groot-</a:t>
            </a:r>
            <a:r>
              <a:rPr lang="en-US" sz="800" kern="0" dirty="0" err="1">
                <a:solidFill>
                  <a:srgbClr val="4B4B4B"/>
                </a:solidFill>
                <a:cs typeface="Arial" charset="0"/>
              </a:rPr>
              <a:t>Bijgaarden</a:t>
            </a: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, Belgium</a:t>
            </a:r>
          </a:p>
        </p:txBody>
      </p:sp>
      <p:sp>
        <p:nvSpPr>
          <p:cNvPr id="433" name="Abgerundetes Rechteck 25"/>
          <p:cNvSpPr>
            <a:spLocks noChangeArrowheads="1"/>
          </p:cNvSpPr>
          <p:nvPr/>
        </p:nvSpPr>
        <p:spPr bwMode="gray">
          <a:xfrm>
            <a:off x="2044368" y="2593570"/>
            <a:ext cx="1416255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London, United Kingdom</a:t>
            </a:r>
          </a:p>
        </p:txBody>
      </p:sp>
      <p:sp>
        <p:nvSpPr>
          <p:cNvPr id="435" name="Abgerundetes Rechteck 25"/>
          <p:cNvSpPr>
            <a:spLocks noChangeArrowheads="1"/>
          </p:cNvSpPr>
          <p:nvPr/>
        </p:nvSpPr>
        <p:spPr bwMode="gray">
          <a:xfrm>
            <a:off x="2644476" y="3058583"/>
            <a:ext cx="800144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Paris, France</a:t>
            </a:r>
          </a:p>
        </p:txBody>
      </p:sp>
      <p:sp>
        <p:nvSpPr>
          <p:cNvPr id="442" name="Abgerundetes Rechteck 25"/>
          <p:cNvSpPr>
            <a:spLocks noChangeArrowheads="1"/>
          </p:cNvSpPr>
          <p:nvPr/>
        </p:nvSpPr>
        <p:spPr bwMode="gray">
          <a:xfrm>
            <a:off x="2156388" y="4537623"/>
            <a:ext cx="936169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Lisboa, Portugal</a:t>
            </a:r>
          </a:p>
        </p:txBody>
      </p:sp>
      <p:sp>
        <p:nvSpPr>
          <p:cNvPr id="443" name="Abgerundetes Rechteck 25"/>
          <p:cNvSpPr>
            <a:spLocks noChangeArrowheads="1"/>
          </p:cNvSpPr>
          <p:nvPr/>
        </p:nvSpPr>
        <p:spPr bwMode="gray">
          <a:xfrm>
            <a:off x="1850334" y="4797129"/>
            <a:ext cx="1238222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Porto Salvo, Portugal</a:t>
            </a:r>
          </a:p>
        </p:txBody>
      </p:sp>
      <p:sp>
        <p:nvSpPr>
          <p:cNvPr id="447" name="Abgerundetes Rechteck 25"/>
          <p:cNvSpPr>
            <a:spLocks noChangeArrowheads="1"/>
          </p:cNvSpPr>
          <p:nvPr/>
        </p:nvSpPr>
        <p:spPr bwMode="gray">
          <a:xfrm>
            <a:off x="3394808" y="5182640"/>
            <a:ext cx="942170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Barcelona, Spain</a:t>
            </a:r>
          </a:p>
        </p:txBody>
      </p:sp>
      <p:sp>
        <p:nvSpPr>
          <p:cNvPr id="449" name="Abgerundetes Rechteck 25"/>
          <p:cNvSpPr>
            <a:spLocks noChangeArrowheads="1"/>
          </p:cNvSpPr>
          <p:nvPr/>
        </p:nvSpPr>
        <p:spPr bwMode="gray">
          <a:xfrm>
            <a:off x="4916885" y="5124138"/>
            <a:ext cx="1248225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Zollikofen, Switzerland</a:t>
            </a:r>
          </a:p>
        </p:txBody>
      </p:sp>
      <p:sp>
        <p:nvSpPr>
          <p:cNvPr id="457" name="Abgerundetes Rechteck 25"/>
          <p:cNvSpPr>
            <a:spLocks noChangeArrowheads="1"/>
          </p:cNvSpPr>
          <p:nvPr/>
        </p:nvSpPr>
        <p:spPr bwMode="gray">
          <a:xfrm>
            <a:off x="8903604" y="4477622"/>
            <a:ext cx="878158" cy="142503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Istanbul, Turkey</a:t>
            </a:r>
          </a:p>
        </p:txBody>
      </p:sp>
      <p:sp>
        <p:nvSpPr>
          <p:cNvPr id="463" name="Abgerundetes Rechteck 25"/>
          <p:cNvSpPr>
            <a:spLocks noChangeArrowheads="1"/>
          </p:cNvSpPr>
          <p:nvPr/>
        </p:nvSpPr>
        <p:spPr bwMode="gray">
          <a:xfrm>
            <a:off x="9579726" y="3481594"/>
            <a:ext cx="728131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Wien, Austria</a:t>
            </a:r>
          </a:p>
        </p:txBody>
      </p:sp>
      <p:sp>
        <p:nvSpPr>
          <p:cNvPr id="465" name="Abgerundetes Rechteck 25"/>
          <p:cNvSpPr>
            <a:spLocks noChangeArrowheads="1"/>
          </p:cNvSpPr>
          <p:nvPr/>
        </p:nvSpPr>
        <p:spPr bwMode="gray">
          <a:xfrm>
            <a:off x="9265669" y="3154586"/>
            <a:ext cx="786142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Kiev, Ukraine</a:t>
            </a:r>
          </a:p>
        </p:txBody>
      </p:sp>
      <p:sp>
        <p:nvSpPr>
          <p:cNvPr id="466" name="Abgerundetes Rechteck 25"/>
          <p:cNvSpPr>
            <a:spLocks noChangeArrowheads="1"/>
          </p:cNvSpPr>
          <p:nvPr/>
        </p:nvSpPr>
        <p:spPr bwMode="gray">
          <a:xfrm>
            <a:off x="9530717" y="3778168"/>
            <a:ext cx="1042187" cy="1425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Bukarest, Romania</a:t>
            </a:r>
          </a:p>
        </p:txBody>
      </p:sp>
      <p:sp>
        <p:nvSpPr>
          <p:cNvPr id="470" name="Abgerundetes Rechteck 25"/>
          <p:cNvSpPr>
            <a:spLocks noChangeArrowheads="1"/>
          </p:cNvSpPr>
          <p:nvPr/>
        </p:nvSpPr>
        <p:spPr bwMode="gray">
          <a:xfrm>
            <a:off x="8317498" y="2407565"/>
            <a:ext cx="1242224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 dirty="0" err="1" smtClean="0">
                <a:solidFill>
                  <a:srgbClr val="4B4B4B"/>
                </a:solidFill>
                <a:cs typeface="Arial" charset="0"/>
              </a:rPr>
              <a:t>Prag</a:t>
            </a:r>
            <a:r>
              <a:rPr lang="hu-HU" sz="800" kern="0" dirty="0" err="1" smtClean="0">
                <a:solidFill>
                  <a:srgbClr val="4B4B4B"/>
                </a:solidFill>
                <a:cs typeface="Arial" charset="0"/>
              </a:rPr>
              <a:t>ue</a:t>
            </a:r>
            <a:r>
              <a:rPr lang="en-US" sz="800" kern="0" dirty="0" smtClean="0">
                <a:solidFill>
                  <a:srgbClr val="4B4B4B"/>
                </a:solidFill>
                <a:cs typeface="Arial" charset="0"/>
              </a:rPr>
              <a:t>, </a:t>
            </a: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Czech Republic</a:t>
            </a:r>
          </a:p>
        </p:txBody>
      </p:sp>
      <p:sp>
        <p:nvSpPr>
          <p:cNvPr id="472" name="Abgerundetes Rechteck 25"/>
          <p:cNvSpPr>
            <a:spLocks noChangeArrowheads="1"/>
          </p:cNvSpPr>
          <p:nvPr/>
        </p:nvSpPr>
        <p:spPr bwMode="gray">
          <a:xfrm>
            <a:off x="7755397" y="2010054"/>
            <a:ext cx="1110199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Wroclaw, Poland</a:t>
            </a:r>
          </a:p>
        </p:txBody>
      </p:sp>
      <p:sp>
        <p:nvSpPr>
          <p:cNvPr id="473" name="Abgerundetes Rechteck 25"/>
          <p:cNvSpPr>
            <a:spLocks noChangeArrowheads="1"/>
          </p:cNvSpPr>
          <p:nvPr/>
        </p:nvSpPr>
        <p:spPr bwMode="gray">
          <a:xfrm>
            <a:off x="8195477" y="1822550"/>
            <a:ext cx="962173" cy="142503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Helsinki, Finland</a:t>
            </a:r>
          </a:p>
        </p:txBody>
      </p:sp>
      <p:sp>
        <p:nvSpPr>
          <p:cNvPr id="474" name="Abgerundetes Rechteck 25"/>
          <p:cNvSpPr>
            <a:spLocks noChangeArrowheads="1"/>
          </p:cNvSpPr>
          <p:nvPr/>
        </p:nvSpPr>
        <p:spPr bwMode="gray">
          <a:xfrm>
            <a:off x="7629375" y="1644045"/>
            <a:ext cx="1004181" cy="1425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Stockholm, Sweden</a:t>
            </a:r>
          </a:p>
        </p:txBody>
      </p:sp>
      <p:sp>
        <p:nvSpPr>
          <p:cNvPr id="475" name="Abgerundetes Rechteck 25"/>
          <p:cNvSpPr>
            <a:spLocks noChangeArrowheads="1"/>
          </p:cNvSpPr>
          <p:nvPr/>
        </p:nvSpPr>
        <p:spPr bwMode="gray">
          <a:xfrm>
            <a:off x="7255307" y="1434039"/>
            <a:ext cx="1006181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Malmö, Sweden</a:t>
            </a:r>
          </a:p>
        </p:txBody>
      </p:sp>
      <p:sp>
        <p:nvSpPr>
          <p:cNvPr id="476" name="Abgerundetes Rechteck 25"/>
          <p:cNvSpPr>
            <a:spLocks noChangeArrowheads="1"/>
          </p:cNvSpPr>
          <p:nvPr/>
        </p:nvSpPr>
        <p:spPr bwMode="gray">
          <a:xfrm>
            <a:off x="5408975" y="1137031"/>
            <a:ext cx="1006182" cy="1425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hu-HU" sz="800" kern="0" dirty="0" err="1" smtClean="0">
                <a:solidFill>
                  <a:srgbClr val="4B4B4B"/>
                </a:solidFill>
                <a:cs typeface="Arial" charset="0"/>
              </a:rPr>
              <a:t>Ballerup</a:t>
            </a:r>
            <a:r>
              <a:rPr lang="en-US" sz="800" kern="0" dirty="0" smtClean="0">
                <a:solidFill>
                  <a:srgbClr val="4B4B4B"/>
                </a:solidFill>
                <a:cs typeface="Arial" charset="0"/>
              </a:rPr>
              <a:t>, </a:t>
            </a: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Denmark</a:t>
            </a:r>
          </a:p>
        </p:txBody>
      </p:sp>
      <p:sp>
        <p:nvSpPr>
          <p:cNvPr id="477" name="Abgerundetes Rechteck 25"/>
          <p:cNvSpPr>
            <a:spLocks noChangeArrowheads="1"/>
          </p:cNvSpPr>
          <p:nvPr/>
        </p:nvSpPr>
        <p:spPr bwMode="gray">
          <a:xfrm>
            <a:off x="5328960" y="1506041"/>
            <a:ext cx="748135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Oslo, Norway</a:t>
            </a:r>
          </a:p>
        </p:txBody>
      </p:sp>
      <p:sp>
        <p:nvSpPr>
          <p:cNvPr id="479" name="Line 230"/>
          <p:cNvSpPr>
            <a:spLocks noChangeShapeType="1"/>
          </p:cNvSpPr>
          <p:nvPr/>
        </p:nvSpPr>
        <p:spPr bwMode="gray">
          <a:xfrm flipH="1">
            <a:off x="6951251" y="2989581"/>
            <a:ext cx="1725310" cy="651018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480" name="Oval 125"/>
          <p:cNvSpPr>
            <a:spLocks noChangeArrowheads="1"/>
          </p:cNvSpPr>
          <p:nvPr/>
        </p:nvSpPr>
        <p:spPr bwMode="gray">
          <a:xfrm>
            <a:off x="6883241" y="3622599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56" name="Picture 55" descr="TSY_Logo_3c_p">
            <a:hlinkClick r:id="rId5" action="ppaction://hlinksldjump"/>
          </p:cNvPr>
          <p:cNvSpPr>
            <a:spLocks noChangeAspect="1" noChangeArrowheads="1"/>
          </p:cNvSpPr>
          <p:nvPr>
            <p:custDataLst>
              <p:tags r:id="rId1"/>
            </p:custDataLst>
          </p:nvPr>
        </p:nvSpPr>
        <p:spPr bwMode="auto">
          <a:xfrm>
            <a:off x="1" y="5997162"/>
            <a:ext cx="5677022" cy="483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8" name="Abgerundetes Rechteck 25"/>
          <p:cNvSpPr>
            <a:spLocks noChangeArrowheads="1"/>
          </p:cNvSpPr>
          <p:nvPr/>
        </p:nvSpPr>
        <p:spPr bwMode="gray">
          <a:xfrm>
            <a:off x="8635761" y="2933063"/>
            <a:ext cx="1064192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Budapest, Hungary</a:t>
            </a:r>
          </a:p>
        </p:txBody>
      </p:sp>
      <p:sp>
        <p:nvSpPr>
          <p:cNvPr id="469" name="Abgerundetes Rechteck 25"/>
          <p:cNvSpPr>
            <a:spLocks noChangeArrowheads="1"/>
          </p:cNvSpPr>
          <p:nvPr/>
        </p:nvSpPr>
        <p:spPr bwMode="gray">
          <a:xfrm>
            <a:off x="8607821" y="2739102"/>
            <a:ext cx="1064192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 dirty="0" err="1">
                <a:solidFill>
                  <a:srgbClr val="4B4B4B"/>
                </a:solidFill>
                <a:cs typeface="Arial" charset="0"/>
              </a:rPr>
              <a:t>Košice</a:t>
            </a: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, Slovakia</a:t>
            </a:r>
          </a:p>
        </p:txBody>
      </p:sp>
      <p:sp>
        <p:nvSpPr>
          <p:cNvPr id="160" name="Text Box 305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8589547" y="5460148"/>
            <a:ext cx="2552460" cy="2031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42950" indent="-285750" eaLnBrk="0" hangingPunct="0"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1143000" indent="-228600" eaLnBrk="0" hangingPunct="0"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600200" indent="-228600" eaLnBrk="0" hangingPunct="0"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2057400" indent="-228600" eaLnBrk="0" hangingPunct="0"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514600" indent="-2286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971800" indent="-2286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3429000" indent="-2286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886200" indent="-2286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algn="r" defTabSz="914400" eaLnBrk="1" hangingPunct="1">
              <a:lnSpc>
                <a:spcPct val="90000"/>
              </a:lnSpc>
              <a:buClr>
                <a:srgbClr val="E20074"/>
              </a:buClr>
              <a:buSzPct val="65000"/>
            </a:pPr>
            <a:r>
              <a:rPr lang="en-GB" sz="800" dirty="0" smtClean="0">
                <a:solidFill>
                  <a:srgbClr val="4B4B4B"/>
                </a:solidFill>
                <a:latin typeface="Tele-GroteskNor" pitchFamily="2" charset="0"/>
                <a:cs typeface="Times New Roman" pitchFamily="18" charset="0"/>
              </a:rPr>
              <a:t>*Countries and seats,  as of 2015.08.24</a:t>
            </a:r>
            <a:endParaRPr lang="en-GB" sz="800" dirty="0">
              <a:solidFill>
                <a:srgbClr val="4B4B4B"/>
              </a:solidFill>
              <a:latin typeface="Tele-GroteskNor" pitchFamily="2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6516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Inhaltsplatzhalter 6"/>
          <p:cNvSpPr txBox="1">
            <a:spLocks/>
          </p:cNvSpPr>
          <p:nvPr/>
        </p:nvSpPr>
        <p:spPr bwMode="gray">
          <a:xfrm>
            <a:off x="326276" y="736715"/>
            <a:ext cx="5863937" cy="3227532"/>
          </a:xfrm>
          <a:prstGeom prst="rect">
            <a:avLst/>
          </a:prstGeom>
          <a:noFill/>
          <a:ln w="19050">
            <a:solidFill>
              <a:srgbClr val="E20074"/>
            </a:solidFill>
            <a:miter lim="800000"/>
            <a:headEnd/>
            <a:tailEnd/>
          </a:ln>
        </p:spPr>
        <p:txBody>
          <a:bodyPr vert="horz" wrap="square" lIns="108000" tIns="72000" rIns="72000" bIns="72000" numCol="1" anchor="t" anchorCtr="0" compatLnSpc="1">
            <a:prstTxWarp prst="textNoShape">
              <a:avLst/>
            </a:prstTxWarp>
          </a:bodyPr>
          <a:lstStyle>
            <a:lvl1pPr algn="l" defTabSz="576226" rtl="0" eaLnBrk="1" fontAlgn="base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2pPr>
            <a:lvl3pPr marL="225410" indent="-220649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3pPr>
            <a:lvl4pPr marL="444471" indent="-215886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4pPr>
            <a:lvl5pPr marL="677820" indent="-231761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76226" rtl="0" eaLnBrk="1" fontAlgn="base" latinLnBrk="0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rgbClr val="E20074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hu-H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20074"/>
                </a:solidFill>
                <a:effectLst/>
                <a:uLnTx/>
                <a:uFillTx/>
                <a:latin typeface="Tele-GroteskFet" pitchFamily="2" charset="0"/>
                <a:ea typeface="+mn-ea"/>
                <a:cs typeface="+mn-cs"/>
              </a:rPr>
              <a:t>Ne</a:t>
            </a:r>
            <a:r>
              <a:rPr lang="hu-HU" dirty="0" err="1" smtClean="0">
                <a:solidFill>
                  <a:srgbClr val="E20074"/>
                </a:solidFill>
              </a:rPr>
              <a:t>arshoring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E20074"/>
              </a:solidFill>
              <a:effectLst/>
              <a:uLnTx/>
              <a:uFillTx/>
              <a:latin typeface="Tele-GroteskFet" pitchFamily="2" charset="0"/>
              <a:ea typeface="+mn-ea"/>
              <a:cs typeface="+mn-cs"/>
            </a:endParaRPr>
          </a:p>
          <a:p>
            <a:pPr lvl="1" algn="just">
              <a:spcAft>
                <a:spcPts val="300"/>
              </a:spcAft>
              <a:buClr>
                <a:srgbClr val="E20074"/>
              </a:buClr>
            </a:pPr>
            <a:r>
              <a:rPr lang="en-US" dirty="0" smtClean="0">
                <a:latin typeface="Tele-GroteskNor"/>
              </a:rPr>
              <a:t>The transfer of business or IT processes to companies in a nearby country, often sharing a </a:t>
            </a:r>
            <a:r>
              <a:rPr lang="en-US" dirty="0">
                <a:latin typeface="Tele-GroteskNor"/>
              </a:rPr>
              <a:t>border</a:t>
            </a:r>
            <a:r>
              <a:rPr lang="en-US" dirty="0" smtClean="0">
                <a:latin typeface="Tele-GroteskNor"/>
              </a:rPr>
              <a:t>.</a:t>
            </a:r>
            <a:endParaRPr lang="hu-HU" dirty="0">
              <a:latin typeface="Tele-GroteskNor"/>
            </a:endParaRPr>
          </a:p>
          <a:p>
            <a:pPr marL="0" lvl="2" indent="0" algn="just">
              <a:buClr>
                <a:srgbClr val="4B4B4B"/>
              </a:buClr>
              <a:buNone/>
            </a:pPr>
            <a:r>
              <a:rPr lang="en-US" dirty="0">
                <a:latin typeface="Tele-GroteskNor"/>
              </a:rPr>
              <a:t>Both parties expect to benefit from one or more of the following dimensions </a:t>
            </a:r>
            <a:r>
              <a:rPr lang="en-US" dirty="0"/>
              <a:t>of </a:t>
            </a:r>
            <a:r>
              <a:rPr lang="en-US" dirty="0" smtClean="0"/>
              <a:t>proximity</a:t>
            </a:r>
            <a:r>
              <a:rPr lang="hu-HU" dirty="0" smtClean="0"/>
              <a:t>:</a:t>
            </a:r>
            <a:endParaRPr lang="hu-HU" dirty="0">
              <a:latin typeface="Tele-GroteskNor"/>
            </a:endParaRPr>
          </a:p>
          <a:p>
            <a:pPr marL="216000" lvl="2" indent="-216000">
              <a:buClr>
                <a:srgbClr val="4B4B4B"/>
              </a:buClr>
            </a:pPr>
            <a:r>
              <a:rPr lang="en-US" dirty="0">
                <a:latin typeface="Tele-GroteskNor"/>
              </a:rPr>
              <a:t>economic, </a:t>
            </a:r>
            <a:r>
              <a:rPr lang="en-US" dirty="0" smtClean="0">
                <a:latin typeface="Tele-GroteskNor"/>
              </a:rPr>
              <a:t>political </a:t>
            </a:r>
            <a:r>
              <a:rPr lang="en-US" dirty="0">
                <a:latin typeface="Tele-GroteskNor"/>
              </a:rPr>
              <a:t>or historical </a:t>
            </a:r>
            <a:r>
              <a:rPr lang="en-US" dirty="0" smtClean="0">
                <a:latin typeface="Tele-GroteskNor"/>
              </a:rPr>
              <a:t>linkages</a:t>
            </a:r>
            <a:endParaRPr lang="en-US" dirty="0">
              <a:latin typeface="Tele-GroteskNor"/>
            </a:endParaRPr>
          </a:p>
          <a:p>
            <a:pPr marL="216000" lvl="2" indent="-216000">
              <a:buClr>
                <a:srgbClr val="4B4B4B"/>
              </a:buClr>
            </a:pPr>
            <a:r>
              <a:rPr lang="en-US" dirty="0" smtClean="0">
                <a:latin typeface="Tele-GroteskNor"/>
              </a:rPr>
              <a:t>geographic</a:t>
            </a:r>
            <a:endParaRPr lang="en-US" dirty="0">
              <a:latin typeface="Tele-GroteskNor"/>
            </a:endParaRPr>
          </a:p>
          <a:p>
            <a:pPr marL="216000" lvl="2" indent="-216000">
              <a:buClr>
                <a:srgbClr val="4B4B4B"/>
              </a:buClr>
            </a:pPr>
            <a:r>
              <a:rPr lang="en-US" dirty="0">
                <a:latin typeface="Tele-GroteskNor"/>
              </a:rPr>
              <a:t>time </a:t>
            </a:r>
            <a:r>
              <a:rPr lang="en-US" dirty="0" smtClean="0">
                <a:latin typeface="Tele-GroteskNor"/>
              </a:rPr>
              <a:t>zone </a:t>
            </a:r>
            <a:endParaRPr lang="en-US" dirty="0">
              <a:latin typeface="Tele-GroteskNor"/>
            </a:endParaRPr>
          </a:p>
          <a:p>
            <a:pPr marL="216000" lvl="2" indent="-216000">
              <a:buClr>
                <a:srgbClr val="4B4B4B"/>
              </a:buClr>
            </a:pPr>
            <a:r>
              <a:rPr lang="en-US" dirty="0" smtClean="0">
                <a:latin typeface="Tele-GroteskNor"/>
              </a:rPr>
              <a:t>cultural</a:t>
            </a:r>
            <a:endParaRPr lang="en-US" dirty="0">
              <a:latin typeface="Tele-GroteskNor"/>
            </a:endParaRPr>
          </a:p>
          <a:p>
            <a:pPr marL="216000" lvl="2" indent="-216000">
              <a:buClr>
                <a:srgbClr val="4B4B4B"/>
              </a:buClr>
            </a:pPr>
            <a:r>
              <a:rPr lang="en-US" dirty="0" smtClean="0">
                <a:latin typeface="Tele-GroteskNor"/>
              </a:rPr>
              <a:t>linguistic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B4B4B"/>
              </a:solidFill>
              <a:effectLst/>
              <a:uLnTx/>
              <a:uFillTx/>
              <a:latin typeface="Tele-GroteskNor"/>
              <a:ea typeface="+mn-ea"/>
              <a:cs typeface="+mn-cs"/>
            </a:endParaRPr>
          </a:p>
        </p:txBody>
      </p:sp>
      <p:sp>
        <p:nvSpPr>
          <p:cNvPr id="93" name="Rechteck 30"/>
          <p:cNvSpPr/>
          <p:nvPr/>
        </p:nvSpPr>
        <p:spPr bwMode="gray">
          <a:xfrm>
            <a:off x="6806151" y="840295"/>
            <a:ext cx="4398992" cy="2182156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114300" algn="ctr" rotWithShape="0">
              <a:srgbClr val="000000">
                <a:alpha val="40000"/>
              </a:srgbClr>
            </a:outerShdw>
          </a:effec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indent="-220663" defTabSz="457200">
              <a:lnSpc>
                <a:spcPts val="18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</a:pPr>
            <a:endParaRPr lang="de-DE" sz="3200" smtClean="0">
              <a:solidFill>
                <a:srgbClr val="000000"/>
              </a:solidFill>
            </a:endParaRPr>
          </a:p>
        </p:txBody>
      </p:sp>
      <p:sp>
        <p:nvSpPr>
          <p:cNvPr id="62" name="Rectangle 8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376509" y="244920"/>
            <a:ext cx="5739590" cy="5095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-GroteskUlt" pitchFamily="2" charset="0"/>
                <a:ea typeface="TeleGrotesk Headline Ultra"/>
                <a:cs typeface="TeleGrotesk Headline Ultra"/>
              </a:defRPr>
            </a:lvl1pPr>
            <a:lvl2pPr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  <a:ea typeface="TeleGrotesk Headline Ultra"/>
                <a:cs typeface="TeleGrotesk Headline Ultra"/>
              </a:defRPr>
            </a:lvl2pPr>
            <a:lvl3pPr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  <a:ea typeface="TeleGrotesk Headline Ultra"/>
                <a:cs typeface="TeleGrotesk Headline Ultra"/>
              </a:defRPr>
            </a:lvl3pPr>
            <a:lvl4pPr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  <a:ea typeface="TeleGrotesk Headline Ultra"/>
                <a:cs typeface="TeleGrotesk Headline Ultra"/>
              </a:defRPr>
            </a:lvl4pPr>
            <a:lvl5pPr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  <a:ea typeface="TeleGrotesk Headline Ultra"/>
                <a:cs typeface="TeleGrotesk Headline Ultra"/>
              </a:defRPr>
            </a:lvl5pPr>
            <a:lvl6pPr marL="457200"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en-US" sz="2800" dirty="0" smtClean="0">
                <a:solidFill>
                  <a:srgbClr val="E20074"/>
                </a:solidFill>
                <a:latin typeface="Tele-GroteskUlt"/>
                <a:ea typeface="MS PGothic" pitchFamily="34" charset="-128"/>
                <a:cs typeface="Arial" charset="0"/>
              </a:rPr>
              <a:t>T</a:t>
            </a:r>
            <a:r>
              <a:rPr lang="hu-HU" sz="2800" dirty="0" smtClean="0">
                <a:solidFill>
                  <a:srgbClr val="E20074"/>
                </a:solidFill>
                <a:latin typeface="Tele-GroteskUlt"/>
                <a:ea typeface="MS PGothic" pitchFamily="34" charset="-128"/>
                <a:cs typeface="Arial" charset="0"/>
              </a:rPr>
              <a:t>HE</a:t>
            </a:r>
            <a:r>
              <a:rPr lang="en-US" sz="2800" dirty="0" smtClean="0">
                <a:solidFill>
                  <a:srgbClr val="E20074"/>
                </a:solidFill>
                <a:latin typeface="Tele-GroteskUlt"/>
                <a:ea typeface="MS PGothic" pitchFamily="34" charset="-128"/>
                <a:cs typeface="Arial" charset="0"/>
              </a:rPr>
              <a:t> </a:t>
            </a:r>
            <a:r>
              <a:rPr lang="hu-HU" sz="2800" dirty="0" smtClean="0">
                <a:solidFill>
                  <a:srgbClr val="E20074"/>
                </a:solidFill>
                <a:latin typeface="Tele-GroteskUlt"/>
                <a:ea typeface="MS PGothic" pitchFamily="34" charset="-128"/>
                <a:cs typeface="Arial" charset="0"/>
              </a:rPr>
              <a:t>NEARSHORE BUSINESS</a:t>
            </a:r>
            <a:endParaRPr lang="en-US" sz="2800" dirty="0">
              <a:solidFill>
                <a:srgbClr val="E20074"/>
              </a:solidFill>
              <a:latin typeface="Tele-GroteskUlt"/>
              <a:ea typeface="MS PGothic" pitchFamily="34" charset="-128"/>
              <a:cs typeface="Arial" charset="0"/>
            </a:endParaRPr>
          </a:p>
        </p:txBody>
      </p:sp>
      <p:sp>
        <p:nvSpPr>
          <p:cNvPr id="94" name="Rectangle 11"/>
          <p:cNvSpPr>
            <a:spLocks noChangeArrowheads="1"/>
          </p:cNvSpPr>
          <p:nvPr/>
        </p:nvSpPr>
        <p:spPr bwMode="gray">
          <a:xfrm>
            <a:off x="6940420" y="876297"/>
            <a:ext cx="4162899" cy="608626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lIns="72000" tIns="72000" rIns="72000" bIns="72000" anchor="ctr"/>
          <a:lstStyle/>
          <a:p>
            <a:pPr defTabSz="912813">
              <a:lnSpc>
                <a:spcPts val="18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</a:pPr>
            <a:r>
              <a:rPr lang="en-GB" sz="1600" dirty="0" smtClean="0">
                <a:solidFill>
                  <a:schemeClr val="tx2"/>
                </a:solidFill>
                <a:latin typeface="Tele-GroteskFet" pitchFamily="2" charset="0"/>
              </a:rPr>
              <a:t>Organic Growth Point of </a:t>
            </a:r>
            <a:r>
              <a:rPr lang="hu-HU" sz="1600" dirty="0">
                <a:solidFill>
                  <a:schemeClr val="tx2"/>
                </a:solidFill>
                <a:latin typeface="Tele-GroteskFet" pitchFamily="2" charset="0"/>
              </a:rPr>
              <a:t/>
            </a:r>
            <a:br>
              <a:rPr lang="hu-HU" sz="1600" dirty="0">
                <a:solidFill>
                  <a:schemeClr val="tx2"/>
                </a:solidFill>
                <a:latin typeface="Tele-GroteskFet" pitchFamily="2" charset="0"/>
              </a:rPr>
            </a:br>
            <a:r>
              <a:rPr lang="en-GB" sz="1600" dirty="0" smtClean="0">
                <a:solidFill>
                  <a:schemeClr val="tx2"/>
                </a:solidFill>
                <a:latin typeface="Tele-GroteskFet" pitchFamily="2" charset="0"/>
              </a:rPr>
              <a:t>Production Market Unit IT</a:t>
            </a:r>
          </a:p>
          <a:p>
            <a:pPr defTabSz="912813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GB" sz="1600" dirty="0" smtClean="0">
                <a:solidFill>
                  <a:schemeClr val="tx2"/>
                </a:solidFill>
                <a:latin typeface="Tele-GroteskNor" pitchFamily="2" charset="0"/>
              </a:rPr>
              <a:t>(in Full Time Equivalent)</a:t>
            </a:r>
            <a:endParaRPr lang="en-GB" sz="1600" dirty="0">
              <a:solidFill>
                <a:schemeClr val="tx2"/>
              </a:solidFill>
              <a:latin typeface="Tele-GroteskNor" pitchFamily="2" charset="0"/>
            </a:endParaRPr>
          </a:p>
        </p:txBody>
      </p:sp>
      <p:cxnSp>
        <p:nvCxnSpPr>
          <p:cNvPr id="104" name="Gerade Verbindung 140"/>
          <p:cNvCxnSpPr>
            <a:cxnSpLocks noChangeShapeType="1"/>
          </p:cNvCxnSpPr>
          <p:nvPr>
            <p:custDataLst>
              <p:tags r:id="rId2"/>
            </p:custDataLst>
          </p:nvPr>
        </p:nvCxnSpPr>
        <p:spPr bwMode="gray">
          <a:xfrm>
            <a:off x="10321798" y="1634523"/>
            <a:ext cx="0" cy="162673"/>
          </a:xfrm>
          <a:prstGeom prst="line">
            <a:avLst/>
          </a:prstGeom>
          <a:noFill/>
          <a:ln w="12700" algn="ctr">
            <a:solidFill>
              <a:srgbClr val="4B4B4B"/>
            </a:solidFill>
            <a:round/>
            <a:headEnd type="none"/>
            <a:tailEnd type="triangle" w="med" len="med"/>
          </a:ln>
        </p:spPr>
      </p:cxnSp>
      <p:cxnSp>
        <p:nvCxnSpPr>
          <p:cNvPr id="105" name="Gerade Verbindung 139"/>
          <p:cNvCxnSpPr>
            <a:cxnSpLocks noChangeShapeType="1"/>
          </p:cNvCxnSpPr>
          <p:nvPr>
            <p:custDataLst>
              <p:tags r:id="rId3"/>
            </p:custDataLst>
          </p:nvPr>
        </p:nvCxnSpPr>
        <p:spPr bwMode="gray">
          <a:xfrm flipV="1">
            <a:off x="7590749" y="1634523"/>
            <a:ext cx="2737594" cy="3449"/>
          </a:xfrm>
          <a:prstGeom prst="line">
            <a:avLst/>
          </a:prstGeom>
          <a:noFill/>
          <a:ln w="12700" algn="ctr">
            <a:solidFill>
              <a:srgbClr val="4B4B4B"/>
            </a:solidFill>
            <a:round/>
            <a:headEnd type="none"/>
            <a:tailEnd type="none"/>
          </a:ln>
        </p:spPr>
      </p:cxnSp>
      <p:cxnSp>
        <p:nvCxnSpPr>
          <p:cNvPr id="106" name="Gerade Verbindung 138"/>
          <p:cNvCxnSpPr>
            <a:cxnSpLocks noChangeShapeType="1"/>
          </p:cNvCxnSpPr>
          <p:nvPr>
            <p:custDataLst>
              <p:tags r:id="rId4"/>
            </p:custDataLst>
          </p:nvPr>
        </p:nvCxnSpPr>
        <p:spPr bwMode="gray">
          <a:xfrm>
            <a:off x="7590749" y="1637969"/>
            <a:ext cx="0" cy="242078"/>
          </a:xfrm>
          <a:prstGeom prst="line">
            <a:avLst/>
          </a:prstGeom>
          <a:noFill/>
          <a:ln w="12700" algn="ctr">
            <a:solidFill>
              <a:srgbClr val="4B4B4B"/>
            </a:solidFill>
            <a:round/>
            <a:headEnd type="none"/>
            <a:tailEnd type="none"/>
          </a:ln>
        </p:spPr>
      </p:cxnSp>
      <p:sp>
        <p:nvSpPr>
          <p:cNvPr id="114" name="AutoShape 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rot="21311055">
            <a:off x="674316" y="4214320"/>
            <a:ext cx="3796385" cy="1068736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44000" tIns="72000" rIns="144000" bIns="72000">
            <a:spAutoFit/>
          </a:bodyPr>
          <a:lstStyle/>
          <a:p>
            <a:pPr defTabSz="457200">
              <a:lnSpc>
                <a:spcPts val="1800"/>
              </a:lnSpc>
              <a:spcBef>
                <a:spcPct val="25000"/>
              </a:spcBef>
              <a:buClr>
                <a:srgbClr val="E20074"/>
              </a:buClr>
              <a:buFont typeface="Wingdings" pitchFamily="2" charset="2"/>
              <a:buNone/>
            </a:pPr>
            <a:r>
              <a:rPr lang="en-GB" dirty="0" smtClean="0">
                <a:solidFill>
                  <a:srgbClr val="FFFFFF"/>
                </a:solidFill>
              </a:rPr>
              <a:t>Planned </a:t>
            </a:r>
            <a:r>
              <a:rPr lang="en-GB" dirty="0" err="1" smtClean="0">
                <a:solidFill>
                  <a:srgbClr val="FFFFFF"/>
                </a:solidFill>
              </a:rPr>
              <a:t>Nearshore</a:t>
            </a:r>
            <a:r>
              <a:rPr lang="en-GB" dirty="0" smtClean="0">
                <a:solidFill>
                  <a:srgbClr val="FFFFFF"/>
                </a:solidFill>
              </a:rPr>
              <a:t> / Offshore ratio compared to the Total number of  Full Time Equivalents in T-Systems Delivery.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07" name="Ellipse 344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8666551" y="1511924"/>
            <a:ext cx="633155" cy="285272"/>
          </a:xfrm>
          <a:prstGeom prst="ellipse">
            <a:avLst/>
          </a:prstGeom>
          <a:solidFill>
            <a:srgbClr val="FFFFFF"/>
          </a:solidFill>
          <a:ln w="9525" algn="ctr">
            <a:solidFill>
              <a:srgbClr val="4B4B4B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defTabSz="457200">
              <a:lnSpc>
                <a:spcPts val="1800"/>
              </a:lnSpc>
              <a:spcAft>
                <a:spcPct val="30000"/>
              </a:spcAft>
              <a:buClr>
                <a:srgbClr val="E20074"/>
              </a:buClr>
              <a:buSzPct val="75000"/>
              <a:buFont typeface="Wingdings" pitchFamily="2" charset="2"/>
              <a:buNone/>
            </a:pPr>
            <a:r>
              <a:rPr lang="hu-HU" sz="1400" dirty="0" smtClean="0">
                <a:solidFill>
                  <a:srgbClr val="4B4B4B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+14%</a:t>
            </a:r>
            <a:endParaRPr lang="de-DE" dirty="0">
              <a:solidFill>
                <a:srgbClr val="4B4B4B"/>
              </a:solidFill>
              <a:latin typeface="Tele-GroteskFet" pitchFamily="2" charset="0"/>
              <a:ea typeface="Tele-GroteskFet" pitchFamily="2" charset="0"/>
              <a:cs typeface="Tele-GroteskFet" pitchFamily="2" charset="0"/>
              <a:sym typeface="Tele-GroteskNor" pitchFamily="2" charset="0"/>
            </a:endParaRPr>
          </a:p>
        </p:txBody>
      </p:sp>
      <p:sp>
        <p:nvSpPr>
          <p:cNvPr id="122" name="TextBox 121"/>
          <p:cNvSpPr txBox="1"/>
          <p:nvPr/>
        </p:nvSpPr>
        <p:spPr>
          <a:xfrm>
            <a:off x="8983514" y="3469300"/>
            <a:ext cx="947257" cy="32316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defTabSz="457200">
              <a:lnSpc>
                <a:spcPts val="1800"/>
              </a:lnSpc>
              <a:spcBef>
                <a:spcPct val="25000"/>
              </a:spcBef>
              <a:buClr>
                <a:srgbClr val="E20074"/>
              </a:buClr>
              <a:buFont typeface="Wingdings" pitchFamily="2" charset="2"/>
              <a:buNone/>
            </a:pPr>
            <a:r>
              <a:rPr lang="en-US" sz="2400" smtClean="0">
                <a:solidFill>
                  <a:srgbClr val="000000"/>
                </a:solidFill>
              </a:rPr>
              <a:t>50%</a:t>
            </a:r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123" name="TextBox 122"/>
          <p:cNvSpPr txBox="1"/>
          <p:nvPr/>
        </p:nvSpPr>
        <p:spPr>
          <a:xfrm>
            <a:off x="4976687" y="4153087"/>
            <a:ext cx="94725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>
              <a:lnSpc>
                <a:spcPts val="1800"/>
              </a:lnSpc>
              <a:spcBef>
                <a:spcPct val="25000"/>
              </a:spcBef>
              <a:buClr>
                <a:srgbClr val="E20074"/>
              </a:buClr>
              <a:buFont typeface="Wingdings" pitchFamily="2" charset="2"/>
              <a:buNone/>
            </a:pPr>
            <a:r>
              <a:rPr lang="en-US" sz="2400" smtClean="0">
                <a:solidFill>
                  <a:srgbClr val="000000"/>
                </a:solidFill>
              </a:rPr>
              <a:t>34%</a:t>
            </a:r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124" name="TextBox 123"/>
          <p:cNvSpPr txBox="1"/>
          <p:nvPr/>
        </p:nvSpPr>
        <p:spPr>
          <a:xfrm>
            <a:off x="6000776" y="4014951"/>
            <a:ext cx="94725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>
              <a:lnSpc>
                <a:spcPts val="1800"/>
              </a:lnSpc>
              <a:spcBef>
                <a:spcPct val="25000"/>
              </a:spcBef>
              <a:buClr>
                <a:srgbClr val="E20074"/>
              </a:buClr>
              <a:buFont typeface="Wingdings" pitchFamily="2" charset="2"/>
              <a:buNone/>
            </a:pPr>
            <a:r>
              <a:rPr lang="en-US" sz="2400" smtClean="0">
                <a:solidFill>
                  <a:srgbClr val="000000"/>
                </a:solidFill>
              </a:rPr>
              <a:t>38%</a:t>
            </a:r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125" name="TextBox 124"/>
          <p:cNvSpPr txBox="1"/>
          <p:nvPr/>
        </p:nvSpPr>
        <p:spPr>
          <a:xfrm>
            <a:off x="6977825" y="3894479"/>
            <a:ext cx="94725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>
              <a:lnSpc>
                <a:spcPts val="1800"/>
              </a:lnSpc>
              <a:spcBef>
                <a:spcPct val="25000"/>
              </a:spcBef>
              <a:buClr>
                <a:srgbClr val="E20074"/>
              </a:buClr>
              <a:buFont typeface="Wingdings" pitchFamily="2" charset="2"/>
              <a:buNone/>
            </a:pPr>
            <a:r>
              <a:rPr lang="en-US" sz="2400" smtClean="0">
                <a:solidFill>
                  <a:srgbClr val="000000"/>
                </a:solidFill>
              </a:rPr>
              <a:t>42%</a:t>
            </a:r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126" name="TextBox 125"/>
          <p:cNvSpPr txBox="1"/>
          <p:nvPr/>
        </p:nvSpPr>
        <p:spPr>
          <a:xfrm>
            <a:off x="7968493" y="3759247"/>
            <a:ext cx="94725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>
              <a:lnSpc>
                <a:spcPts val="1800"/>
              </a:lnSpc>
              <a:spcBef>
                <a:spcPct val="25000"/>
              </a:spcBef>
              <a:buClr>
                <a:srgbClr val="E20074"/>
              </a:buClr>
              <a:buFont typeface="Wingdings" pitchFamily="2" charset="2"/>
              <a:buNone/>
            </a:pPr>
            <a:r>
              <a:rPr lang="en-US" sz="2400" smtClean="0">
                <a:solidFill>
                  <a:srgbClr val="000000"/>
                </a:solidFill>
              </a:rPr>
              <a:t>44%</a:t>
            </a:r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127" name="Rechteck 34"/>
          <p:cNvSpPr/>
          <p:nvPr/>
        </p:nvSpPr>
        <p:spPr bwMode="gray">
          <a:xfrm>
            <a:off x="4400012" y="3266855"/>
            <a:ext cx="6805130" cy="2405183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114300" algn="ctr" rotWithShape="0">
              <a:srgbClr val="000000">
                <a:alpha val="40000"/>
              </a:srgbClr>
            </a:outerShdw>
          </a:effec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indent="-220663" defTabSz="457200">
              <a:lnSpc>
                <a:spcPts val="18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</a:pPr>
            <a:endParaRPr lang="de-DE" sz="3600" smtClean="0">
              <a:solidFill>
                <a:srgbClr val="4B4B4B"/>
              </a:solidFill>
            </a:endParaRPr>
          </a:p>
        </p:txBody>
      </p:sp>
      <p:sp>
        <p:nvSpPr>
          <p:cNvPr id="128" name="Rectangle 11"/>
          <p:cNvSpPr>
            <a:spLocks noChangeArrowheads="1"/>
          </p:cNvSpPr>
          <p:nvPr/>
        </p:nvSpPr>
        <p:spPr bwMode="gray">
          <a:xfrm>
            <a:off x="4546321" y="3394288"/>
            <a:ext cx="6559026" cy="304564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lIns="72000" tIns="72000" rIns="72000" bIns="72000" anchor="ctr"/>
          <a:lstStyle/>
          <a:p>
            <a:pPr defTabSz="912813">
              <a:lnSpc>
                <a:spcPts val="18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</a:pPr>
            <a:r>
              <a:rPr lang="en-GB" sz="1600" dirty="0" err="1" smtClean="0">
                <a:solidFill>
                  <a:schemeClr val="tx2"/>
                </a:solidFill>
                <a:latin typeface="Tele-GroteskFet" pitchFamily="2" charset="0"/>
              </a:rPr>
              <a:t>Nearshore</a:t>
            </a:r>
            <a:r>
              <a:rPr lang="en-GB" sz="1600" dirty="0" smtClean="0">
                <a:solidFill>
                  <a:schemeClr val="tx2"/>
                </a:solidFill>
                <a:latin typeface="Tele-GroteskFet" pitchFamily="2" charset="0"/>
              </a:rPr>
              <a:t>/Offshore Ratio</a:t>
            </a:r>
            <a:endParaRPr lang="en-GB" sz="1600" dirty="0">
              <a:solidFill>
                <a:schemeClr val="tx2"/>
              </a:solidFill>
              <a:latin typeface="Tele-GroteskFet" pitchFamily="2" charset="0"/>
            </a:endParaRPr>
          </a:p>
        </p:txBody>
      </p:sp>
      <p:graphicFrame>
        <p:nvGraphicFramePr>
          <p:cNvPr id="129" name="Object 3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506633874"/>
              </p:ext>
            </p:extLst>
          </p:nvPr>
        </p:nvGraphicFramePr>
        <p:xfrm>
          <a:off x="4786284" y="4072572"/>
          <a:ext cx="6364851" cy="12149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sp>
        <p:nvSpPr>
          <p:cNvPr id="130" name="Rechteck 130"/>
          <p:cNvSpPr/>
          <p:nvPr>
            <p:custDataLst>
              <p:tags r:id="rId8"/>
            </p:custDataLst>
          </p:nvPr>
        </p:nvSpPr>
        <p:spPr bwMode="gray">
          <a:xfrm>
            <a:off x="4642302" y="4090778"/>
            <a:ext cx="120650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 defTabSz="457200">
              <a:buClr>
                <a:srgbClr val="E20074"/>
              </a:buClr>
              <a:buSzPct val="75000"/>
              <a:buFont typeface="Wingdings" pitchFamily="2" charset="2"/>
              <a:buNone/>
            </a:pPr>
            <a:fld id="{6C649D48-2237-4CE3-9126-AFE48A629235}" type="datetime'''''''''5''''''''''''''''''''''''''''''''''''''''''0'">
              <a:rPr lang="en-US" sz="1400" smtClean="0">
                <a:solidFill>
                  <a:srgbClr val="4B4B4B"/>
                </a:solidFill>
                <a:latin typeface="Tele-GroteskFet"/>
                <a:sym typeface="Tele-GroteskFet"/>
              </a:rPr>
              <a:pPr algn="r" defTabSz="457200">
                <a:buClr>
                  <a:srgbClr val="E20074"/>
                </a:buClr>
                <a:buSzPct val="75000"/>
                <a:buFont typeface="Wingdings" pitchFamily="2" charset="2"/>
                <a:buNone/>
              </a:pPr>
              <a:t>50</a:t>
            </a:fld>
            <a:endParaRPr lang="de-DE" sz="1400" dirty="0" err="1" smtClean="0">
              <a:solidFill>
                <a:srgbClr val="4B4B4B"/>
              </a:solidFill>
              <a:latin typeface="Tele-GroteskFet"/>
              <a:sym typeface="Tele-GroteskFet"/>
            </a:endParaRPr>
          </a:p>
        </p:txBody>
      </p:sp>
      <p:sp>
        <p:nvSpPr>
          <p:cNvPr id="131" name="Rechteck 134"/>
          <p:cNvSpPr/>
          <p:nvPr>
            <p:custDataLst>
              <p:tags r:id="rId9"/>
            </p:custDataLst>
          </p:nvPr>
        </p:nvSpPr>
        <p:spPr bwMode="gray">
          <a:xfrm>
            <a:off x="4644484" y="4397633"/>
            <a:ext cx="120650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 defTabSz="457200">
              <a:buClr>
                <a:srgbClr val="E20074"/>
              </a:buClr>
              <a:buSzPct val="75000"/>
              <a:buFont typeface="Wingdings" pitchFamily="2" charset="2"/>
              <a:buNone/>
            </a:pPr>
            <a:fld id="{3351EABA-C48A-4736-B5A4-3848F6625BE1}" type="datetime'''''''''''''''''''''4''''0'''''''''''''''''''''''''">
              <a:rPr lang="en-US" sz="1400" smtClean="0">
                <a:solidFill>
                  <a:srgbClr val="4B4B4B"/>
                </a:solidFill>
                <a:latin typeface="Tele-GroteskFet"/>
                <a:sym typeface="Tele-GroteskFet"/>
              </a:rPr>
              <a:pPr algn="r" defTabSz="457200">
                <a:buClr>
                  <a:srgbClr val="E20074"/>
                </a:buClr>
                <a:buSzPct val="75000"/>
                <a:buFont typeface="Wingdings" pitchFamily="2" charset="2"/>
                <a:buNone/>
              </a:pPr>
              <a:t>40</a:t>
            </a:fld>
            <a:endParaRPr lang="de-DE" sz="1400" dirty="0" err="1" smtClean="0">
              <a:solidFill>
                <a:srgbClr val="4B4B4B"/>
              </a:solidFill>
              <a:latin typeface="Tele-GroteskFet"/>
              <a:sym typeface="Tele-GroteskFet"/>
            </a:endParaRPr>
          </a:p>
        </p:txBody>
      </p:sp>
      <p:sp>
        <p:nvSpPr>
          <p:cNvPr id="132" name="Rechteck 133"/>
          <p:cNvSpPr/>
          <p:nvPr>
            <p:custDataLst>
              <p:tags r:id="rId10"/>
            </p:custDataLst>
          </p:nvPr>
        </p:nvSpPr>
        <p:spPr bwMode="gray">
          <a:xfrm>
            <a:off x="4614321" y="5121866"/>
            <a:ext cx="60325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 defTabSz="457200">
              <a:buClr>
                <a:srgbClr val="E20074"/>
              </a:buClr>
              <a:buSzPct val="75000"/>
              <a:buFont typeface="Wingdings" pitchFamily="2" charset="2"/>
              <a:buNone/>
            </a:pPr>
            <a:fld id="{2AD486DF-A04A-45E3-BC4D-196DF811FCE2}" type="datetime'''''''''''''''''''0'''''''''''''''''''''''''''''''">
              <a:rPr lang="en-US" sz="1400" smtClean="0">
                <a:solidFill>
                  <a:srgbClr val="4B4B4B"/>
                </a:solidFill>
                <a:latin typeface="Tele-GroteskFet"/>
                <a:cs typeface="Arial"/>
                <a:sym typeface="Tele-GroteskFet"/>
              </a:rPr>
              <a:pPr algn="r" defTabSz="457200">
                <a:buClr>
                  <a:srgbClr val="E20074"/>
                </a:buClr>
                <a:buSzPct val="75000"/>
                <a:buFont typeface="Wingdings" pitchFamily="2" charset="2"/>
                <a:buNone/>
              </a:pPr>
              <a:t>0</a:t>
            </a:fld>
            <a:endParaRPr lang="de-DE" sz="1400" dirty="0" err="1" smtClean="0">
              <a:solidFill>
                <a:srgbClr val="4B4B4B"/>
              </a:solidFill>
              <a:latin typeface="Tele-GroteskFet"/>
              <a:cs typeface="Arial"/>
              <a:sym typeface="Tele-GroteskFet"/>
            </a:endParaRPr>
          </a:p>
        </p:txBody>
      </p:sp>
      <p:cxnSp>
        <p:nvCxnSpPr>
          <p:cNvPr id="133" name="Gerade Verbindung 135"/>
          <p:cNvCxnSpPr/>
          <p:nvPr>
            <p:custDataLst>
              <p:tags r:id="rId11"/>
            </p:custDataLst>
          </p:nvPr>
        </p:nvCxnSpPr>
        <p:spPr bwMode="gray">
          <a:xfrm>
            <a:off x="4826303" y="4192845"/>
            <a:ext cx="42863" cy="0"/>
          </a:xfrm>
          <a:prstGeom prst="line">
            <a:avLst/>
          </a:prstGeom>
          <a:ln w="19050">
            <a:solidFill>
              <a:srgbClr val="4B4B4B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138"/>
          <p:cNvCxnSpPr/>
          <p:nvPr>
            <p:custDataLst>
              <p:tags r:id="rId12"/>
            </p:custDataLst>
          </p:nvPr>
        </p:nvCxnSpPr>
        <p:spPr bwMode="gray">
          <a:xfrm>
            <a:off x="4823872" y="4473833"/>
            <a:ext cx="42863" cy="0"/>
          </a:xfrm>
          <a:prstGeom prst="line">
            <a:avLst/>
          </a:prstGeom>
          <a:ln w="19050">
            <a:solidFill>
              <a:srgbClr val="4B4B4B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5" name="Gerade Verbindung 136"/>
          <p:cNvCxnSpPr/>
          <p:nvPr>
            <p:custDataLst>
              <p:tags r:id="rId13"/>
            </p:custDataLst>
          </p:nvPr>
        </p:nvCxnSpPr>
        <p:spPr bwMode="gray">
          <a:xfrm>
            <a:off x="4814347" y="5231501"/>
            <a:ext cx="42863" cy="0"/>
          </a:xfrm>
          <a:prstGeom prst="line">
            <a:avLst/>
          </a:prstGeom>
          <a:ln w="19050">
            <a:solidFill>
              <a:srgbClr val="4B4B4B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 useBgFill="1">
        <p:nvSpPr>
          <p:cNvPr id="136" name="Freihandform 184"/>
          <p:cNvSpPr/>
          <p:nvPr>
            <p:custDataLst>
              <p:tags r:id="rId14"/>
            </p:custDataLst>
          </p:nvPr>
        </p:nvSpPr>
        <p:spPr bwMode="gray">
          <a:xfrm>
            <a:off x="5274723" y="4778633"/>
            <a:ext cx="577851" cy="79376"/>
          </a:xfrm>
          <a:custGeom>
            <a:avLst/>
            <a:gdLst/>
            <a:ahLst/>
            <a:cxnLst/>
            <a:rect l="0" t="0" r="0" b="0"/>
            <a:pathLst>
              <a:path w="5778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68288" indent="-268288"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tabLst>
                <a:tab pos="268288" algn="l"/>
              </a:tabLst>
            </a:pPr>
            <a:endParaRPr lang="de-DE" sz="3600" smtClean="0">
              <a:solidFill>
                <a:srgbClr val="000000"/>
              </a:solidFill>
            </a:endParaRPr>
          </a:p>
        </p:txBody>
      </p:sp>
      <p:sp>
        <p:nvSpPr>
          <p:cNvPr id="137" name="Freihandform 181"/>
          <p:cNvSpPr/>
          <p:nvPr>
            <p:custDataLst>
              <p:tags r:id="rId15"/>
            </p:custDataLst>
          </p:nvPr>
        </p:nvSpPr>
        <p:spPr bwMode="gray">
          <a:xfrm>
            <a:off x="4823873" y="4905984"/>
            <a:ext cx="146051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68288" indent="-268288"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tabLst>
                <a:tab pos="268288" algn="l"/>
              </a:tabLst>
            </a:pPr>
            <a:endParaRPr lang="de-DE" sz="3600" smtClean="0">
              <a:solidFill>
                <a:srgbClr val="4B4B4B"/>
              </a:solidFill>
            </a:endParaRPr>
          </a:p>
        </p:txBody>
      </p:sp>
      <p:sp>
        <p:nvSpPr>
          <p:cNvPr id="138" name="Freihandform 180"/>
          <p:cNvSpPr/>
          <p:nvPr>
            <p:custDataLst>
              <p:tags r:id="rId16"/>
            </p:custDataLst>
          </p:nvPr>
        </p:nvSpPr>
        <p:spPr bwMode="gray">
          <a:xfrm>
            <a:off x="4814348" y="4966472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solidFill>
            <a:schemeClr val="bg2"/>
          </a:solidFill>
          <a:ln w="9525" cap="flat" cmpd="sng" algn="ctr">
            <a:solidFill>
              <a:srgbClr val="4B4B4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68288" indent="-268288"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tabLst>
                <a:tab pos="268288" algn="l"/>
              </a:tabLst>
            </a:pPr>
            <a:endParaRPr lang="de-DE" sz="3600" smtClean="0">
              <a:solidFill>
                <a:srgbClr val="000000"/>
              </a:solidFill>
            </a:endParaRPr>
          </a:p>
        </p:txBody>
      </p:sp>
      <p:sp>
        <p:nvSpPr>
          <p:cNvPr id="139" name="Freihandform 179"/>
          <p:cNvSpPr/>
          <p:nvPr>
            <p:custDataLst>
              <p:tags r:id="rId17"/>
            </p:custDataLst>
          </p:nvPr>
        </p:nvSpPr>
        <p:spPr bwMode="gray">
          <a:xfrm>
            <a:off x="4814347" y="4904718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solidFill>
            <a:schemeClr val="bg2"/>
          </a:solidFill>
          <a:ln w="9525" cap="flat" cmpd="sng" algn="ctr">
            <a:solidFill>
              <a:srgbClr val="4B4B4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68288" indent="-268288"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tabLst>
                <a:tab pos="268288" algn="l"/>
              </a:tabLst>
            </a:pPr>
            <a:endParaRPr lang="de-DE" sz="3600" smtClean="0">
              <a:solidFill>
                <a:srgbClr val="000000"/>
              </a:solidFill>
            </a:endParaRPr>
          </a:p>
        </p:txBody>
      </p:sp>
      <p:sp>
        <p:nvSpPr>
          <p:cNvPr id="140" name="Rechteck 146"/>
          <p:cNvSpPr/>
          <p:nvPr>
            <p:custDataLst>
              <p:tags r:id="rId18"/>
            </p:custDataLst>
          </p:nvPr>
        </p:nvSpPr>
        <p:spPr bwMode="gray">
          <a:xfrm>
            <a:off x="9994244" y="5247155"/>
            <a:ext cx="668201" cy="39914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defTabSz="457200">
              <a:lnSpc>
                <a:spcPts val="1800"/>
              </a:lnSpc>
              <a:spcAft>
                <a:spcPct val="30000"/>
              </a:spcAft>
              <a:buClr>
                <a:srgbClr val="E20074"/>
              </a:buClr>
              <a:buSzPct val="75000"/>
              <a:buFont typeface="Wingdings" pitchFamily="2" charset="2"/>
              <a:buNone/>
            </a:pPr>
            <a:r>
              <a:rPr lang="hu-HU" sz="1400" dirty="0" smtClean="0">
                <a:solidFill>
                  <a:srgbClr val="4B4B4B"/>
                </a:solidFill>
                <a:latin typeface="Tele-GroteskFet"/>
                <a:sym typeface="Tele-GroteskFet"/>
              </a:rPr>
              <a:t>YE</a:t>
            </a:r>
            <a:r>
              <a:rPr lang="hu-HU" sz="1400" dirty="0" smtClean="0">
                <a:solidFill>
                  <a:srgbClr val="000000"/>
                </a:solidFill>
                <a:latin typeface="Tele-GroteskFet"/>
                <a:sym typeface="Tele-GroteskFet"/>
              </a:rPr>
              <a:t> </a:t>
            </a:r>
            <a:r>
              <a:rPr lang="hu-HU" sz="1400" dirty="0" smtClean="0">
                <a:solidFill>
                  <a:srgbClr val="4B4B4B"/>
                </a:solidFill>
                <a:latin typeface="Tele-GroteskFet"/>
                <a:sym typeface="Tele-GroteskFet"/>
              </a:rPr>
              <a:t>2017</a:t>
            </a:r>
            <a:r>
              <a:rPr lang="hu-HU" sz="1400" dirty="0" smtClean="0">
                <a:solidFill>
                  <a:srgbClr val="000000"/>
                </a:solidFill>
                <a:latin typeface="Tele-GroteskFet"/>
                <a:sym typeface="Tele-GroteskFet"/>
              </a:rPr>
              <a:t> </a:t>
            </a:r>
            <a:endParaRPr lang="de-DE" sz="1400" dirty="0" err="1" smtClean="0">
              <a:solidFill>
                <a:srgbClr val="000000"/>
              </a:solidFill>
              <a:latin typeface="Tele-GroteskFet"/>
              <a:sym typeface="Tele-GroteskFet"/>
            </a:endParaRPr>
          </a:p>
        </p:txBody>
      </p:sp>
      <p:sp>
        <p:nvSpPr>
          <p:cNvPr id="141" name="Rechteck 153"/>
          <p:cNvSpPr/>
          <p:nvPr>
            <p:custDataLst>
              <p:tags r:id="rId19"/>
            </p:custDataLst>
          </p:nvPr>
        </p:nvSpPr>
        <p:spPr bwMode="gray">
          <a:xfrm>
            <a:off x="9994245" y="3964247"/>
            <a:ext cx="263525" cy="13652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7462" tIns="0" rIns="17462" bIns="0" rtlCol="0" anchor="b" anchorCtr="0">
            <a:noAutofit/>
          </a:bodyPr>
          <a:lstStyle/>
          <a:p>
            <a:pPr defTabSz="457200">
              <a:lnSpc>
                <a:spcPts val="1800"/>
              </a:lnSpc>
              <a:spcAft>
                <a:spcPct val="30000"/>
              </a:spcAft>
              <a:buClr>
                <a:srgbClr val="E20074"/>
              </a:buClr>
              <a:buSzPct val="75000"/>
              <a:buFont typeface="Wingdings" pitchFamily="2" charset="2"/>
              <a:buNone/>
            </a:pPr>
            <a:r>
              <a:rPr lang="hu-HU" sz="1400" dirty="0" smtClean="0">
                <a:solidFill>
                  <a:srgbClr val="4B4B4B"/>
                </a:solidFill>
                <a:latin typeface="Tele-GroteskFet"/>
                <a:cs typeface="Arial"/>
                <a:sym typeface="Tele-GroteskFet"/>
              </a:rPr>
              <a:t>&gt;50%</a:t>
            </a:r>
            <a:endParaRPr lang="de-DE" sz="1400" dirty="0" err="1" smtClean="0">
              <a:solidFill>
                <a:srgbClr val="4B4B4B"/>
              </a:solidFill>
              <a:latin typeface="Tele-GroteskFet"/>
              <a:cs typeface="Arial"/>
              <a:sym typeface="Tele-GroteskFet"/>
            </a:endParaRPr>
          </a:p>
        </p:txBody>
      </p:sp>
      <p:sp>
        <p:nvSpPr>
          <p:cNvPr id="142" name="Rechteck 152"/>
          <p:cNvSpPr/>
          <p:nvPr>
            <p:custDataLst>
              <p:tags r:id="rId20"/>
            </p:custDataLst>
          </p:nvPr>
        </p:nvSpPr>
        <p:spPr bwMode="gray">
          <a:xfrm>
            <a:off x="8691666" y="5247155"/>
            <a:ext cx="550219" cy="34000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defTabSz="457200">
              <a:lnSpc>
                <a:spcPts val="1800"/>
              </a:lnSpc>
              <a:spcAft>
                <a:spcPct val="30000"/>
              </a:spcAft>
              <a:buClr>
                <a:srgbClr val="E20074"/>
              </a:buClr>
              <a:buSzPct val="75000"/>
              <a:buFont typeface="Wingdings" pitchFamily="2" charset="2"/>
              <a:buNone/>
            </a:pPr>
            <a:r>
              <a:rPr lang="hu-HU" sz="1400" dirty="0" smtClean="0">
                <a:solidFill>
                  <a:srgbClr val="4B4B4B"/>
                </a:solidFill>
                <a:latin typeface="Tele-GroteskFet"/>
                <a:sym typeface="Tele-GroteskFet"/>
              </a:rPr>
              <a:t>…</a:t>
            </a:r>
            <a:endParaRPr lang="de-DE" sz="1400" dirty="0" err="1" smtClean="0">
              <a:solidFill>
                <a:srgbClr val="4B4B4B"/>
              </a:solidFill>
              <a:latin typeface="Tele-GroteskFet"/>
              <a:sym typeface="Tele-GroteskFet"/>
            </a:endParaRPr>
          </a:p>
        </p:txBody>
      </p:sp>
      <p:sp>
        <p:nvSpPr>
          <p:cNvPr id="143" name="Rechteck 154"/>
          <p:cNvSpPr/>
          <p:nvPr>
            <p:custDataLst>
              <p:tags r:id="rId21"/>
            </p:custDataLst>
          </p:nvPr>
        </p:nvSpPr>
        <p:spPr bwMode="gray">
          <a:xfrm>
            <a:off x="8691666" y="4124584"/>
            <a:ext cx="263525" cy="13652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7462" tIns="0" rIns="17462" bIns="0" rtlCol="0" anchor="b" anchorCtr="0">
            <a:noAutofit/>
          </a:bodyPr>
          <a:lstStyle/>
          <a:p>
            <a:pPr defTabSz="457200">
              <a:lnSpc>
                <a:spcPts val="1800"/>
              </a:lnSpc>
              <a:spcAft>
                <a:spcPct val="30000"/>
              </a:spcAft>
              <a:buClr>
                <a:srgbClr val="E20074"/>
              </a:buClr>
              <a:buSzPct val="75000"/>
              <a:buFont typeface="Wingdings" pitchFamily="2" charset="2"/>
              <a:buNone/>
            </a:pPr>
            <a:r>
              <a:rPr lang="hu-HU" sz="1400" dirty="0" smtClean="0">
                <a:solidFill>
                  <a:srgbClr val="4B4B4B"/>
                </a:solidFill>
                <a:latin typeface="Tele-GroteskFet"/>
                <a:cs typeface="Arial"/>
                <a:sym typeface="Tele-GroteskFet"/>
              </a:rPr>
              <a:t>…</a:t>
            </a:r>
            <a:endParaRPr lang="de-DE" sz="1400" dirty="0" err="1" smtClean="0">
              <a:solidFill>
                <a:srgbClr val="4B4B4B"/>
              </a:solidFill>
              <a:latin typeface="Tele-GroteskFet"/>
              <a:cs typeface="Arial"/>
              <a:sym typeface="Tele-GroteskFet"/>
            </a:endParaRPr>
          </a:p>
        </p:txBody>
      </p:sp>
      <p:sp>
        <p:nvSpPr>
          <p:cNvPr id="144" name="Rechteck 147"/>
          <p:cNvSpPr/>
          <p:nvPr>
            <p:custDataLst>
              <p:tags r:id="rId22"/>
            </p:custDataLst>
          </p:nvPr>
        </p:nvSpPr>
        <p:spPr bwMode="gray">
          <a:xfrm>
            <a:off x="7348215" y="5247155"/>
            <a:ext cx="862670" cy="34000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defTabSz="457200">
              <a:lnSpc>
                <a:spcPts val="1800"/>
              </a:lnSpc>
              <a:spcAft>
                <a:spcPct val="30000"/>
              </a:spcAft>
              <a:buClr>
                <a:srgbClr val="E20074"/>
              </a:buClr>
              <a:buSzPct val="75000"/>
              <a:buFont typeface="Wingdings" pitchFamily="2" charset="2"/>
              <a:buNone/>
            </a:pPr>
            <a:r>
              <a:rPr lang="hu-HU" sz="1400" dirty="0" smtClean="0">
                <a:solidFill>
                  <a:srgbClr val="4B4B4B"/>
                </a:solidFill>
                <a:latin typeface="Tele-GroteskFet"/>
                <a:sym typeface="Tele-GroteskFet"/>
              </a:rPr>
              <a:t>Year end 2015</a:t>
            </a:r>
            <a:endParaRPr lang="de-DE" sz="1400" dirty="0" err="1" smtClean="0">
              <a:solidFill>
                <a:srgbClr val="4B4B4B"/>
              </a:solidFill>
              <a:latin typeface="Tele-GroteskFet"/>
              <a:sym typeface="Tele-GroteskFet"/>
            </a:endParaRPr>
          </a:p>
        </p:txBody>
      </p:sp>
      <p:sp>
        <p:nvSpPr>
          <p:cNvPr id="145" name="Rechteck 148"/>
          <p:cNvSpPr/>
          <p:nvPr>
            <p:custDataLst>
              <p:tags r:id="rId23"/>
            </p:custDataLst>
          </p:nvPr>
        </p:nvSpPr>
        <p:spPr bwMode="gray">
          <a:xfrm>
            <a:off x="7348216" y="4284922"/>
            <a:ext cx="263525" cy="13652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7462" tIns="0" rIns="17462" bIns="0" rtlCol="0" anchor="b" anchorCtr="0">
            <a:noAutofit/>
          </a:bodyPr>
          <a:lstStyle/>
          <a:p>
            <a:pPr defTabSz="457200">
              <a:lnSpc>
                <a:spcPts val="1800"/>
              </a:lnSpc>
              <a:spcAft>
                <a:spcPct val="30000"/>
              </a:spcAft>
              <a:buClr>
                <a:srgbClr val="E20074"/>
              </a:buClr>
              <a:buSzPct val="75000"/>
              <a:buFont typeface="Wingdings" pitchFamily="2" charset="2"/>
              <a:buNone/>
            </a:pPr>
            <a:r>
              <a:rPr lang="hu-HU" sz="1400" dirty="0" smtClean="0">
                <a:solidFill>
                  <a:srgbClr val="4B4B4B"/>
                </a:solidFill>
                <a:latin typeface="Tele-GroteskFet"/>
                <a:cs typeface="Arial"/>
                <a:sym typeface="Tele-GroteskFet"/>
              </a:rPr>
              <a:t>44%</a:t>
            </a:r>
            <a:endParaRPr lang="de-DE" sz="1400" dirty="0" err="1" smtClean="0">
              <a:solidFill>
                <a:srgbClr val="4B4B4B"/>
              </a:solidFill>
              <a:latin typeface="Tele-GroteskFet"/>
              <a:cs typeface="Arial"/>
              <a:sym typeface="Tele-GroteskFet"/>
            </a:endParaRPr>
          </a:p>
        </p:txBody>
      </p:sp>
      <p:sp>
        <p:nvSpPr>
          <p:cNvPr id="146" name="Rechteck 149"/>
          <p:cNvSpPr/>
          <p:nvPr>
            <p:custDataLst>
              <p:tags r:id="rId24"/>
            </p:custDataLst>
          </p:nvPr>
        </p:nvSpPr>
        <p:spPr bwMode="gray">
          <a:xfrm>
            <a:off x="5852574" y="5235504"/>
            <a:ext cx="815814" cy="41079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defTabSz="457200">
              <a:lnSpc>
                <a:spcPts val="1800"/>
              </a:lnSpc>
              <a:spcAft>
                <a:spcPct val="30000"/>
              </a:spcAft>
              <a:buClr>
                <a:srgbClr val="E20074"/>
              </a:buClr>
              <a:buSzPct val="75000"/>
              <a:buFont typeface="Wingdings" pitchFamily="2" charset="2"/>
              <a:buNone/>
            </a:pPr>
            <a:r>
              <a:rPr lang="hu-HU" sz="1400" dirty="0" smtClean="0">
                <a:solidFill>
                  <a:srgbClr val="4B4B4B"/>
                </a:solidFill>
                <a:latin typeface="Tele-GroteskFet"/>
                <a:sym typeface="Tele-GroteskFet"/>
              </a:rPr>
              <a:t>Year end 2014</a:t>
            </a:r>
            <a:endParaRPr lang="de-DE" sz="1400" dirty="0" err="1" smtClean="0">
              <a:solidFill>
                <a:srgbClr val="4B4B4B"/>
              </a:solidFill>
              <a:latin typeface="Tele-GroteskFet"/>
              <a:sym typeface="Tele-GroteskFet"/>
            </a:endParaRPr>
          </a:p>
        </p:txBody>
      </p:sp>
      <p:sp>
        <p:nvSpPr>
          <p:cNvPr id="147" name="Rechteck 150"/>
          <p:cNvSpPr/>
          <p:nvPr>
            <p:custDataLst>
              <p:tags r:id="rId25"/>
            </p:custDataLst>
          </p:nvPr>
        </p:nvSpPr>
        <p:spPr bwMode="gray">
          <a:xfrm>
            <a:off x="5852574" y="4483358"/>
            <a:ext cx="263525" cy="13652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7462" tIns="0" rIns="17462" bIns="0" rtlCol="0" anchor="b" anchorCtr="0">
            <a:noAutofit/>
          </a:bodyPr>
          <a:lstStyle/>
          <a:p>
            <a:pPr defTabSz="457200">
              <a:lnSpc>
                <a:spcPts val="1800"/>
              </a:lnSpc>
              <a:spcAft>
                <a:spcPct val="30000"/>
              </a:spcAft>
              <a:buClr>
                <a:srgbClr val="E20074"/>
              </a:buClr>
              <a:buSzPct val="75000"/>
              <a:buFont typeface="Wingdings" pitchFamily="2" charset="2"/>
              <a:buNone/>
            </a:pPr>
            <a:r>
              <a:rPr lang="hu-HU" sz="1400" dirty="0" smtClean="0">
                <a:solidFill>
                  <a:srgbClr val="4B4B4B"/>
                </a:solidFill>
                <a:latin typeface="Tele-GroteskFet"/>
                <a:cs typeface="Arial"/>
                <a:sym typeface="Tele-GroteskFet"/>
              </a:rPr>
              <a:t>42%</a:t>
            </a:r>
            <a:endParaRPr lang="de-DE" sz="1400" dirty="0" err="1" smtClean="0">
              <a:solidFill>
                <a:srgbClr val="4B4B4B"/>
              </a:solidFill>
              <a:latin typeface="Tele-GroteskFet"/>
              <a:cs typeface="Arial"/>
              <a:sym typeface="Tele-GroteskFet"/>
            </a:endParaRPr>
          </a:p>
        </p:txBody>
      </p:sp>
      <p:sp>
        <p:nvSpPr>
          <p:cNvPr id="148" name="Rechteck 151"/>
          <p:cNvSpPr/>
          <p:nvPr>
            <p:custDataLst>
              <p:tags r:id="rId26"/>
            </p:custDataLst>
          </p:nvPr>
        </p:nvSpPr>
        <p:spPr bwMode="gray">
          <a:xfrm>
            <a:off x="4739735" y="5238509"/>
            <a:ext cx="534988" cy="27522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defTabSz="457200">
              <a:lnSpc>
                <a:spcPts val="1800"/>
              </a:lnSpc>
              <a:spcAft>
                <a:spcPct val="30000"/>
              </a:spcAft>
              <a:buClr>
                <a:srgbClr val="E20074"/>
              </a:buClr>
              <a:buSzPct val="75000"/>
              <a:buFont typeface="Wingdings" pitchFamily="2" charset="2"/>
              <a:buNone/>
            </a:pPr>
            <a:fld id="{84807F95-FC78-44DB-B4FE-98F49F63C89C}" type="datetime'''''''''''''''20''''''''''''''''''''1''1'''''">
              <a:rPr lang="en-US" sz="1400" smtClean="0">
                <a:solidFill>
                  <a:srgbClr val="4B4B4B"/>
                </a:solidFill>
                <a:latin typeface="Tele-GroteskFet"/>
                <a:sym typeface="Tele-GroteskFet"/>
              </a:rPr>
              <a:pPr defTabSz="457200">
                <a:lnSpc>
                  <a:spcPts val="1800"/>
                </a:lnSpc>
                <a:spcAft>
                  <a:spcPct val="30000"/>
                </a:spcAft>
                <a:buClr>
                  <a:srgbClr val="E20074"/>
                </a:buClr>
                <a:buSzPct val="75000"/>
                <a:buFont typeface="Wingdings" pitchFamily="2" charset="2"/>
                <a:buNone/>
              </a:pPr>
              <a:t>2011</a:t>
            </a:fld>
            <a:endParaRPr lang="de-DE" sz="1400" dirty="0" err="1" smtClean="0">
              <a:solidFill>
                <a:srgbClr val="4B4B4B"/>
              </a:solidFill>
              <a:latin typeface="Tele-GroteskFet"/>
              <a:sym typeface="Tele-GroteskFet"/>
            </a:endParaRPr>
          </a:p>
        </p:txBody>
      </p:sp>
      <p:sp useBgFill="1">
        <p:nvSpPr>
          <p:cNvPr id="149" name="Freihandform 184"/>
          <p:cNvSpPr/>
          <p:nvPr>
            <p:custDataLst>
              <p:tags r:id="rId27"/>
            </p:custDataLst>
          </p:nvPr>
        </p:nvSpPr>
        <p:spPr bwMode="gray">
          <a:xfrm>
            <a:off x="5581650" y="4914715"/>
            <a:ext cx="577851" cy="79376"/>
          </a:xfrm>
          <a:custGeom>
            <a:avLst/>
            <a:gdLst/>
            <a:ahLst/>
            <a:cxnLst/>
            <a:rect l="0" t="0" r="0" b="0"/>
            <a:pathLst>
              <a:path w="5778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68288" indent="-268288"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tabLst>
                <a:tab pos="268288" algn="l"/>
              </a:tabLst>
            </a:pPr>
            <a:endParaRPr lang="de-DE" sz="2000" smtClean="0">
              <a:solidFill>
                <a:srgbClr val="000000"/>
              </a:solidFill>
            </a:endParaRPr>
          </a:p>
        </p:txBody>
      </p:sp>
      <p:sp>
        <p:nvSpPr>
          <p:cNvPr id="150" name="Freihandform 183"/>
          <p:cNvSpPr/>
          <p:nvPr>
            <p:custDataLst>
              <p:tags r:id="rId28"/>
            </p:custDataLst>
          </p:nvPr>
        </p:nvSpPr>
        <p:spPr bwMode="gray">
          <a:xfrm>
            <a:off x="5581650" y="4971865"/>
            <a:ext cx="577851" cy="22226"/>
          </a:xfrm>
          <a:custGeom>
            <a:avLst/>
            <a:gdLst/>
            <a:ahLst/>
            <a:cxnLst/>
            <a:rect l="0" t="0" r="0" b="0"/>
            <a:pathLst>
              <a:path w="5778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</a:path>
            </a:pathLst>
          </a:cu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68288" indent="-268288"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tabLst>
                <a:tab pos="268288" algn="l"/>
              </a:tabLst>
            </a:pPr>
            <a:endParaRPr lang="de-DE" sz="2000" smtClean="0">
              <a:solidFill>
                <a:srgbClr val="000000"/>
              </a:solidFill>
            </a:endParaRPr>
          </a:p>
        </p:txBody>
      </p:sp>
      <p:sp>
        <p:nvSpPr>
          <p:cNvPr id="151" name="Freihandform 182"/>
          <p:cNvSpPr/>
          <p:nvPr>
            <p:custDataLst>
              <p:tags r:id="rId29"/>
            </p:custDataLst>
          </p:nvPr>
        </p:nvSpPr>
        <p:spPr bwMode="gray">
          <a:xfrm>
            <a:off x="5581650" y="4914715"/>
            <a:ext cx="577851" cy="22226"/>
          </a:xfrm>
          <a:custGeom>
            <a:avLst/>
            <a:gdLst/>
            <a:ahLst/>
            <a:cxnLst/>
            <a:rect l="0" t="0" r="0" b="0"/>
            <a:pathLst>
              <a:path w="5778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</a:path>
            </a:pathLst>
          </a:cu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68288" indent="-268288"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tabLst>
                <a:tab pos="268288" algn="l"/>
              </a:tabLst>
            </a:pPr>
            <a:endParaRPr lang="de-DE" sz="2000" smtClean="0">
              <a:solidFill>
                <a:srgbClr val="000000"/>
              </a:solidFill>
            </a:endParaRPr>
          </a:p>
        </p:txBody>
      </p:sp>
      <p:sp>
        <p:nvSpPr>
          <p:cNvPr id="47" name="Rectangle 46"/>
          <p:cNvSpPr>
            <a:spLocks noChangeAspect="1"/>
          </p:cNvSpPr>
          <p:nvPr/>
        </p:nvSpPr>
        <p:spPr>
          <a:xfrm rot="21278462">
            <a:off x="9764852" y="888361"/>
            <a:ext cx="1573059" cy="578283"/>
          </a:xfrm>
          <a:prstGeom prst="rect">
            <a:avLst/>
          </a:prstGeom>
          <a:solidFill>
            <a:srgbClr val="E200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1400" dirty="0" err="1" smtClean="0">
                <a:solidFill>
                  <a:srgbClr val="FFFFFF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Nearshore</a:t>
            </a:r>
            <a:r>
              <a:rPr lang="en-GB" sz="1400" dirty="0" smtClean="0">
                <a:solidFill>
                  <a:srgbClr val="FFFFFF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 / Offshore </a:t>
            </a:r>
          </a:p>
          <a:p>
            <a:pPr algn="ctr"/>
            <a:r>
              <a:rPr lang="en-GB" sz="1400" dirty="0" smtClean="0">
                <a:solidFill>
                  <a:srgbClr val="FFFFFF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Ratio: 49%*</a:t>
            </a:r>
          </a:p>
        </p:txBody>
      </p:sp>
      <p:sp>
        <p:nvSpPr>
          <p:cNvPr id="6" name="Téglalap 5"/>
          <p:cNvSpPr/>
          <p:nvPr/>
        </p:nvSpPr>
        <p:spPr>
          <a:xfrm>
            <a:off x="1109420" y="5589934"/>
            <a:ext cx="1009572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u-HU" sz="1000" dirty="0" smtClean="0">
                <a:solidFill>
                  <a:srgbClr val="4B4B4B"/>
                </a:solidFill>
              </a:rPr>
              <a:t>* </a:t>
            </a:r>
            <a:r>
              <a:rPr lang="en-US" sz="1000" dirty="0" smtClean="0">
                <a:solidFill>
                  <a:srgbClr val="4B4B4B"/>
                </a:solidFill>
              </a:rPr>
              <a:t>Included </a:t>
            </a:r>
            <a:r>
              <a:rPr lang="en-US" sz="1000" dirty="0">
                <a:solidFill>
                  <a:srgbClr val="4B4B4B"/>
                </a:solidFill>
              </a:rPr>
              <a:t>into Low Cost: Partners Cognizant &amp; </a:t>
            </a:r>
            <a:r>
              <a:rPr lang="en-US" sz="1000" dirty="0" err="1">
                <a:solidFill>
                  <a:srgbClr val="4B4B4B"/>
                </a:solidFill>
              </a:rPr>
              <a:t>Fortech</a:t>
            </a:r>
            <a:r>
              <a:rPr lang="en-US" sz="1000" dirty="0">
                <a:solidFill>
                  <a:srgbClr val="4B4B4B"/>
                </a:solidFill>
              </a:rPr>
              <a:t> (743 FTE); with </a:t>
            </a:r>
            <a:r>
              <a:rPr lang="hu-HU" sz="1000" dirty="0">
                <a:solidFill>
                  <a:srgbClr val="4B4B4B"/>
                </a:solidFill>
              </a:rPr>
              <a:t>International </a:t>
            </a:r>
            <a:r>
              <a:rPr lang="hu-HU" sz="1000" dirty="0" err="1">
                <a:solidFill>
                  <a:srgbClr val="4B4B4B"/>
                </a:solidFill>
              </a:rPr>
              <a:t>Internal</a:t>
            </a:r>
            <a:r>
              <a:rPr lang="hu-HU" sz="1000" dirty="0">
                <a:solidFill>
                  <a:srgbClr val="4B4B4B"/>
                </a:solidFill>
              </a:rPr>
              <a:t> </a:t>
            </a:r>
            <a:r>
              <a:rPr lang="hu-HU" sz="1000" dirty="0" err="1">
                <a:solidFill>
                  <a:srgbClr val="4B4B4B"/>
                </a:solidFill>
              </a:rPr>
              <a:t>Services</a:t>
            </a:r>
            <a:r>
              <a:rPr lang="en-US" sz="1000" dirty="0">
                <a:solidFill>
                  <a:srgbClr val="4B4B4B"/>
                </a:solidFill>
              </a:rPr>
              <a:t>; without  </a:t>
            </a:r>
            <a:r>
              <a:rPr lang="hu-HU" sz="1000" dirty="0">
                <a:solidFill>
                  <a:srgbClr val="4B4B4B"/>
                </a:solidFill>
              </a:rPr>
              <a:t>Local Business Unit</a:t>
            </a:r>
            <a:r>
              <a:rPr lang="en-US" sz="1000" dirty="0">
                <a:solidFill>
                  <a:srgbClr val="4B4B4B"/>
                </a:solidFill>
              </a:rPr>
              <a:t> Spain  Change in reported numbers  Excluding international parts of </a:t>
            </a:r>
            <a:r>
              <a:rPr lang="en-US" sz="1000" dirty="0" smtClean="0">
                <a:solidFill>
                  <a:srgbClr val="4B4B4B"/>
                </a:solidFill>
              </a:rPr>
              <a:t>Tel</a:t>
            </a:r>
            <a:r>
              <a:rPr lang="hu-HU" sz="1000" dirty="0" err="1" smtClean="0">
                <a:solidFill>
                  <a:srgbClr val="4B4B4B"/>
                </a:solidFill>
              </a:rPr>
              <a:t>ekom</a:t>
            </a:r>
            <a:r>
              <a:rPr lang="hu-HU" sz="1000" dirty="0" smtClean="0">
                <a:solidFill>
                  <a:srgbClr val="4B4B4B"/>
                </a:solidFill>
              </a:rPr>
              <a:t> I</a:t>
            </a:r>
            <a:r>
              <a:rPr lang="en-US" sz="1000" dirty="0" smtClean="0">
                <a:solidFill>
                  <a:srgbClr val="4B4B4B"/>
                </a:solidFill>
              </a:rPr>
              <a:t>T </a:t>
            </a:r>
            <a:r>
              <a:rPr lang="en-US" sz="1000" dirty="0">
                <a:solidFill>
                  <a:srgbClr val="4B4B4B"/>
                </a:solidFill>
              </a:rPr>
              <a:t>and </a:t>
            </a:r>
            <a:r>
              <a:rPr lang="en-GB" sz="1000" dirty="0">
                <a:solidFill>
                  <a:srgbClr val="4B4B4B"/>
                </a:solidFill>
              </a:rPr>
              <a:t>Telecommunication Services &amp; Solutions</a:t>
            </a:r>
            <a:endParaRPr lang="en-US" sz="1000" dirty="0">
              <a:solidFill>
                <a:srgbClr val="4B4B4B"/>
              </a:solidFill>
            </a:endParaRPr>
          </a:p>
        </p:txBody>
      </p:sp>
      <p:graphicFrame>
        <p:nvGraphicFramePr>
          <p:cNvPr id="50" name="Diagram 4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35973576"/>
              </p:ext>
            </p:extLst>
          </p:nvPr>
        </p:nvGraphicFramePr>
        <p:xfrm>
          <a:off x="6806042" y="1773698"/>
          <a:ext cx="4344372" cy="11683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sp>
        <p:nvSpPr>
          <p:cNvPr id="48" name="Dia számának helye 1"/>
          <p:cNvSpPr>
            <a:spLocks noGrp="1"/>
          </p:cNvSpPr>
          <p:nvPr>
            <p:ph type="sldNum" sz="quarter" idx="12"/>
          </p:nvPr>
        </p:nvSpPr>
        <p:spPr>
          <a:xfrm>
            <a:off x="10836000" y="5832001"/>
            <a:ext cx="360000" cy="324000"/>
          </a:xfrm>
        </p:spPr>
        <p:txBody>
          <a:bodyPr/>
          <a:lstStyle/>
          <a:p>
            <a:pPr>
              <a:defRPr/>
            </a:pPr>
            <a:fld id="{8E6BBBCF-7E96-490B-8A3E-27250659856F}" type="slidenum">
              <a:rPr lang="en-US" smtClean="0">
                <a:solidFill>
                  <a:srgbClr val="4B4B4B"/>
                </a:solidFill>
              </a:rPr>
              <a:pPr>
                <a:defRPr/>
              </a:pPr>
              <a:t>12</a:t>
            </a:fld>
            <a:endParaRPr lang="en-US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5175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7668" y="1743188"/>
            <a:ext cx="10801945" cy="2478112"/>
          </a:xfrm>
        </p:spPr>
        <p:txBody>
          <a:bodyPr/>
          <a:lstStyle/>
          <a:p>
            <a:pPr eaLnBrk="1" hangingPunct="1"/>
            <a:r>
              <a:rPr lang="hu-HU" dirty="0" smtClean="0">
                <a:latin typeface="+mj-lt"/>
              </a:rPr>
              <a:t>ABOUT US</a:t>
            </a:r>
            <a:br>
              <a:rPr lang="hu-HU" dirty="0" smtClean="0">
                <a:latin typeface="+mj-lt"/>
              </a:rPr>
            </a:br>
            <a:r>
              <a:rPr lang="en-US" dirty="0" smtClean="0">
                <a:latin typeface="+mj-lt"/>
              </a:rPr>
              <a:t>IT SERVICES HUNGARY</a:t>
            </a:r>
            <a:endParaRPr lang="hu-HU" sz="4800" dirty="0" smtClean="0">
              <a:latin typeface="+mn-lt"/>
            </a:endParaRP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84069" y="3474094"/>
            <a:ext cx="10705928" cy="412421"/>
          </a:xfrm>
        </p:spPr>
        <p:txBody>
          <a:bodyPr/>
          <a:lstStyle/>
          <a:p>
            <a:pPr eaLnBrk="1" hangingPunct="1">
              <a:lnSpc>
                <a:spcPct val="70000"/>
              </a:lnSpc>
            </a:pPr>
            <a:endParaRPr lang="hu-HU" sz="1200" dirty="0" smtClean="0"/>
          </a:p>
          <a:p>
            <a:pPr eaLnBrk="1" hangingPunct="1">
              <a:lnSpc>
                <a:spcPct val="70000"/>
              </a:lnSpc>
            </a:pPr>
            <a:endParaRPr lang="hu-HU" sz="1200" dirty="0" smtClean="0"/>
          </a:p>
        </p:txBody>
      </p:sp>
    </p:spTree>
    <p:extLst>
      <p:ext uri="{BB962C8B-B14F-4D97-AF65-F5344CB8AC3E}">
        <p14:creationId xmlns:p14="http://schemas.microsoft.com/office/powerpoint/2010/main" val="841959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7" name="Rectangle 51"/>
          <p:cNvSpPr>
            <a:spLocks noChangeArrowheads="1"/>
          </p:cNvSpPr>
          <p:nvPr/>
        </p:nvSpPr>
        <p:spPr bwMode="auto">
          <a:xfrm>
            <a:off x="376509" y="246008"/>
            <a:ext cx="10099818" cy="4765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GB" sz="2800" cap="all" dirty="0" smtClean="0">
                <a:solidFill>
                  <a:schemeClr val="tx2"/>
                </a:solidFill>
                <a:latin typeface="+mj-lt"/>
              </a:rPr>
              <a:t>Ownership Structure</a:t>
            </a:r>
            <a:endParaRPr lang="en-GB" sz="2800" cap="all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55" name="Rectangle 54"/>
          <p:cNvSpPr/>
          <p:nvPr/>
        </p:nvSpPr>
        <p:spPr bwMode="auto">
          <a:xfrm>
            <a:off x="6307538" y="4649141"/>
            <a:ext cx="3456623" cy="898040"/>
          </a:xfrm>
          <a:prstGeom prst="rect">
            <a:avLst/>
          </a:prstGeom>
          <a:solidFill>
            <a:srgbClr val="E20074"/>
          </a:solidFill>
          <a:ln w="6350">
            <a:noFill/>
            <a:round/>
            <a:headEnd/>
            <a:tailEnd/>
          </a:ln>
        </p:spPr>
        <p:txBody>
          <a:bodyPr lIns="72000" tIns="72000" rIns="72000" bIns="72000" anchor="ctr"/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GB" spc="-50" dirty="0" smtClean="0">
                <a:solidFill>
                  <a:schemeClr val="bg1"/>
                </a:solidFill>
                <a:cs typeface="Arial" charset="0"/>
              </a:rPr>
              <a:t>Information &amp; communication technology </a:t>
            </a:r>
            <a:r>
              <a:rPr lang="en-GB" sz="1800" spc="-50" dirty="0" smtClean="0">
                <a:solidFill>
                  <a:schemeClr val="bg1"/>
                </a:solidFill>
                <a:cs typeface="Arial" charset="0"/>
              </a:rPr>
              <a:t>services and solutions for </a:t>
            </a:r>
            <a:r>
              <a:rPr lang="en-GB" sz="1800" b="1" spc="-50" dirty="0" smtClean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GB" sz="1800" spc="-5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local customers (HU)</a:t>
            </a:r>
            <a:endParaRPr lang="en-GB" sz="1800" spc="-50" dirty="0">
              <a:solidFill>
                <a:schemeClr val="bg1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56" name="Rectangle 55"/>
          <p:cNvSpPr/>
          <p:nvPr/>
        </p:nvSpPr>
        <p:spPr bwMode="auto">
          <a:xfrm>
            <a:off x="1768694" y="4649141"/>
            <a:ext cx="3456247" cy="897130"/>
          </a:xfrm>
          <a:prstGeom prst="rect">
            <a:avLst/>
          </a:prstGeom>
          <a:solidFill>
            <a:srgbClr val="E20074"/>
          </a:solidFill>
          <a:ln w="6350">
            <a:noFill/>
            <a:round/>
            <a:headEnd/>
            <a:tailEnd/>
          </a:ln>
        </p:spPr>
        <p:txBody>
          <a:bodyPr lIns="72000" tIns="72000" rIns="72000" bIns="72000" anchor="ctr"/>
          <a:lstStyle/>
          <a:p>
            <a:r>
              <a:rPr lang="en-GB" spc="-50" dirty="0" smtClean="0">
                <a:solidFill>
                  <a:schemeClr val="bg1"/>
                </a:solidFill>
                <a:cs typeface="Arial" charset="0"/>
              </a:rPr>
              <a:t>Information &amp; communication technology </a:t>
            </a:r>
            <a:r>
              <a:rPr lang="en-GB" sz="1800" spc="-50" dirty="0" smtClean="0">
                <a:solidFill>
                  <a:schemeClr val="bg1"/>
                </a:solidFill>
                <a:cs typeface="Arial" charset="0"/>
              </a:rPr>
              <a:t>outsourcing for 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GB" sz="1800" spc="-50" dirty="0" err="1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nearshore</a:t>
            </a:r>
            <a:r>
              <a:rPr lang="en-GB" sz="1800" spc="-5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 and global customers</a:t>
            </a:r>
            <a:endParaRPr lang="en-GB" sz="1800" spc="-50" dirty="0">
              <a:solidFill>
                <a:schemeClr val="bg1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57" name="Rectangle 1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417793" y="1334942"/>
            <a:ext cx="2687487" cy="645111"/>
          </a:xfrm>
          <a:prstGeom prst="rect">
            <a:avLst/>
          </a:prstGeom>
          <a:solidFill>
            <a:schemeClr val="hlink"/>
          </a:solidFill>
          <a:ln>
            <a:noFill/>
          </a:ln>
          <a:effectLst>
            <a:outerShdw sy="50000" kx="-2453608" rotWithShape="0">
              <a:srgbClr val="808080">
                <a:alpha val="50000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/>
            <a:endParaRPr lang="en-US">
              <a:cs typeface="Arial" charset="0"/>
            </a:endParaRPr>
          </a:p>
        </p:txBody>
      </p:sp>
      <p:sp>
        <p:nvSpPr>
          <p:cNvPr id="58" name="Text Box 12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418574" y="1334942"/>
            <a:ext cx="2687487" cy="645111"/>
          </a:xfrm>
          <a:prstGeom prst="rect">
            <a:avLst/>
          </a:prstGeom>
          <a:solidFill>
            <a:srgbClr val="E20074"/>
          </a:solidFill>
          <a:ln>
            <a:noFill/>
          </a:ln>
          <a:extLst/>
        </p:spPr>
        <p:txBody>
          <a:bodyPr wrap="square">
            <a:no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 eaLnBrk="1" hangingPunct="1"/>
            <a:r>
              <a:rPr lang="hu-HU" dirty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Deutsche Telekom AG</a:t>
            </a:r>
            <a:endParaRPr lang="en-US" dirty="0">
              <a:solidFill>
                <a:schemeClr val="bg1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59" name="Rectangle 1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340601" y="2758575"/>
            <a:ext cx="1864336" cy="523514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sy="50000" kx="-2453608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/>
            <a:endParaRPr lang="en-US">
              <a:solidFill>
                <a:srgbClr val="4B4B4B"/>
              </a:solidFill>
              <a:latin typeface="Tele-GroteskEEFet" pitchFamily="2" charset="0"/>
              <a:cs typeface="Arial" charset="0"/>
            </a:endParaRPr>
          </a:p>
        </p:txBody>
      </p:sp>
      <p:sp>
        <p:nvSpPr>
          <p:cNvPr id="60" name="Rectangle 1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340601" y="2758575"/>
            <a:ext cx="1864336" cy="523514"/>
          </a:xfrm>
          <a:prstGeom prst="rect">
            <a:avLst/>
          </a:prstGeom>
          <a:solidFill>
            <a:srgbClr val="FFFFFF"/>
          </a:solidFill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>
              <a:solidFill>
                <a:srgbClr val="4B4B4B"/>
              </a:solidFill>
              <a:latin typeface="Tele-GroteskEEFet" pitchFamily="2" charset="0"/>
            </a:endParaRPr>
          </a:p>
        </p:txBody>
      </p:sp>
      <p:pic>
        <p:nvPicPr>
          <p:cNvPr id="61" name="Picture 15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99838" y="2808144"/>
            <a:ext cx="1375867" cy="2893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2" name="Rectangle 17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311153" y="2755572"/>
            <a:ext cx="1864336" cy="523514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sy="50000" kx="-2453608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/>
            <a:endParaRPr lang="en-US">
              <a:solidFill>
                <a:srgbClr val="4B4B4B"/>
              </a:solidFill>
              <a:latin typeface="Tele-GroteskEEFet" pitchFamily="2" charset="0"/>
              <a:cs typeface="Arial" charset="0"/>
            </a:endParaRPr>
          </a:p>
        </p:txBody>
      </p:sp>
      <p:sp>
        <p:nvSpPr>
          <p:cNvPr id="63" name="Rectangle 18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311553" y="2755350"/>
            <a:ext cx="1864336" cy="523514"/>
          </a:xfrm>
          <a:prstGeom prst="rect">
            <a:avLst/>
          </a:prstGeom>
          <a:solidFill>
            <a:srgbClr val="FFFFFF"/>
          </a:solidFill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>
              <a:solidFill>
                <a:srgbClr val="4B4B4B"/>
              </a:solidFill>
              <a:latin typeface="Tele-GroteskEEFet" pitchFamily="2" charset="0"/>
            </a:endParaRPr>
          </a:p>
        </p:txBody>
      </p:sp>
      <p:graphicFrame>
        <p:nvGraphicFramePr>
          <p:cNvPr id="64" name="Object 108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086394945"/>
              </p:ext>
            </p:extLst>
          </p:nvPr>
        </p:nvGraphicFramePr>
        <p:xfrm>
          <a:off x="6373549" y="2889079"/>
          <a:ext cx="1722310" cy="3285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83" name="Image" r:id="rId28" imgW="4876190" imgH="1238095" progId="">
                  <p:embed/>
                </p:oleObj>
              </mc:Choice>
              <mc:Fallback>
                <p:oleObj name="Image" r:id="rId28" imgW="4876190" imgH="1238095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73549" y="2889079"/>
                        <a:ext cx="1722310" cy="3285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20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3360605" y="4120612"/>
            <a:ext cx="1864336" cy="523514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sy="50000" kx="-2453608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/>
            <a:endParaRPr lang="en-US">
              <a:cs typeface="Arial" charset="0"/>
            </a:endParaRPr>
          </a:p>
        </p:txBody>
      </p:sp>
      <p:sp>
        <p:nvSpPr>
          <p:cNvPr id="66" name="Rectangle 2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3360605" y="4120612"/>
            <a:ext cx="1864336" cy="523514"/>
          </a:xfrm>
          <a:prstGeom prst="rect">
            <a:avLst/>
          </a:prstGeom>
          <a:solidFill>
            <a:srgbClr val="FFFFFF"/>
          </a:solidFill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/>
          </a:p>
        </p:txBody>
      </p:sp>
      <p:sp>
        <p:nvSpPr>
          <p:cNvPr id="67" name="Text Box 22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3322599" y="2091056"/>
            <a:ext cx="1180213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 eaLnBrk="1" hangingPunct="1">
              <a:lnSpc>
                <a:spcPct val="100000"/>
              </a:lnSpc>
            </a:pPr>
            <a:r>
              <a:rPr lang="en-US" dirty="0" smtClean="0">
                <a:solidFill>
                  <a:srgbClr val="4B4B4B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100%</a:t>
            </a:r>
            <a:endParaRPr lang="en-US" dirty="0">
              <a:solidFill>
                <a:srgbClr val="4B4B4B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68" name="Text Box 23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7157690" y="2097057"/>
            <a:ext cx="1360245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 eaLnBrk="1" hangingPunct="1">
              <a:lnSpc>
                <a:spcPct val="100000"/>
              </a:lnSpc>
            </a:pPr>
            <a:r>
              <a:rPr lang="en-US" dirty="0" smtClean="0">
                <a:solidFill>
                  <a:srgbClr val="4B4B4B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59,21%</a:t>
            </a:r>
            <a:endParaRPr lang="en-US" dirty="0">
              <a:solidFill>
                <a:srgbClr val="4B4B4B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69" name="Text Box 24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3322599" y="3633098"/>
            <a:ext cx="1180213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 eaLnBrk="1" hangingPunct="1">
              <a:lnSpc>
                <a:spcPct val="100000"/>
              </a:lnSpc>
            </a:pPr>
            <a:r>
              <a:rPr lang="en-US" dirty="0" smtClean="0">
                <a:solidFill>
                  <a:srgbClr val="4B4B4B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100%</a:t>
            </a:r>
            <a:endParaRPr lang="en-US" dirty="0">
              <a:solidFill>
                <a:srgbClr val="4B4B4B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70" name="Text Box 25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123685" y="3624098"/>
            <a:ext cx="1180213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 eaLnBrk="1" hangingPunct="1">
              <a:lnSpc>
                <a:spcPct val="100000"/>
              </a:lnSpc>
            </a:pPr>
            <a:r>
              <a:rPr lang="en-US" dirty="0" smtClean="0">
                <a:solidFill>
                  <a:srgbClr val="4B4B4B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100%</a:t>
            </a:r>
            <a:endParaRPr lang="en-US" dirty="0">
              <a:solidFill>
                <a:srgbClr val="4B4B4B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cxnSp>
        <p:nvCxnSpPr>
          <p:cNvPr id="71" name="AutoShape 26"/>
          <p:cNvCxnSpPr>
            <a:cxnSpLocks noChangeShapeType="1"/>
            <a:stCxn id="58" idx="2"/>
            <a:endCxn id="60" idx="0"/>
          </p:cNvCxnSpPr>
          <p:nvPr>
            <p:custDataLst>
              <p:tags r:id="rId16"/>
            </p:custDataLst>
          </p:nvPr>
        </p:nvCxnSpPr>
        <p:spPr bwMode="auto">
          <a:xfrm rot="5400000">
            <a:off x="4628284" y="1624540"/>
            <a:ext cx="778521" cy="1489548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B4B4B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2" name="AutoShape 27"/>
          <p:cNvCxnSpPr>
            <a:cxnSpLocks noChangeShapeType="1"/>
            <a:stCxn id="58" idx="2"/>
            <a:endCxn id="63" idx="0"/>
          </p:cNvCxnSpPr>
          <p:nvPr>
            <p:custDataLst>
              <p:tags r:id="rId17"/>
            </p:custDataLst>
          </p:nvPr>
        </p:nvCxnSpPr>
        <p:spPr bwMode="auto">
          <a:xfrm rot="16200000" flipH="1">
            <a:off x="6115371" y="1627000"/>
            <a:ext cx="775297" cy="1481403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B4B4B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4" name="AutoShape 29"/>
          <p:cNvCxnSpPr>
            <a:cxnSpLocks noChangeShapeType="1"/>
            <a:endCxn id="66" idx="0"/>
          </p:cNvCxnSpPr>
          <p:nvPr>
            <p:custDataLst>
              <p:tags r:id="rId18"/>
            </p:custDataLst>
          </p:nvPr>
        </p:nvCxnSpPr>
        <p:spPr bwMode="auto">
          <a:xfrm flipH="1">
            <a:off x="4294775" y="3282089"/>
            <a:ext cx="2000" cy="838523"/>
          </a:xfrm>
          <a:prstGeom prst="straightConnector1">
            <a:avLst/>
          </a:prstGeom>
          <a:noFill/>
          <a:ln w="9525">
            <a:solidFill>
              <a:srgbClr val="4B4B4B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5" name="Rectangle 30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6314543" y="4120612"/>
            <a:ext cx="1864336" cy="523514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sy="50000" kx="-2453608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/>
            <a:endParaRPr lang="en-US">
              <a:cs typeface="Arial" charset="0"/>
            </a:endParaRPr>
          </a:p>
        </p:txBody>
      </p:sp>
      <p:sp>
        <p:nvSpPr>
          <p:cNvPr id="76" name="Rectangle 31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6311539" y="4120612"/>
            <a:ext cx="1864336" cy="523514"/>
          </a:xfrm>
          <a:prstGeom prst="rect">
            <a:avLst/>
          </a:prstGeom>
          <a:solidFill>
            <a:srgbClr val="FFFFFF"/>
          </a:solidFill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/>
          </a:p>
        </p:txBody>
      </p:sp>
      <p:pic>
        <p:nvPicPr>
          <p:cNvPr id="77" name="Picture 32"/>
          <p:cNvPicPr>
            <a:picLocks noChangeAspect="1" noChangeArrowheads="1"/>
          </p:cNvPicPr>
          <p:nvPr>
            <p:custDataLst>
              <p:tags r:id="rId21"/>
            </p:custDataLst>
          </p:nvPr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34332" y="4170181"/>
            <a:ext cx="1375869" cy="2893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8" name="AutoShape 34"/>
          <p:cNvCxnSpPr>
            <a:cxnSpLocks noChangeShapeType="1"/>
            <a:stCxn id="63" idx="2"/>
            <a:endCxn id="76" idx="0"/>
          </p:cNvCxnSpPr>
          <p:nvPr>
            <p:custDataLst>
              <p:tags r:id="rId22"/>
            </p:custDataLst>
          </p:nvPr>
        </p:nvCxnSpPr>
        <p:spPr bwMode="auto">
          <a:xfrm flipH="1">
            <a:off x="7243708" y="3278864"/>
            <a:ext cx="14" cy="841748"/>
          </a:xfrm>
          <a:prstGeom prst="straightConnector1">
            <a:avLst/>
          </a:prstGeom>
          <a:noFill/>
          <a:ln w="9525">
            <a:solidFill>
              <a:srgbClr val="4B4B4B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9" name="Text Box 54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6337543" y="4320417"/>
            <a:ext cx="178632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hu-HU"/>
            </a:defPPr>
            <a:lvl1pPr algn="ctr">
              <a:lnSpc>
                <a:spcPct val="100000"/>
              </a:lnSpc>
              <a:defRPr sz="1600">
                <a:solidFill>
                  <a:srgbClr val="6C6C6C"/>
                </a:solidFill>
                <a:latin typeface="TeleLogo" pitchFamily="2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latin typeface="Tele-GroteskNor" pitchFamily="2" charset="0"/>
              </a:defRPr>
            </a:lvl2pPr>
            <a:lvl3pPr marL="1143000" indent="-228600" eaLnBrk="0" hangingPunct="0">
              <a:defRPr sz="2000">
                <a:latin typeface="Tele-GroteskNor" pitchFamily="2" charset="0"/>
              </a:defRPr>
            </a:lvl3pPr>
            <a:lvl4pPr marL="1600200" indent="-228600" eaLnBrk="0" hangingPunct="0">
              <a:defRPr sz="2000">
                <a:latin typeface="Tele-GroteskNor" pitchFamily="2" charset="0"/>
              </a:defRPr>
            </a:lvl4pPr>
            <a:lvl5pPr marL="2057400" indent="-228600" eaLnBrk="0" hangingPunct="0">
              <a:defRPr sz="2000">
                <a:latin typeface="Tele-GroteskNor" pitchFamily="2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latin typeface="Tele-GroteskNor" pitchFamily="2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latin typeface="Tele-GroteskNor" pitchFamily="2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latin typeface="Tele-GroteskNor" pitchFamily="2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latin typeface="Tele-GroteskNor" pitchFamily="2" charset="0"/>
              </a:defRPr>
            </a:lvl9pPr>
          </a:lstStyle>
          <a:p>
            <a:r>
              <a:rPr lang="en-US" dirty="0"/>
              <a:t>Hungary</a:t>
            </a:r>
          </a:p>
        </p:txBody>
      </p:sp>
      <p:sp>
        <p:nvSpPr>
          <p:cNvPr id="80" name="Text Box 55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3386611" y="2950644"/>
            <a:ext cx="178632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 eaLnBrk="1" hangingPunct="1">
              <a:lnSpc>
                <a:spcPct val="100000"/>
              </a:lnSpc>
            </a:pPr>
            <a:r>
              <a:rPr lang="en-US" sz="1600" dirty="0" smtClean="0">
                <a:solidFill>
                  <a:srgbClr val="6C6C6C"/>
                </a:solidFill>
                <a:latin typeface="TeleLogo" pitchFamily="2" charset="0"/>
                <a:ea typeface="MS PGothic" pitchFamily="34" charset="-128"/>
              </a:rPr>
              <a:t>International</a:t>
            </a:r>
            <a:endParaRPr lang="en-US" sz="1400" dirty="0">
              <a:solidFill>
                <a:srgbClr val="6C6C6C"/>
              </a:solidFill>
              <a:latin typeface="TeleLogo" pitchFamily="2" charset="0"/>
              <a:ea typeface="MS PGothic" pitchFamily="34" charset="-128"/>
            </a:endParaRPr>
          </a:p>
        </p:txBody>
      </p:sp>
      <p:pic>
        <p:nvPicPr>
          <p:cNvPr id="3" name="Picture 2" descr="Screen Clipping"/>
          <p:cNvPicPr>
            <a:picLocks noChangeAspect="1"/>
          </p:cNvPicPr>
          <p:nvPr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38749" y="4183464"/>
            <a:ext cx="1540876" cy="417442"/>
          </a:xfrm>
          <a:prstGeom prst="rect">
            <a:avLst/>
          </a:prstGeom>
        </p:spPr>
      </p:pic>
      <p:sp>
        <p:nvSpPr>
          <p:cNvPr id="32" name="Dia számának helye 1"/>
          <p:cNvSpPr>
            <a:spLocks noGrp="1"/>
          </p:cNvSpPr>
          <p:nvPr>
            <p:ph type="sldNum" sz="quarter" idx="12"/>
          </p:nvPr>
        </p:nvSpPr>
        <p:spPr>
          <a:xfrm>
            <a:off x="10836000" y="5832001"/>
            <a:ext cx="360000" cy="324000"/>
          </a:xfrm>
        </p:spPr>
        <p:txBody>
          <a:bodyPr/>
          <a:lstStyle/>
          <a:p>
            <a:pPr>
              <a:defRPr/>
            </a:pPr>
            <a:fld id="{8E6BBBCF-7E96-490B-8A3E-27250659856F}" type="slidenum">
              <a:rPr lang="en-US" smtClean="0">
                <a:solidFill>
                  <a:srgbClr val="4B4B4B"/>
                </a:solidFill>
              </a:rPr>
              <a:pPr>
                <a:defRPr/>
              </a:pPr>
              <a:t>14</a:t>
            </a:fld>
            <a:endParaRPr lang="en-US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6994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ép 4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746"/>
            <a:ext cx="11522075" cy="6470429"/>
          </a:xfrm>
          <a:prstGeom prst="rect">
            <a:avLst/>
          </a:prstGeom>
        </p:spPr>
      </p:pic>
      <p:sp>
        <p:nvSpPr>
          <p:cNvPr id="6" name="AutoShap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941250" y="1086030"/>
            <a:ext cx="4172707" cy="483499"/>
          </a:xfrm>
          <a:prstGeom prst="roundRect">
            <a:avLst>
              <a:gd name="adj" fmla="val 27449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25000"/>
              </a:spcBef>
            </a:pP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7" name="Rectangle 8"/>
          <p:cNvSpPr>
            <a:spLocks noChangeArrowheads="1"/>
          </p:cNvSpPr>
          <p:nvPr/>
        </p:nvSpPr>
        <p:spPr bwMode="auto">
          <a:xfrm>
            <a:off x="376509" y="244921"/>
            <a:ext cx="10099819" cy="11910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l">
              <a:lnSpc>
                <a:spcPct val="90000"/>
              </a:lnSpc>
              <a:buClr>
                <a:srgbClr val="E20074"/>
              </a:buClr>
              <a:buSzPct val="75000"/>
              <a:buFont typeface="Wingdings" pitchFamily="2" charset="2"/>
              <a:buNone/>
            </a:pPr>
            <a:r>
              <a:rPr lang="hu-HU" sz="2800" dirty="0" smtClean="0">
                <a:solidFill>
                  <a:srgbClr val="E20074"/>
                </a:solidFill>
                <a:latin typeface="+mj-lt"/>
              </a:rPr>
              <a:t>ITSH IN A NUTSHELL</a:t>
            </a:r>
            <a:endParaRPr lang="en-US" sz="2800" dirty="0" smtClean="0">
              <a:solidFill>
                <a:srgbClr val="E20074"/>
              </a:solidFill>
              <a:latin typeface="+mj-lt"/>
            </a:endParaRPr>
          </a:p>
        </p:txBody>
      </p:sp>
      <p:sp>
        <p:nvSpPr>
          <p:cNvPr id="8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93844" y="1429164"/>
            <a:ext cx="9934388" cy="4039609"/>
          </a:xfrm>
          <a:prstGeom prst="rect">
            <a:avLst/>
          </a:prstGeom>
          <a:solidFill>
            <a:srgbClr val="FFFFFF">
              <a:alpha val="70000"/>
            </a:srgbClr>
          </a:solidFill>
          <a:ln w="381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144000" tIns="540000" rIns="144000"/>
          <a:lstStyle/>
          <a:p>
            <a:pPr marL="546100" lvl="1" indent="-222250">
              <a:spcBef>
                <a:spcPts val="300"/>
              </a:spcBef>
              <a:buClr>
                <a:srgbClr val="4B4B4B"/>
              </a:buClr>
              <a:buFont typeface="Wingdings" pitchFamily="2" charset="2"/>
              <a:buChar char="§"/>
            </a:pPr>
            <a:r>
              <a:rPr lang="en-GB" sz="2000" dirty="0" smtClean="0">
                <a:solidFill>
                  <a:srgbClr val="4B4B4B"/>
                </a:solidFill>
              </a:rPr>
              <a:t>Full information &amp; communication technology operations portfolio</a:t>
            </a:r>
          </a:p>
          <a:p>
            <a:pPr marL="546100" lvl="1" indent="-222250" algn="l">
              <a:lnSpc>
                <a:spcPct val="100000"/>
              </a:lnSpc>
              <a:spcBef>
                <a:spcPts val="300"/>
              </a:spcBef>
              <a:buClr>
                <a:srgbClr val="4B4B4B"/>
              </a:buClr>
              <a:buFont typeface="Wingdings" pitchFamily="2" charset="2"/>
              <a:buChar char="§"/>
            </a:pPr>
            <a:r>
              <a:rPr lang="en-GB" altLang="zh-CN" sz="2000" dirty="0" smtClean="0">
                <a:solidFill>
                  <a:srgbClr val="4B4B4B"/>
                </a:solidFill>
              </a:rPr>
              <a:t>End-to-end Services</a:t>
            </a:r>
          </a:p>
          <a:p>
            <a:pPr marL="546100" lvl="1" indent="-222250" algn="l">
              <a:lnSpc>
                <a:spcPct val="100000"/>
              </a:lnSpc>
              <a:spcBef>
                <a:spcPts val="300"/>
              </a:spcBef>
              <a:buClr>
                <a:srgbClr val="4B4B4B"/>
              </a:buClr>
              <a:buFont typeface="Wingdings" pitchFamily="2" charset="2"/>
              <a:buChar char="§"/>
            </a:pPr>
            <a:r>
              <a:rPr lang="en-GB" sz="2000" dirty="0" smtClean="0">
                <a:solidFill>
                  <a:srgbClr val="4B4B4B"/>
                </a:solidFill>
              </a:rPr>
              <a:t>Delivery capacity</a:t>
            </a:r>
          </a:p>
          <a:p>
            <a:pPr marL="546100" lvl="1" indent="-222250" algn="l">
              <a:lnSpc>
                <a:spcPct val="100000"/>
              </a:lnSpc>
              <a:spcBef>
                <a:spcPts val="300"/>
              </a:spcBef>
              <a:buClr>
                <a:srgbClr val="4B4B4B"/>
              </a:buClr>
              <a:buFont typeface="Wingdings" pitchFamily="2" charset="2"/>
              <a:buChar char="§"/>
            </a:pPr>
            <a:r>
              <a:rPr lang="en-GB" altLang="zh-CN" sz="2000" dirty="0" smtClean="0">
                <a:solidFill>
                  <a:srgbClr val="4B4B4B"/>
                </a:solidFill>
              </a:rPr>
              <a:t>Economies of scale</a:t>
            </a:r>
          </a:p>
          <a:p>
            <a:pPr marL="546100" lvl="1" indent="-222250">
              <a:spcBef>
                <a:spcPts val="300"/>
              </a:spcBef>
              <a:buClr>
                <a:srgbClr val="4B4B4B"/>
              </a:buClr>
              <a:buFont typeface="Wingdings" pitchFamily="2" charset="2"/>
              <a:buChar char="§"/>
            </a:pPr>
            <a:r>
              <a:rPr lang="en-GB" altLang="zh-CN" sz="2000" dirty="0" smtClean="0">
                <a:solidFill>
                  <a:srgbClr val="4B4B4B"/>
                </a:solidFill>
              </a:rPr>
              <a:t>More major sites (</a:t>
            </a:r>
            <a:r>
              <a:rPr lang="en-GB" sz="2000" dirty="0" smtClean="0">
                <a:solidFill>
                  <a:srgbClr val="4B4B4B"/>
                </a:solidFill>
              </a:rPr>
              <a:t>Business Continuity Planning</a:t>
            </a:r>
            <a:r>
              <a:rPr lang="en-GB" altLang="zh-CN" sz="2000" dirty="0" smtClean="0">
                <a:solidFill>
                  <a:srgbClr val="4B4B4B"/>
                </a:solidFill>
              </a:rPr>
              <a:t>, Cost Efficiency)</a:t>
            </a:r>
          </a:p>
          <a:p>
            <a:pPr marL="546100" lvl="1" indent="-222250" algn="l">
              <a:lnSpc>
                <a:spcPct val="100000"/>
              </a:lnSpc>
              <a:spcBef>
                <a:spcPts val="300"/>
              </a:spcBef>
              <a:buClr>
                <a:srgbClr val="4B4B4B"/>
              </a:buClr>
              <a:buFont typeface="Wingdings" pitchFamily="2" charset="2"/>
              <a:buChar char="§"/>
            </a:pPr>
            <a:r>
              <a:rPr lang="en-GB" altLang="zh-CN" sz="2000" dirty="0" smtClean="0">
                <a:solidFill>
                  <a:srgbClr val="4B4B4B"/>
                </a:solidFill>
              </a:rPr>
              <a:t>More languages, German among them </a:t>
            </a:r>
          </a:p>
          <a:p>
            <a:pPr marL="546100" lvl="1" indent="-222250" algn="l">
              <a:lnSpc>
                <a:spcPct val="100000"/>
              </a:lnSpc>
              <a:spcBef>
                <a:spcPts val="300"/>
              </a:spcBef>
              <a:buClr>
                <a:srgbClr val="4B4B4B"/>
              </a:buClr>
              <a:buFont typeface="Wingdings" pitchFamily="2" charset="2"/>
              <a:buChar char="§"/>
            </a:pPr>
            <a:r>
              <a:rPr lang="hu-HU" altLang="zh-CN" sz="2000" dirty="0" smtClean="0">
                <a:solidFill>
                  <a:srgbClr val="4B4B4B"/>
                </a:solidFill>
              </a:rPr>
              <a:t>Part of EU, s</a:t>
            </a:r>
            <a:r>
              <a:rPr lang="en-GB" altLang="zh-CN" sz="2000" dirty="0" err="1" smtClean="0">
                <a:solidFill>
                  <a:srgbClr val="4B4B4B"/>
                </a:solidFill>
              </a:rPr>
              <a:t>ame</a:t>
            </a:r>
            <a:r>
              <a:rPr lang="en-GB" altLang="zh-CN" sz="2000" dirty="0" smtClean="0">
                <a:solidFill>
                  <a:srgbClr val="4B4B4B"/>
                </a:solidFill>
              </a:rPr>
              <a:t> time zone and culture with our customers</a:t>
            </a:r>
          </a:p>
          <a:p>
            <a:pPr marL="546100" lvl="3" indent="-222250" algn="l">
              <a:lnSpc>
                <a:spcPct val="100000"/>
              </a:lnSpc>
              <a:spcBef>
                <a:spcPts val="300"/>
              </a:spcBef>
              <a:buClr>
                <a:srgbClr val="4B4B4B"/>
              </a:buClr>
              <a:buFont typeface="Wingdings" pitchFamily="2" charset="2"/>
              <a:buChar char="§"/>
            </a:pPr>
            <a:r>
              <a:rPr lang="en-GB" altLang="zh-CN" sz="2000" dirty="0" smtClean="0">
                <a:solidFill>
                  <a:srgbClr val="4B4B4B"/>
                </a:solidFill>
              </a:rPr>
              <a:t>ISO9001, ISO27001, ISO20 000-1, ISO14001, OHSAS18001</a:t>
            </a:r>
          </a:p>
          <a:p>
            <a:pPr marL="546100" lvl="3" indent="-222250">
              <a:spcBef>
                <a:spcPts val="300"/>
              </a:spcBef>
              <a:buClr>
                <a:srgbClr val="4B4B4B"/>
              </a:buClr>
              <a:buFont typeface="Wingdings" pitchFamily="2" charset="2"/>
              <a:buChar char="§"/>
            </a:pPr>
            <a:r>
              <a:rPr lang="en-GB" sz="2000" dirty="0" smtClean="0">
                <a:solidFill>
                  <a:srgbClr val="4B4B4B"/>
                </a:solidFill>
              </a:rPr>
              <a:t>Capacity Maturity Model Integration </a:t>
            </a:r>
            <a:r>
              <a:rPr lang="en-GB" altLang="zh-CN" sz="2000" dirty="0" smtClean="0">
                <a:solidFill>
                  <a:srgbClr val="4B4B4B"/>
                </a:solidFill>
              </a:rPr>
              <a:t>Certificate</a:t>
            </a:r>
          </a:p>
          <a:p>
            <a:pPr marL="546100" lvl="3" indent="-222250" algn="l">
              <a:lnSpc>
                <a:spcPct val="100000"/>
              </a:lnSpc>
              <a:spcBef>
                <a:spcPts val="300"/>
              </a:spcBef>
              <a:buClr>
                <a:srgbClr val="4B4B4B"/>
              </a:buClr>
              <a:buFont typeface="Wingdings" pitchFamily="2" charset="2"/>
              <a:buChar char="§"/>
            </a:pPr>
            <a:r>
              <a:rPr lang="en-GB" altLang="zh-CN" sz="2000" dirty="0" smtClean="0">
                <a:solidFill>
                  <a:srgbClr val="4B4B4B"/>
                </a:solidFill>
              </a:rPr>
              <a:t>Renewed Umbrella certification in 2014</a:t>
            </a:r>
            <a:endParaRPr lang="en-GB" altLang="zh-CN" dirty="0">
              <a:solidFill>
                <a:srgbClr val="4B4B4B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9461107" y="1947310"/>
            <a:ext cx="564480" cy="3334004"/>
            <a:chOff x="7092280" y="2060848"/>
            <a:chExt cx="447975" cy="3528392"/>
          </a:xfrm>
        </p:grpSpPr>
        <p:pic>
          <p:nvPicPr>
            <p:cNvPr id="10" name="Kép 37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08156" y="4501512"/>
              <a:ext cx="432099" cy="352160"/>
            </a:xfrm>
            <a:prstGeom prst="rect">
              <a:avLst/>
            </a:prstGeom>
          </p:spPr>
        </p:pic>
        <p:pic>
          <p:nvPicPr>
            <p:cNvPr id="11" name="Kép 38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08153" y="4853672"/>
              <a:ext cx="432099" cy="352160"/>
            </a:xfrm>
            <a:prstGeom prst="rect">
              <a:avLst/>
            </a:prstGeom>
          </p:spPr>
        </p:pic>
        <p:pic>
          <p:nvPicPr>
            <p:cNvPr id="12" name="Kép 2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08156" y="2060848"/>
              <a:ext cx="432099" cy="352160"/>
            </a:xfrm>
            <a:prstGeom prst="rect">
              <a:avLst/>
            </a:prstGeom>
          </p:spPr>
        </p:pic>
        <p:pic>
          <p:nvPicPr>
            <p:cNvPr id="13" name="Kép 21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08156" y="2413008"/>
              <a:ext cx="432099" cy="352160"/>
            </a:xfrm>
            <a:prstGeom prst="rect">
              <a:avLst/>
            </a:prstGeom>
          </p:spPr>
        </p:pic>
        <p:pic>
          <p:nvPicPr>
            <p:cNvPr id="14" name="Kép 22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08156" y="2773628"/>
              <a:ext cx="432099" cy="352160"/>
            </a:xfrm>
            <a:prstGeom prst="rect">
              <a:avLst/>
            </a:prstGeom>
          </p:spPr>
        </p:pic>
        <p:pic>
          <p:nvPicPr>
            <p:cNvPr id="15" name="Kép 23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08155" y="3113048"/>
              <a:ext cx="432099" cy="352160"/>
            </a:xfrm>
            <a:prstGeom prst="rect">
              <a:avLst/>
            </a:prstGeom>
          </p:spPr>
        </p:pic>
        <p:pic>
          <p:nvPicPr>
            <p:cNvPr id="16" name="Kép 34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092280" y="3465208"/>
              <a:ext cx="432099" cy="352160"/>
            </a:xfrm>
            <a:prstGeom prst="rect">
              <a:avLst/>
            </a:prstGeom>
          </p:spPr>
        </p:pic>
        <p:pic>
          <p:nvPicPr>
            <p:cNvPr id="17" name="Kép 35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08154" y="3797192"/>
              <a:ext cx="432099" cy="352160"/>
            </a:xfrm>
            <a:prstGeom prst="rect">
              <a:avLst/>
            </a:prstGeom>
          </p:spPr>
        </p:pic>
        <p:pic>
          <p:nvPicPr>
            <p:cNvPr id="18" name="Kép 36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08156" y="4149352"/>
              <a:ext cx="432099" cy="352160"/>
            </a:xfrm>
            <a:prstGeom prst="rect">
              <a:avLst/>
            </a:prstGeom>
          </p:spPr>
        </p:pic>
        <p:pic>
          <p:nvPicPr>
            <p:cNvPr id="19" name="Kép 38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099440" y="5237080"/>
              <a:ext cx="432099" cy="352160"/>
            </a:xfrm>
            <a:prstGeom prst="rect">
              <a:avLst/>
            </a:prstGeom>
          </p:spPr>
        </p:pic>
      </p:grpSp>
      <p:sp>
        <p:nvSpPr>
          <p:cNvPr id="25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0761939" y="6007663"/>
            <a:ext cx="364066" cy="271507"/>
          </a:xfrm>
        </p:spPr>
        <p:txBody>
          <a:bodyPr/>
          <a:lstStyle/>
          <a:p>
            <a:pPr>
              <a:defRPr/>
            </a:pPr>
            <a:fld id="{ECD947EA-C75C-4BD6-A5B3-2D27ECB9666E}" type="slidenum">
              <a:rPr lang="en-US" smtClean="0">
                <a:solidFill>
                  <a:schemeClr val="bg1"/>
                </a:solidFill>
              </a:rPr>
              <a:pPr>
                <a:defRPr/>
              </a:pPr>
              <a:t>15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010808" y="1541879"/>
            <a:ext cx="2377574" cy="3539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GB" cap="all" dirty="0" smtClean="0">
                <a:solidFill>
                  <a:schemeClr val="tx2"/>
                </a:solidFill>
                <a:latin typeface="Tele-GroteskFet" pitchFamily="2" charset="0"/>
              </a:rPr>
              <a:t>ITSH as a company</a:t>
            </a:r>
            <a:endParaRPr lang="en-GB" cap="all" dirty="0">
              <a:solidFill>
                <a:schemeClr val="tx2"/>
              </a:solidFill>
              <a:latin typeface="Tele-GroteskFe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7643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ABOUT IT SERVICES HUNGAR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C42E853-FB2E-4C41-9A69-35DEFC1A3513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grpSp>
        <p:nvGrpSpPr>
          <p:cNvPr id="2" name="Group 1"/>
          <p:cNvGrpSpPr/>
          <p:nvPr/>
        </p:nvGrpSpPr>
        <p:grpSpPr>
          <a:xfrm>
            <a:off x="2802386" y="986937"/>
            <a:ext cx="7049601" cy="4720279"/>
            <a:chOff x="1907704" y="119723"/>
            <a:chExt cx="7049601" cy="4720279"/>
          </a:xfrm>
        </p:grpSpPr>
        <p:pic>
          <p:nvPicPr>
            <p:cNvPr id="384" name="Picture 4" descr="C:\Users\csatoth\Desktop\Magyaroszág megyéi.png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artisticGlowEdges/>
                      </a14:imgEffect>
                      <a14:imgEffect>
                        <a14:saturation sat="200000"/>
                      </a14:imgEffect>
                      <a14:imgEffect>
                        <a14:brightnessContrast bright="78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07704" y="119723"/>
              <a:ext cx="6676491" cy="4720279"/>
            </a:xfrm>
            <a:prstGeom prst="rect">
              <a:avLst/>
            </a:prstGeom>
            <a:noFill/>
            <a:effectLst>
              <a:outerShdw blurRad="63500" sx="103000" sy="103000" algn="ctr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5" name="Picture 9" descr="C:\Users\vkuntoma\Downloads\ITSH_IMDay_Szorolap_Pin_DEB2.png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50801" y="1382220"/>
              <a:ext cx="805383" cy="655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6" name="Picture 2" descr="C:\Users\vkuntoma\Downloads\ITSH_IMDay_Szorolap_Pin_PECS1.png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11726" y="3527982"/>
              <a:ext cx="805383" cy="655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7" name="Picture 3" descr="C:\Users\vkuntoma\Downloads\ITSH_IMDay_Szorolap_Pin_PECS2.png"/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63598" y="3574188"/>
              <a:ext cx="805383" cy="655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8" name="Picture 4" descr="C:\Users\vkuntoma\Downloads\ITSH_IMDay_Szorolap_Pin_SZEG1.png"/>
            <p:cNvPicPr>
              <a:picLocks noChangeAspect="1" noChangeArrowheads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26339" y="3066763"/>
              <a:ext cx="805383" cy="655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9" name="Picture 6" descr="C:\Users\vkuntoma\Downloads\ITSH_IMDay_Szorolap_Pin_BUD1.png"/>
            <p:cNvPicPr>
              <a:picLocks noChangeAspect="1" noChangeArrowheads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26792" y="1384211"/>
              <a:ext cx="805383" cy="655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0" name="Picture 7" descr="C:\Users\vkuntoma\Downloads\ITSH_IMDay_Szorolap_Pin_BUD2.png"/>
            <p:cNvPicPr>
              <a:picLocks noChangeAspect="1" noChangeArrowheads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34332" y="1340698"/>
              <a:ext cx="805383" cy="655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1" name="Picture 8" descr="C:\Users\vkuntoma\Downloads\ITSH_IMDay_Szorolap_Pin_DEB1.png"/>
            <p:cNvPicPr>
              <a:picLocks noChangeAspect="1" noChangeArrowheads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16221" y="1328487"/>
              <a:ext cx="805383" cy="655645"/>
            </a:xfrm>
            <a:prstGeom prst="rect">
              <a:avLst/>
            </a:prstGeom>
            <a:noFill/>
            <a:extLst/>
          </p:spPr>
        </p:pic>
        <p:sp>
          <p:nvSpPr>
            <p:cNvPr id="392" name="Rectangle 11"/>
            <p:cNvSpPr/>
            <p:nvPr/>
          </p:nvSpPr>
          <p:spPr bwMode="gray">
            <a:xfrm>
              <a:off x="4583191" y="2066303"/>
              <a:ext cx="828526" cy="325419"/>
            </a:xfrm>
            <a:prstGeom prst="rect">
              <a:avLst/>
            </a:prstGeom>
            <a:solidFill>
              <a:srgbClr val="1063AD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square" lIns="85698" tIns="85698" rIns="85698" bIns="85698" rtlCol="0" anchor="ctr" anchorCtr="0">
              <a:spAutoFit/>
            </a:bodyPr>
            <a:lstStyle/>
            <a:p>
              <a:pPr algn="ctr" defTabSz="362862">
                <a:lnSpc>
                  <a:spcPct val="90000"/>
                </a:lnSpc>
                <a:buClr>
                  <a:srgbClr val="E20074"/>
                </a:buClr>
                <a:buSzPct val="75000"/>
                <a:defRPr/>
              </a:pPr>
              <a:r>
                <a:rPr lang="en-US" sz="1100" kern="0" dirty="0">
                  <a:solidFill>
                    <a:srgbClr val="FFFFFF"/>
                  </a:solidFill>
                  <a:latin typeface="TeleGrotesk Headline Ultra" pitchFamily="2" charset="0"/>
                  <a:cs typeface="Arial Unicode MS" panose="020B0604020202020204" pitchFamily="34" charset="-128"/>
                </a:rPr>
                <a:t>BUDAPEST</a:t>
              </a:r>
            </a:p>
          </p:txBody>
        </p:sp>
        <p:sp>
          <p:nvSpPr>
            <p:cNvPr id="393" name="Rectangle 12"/>
            <p:cNvSpPr/>
            <p:nvPr/>
          </p:nvSpPr>
          <p:spPr bwMode="gray">
            <a:xfrm>
              <a:off x="3858666" y="4120930"/>
              <a:ext cx="828526" cy="325419"/>
            </a:xfrm>
            <a:prstGeom prst="rect">
              <a:avLst/>
            </a:prstGeom>
            <a:solidFill>
              <a:srgbClr val="BFCB44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square" lIns="85698" tIns="85698" rIns="85698" bIns="85698" rtlCol="0" anchor="ctr" anchorCtr="0">
              <a:spAutoFit/>
            </a:bodyPr>
            <a:lstStyle/>
            <a:p>
              <a:pPr algn="ctr" defTabSz="362862">
                <a:lnSpc>
                  <a:spcPct val="90000"/>
                </a:lnSpc>
                <a:buClr>
                  <a:srgbClr val="E20074"/>
                </a:buClr>
                <a:buSzPct val="75000"/>
                <a:defRPr/>
              </a:pPr>
              <a:r>
                <a:rPr lang="en-US" sz="1100" kern="0" dirty="0">
                  <a:solidFill>
                    <a:srgbClr val="FFFFFF"/>
                  </a:solidFill>
                  <a:latin typeface="TeleGrotesk Headline Ultra" pitchFamily="2" charset="0"/>
                  <a:cs typeface="Arial Unicode MS" panose="020B0604020202020204" pitchFamily="34" charset="-128"/>
                </a:rPr>
                <a:t>PÉCS</a:t>
              </a:r>
            </a:p>
          </p:txBody>
        </p:sp>
        <p:sp>
          <p:nvSpPr>
            <p:cNvPr id="394" name="Rectangle 13"/>
            <p:cNvSpPr/>
            <p:nvPr/>
          </p:nvSpPr>
          <p:spPr bwMode="gray">
            <a:xfrm>
              <a:off x="6872778" y="2066303"/>
              <a:ext cx="828526" cy="325419"/>
            </a:xfrm>
            <a:prstGeom prst="rect">
              <a:avLst/>
            </a:prstGeom>
            <a:solidFill>
              <a:srgbClr val="53BAF2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square" lIns="85698" tIns="85698" rIns="85698" bIns="85698" rtlCol="0" anchor="ctr" anchorCtr="0">
              <a:spAutoFit/>
            </a:bodyPr>
            <a:lstStyle/>
            <a:p>
              <a:pPr algn="ctr" defTabSz="362862">
                <a:lnSpc>
                  <a:spcPct val="90000"/>
                </a:lnSpc>
                <a:buClr>
                  <a:srgbClr val="E20074"/>
                </a:buClr>
                <a:buSzPct val="75000"/>
                <a:defRPr/>
              </a:pPr>
              <a:r>
                <a:rPr lang="en-US" sz="1100" kern="0" dirty="0">
                  <a:solidFill>
                    <a:srgbClr val="FFFFFF"/>
                  </a:solidFill>
                  <a:latin typeface="TeleGrotesk Headline Ultra" pitchFamily="2" charset="0"/>
                  <a:cs typeface="Arial Unicode MS" panose="020B0604020202020204" pitchFamily="34" charset="-128"/>
                </a:rPr>
                <a:t>DEBRECEN</a:t>
              </a:r>
            </a:p>
          </p:txBody>
        </p:sp>
        <p:sp>
          <p:nvSpPr>
            <p:cNvPr id="395" name="Rectangle 14"/>
            <p:cNvSpPr/>
            <p:nvPr/>
          </p:nvSpPr>
          <p:spPr bwMode="gray">
            <a:xfrm>
              <a:off x="5687689" y="3753854"/>
              <a:ext cx="828526" cy="325419"/>
            </a:xfrm>
            <a:prstGeom prst="rect">
              <a:avLst/>
            </a:prstGeom>
            <a:solidFill>
              <a:srgbClr val="1BADA2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square" lIns="85698" tIns="85698" rIns="85698" bIns="85698" rtlCol="0" anchor="ctr" anchorCtr="0">
              <a:spAutoFit/>
            </a:bodyPr>
            <a:lstStyle/>
            <a:p>
              <a:pPr algn="ctr" defTabSz="362862">
                <a:lnSpc>
                  <a:spcPct val="90000"/>
                </a:lnSpc>
                <a:buClr>
                  <a:srgbClr val="E20074"/>
                </a:buClr>
                <a:buSzPct val="75000"/>
                <a:defRPr/>
              </a:pPr>
              <a:r>
                <a:rPr lang="en-US" sz="1100" kern="0" dirty="0" err="1">
                  <a:solidFill>
                    <a:srgbClr val="FFFFFF"/>
                  </a:solidFill>
                  <a:latin typeface="TeleGrotesk Headline Ultra" pitchFamily="2" charset="0"/>
                  <a:cs typeface="Arial Unicode MS" panose="020B0604020202020204" pitchFamily="34" charset="-128"/>
                </a:rPr>
                <a:t>szeged</a:t>
              </a:r>
              <a:endParaRPr lang="en-US" sz="1100" kern="0" dirty="0">
                <a:solidFill>
                  <a:srgbClr val="FFFFFF"/>
                </a:solidFill>
                <a:latin typeface="TeleGrotesk Headline Ultra" pitchFamily="2" charset="0"/>
                <a:cs typeface="Arial Unicode MS" panose="020B0604020202020204" pitchFamily="34" charset="-128"/>
              </a:endParaRPr>
            </a:p>
          </p:txBody>
        </p:sp>
        <p:grpSp>
          <p:nvGrpSpPr>
            <p:cNvPr id="396" name="Group 395"/>
            <p:cNvGrpSpPr/>
            <p:nvPr/>
          </p:nvGrpSpPr>
          <p:grpSpPr>
            <a:xfrm>
              <a:off x="3347863" y="1706532"/>
              <a:ext cx="1127750" cy="685198"/>
              <a:chOff x="360000" y="1058400"/>
              <a:chExt cx="1127750" cy="685198"/>
            </a:xfrm>
          </p:grpSpPr>
          <p:grpSp>
            <p:nvGrpSpPr>
              <p:cNvPr id="397" name="Group 396"/>
              <p:cNvGrpSpPr/>
              <p:nvPr/>
            </p:nvGrpSpPr>
            <p:grpSpPr>
              <a:xfrm>
                <a:off x="360000" y="1203598"/>
                <a:ext cx="1127750" cy="252000"/>
                <a:chOff x="360000" y="720000"/>
                <a:chExt cx="1127750" cy="252000"/>
              </a:xfrm>
            </p:grpSpPr>
            <p:grpSp>
              <p:nvGrpSpPr>
                <p:cNvPr id="467" name="Group 466"/>
                <p:cNvGrpSpPr/>
                <p:nvPr/>
              </p:nvGrpSpPr>
              <p:grpSpPr>
                <a:xfrm>
                  <a:off x="360000" y="720000"/>
                  <a:ext cx="1127750" cy="108000"/>
                  <a:chOff x="360000" y="720000"/>
                  <a:chExt cx="1127750" cy="108000"/>
                </a:xfrm>
              </p:grpSpPr>
              <p:grpSp>
                <p:nvGrpSpPr>
                  <p:cNvPr id="495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360000" y="720000"/>
                    <a:ext cx="119750" cy="108000"/>
                    <a:chOff x="6300788" y="1562100"/>
                    <a:chExt cx="760412" cy="685800"/>
                  </a:xfrm>
                  <a:solidFill>
                    <a:srgbClr val="1063AD"/>
                  </a:solidFill>
                </p:grpSpPr>
                <p:sp>
                  <p:nvSpPr>
                    <p:cNvPr id="519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520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  <p:grpSp>
                <p:nvGrpSpPr>
                  <p:cNvPr id="496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504000" y="720000"/>
                    <a:ext cx="119750" cy="108000"/>
                    <a:chOff x="6300788" y="1562100"/>
                    <a:chExt cx="760412" cy="685800"/>
                  </a:xfrm>
                  <a:solidFill>
                    <a:srgbClr val="1063AD"/>
                  </a:solidFill>
                </p:grpSpPr>
                <p:sp>
                  <p:nvSpPr>
                    <p:cNvPr id="517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518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  <p:grpSp>
                <p:nvGrpSpPr>
                  <p:cNvPr id="497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648000" y="720000"/>
                    <a:ext cx="119750" cy="108000"/>
                    <a:chOff x="6300788" y="1562100"/>
                    <a:chExt cx="760412" cy="685800"/>
                  </a:xfrm>
                  <a:solidFill>
                    <a:srgbClr val="1063AD"/>
                  </a:solidFill>
                </p:grpSpPr>
                <p:sp>
                  <p:nvSpPr>
                    <p:cNvPr id="515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516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  <p:grpSp>
                <p:nvGrpSpPr>
                  <p:cNvPr id="498" name="Group 497"/>
                  <p:cNvGrpSpPr/>
                  <p:nvPr/>
                </p:nvGrpSpPr>
                <p:grpSpPr>
                  <a:xfrm>
                    <a:off x="792000" y="720000"/>
                    <a:ext cx="407750" cy="108000"/>
                    <a:chOff x="512400" y="872400"/>
                    <a:chExt cx="407750" cy="108000"/>
                  </a:xfrm>
                </p:grpSpPr>
                <p:grpSp>
                  <p:nvGrpSpPr>
                    <p:cNvPr id="506" name="Gruppieren 112"/>
                    <p:cNvGrpSpPr>
                      <a:grpSpLocks noChangeAspect="1"/>
                    </p:cNvGrpSpPr>
                    <p:nvPr/>
                  </p:nvGrpSpPr>
                  <p:grpSpPr>
                    <a:xfrm>
                      <a:off x="512400" y="872400"/>
                      <a:ext cx="119750" cy="108000"/>
                      <a:chOff x="6300788" y="1562100"/>
                      <a:chExt cx="760412" cy="685800"/>
                    </a:xfrm>
                    <a:solidFill>
                      <a:srgbClr val="1063AD"/>
                    </a:solidFill>
                  </p:grpSpPr>
                  <p:sp>
                    <p:nvSpPr>
                      <p:cNvPr id="513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516688" y="1562100"/>
                        <a:ext cx="328612" cy="457200"/>
                      </a:xfrm>
                      <a:custGeom>
                        <a:avLst/>
                        <a:gdLst>
                          <a:gd name="T0" fmla="*/ 174 w 347"/>
                          <a:gd name="T1" fmla="*/ 0 h 480"/>
                          <a:gd name="T2" fmla="*/ 0 w 347"/>
                          <a:gd name="T3" fmla="*/ 173 h 480"/>
                          <a:gd name="T4" fmla="*/ 0 w 347"/>
                          <a:gd name="T5" fmla="*/ 306 h 480"/>
                          <a:gd name="T6" fmla="*/ 174 w 347"/>
                          <a:gd name="T7" fmla="*/ 480 h 480"/>
                          <a:gd name="T8" fmla="*/ 347 w 347"/>
                          <a:gd name="T9" fmla="*/ 306 h 480"/>
                          <a:gd name="T10" fmla="*/ 347 w 347"/>
                          <a:gd name="T11" fmla="*/ 173 h 480"/>
                          <a:gd name="T12" fmla="*/ 174 w 347"/>
                          <a:gd name="T13" fmla="*/ 0 h 48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347" h="480">
                            <a:moveTo>
                              <a:pt x="174" y="0"/>
                            </a:moveTo>
                            <a:cubicBezTo>
                              <a:pt x="78" y="0"/>
                              <a:pt x="0" y="81"/>
                              <a:pt x="0" y="173"/>
                            </a:cubicBezTo>
                            <a:cubicBezTo>
                              <a:pt x="0" y="306"/>
                              <a:pt x="0" y="306"/>
                              <a:pt x="0" y="306"/>
                            </a:cubicBezTo>
                            <a:cubicBezTo>
                              <a:pt x="0" y="398"/>
                              <a:pt x="78" y="480"/>
                              <a:pt x="174" y="480"/>
                            </a:cubicBezTo>
                            <a:cubicBezTo>
                              <a:pt x="269" y="480"/>
                              <a:pt x="347" y="398"/>
                              <a:pt x="347" y="306"/>
                            </a:cubicBezTo>
                            <a:cubicBezTo>
                              <a:pt x="347" y="173"/>
                              <a:pt x="347" y="173"/>
                              <a:pt x="347" y="173"/>
                            </a:cubicBezTo>
                            <a:cubicBezTo>
                              <a:pt x="347" y="81"/>
                              <a:pt x="269" y="0"/>
                              <a:pt x="174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  <p:sp>
                    <p:nvSpPr>
                      <p:cNvPr id="514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300788" y="2073275"/>
                        <a:ext cx="760412" cy="174625"/>
                      </a:xfrm>
                      <a:custGeom>
                        <a:avLst/>
                        <a:gdLst>
                          <a:gd name="T0" fmla="*/ 643 w 800"/>
                          <a:gd name="T1" fmla="*/ 0 h 184"/>
                          <a:gd name="T2" fmla="*/ 156 w 800"/>
                          <a:gd name="T3" fmla="*/ 0 h 184"/>
                          <a:gd name="T4" fmla="*/ 0 w 800"/>
                          <a:gd name="T5" fmla="*/ 156 h 184"/>
                          <a:gd name="T6" fmla="*/ 0 w 800"/>
                          <a:gd name="T7" fmla="*/ 184 h 184"/>
                          <a:gd name="T8" fmla="*/ 800 w 800"/>
                          <a:gd name="T9" fmla="*/ 184 h 184"/>
                          <a:gd name="T10" fmla="*/ 800 w 800"/>
                          <a:gd name="T11" fmla="*/ 156 h 184"/>
                          <a:gd name="T12" fmla="*/ 643 w 800"/>
                          <a:gd name="T13" fmla="*/ 0 h 18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800" h="184">
                            <a:moveTo>
                              <a:pt x="643" y="0"/>
                            </a:moveTo>
                            <a:cubicBezTo>
                              <a:pt x="156" y="0"/>
                              <a:pt x="156" y="0"/>
                              <a:pt x="156" y="0"/>
                            </a:cubicBezTo>
                            <a:cubicBezTo>
                              <a:pt x="70" y="0"/>
                              <a:pt x="0" y="70"/>
                              <a:pt x="0" y="156"/>
                            </a:cubicBezTo>
                            <a:cubicBezTo>
                              <a:pt x="0" y="184"/>
                              <a:pt x="0" y="184"/>
                              <a:pt x="0" y="184"/>
                            </a:cubicBezTo>
                            <a:cubicBezTo>
                              <a:pt x="800" y="184"/>
                              <a:pt x="800" y="184"/>
                              <a:pt x="800" y="184"/>
                            </a:cubicBezTo>
                            <a:cubicBezTo>
                              <a:pt x="800" y="156"/>
                              <a:pt x="800" y="156"/>
                              <a:pt x="800" y="156"/>
                            </a:cubicBezTo>
                            <a:cubicBezTo>
                              <a:pt x="800" y="70"/>
                              <a:pt x="730" y="0"/>
                              <a:pt x="643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</p:grpSp>
                <p:grpSp>
                  <p:nvGrpSpPr>
                    <p:cNvPr id="507" name="Gruppieren 112"/>
                    <p:cNvGrpSpPr>
                      <a:grpSpLocks noChangeAspect="1"/>
                    </p:cNvGrpSpPr>
                    <p:nvPr/>
                  </p:nvGrpSpPr>
                  <p:grpSpPr>
                    <a:xfrm>
                      <a:off x="656400" y="872400"/>
                      <a:ext cx="119750" cy="108000"/>
                      <a:chOff x="6300788" y="1562100"/>
                      <a:chExt cx="760412" cy="685800"/>
                    </a:xfrm>
                    <a:solidFill>
                      <a:srgbClr val="1063AD"/>
                    </a:solidFill>
                  </p:grpSpPr>
                  <p:sp>
                    <p:nvSpPr>
                      <p:cNvPr id="511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516688" y="1562100"/>
                        <a:ext cx="328612" cy="457200"/>
                      </a:xfrm>
                      <a:custGeom>
                        <a:avLst/>
                        <a:gdLst>
                          <a:gd name="T0" fmla="*/ 174 w 347"/>
                          <a:gd name="T1" fmla="*/ 0 h 480"/>
                          <a:gd name="T2" fmla="*/ 0 w 347"/>
                          <a:gd name="T3" fmla="*/ 173 h 480"/>
                          <a:gd name="T4" fmla="*/ 0 w 347"/>
                          <a:gd name="T5" fmla="*/ 306 h 480"/>
                          <a:gd name="T6" fmla="*/ 174 w 347"/>
                          <a:gd name="T7" fmla="*/ 480 h 480"/>
                          <a:gd name="T8" fmla="*/ 347 w 347"/>
                          <a:gd name="T9" fmla="*/ 306 h 480"/>
                          <a:gd name="T10" fmla="*/ 347 w 347"/>
                          <a:gd name="T11" fmla="*/ 173 h 480"/>
                          <a:gd name="T12" fmla="*/ 174 w 347"/>
                          <a:gd name="T13" fmla="*/ 0 h 48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347" h="480">
                            <a:moveTo>
                              <a:pt x="174" y="0"/>
                            </a:moveTo>
                            <a:cubicBezTo>
                              <a:pt x="78" y="0"/>
                              <a:pt x="0" y="81"/>
                              <a:pt x="0" y="173"/>
                            </a:cubicBezTo>
                            <a:cubicBezTo>
                              <a:pt x="0" y="306"/>
                              <a:pt x="0" y="306"/>
                              <a:pt x="0" y="306"/>
                            </a:cubicBezTo>
                            <a:cubicBezTo>
                              <a:pt x="0" y="398"/>
                              <a:pt x="78" y="480"/>
                              <a:pt x="174" y="480"/>
                            </a:cubicBezTo>
                            <a:cubicBezTo>
                              <a:pt x="269" y="480"/>
                              <a:pt x="347" y="398"/>
                              <a:pt x="347" y="306"/>
                            </a:cubicBezTo>
                            <a:cubicBezTo>
                              <a:pt x="347" y="173"/>
                              <a:pt x="347" y="173"/>
                              <a:pt x="347" y="173"/>
                            </a:cubicBezTo>
                            <a:cubicBezTo>
                              <a:pt x="347" y="81"/>
                              <a:pt x="269" y="0"/>
                              <a:pt x="174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  <p:sp>
                    <p:nvSpPr>
                      <p:cNvPr id="512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300788" y="2073275"/>
                        <a:ext cx="760412" cy="174625"/>
                      </a:xfrm>
                      <a:custGeom>
                        <a:avLst/>
                        <a:gdLst>
                          <a:gd name="T0" fmla="*/ 643 w 800"/>
                          <a:gd name="T1" fmla="*/ 0 h 184"/>
                          <a:gd name="T2" fmla="*/ 156 w 800"/>
                          <a:gd name="T3" fmla="*/ 0 h 184"/>
                          <a:gd name="T4" fmla="*/ 0 w 800"/>
                          <a:gd name="T5" fmla="*/ 156 h 184"/>
                          <a:gd name="T6" fmla="*/ 0 w 800"/>
                          <a:gd name="T7" fmla="*/ 184 h 184"/>
                          <a:gd name="T8" fmla="*/ 800 w 800"/>
                          <a:gd name="T9" fmla="*/ 184 h 184"/>
                          <a:gd name="T10" fmla="*/ 800 w 800"/>
                          <a:gd name="T11" fmla="*/ 156 h 184"/>
                          <a:gd name="T12" fmla="*/ 643 w 800"/>
                          <a:gd name="T13" fmla="*/ 0 h 18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800" h="184">
                            <a:moveTo>
                              <a:pt x="643" y="0"/>
                            </a:moveTo>
                            <a:cubicBezTo>
                              <a:pt x="156" y="0"/>
                              <a:pt x="156" y="0"/>
                              <a:pt x="156" y="0"/>
                            </a:cubicBezTo>
                            <a:cubicBezTo>
                              <a:pt x="70" y="0"/>
                              <a:pt x="0" y="70"/>
                              <a:pt x="0" y="156"/>
                            </a:cubicBezTo>
                            <a:cubicBezTo>
                              <a:pt x="0" y="184"/>
                              <a:pt x="0" y="184"/>
                              <a:pt x="0" y="184"/>
                            </a:cubicBezTo>
                            <a:cubicBezTo>
                              <a:pt x="800" y="184"/>
                              <a:pt x="800" y="184"/>
                              <a:pt x="800" y="184"/>
                            </a:cubicBezTo>
                            <a:cubicBezTo>
                              <a:pt x="800" y="156"/>
                              <a:pt x="800" y="156"/>
                              <a:pt x="800" y="156"/>
                            </a:cubicBezTo>
                            <a:cubicBezTo>
                              <a:pt x="800" y="70"/>
                              <a:pt x="730" y="0"/>
                              <a:pt x="643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</p:grpSp>
                <p:grpSp>
                  <p:nvGrpSpPr>
                    <p:cNvPr id="508" name="Gruppieren 112"/>
                    <p:cNvGrpSpPr>
                      <a:grpSpLocks noChangeAspect="1"/>
                    </p:cNvGrpSpPr>
                    <p:nvPr/>
                  </p:nvGrpSpPr>
                  <p:grpSpPr>
                    <a:xfrm>
                      <a:off x="800400" y="872400"/>
                      <a:ext cx="119750" cy="108000"/>
                      <a:chOff x="6300788" y="1562100"/>
                      <a:chExt cx="760412" cy="685800"/>
                    </a:xfrm>
                    <a:solidFill>
                      <a:srgbClr val="1063AD"/>
                    </a:solidFill>
                  </p:grpSpPr>
                  <p:sp>
                    <p:nvSpPr>
                      <p:cNvPr id="509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516688" y="1562100"/>
                        <a:ext cx="328612" cy="457200"/>
                      </a:xfrm>
                      <a:custGeom>
                        <a:avLst/>
                        <a:gdLst>
                          <a:gd name="T0" fmla="*/ 174 w 347"/>
                          <a:gd name="T1" fmla="*/ 0 h 480"/>
                          <a:gd name="T2" fmla="*/ 0 w 347"/>
                          <a:gd name="T3" fmla="*/ 173 h 480"/>
                          <a:gd name="T4" fmla="*/ 0 w 347"/>
                          <a:gd name="T5" fmla="*/ 306 h 480"/>
                          <a:gd name="T6" fmla="*/ 174 w 347"/>
                          <a:gd name="T7" fmla="*/ 480 h 480"/>
                          <a:gd name="T8" fmla="*/ 347 w 347"/>
                          <a:gd name="T9" fmla="*/ 306 h 480"/>
                          <a:gd name="T10" fmla="*/ 347 w 347"/>
                          <a:gd name="T11" fmla="*/ 173 h 480"/>
                          <a:gd name="T12" fmla="*/ 174 w 347"/>
                          <a:gd name="T13" fmla="*/ 0 h 48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347" h="480">
                            <a:moveTo>
                              <a:pt x="174" y="0"/>
                            </a:moveTo>
                            <a:cubicBezTo>
                              <a:pt x="78" y="0"/>
                              <a:pt x="0" y="81"/>
                              <a:pt x="0" y="173"/>
                            </a:cubicBezTo>
                            <a:cubicBezTo>
                              <a:pt x="0" y="306"/>
                              <a:pt x="0" y="306"/>
                              <a:pt x="0" y="306"/>
                            </a:cubicBezTo>
                            <a:cubicBezTo>
                              <a:pt x="0" y="398"/>
                              <a:pt x="78" y="480"/>
                              <a:pt x="174" y="480"/>
                            </a:cubicBezTo>
                            <a:cubicBezTo>
                              <a:pt x="269" y="480"/>
                              <a:pt x="347" y="398"/>
                              <a:pt x="347" y="306"/>
                            </a:cubicBezTo>
                            <a:cubicBezTo>
                              <a:pt x="347" y="173"/>
                              <a:pt x="347" y="173"/>
                              <a:pt x="347" y="173"/>
                            </a:cubicBezTo>
                            <a:cubicBezTo>
                              <a:pt x="347" y="81"/>
                              <a:pt x="269" y="0"/>
                              <a:pt x="174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  <p:sp>
                    <p:nvSpPr>
                      <p:cNvPr id="510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300788" y="2073275"/>
                        <a:ext cx="760412" cy="174625"/>
                      </a:xfrm>
                      <a:custGeom>
                        <a:avLst/>
                        <a:gdLst>
                          <a:gd name="T0" fmla="*/ 643 w 800"/>
                          <a:gd name="T1" fmla="*/ 0 h 184"/>
                          <a:gd name="T2" fmla="*/ 156 w 800"/>
                          <a:gd name="T3" fmla="*/ 0 h 184"/>
                          <a:gd name="T4" fmla="*/ 0 w 800"/>
                          <a:gd name="T5" fmla="*/ 156 h 184"/>
                          <a:gd name="T6" fmla="*/ 0 w 800"/>
                          <a:gd name="T7" fmla="*/ 184 h 184"/>
                          <a:gd name="T8" fmla="*/ 800 w 800"/>
                          <a:gd name="T9" fmla="*/ 184 h 184"/>
                          <a:gd name="T10" fmla="*/ 800 w 800"/>
                          <a:gd name="T11" fmla="*/ 156 h 184"/>
                          <a:gd name="T12" fmla="*/ 643 w 800"/>
                          <a:gd name="T13" fmla="*/ 0 h 18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800" h="184">
                            <a:moveTo>
                              <a:pt x="643" y="0"/>
                            </a:moveTo>
                            <a:cubicBezTo>
                              <a:pt x="156" y="0"/>
                              <a:pt x="156" y="0"/>
                              <a:pt x="156" y="0"/>
                            </a:cubicBezTo>
                            <a:cubicBezTo>
                              <a:pt x="70" y="0"/>
                              <a:pt x="0" y="70"/>
                              <a:pt x="0" y="156"/>
                            </a:cubicBezTo>
                            <a:cubicBezTo>
                              <a:pt x="0" y="184"/>
                              <a:pt x="0" y="184"/>
                              <a:pt x="0" y="184"/>
                            </a:cubicBezTo>
                            <a:cubicBezTo>
                              <a:pt x="800" y="184"/>
                              <a:pt x="800" y="184"/>
                              <a:pt x="800" y="184"/>
                            </a:cubicBezTo>
                            <a:cubicBezTo>
                              <a:pt x="800" y="156"/>
                              <a:pt x="800" y="156"/>
                              <a:pt x="800" y="156"/>
                            </a:cubicBezTo>
                            <a:cubicBezTo>
                              <a:pt x="800" y="70"/>
                              <a:pt x="730" y="0"/>
                              <a:pt x="643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</p:grpSp>
              </p:grpSp>
              <p:grpSp>
                <p:nvGrpSpPr>
                  <p:cNvPr id="499" name="Group 498"/>
                  <p:cNvGrpSpPr/>
                  <p:nvPr/>
                </p:nvGrpSpPr>
                <p:grpSpPr>
                  <a:xfrm>
                    <a:off x="1224000" y="720000"/>
                    <a:ext cx="263750" cy="108000"/>
                    <a:chOff x="434900" y="1059582"/>
                    <a:chExt cx="263750" cy="108000"/>
                  </a:xfrm>
                </p:grpSpPr>
                <p:grpSp>
                  <p:nvGrpSpPr>
                    <p:cNvPr id="500" name="Gruppieren 112"/>
                    <p:cNvGrpSpPr>
                      <a:grpSpLocks noChangeAspect="1"/>
                    </p:cNvGrpSpPr>
                    <p:nvPr/>
                  </p:nvGrpSpPr>
                  <p:grpSpPr>
                    <a:xfrm>
                      <a:off x="434900" y="1059582"/>
                      <a:ext cx="119750" cy="108000"/>
                      <a:chOff x="6300788" y="1562100"/>
                      <a:chExt cx="760412" cy="685800"/>
                    </a:xfrm>
                    <a:solidFill>
                      <a:srgbClr val="1063AD"/>
                    </a:solidFill>
                  </p:grpSpPr>
                  <p:sp>
                    <p:nvSpPr>
                      <p:cNvPr id="504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516688" y="1562100"/>
                        <a:ext cx="328612" cy="457200"/>
                      </a:xfrm>
                      <a:custGeom>
                        <a:avLst/>
                        <a:gdLst>
                          <a:gd name="T0" fmla="*/ 174 w 347"/>
                          <a:gd name="T1" fmla="*/ 0 h 480"/>
                          <a:gd name="T2" fmla="*/ 0 w 347"/>
                          <a:gd name="T3" fmla="*/ 173 h 480"/>
                          <a:gd name="T4" fmla="*/ 0 w 347"/>
                          <a:gd name="T5" fmla="*/ 306 h 480"/>
                          <a:gd name="T6" fmla="*/ 174 w 347"/>
                          <a:gd name="T7" fmla="*/ 480 h 480"/>
                          <a:gd name="T8" fmla="*/ 347 w 347"/>
                          <a:gd name="T9" fmla="*/ 306 h 480"/>
                          <a:gd name="T10" fmla="*/ 347 w 347"/>
                          <a:gd name="T11" fmla="*/ 173 h 480"/>
                          <a:gd name="T12" fmla="*/ 174 w 347"/>
                          <a:gd name="T13" fmla="*/ 0 h 48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347" h="480">
                            <a:moveTo>
                              <a:pt x="174" y="0"/>
                            </a:moveTo>
                            <a:cubicBezTo>
                              <a:pt x="78" y="0"/>
                              <a:pt x="0" y="81"/>
                              <a:pt x="0" y="173"/>
                            </a:cubicBezTo>
                            <a:cubicBezTo>
                              <a:pt x="0" y="306"/>
                              <a:pt x="0" y="306"/>
                              <a:pt x="0" y="306"/>
                            </a:cubicBezTo>
                            <a:cubicBezTo>
                              <a:pt x="0" y="398"/>
                              <a:pt x="78" y="480"/>
                              <a:pt x="174" y="480"/>
                            </a:cubicBezTo>
                            <a:cubicBezTo>
                              <a:pt x="269" y="480"/>
                              <a:pt x="347" y="398"/>
                              <a:pt x="347" y="306"/>
                            </a:cubicBezTo>
                            <a:cubicBezTo>
                              <a:pt x="347" y="173"/>
                              <a:pt x="347" y="173"/>
                              <a:pt x="347" y="173"/>
                            </a:cubicBezTo>
                            <a:cubicBezTo>
                              <a:pt x="347" y="81"/>
                              <a:pt x="269" y="0"/>
                              <a:pt x="174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  <p:sp>
                    <p:nvSpPr>
                      <p:cNvPr id="505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300788" y="2073275"/>
                        <a:ext cx="760412" cy="174625"/>
                      </a:xfrm>
                      <a:custGeom>
                        <a:avLst/>
                        <a:gdLst>
                          <a:gd name="T0" fmla="*/ 643 w 800"/>
                          <a:gd name="T1" fmla="*/ 0 h 184"/>
                          <a:gd name="T2" fmla="*/ 156 w 800"/>
                          <a:gd name="T3" fmla="*/ 0 h 184"/>
                          <a:gd name="T4" fmla="*/ 0 w 800"/>
                          <a:gd name="T5" fmla="*/ 156 h 184"/>
                          <a:gd name="T6" fmla="*/ 0 w 800"/>
                          <a:gd name="T7" fmla="*/ 184 h 184"/>
                          <a:gd name="T8" fmla="*/ 800 w 800"/>
                          <a:gd name="T9" fmla="*/ 184 h 184"/>
                          <a:gd name="T10" fmla="*/ 800 w 800"/>
                          <a:gd name="T11" fmla="*/ 156 h 184"/>
                          <a:gd name="T12" fmla="*/ 643 w 800"/>
                          <a:gd name="T13" fmla="*/ 0 h 18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800" h="184">
                            <a:moveTo>
                              <a:pt x="643" y="0"/>
                            </a:moveTo>
                            <a:cubicBezTo>
                              <a:pt x="156" y="0"/>
                              <a:pt x="156" y="0"/>
                              <a:pt x="156" y="0"/>
                            </a:cubicBezTo>
                            <a:cubicBezTo>
                              <a:pt x="70" y="0"/>
                              <a:pt x="0" y="70"/>
                              <a:pt x="0" y="156"/>
                            </a:cubicBezTo>
                            <a:cubicBezTo>
                              <a:pt x="0" y="184"/>
                              <a:pt x="0" y="184"/>
                              <a:pt x="0" y="184"/>
                            </a:cubicBezTo>
                            <a:cubicBezTo>
                              <a:pt x="800" y="184"/>
                              <a:pt x="800" y="184"/>
                              <a:pt x="800" y="184"/>
                            </a:cubicBezTo>
                            <a:cubicBezTo>
                              <a:pt x="800" y="156"/>
                              <a:pt x="800" y="156"/>
                              <a:pt x="800" y="156"/>
                            </a:cubicBezTo>
                            <a:cubicBezTo>
                              <a:pt x="800" y="70"/>
                              <a:pt x="730" y="0"/>
                              <a:pt x="643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</p:grpSp>
                <p:grpSp>
                  <p:nvGrpSpPr>
                    <p:cNvPr id="501" name="Gruppieren 112"/>
                    <p:cNvGrpSpPr>
                      <a:grpSpLocks noChangeAspect="1"/>
                    </p:cNvGrpSpPr>
                    <p:nvPr/>
                  </p:nvGrpSpPr>
                  <p:grpSpPr>
                    <a:xfrm>
                      <a:off x="578900" y="1059582"/>
                      <a:ext cx="119750" cy="108000"/>
                      <a:chOff x="6300788" y="1562100"/>
                      <a:chExt cx="760412" cy="685800"/>
                    </a:xfrm>
                    <a:solidFill>
                      <a:srgbClr val="1063AD"/>
                    </a:solidFill>
                  </p:grpSpPr>
                  <p:sp>
                    <p:nvSpPr>
                      <p:cNvPr id="502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516688" y="1562100"/>
                        <a:ext cx="328612" cy="457200"/>
                      </a:xfrm>
                      <a:custGeom>
                        <a:avLst/>
                        <a:gdLst>
                          <a:gd name="T0" fmla="*/ 174 w 347"/>
                          <a:gd name="T1" fmla="*/ 0 h 480"/>
                          <a:gd name="T2" fmla="*/ 0 w 347"/>
                          <a:gd name="T3" fmla="*/ 173 h 480"/>
                          <a:gd name="T4" fmla="*/ 0 w 347"/>
                          <a:gd name="T5" fmla="*/ 306 h 480"/>
                          <a:gd name="T6" fmla="*/ 174 w 347"/>
                          <a:gd name="T7" fmla="*/ 480 h 480"/>
                          <a:gd name="T8" fmla="*/ 347 w 347"/>
                          <a:gd name="T9" fmla="*/ 306 h 480"/>
                          <a:gd name="T10" fmla="*/ 347 w 347"/>
                          <a:gd name="T11" fmla="*/ 173 h 480"/>
                          <a:gd name="T12" fmla="*/ 174 w 347"/>
                          <a:gd name="T13" fmla="*/ 0 h 48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347" h="480">
                            <a:moveTo>
                              <a:pt x="174" y="0"/>
                            </a:moveTo>
                            <a:cubicBezTo>
                              <a:pt x="78" y="0"/>
                              <a:pt x="0" y="81"/>
                              <a:pt x="0" y="173"/>
                            </a:cubicBezTo>
                            <a:cubicBezTo>
                              <a:pt x="0" y="306"/>
                              <a:pt x="0" y="306"/>
                              <a:pt x="0" y="306"/>
                            </a:cubicBezTo>
                            <a:cubicBezTo>
                              <a:pt x="0" y="398"/>
                              <a:pt x="78" y="480"/>
                              <a:pt x="174" y="480"/>
                            </a:cubicBezTo>
                            <a:cubicBezTo>
                              <a:pt x="269" y="480"/>
                              <a:pt x="347" y="398"/>
                              <a:pt x="347" y="306"/>
                            </a:cubicBezTo>
                            <a:cubicBezTo>
                              <a:pt x="347" y="173"/>
                              <a:pt x="347" y="173"/>
                              <a:pt x="347" y="173"/>
                            </a:cubicBezTo>
                            <a:cubicBezTo>
                              <a:pt x="347" y="81"/>
                              <a:pt x="269" y="0"/>
                              <a:pt x="174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  <p:sp>
                    <p:nvSpPr>
                      <p:cNvPr id="503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300788" y="2073275"/>
                        <a:ext cx="760412" cy="174625"/>
                      </a:xfrm>
                      <a:custGeom>
                        <a:avLst/>
                        <a:gdLst>
                          <a:gd name="T0" fmla="*/ 643 w 800"/>
                          <a:gd name="T1" fmla="*/ 0 h 184"/>
                          <a:gd name="T2" fmla="*/ 156 w 800"/>
                          <a:gd name="T3" fmla="*/ 0 h 184"/>
                          <a:gd name="T4" fmla="*/ 0 w 800"/>
                          <a:gd name="T5" fmla="*/ 156 h 184"/>
                          <a:gd name="T6" fmla="*/ 0 w 800"/>
                          <a:gd name="T7" fmla="*/ 184 h 184"/>
                          <a:gd name="T8" fmla="*/ 800 w 800"/>
                          <a:gd name="T9" fmla="*/ 184 h 184"/>
                          <a:gd name="T10" fmla="*/ 800 w 800"/>
                          <a:gd name="T11" fmla="*/ 156 h 184"/>
                          <a:gd name="T12" fmla="*/ 643 w 800"/>
                          <a:gd name="T13" fmla="*/ 0 h 18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800" h="184">
                            <a:moveTo>
                              <a:pt x="643" y="0"/>
                            </a:moveTo>
                            <a:cubicBezTo>
                              <a:pt x="156" y="0"/>
                              <a:pt x="156" y="0"/>
                              <a:pt x="156" y="0"/>
                            </a:cubicBezTo>
                            <a:cubicBezTo>
                              <a:pt x="70" y="0"/>
                              <a:pt x="0" y="70"/>
                              <a:pt x="0" y="156"/>
                            </a:cubicBezTo>
                            <a:cubicBezTo>
                              <a:pt x="0" y="184"/>
                              <a:pt x="0" y="184"/>
                              <a:pt x="0" y="184"/>
                            </a:cubicBezTo>
                            <a:cubicBezTo>
                              <a:pt x="800" y="184"/>
                              <a:pt x="800" y="184"/>
                              <a:pt x="800" y="184"/>
                            </a:cubicBezTo>
                            <a:cubicBezTo>
                              <a:pt x="800" y="156"/>
                              <a:pt x="800" y="156"/>
                              <a:pt x="800" y="156"/>
                            </a:cubicBezTo>
                            <a:cubicBezTo>
                              <a:pt x="800" y="70"/>
                              <a:pt x="730" y="0"/>
                              <a:pt x="643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</p:grpSp>
              </p:grpSp>
            </p:grpSp>
            <p:grpSp>
              <p:nvGrpSpPr>
                <p:cNvPr id="468" name="Group 467"/>
                <p:cNvGrpSpPr/>
                <p:nvPr/>
              </p:nvGrpSpPr>
              <p:grpSpPr>
                <a:xfrm>
                  <a:off x="360000" y="864000"/>
                  <a:ext cx="1127750" cy="108000"/>
                  <a:chOff x="360000" y="720000"/>
                  <a:chExt cx="1127750" cy="108000"/>
                </a:xfrm>
              </p:grpSpPr>
              <p:grpSp>
                <p:nvGrpSpPr>
                  <p:cNvPr id="469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360000" y="720000"/>
                    <a:ext cx="119750" cy="108000"/>
                    <a:chOff x="6300788" y="1562100"/>
                    <a:chExt cx="760412" cy="685800"/>
                  </a:xfrm>
                  <a:solidFill>
                    <a:srgbClr val="1063AD"/>
                  </a:solidFill>
                </p:grpSpPr>
                <p:sp>
                  <p:nvSpPr>
                    <p:cNvPr id="493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494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  <p:grpSp>
                <p:nvGrpSpPr>
                  <p:cNvPr id="470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504000" y="720000"/>
                    <a:ext cx="119750" cy="108000"/>
                    <a:chOff x="6300788" y="1562100"/>
                    <a:chExt cx="760412" cy="685800"/>
                  </a:xfrm>
                  <a:solidFill>
                    <a:srgbClr val="1063AD"/>
                  </a:solidFill>
                </p:grpSpPr>
                <p:sp>
                  <p:nvSpPr>
                    <p:cNvPr id="491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492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  <p:grpSp>
                <p:nvGrpSpPr>
                  <p:cNvPr id="471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648000" y="720000"/>
                    <a:ext cx="119750" cy="108000"/>
                    <a:chOff x="6300788" y="1562100"/>
                    <a:chExt cx="760412" cy="685800"/>
                  </a:xfrm>
                  <a:solidFill>
                    <a:srgbClr val="1063AD"/>
                  </a:solidFill>
                </p:grpSpPr>
                <p:sp>
                  <p:nvSpPr>
                    <p:cNvPr id="489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490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  <p:grpSp>
                <p:nvGrpSpPr>
                  <p:cNvPr id="472" name="Group 471"/>
                  <p:cNvGrpSpPr/>
                  <p:nvPr/>
                </p:nvGrpSpPr>
                <p:grpSpPr>
                  <a:xfrm>
                    <a:off x="792000" y="720000"/>
                    <a:ext cx="407750" cy="108000"/>
                    <a:chOff x="512400" y="872400"/>
                    <a:chExt cx="407750" cy="108000"/>
                  </a:xfrm>
                </p:grpSpPr>
                <p:grpSp>
                  <p:nvGrpSpPr>
                    <p:cNvPr id="480" name="Gruppieren 112"/>
                    <p:cNvGrpSpPr>
                      <a:grpSpLocks noChangeAspect="1"/>
                    </p:cNvGrpSpPr>
                    <p:nvPr/>
                  </p:nvGrpSpPr>
                  <p:grpSpPr>
                    <a:xfrm>
                      <a:off x="512400" y="872400"/>
                      <a:ext cx="119750" cy="108000"/>
                      <a:chOff x="6300788" y="1562100"/>
                      <a:chExt cx="760412" cy="685800"/>
                    </a:xfrm>
                    <a:solidFill>
                      <a:srgbClr val="1063AD"/>
                    </a:solidFill>
                  </p:grpSpPr>
                  <p:sp>
                    <p:nvSpPr>
                      <p:cNvPr id="487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516688" y="1562100"/>
                        <a:ext cx="328612" cy="457200"/>
                      </a:xfrm>
                      <a:custGeom>
                        <a:avLst/>
                        <a:gdLst>
                          <a:gd name="T0" fmla="*/ 174 w 347"/>
                          <a:gd name="T1" fmla="*/ 0 h 480"/>
                          <a:gd name="T2" fmla="*/ 0 w 347"/>
                          <a:gd name="T3" fmla="*/ 173 h 480"/>
                          <a:gd name="T4" fmla="*/ 0 w 347"/>
                          <a:gd name="T5" fmla="*/ 306 h 480"/>
                          <a:gd name="T6" fmla="*/ 174 w 347"/>
                          <a:gd name="T7" fmla="*/ 480 h 480"/>
                          <a:gd name="T8" fmla="*/ 347 w 347"/>
                          <a:gd name="T9" fmla="*/ 306 h 480"/>
                          <a:gd name="T10" fmla="*/ 347 w 347"/>
                          <a:gd name="T11" fmla="*/ 173 h 480"/>
                          <a:gd name="T12" fmla="*/ 174 w 347"/>
                          <a:gd name="T13" fmla="*/ 0 h 48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347" h="480">
                            <a:moveTo>
                              <a:pt x="174" y="0"/>
                            </a:moveTo>
                            <a:cubicBezTo>
                              <a:pt x="78" y="0"/>
                              <a:pt x="0" y="81"/>
                              <a:pt x="0" y="173"/>
                            </a:cubicBezTo>
                            <a:cubicBezTo>
                              <a:pt x="0" y="306"/>
                              <a:pt x="0" y="306"/>
                              <a:pt x="0" y="306"/>
                            </a:cubicBezTo>
                            <a:cubicBezTo>
                              <a:pt x="0" y="398"/>
                              <a:pt x="78" y="480"/>
                              <a:pt x="174" y="480"/>
                            </a:cubicBezTo>
                            <a:cubicBezTo>
                              <a:pt x="269" y="480"/>
                              <a:pt x="347" y="398"/>
                              <a:pt x="347" y="306"/>
                            </a:cubicBezTo>
                            <a:cubicBezTo>
                              <a:pt x="347" y="173"/>
                              <a:pt x="347" y="173"/>
                              <a:pt x="347" y="173"/>
                            </a:cubicBezTo>
                            <a:cubicBezTo>
                              <a:pt x="347" y="81"/>
                              <a:pt x="269" y="0"/>
                              <a:pt x="174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  <p:sp>
                    <p:nvSpPr>
                      <p:cNvPr id="488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300788" y="2073275"/>
                        <a:ext cx="760412" cy="174625"/>
                      </a:xfrm>
                      <a:custGeom>
                        <a:avLst/>
                        <a:gdLst>
                          <a:gd name="T0" fmla="*/ 643 w 800"/>
                          <a:gd name="T1" fmla="*/ 0 h 184"/>
                          <a:gd name="T2" fmla="*/ 156 w 800"/>
                          <a:gd name="T3" fmla="*/ 0 h 184"/>
                          <a:gd name="T4" fmla="*/ 0 w 800"/>
                          <a:gd name="T5" fmla="*/ 156 h 184"/>
                          <a:gd name="T6" fmla="*/ 0 w 800"/>
                          <a:gd name="T7" fmla="*/ 184 h 184"/>
                          <a:gd name="T8" fmla="*/ 800 w 800"/>
                          <a:gd name="T9" fmla="*/ 184 h 184"/>
                          <a:gd name="T10" fmla="*/ 800 w 800"/>
                          <a:gd name="T11" fmla="*/ 156 h 184"/>
                          <a:gd name="T12" fmla="*/ 643 w 800"/>
                          <a:gd name="T13" fmla="*/ 0 h 18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800" h="184">
                            <a:moveTo>
                              <a:pt x="643" y="0"/>
                            </a:moveTo>
                            <a:cubicBezTo>
                              <a:pt x="156" y="0"/>
                              <a:pt x="156" y="0"/>
                              <a:pt x="156" y="0"/>
                            </a:cubicBezTo>
                            <a:cubicBezTo>
                              <a:pt x="70" y="0"/>
                              <a:pt x="0" y="70"/>
                              <a:pt x="0" y="156"/>
                            </a:cubicBezTo>
                            <a:cubicBezTo>
                              <a:pt x="0" y="184"/>
                              <a:pt x="0" y="184"/>
                              <a:pt x="0" y="184"/>
                            </a:cubicBezTo>
                            <a:cubicBezTo>
                              <a:pt x="800" y="184"/>
                              <a:pt x="800" y="184"/>
                              <a:pt x="800" y="184"/>
                            </a:cubicBezTo>
                            <a:cubicBezTo>
                              <a:pt x="800" y="156"/>
                              <a:pt x="800" y="156"/>
                              <a:pt x="800" y="156"/>
                            </a:cubicBezTo>
                            <a:cubicBezTo>
                              <a:pt x="800" y="70"/>
                              <a:pt x="730" y="0"/>
                              <a:pt x="643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</p:grpSp>
                <p:grpSp>
                  <p:nvGrpSpPr>
                    <p:cNvPr id="481" name="Gruppieren 112"/>
                    <p:cNvGrpSpPr>
                      <a:grpSpLocks noChangeAspect="1"/>
                    </p:cNvGrpSpPr>
                    <p:nvPr/>
                  </p:nvGrpSpPr>
                  <p:grpSpPr>
                    <a:xfrm>
                      <a:off x="656400" y="872400"/>
                      <a:ext cx="119750" cy="108000"/>
                      <a:chOff x="6300788" y="1562100"/>
                      <a:chExt cx="760412" cy="685800"/>
                    </a:xfrm>
                    <a:solidFill>
                      <a:srgbClr val="1063AD"/>
                    </a:solidFill>
                  </p:grpSpPr>
                  <p:sp>
                    <p:nvSpPr>
                      <p:cNvPr id="485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516688" y="1562100"/>
                        <a:ext cx="328612" cy="457200"/>
                      </a:xfrm>
                      <a:custGeom>
                        <a:avLst/>
                        <a:gdLst>
                          <a:gd name="T0" fmla="*/ 174 w 347"/>
                          <a:gd name="T1" fmla="*/ 0 h 480"/>
                          <a:gd name="T2" fmla="*/ 0 w 347"/>
                          <a:gd name="T3" fmla="*/ 173 h 480"/>
                          <a:gd name="T4" fmla="*/ 0 w 347"/>
                          <a:gd name="T5" fmla="*/ 306 h 480"/>
                          <a:gd name="T6" fmla="*/ 174 w 347"/>
                          <a:gd name="T7" fmla="*/ 480 h 480"/>
                          <a:gd name="T8" fmla="*/ 347 w 347"/>
                          <a:gd name="T9" fmla="*/ 306 h 480"/>
                          <a:gd name="T10" fmla="*/ 347 w 347"/>
                          <a:gd name="T11" fmla="*/ 173 h 480"/>
                          <a:gd name="T12" fmla="*/ 174 w 347"/>
                          <a:gd name="T13" fmla="*/ 0 h 48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347" h="480">
                            <a:moveTo>
                              <a:pt x="174" y="0"/>
                            </a:moveTo>
                            <a:cubicBezTo>
                              <a:pt x="78" y="0"/>
                              <a:pt x="0" y="81"/>
                              <a:pt x="0" y="173"/>
                            </a:cubicBezTo>
                            <a:cubicBezTo>
                              <a:pt x="0" y="306"/>
                              <a:pt x="0" y="306"/>
                              <a:pt x="0" y="306"/>
                            </a:cubicBezTo>
                            <a:cubicBezTo>
                              <a:pt x="0" y="398"/>
                              <a:pt x="78" y="480"/>
                              <a:pt x="174" y="480"/>
                            </a:cubicBezTo>
                            <a:cubicBezTo>
                              <a:pt x="269" y="480"/>
                              <a:pt x="347" y="398"/>
                              <a:pt x="347" y="306"/>
                            </a:cubicBezTo>
                            <a:cubicBezTo>
                              <a:pt x="347" y="173"/>
                              <a:pt x="347" y="173"/>
                              <a:pt x="347" y="173"/>
                            </a:cubicBezTo>
                            <a:cubicBezTo>
                              <a:pt x="347" y="81"/>
                              <a:pt x="269" y="0"/>
                              <a:pt x="174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  <p:sp>
                    <p:nvSpPr>
                      <p:cNvPr id="486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300788" y="2073275"/>
                        <a:ext cx="760412" cy="174625"/>
                      </a:xfrm>
                      <a:custGeom>
                        <a:avLst/>
                        <a:gdLst>
                          <a:gd name="T0" fmla="*/ 643 w 800"/>
                          <a:gd name="T1" fmla="*/ 0 h 184"/>
                          <a:gd name="T2" fmla="*/ 156 w 800"/>
                          <a:gd name="T3" fmla="*/ 0 h 184"/>
                          <a:gd name="T4" fmla="*/ 0 w 800"/>
                          <a:gd name="T5" fmla="*/ 156 h 184"/>
                          <a:gd name="T6" fmla="*/ 0 w 800"/>
                          <a:gd name="T7" fmla="*/ 184 h 184"/>
                          <a:gd name="T8" fmla="*/ 800 w 800"/>
                          <a:gd name="T9" fmla="*/ 184 h 184"/>
                          <a:gd name="T10" fmla="*/ 800 w 800"/>
                          <a:gd name="T11" fmla="*/ 156 h 184"/>
                          <a:gd name="T12" fmla="*/ 643 w 800"/>
                          <a:gd name="T13" fmla="*/ 0 h 18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800" h="184">
                            <a:moveTo>
                              <a:pt x="643" y="0"/>
                            </a:moveTo>
                            <a:cubicBezTo>
                              <a:pt x="156" y="0"/>
                              <a:pt x="156" y="0"/>
                              <a:pt x="156" y="0"/>
                            </a:cubicBezTo>
                            <a:cubicBezTo>
                              <a:pt x="70" y="0"/>
                              <a:pt x="0" y="70"/>
                              <a:pt x="0" y="156"/>
                            </a:cubicBezTo>
                            <a:cubicBezTo>
                              <a:pt x="0" y="184"/>
                              <a:pt x="0" y="184"/>
                              <a:pt x="0" y="184"/>
                            </a:cubicBezTo>
                            <a:cubicBezTo>
                              <a:pt x="800" y="184"/>
                              <a:pt x="800" y="184"/>
                              <a:pt x="800" y="184"/>
                            </a:cubicBezTo>
                            <a:cubicBezTo>
                              <a:pt x="800" y="156"/>
                              <a:pt x="800" y="156"/>
                              <a:pt x="800" y="156"/>
                            </a:cubicBezTo>
                            <a:cubicBezTo>
                              <a:pt x="800" y="70"/>
                              <a:pt x="730" y="0"/>
                              <a:pt x="643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</p:grpSp>
                <p:grpSp>
                  <p:nvGrpSpPr>
                    <p:cNvPr id="482" name="Gruppieren 112"/>
                    <p:cNvGrpSpPr>
                      <a:grpSpLocks noChangeAspect="1"/>
                    </p:cNvGrpSpPr>
                    <p:nvPr/>
                  </p:nvGrpSpPr>
                  <p:grpSpPr>
                    <a:xfrm>
                      <a:off x="800400" y="872400"/>
                      <a:ext cx="119750" cy="108000"/>
                      <a:chOff x="6300788" y="1562100"/>
                      <a:chExt cx="760412" cy="685800"/>
                    </a:xfrm>
                    <a:solidFill>
                      <a:srgbClr val="1063AD"/>
                    </a:solidFill>
                  </p:grpSpPr>
                  <p:sp>
                    <p:nvSpPr>
                      <p:cNvPr id="483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516688" y="1562100"/>
                        <a:ext cx="328612" cy="457200"/>
                      </a:xfrm>
                      <a:custGeom>
                        <a:avLst/>
                        <a:gdLst>
                          <a:gd name="T0" fmla="*/ 174 w 347"/>
                          <a:gd name="T1" fmla="*/ 0 h 480"/>
                          <a:gd name="T2" fmla="*/ 0 w 347"/>
                          <a:gd name="T3" fmla="*/ 173 h 480"/>
                          <a:gd name="T4" fmla="*/ 0 w 347"/>
                          <a:gd name="T5" fmla="*/ 306 h 480"/>
                          <a:gd name="T6" fmla="*/ 174 w 347"/>
                          <a:gd name="T7" fmla="*/ 480 h 480"/>
                          <a:gd name="T8" fmla="*/ 347 w 347"/>
                          <a:gd name="T9" fmla="*/ 306 h 480"/>
                          <a:gd name="T10" fmla="*/ 347 w 347"/>
                          <a:gd name="T11" fmla="*/ 173 h 480"/>
                          <a:gd name="T12" fmla="*/ 174 w 347"/>
                          <a:gd name="T13" fmla="*/ 0 h 48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347" h="480">
                            <a:moveTo>
                              <a:pt x="174" y="0"/>
                            </a:moveTo>
                            <a:cubicBezTo>
                              <a:pt x="78" y="0"/>
                              <a:pt x="0" y="81"/>
                              <a:pt x="0" y="173"/>
                            </a:cubicBezTo>
                            <a:cubicBezTo>
                              <a:pt x="0" y="306"/>
                              <a:pt x="0" y="306"/>
                              <a:pt x="0" y="306"/>
                            </a:cubicBezTo>
                            <a:cubicBezTo>
                              <a:pt x="0" y="398"/>
                              <a:pt x="78" y="480"/>
                              <a:pt x="174" y="480"/>
                            </a:cubicBezTo>
                            <a:cubicBezTo>
                              <a:pt x="269" y="480"/>
                              <a:pt x="347" y="398"/>
                              <a:pt x="347" y="306"/>
                            </a:cubicBezTo>
                            <a:cubicBezTo>
                              <a:pt x="347" y="173"/>
                              <a:pt x="347" y="173"/>
                              <a:pt x="347" y="173"/>
                            </a:cubicBezTo>
                            <a:cubicBezTo>
                              <a:pt x="347" y="81"/>
                              <a:pt x="269" y="0"/>
                              <a:pt x="174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  <p:sp>
                    <p:nvSpPr>
                      <p:cNvPr id="484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300788" y="2073275"/>
                        <a:ext cx="760412" cy="174625"/>
                      </a:xfrm>
                      <a:custGeom>
                        <a:avLst/>
                        <a:gdLst>
                          <a:gd name="T0" fmla="*/ 643 w 800"/>
                          <a:gd name="T1" fmla="*/ 0 h 184"/>
                          <a:gd name="T2" fmla="*/ 156 w 800"/>
                          <a:gd name="T3" fmla="*/ 0 h 184"/>
                          <a:gd name="T4" fmla="*/ 0 w 800"/>
                          <a:gd name="T5" fmla="*/ 156 h 184"/>
                          <a:gd name="T6" fmla="*/ 0 w 800"/>
                          <a:gd name="T7" fmla="*/ 184 h 184"/>
                          <a:gd name="T8" fmla="*/ 800 w 800"/>
                          <a:gd name="T9" fmla="*/ 184 h 184"/>
                          <a:gd name="T10" fmla="*/ 800 w 800"/>
                          <a:gd name="T11" fmla="*/ 156 h 184"/>
                          <a:gd name="T12" fmla="*/ 643 w 800"/>
                          <a:gd name="T13" fmla="*/ 0 h 18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800" h="184">
                            <a:moveTo>
                              <a:pt x="643" y="0"/>
                            </a:moveTo>
                            <a:cubicBezTo>
                              <a:pt x="156" y="0"/>
                              <a:pt x="156" y="0"/>
                              <a:pt x="156" y="0"/>
                            </a:cubicBezTo>
                            <a:cubicBezTo>
                              <a:pt x="70" y="0"/>
                              <a:pt x="0" y="70"/>
                              <a:pt x="0" y="156"/>
                            </a:cubicBezTo>
                            <a:cubicBezTo>
                              <a:pt x="0" y="184"/>
                              <a:pt x="0" y="184"/>
                              <a:pt x="0" y="184"/>
                            </a:cubicBezTo>
                            <a:cubicBezTo>
                              <a:pt x="800" y="184"/>
                              <a:pt x="800" y="184"/>
                              <a:pt x="800" y="184"/>
                            </a:cubicBezTo>
                            <a:cubicBezTo>
                              <a:pt x="800" y="156"/>
                              <a:pt x="800" y="156"/>
                              <a:pt x="800" y="156"/>
                            </a:cubicBezTo>
                            <a:cubicBezTo>
                              <a:pt x="800" y="70"/>
                              <a:pt x="730" y="0"/>
                              <a:pt x="643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</p:grpSp>
              </p:grpSp>
              <p:grpSp>
                <p:nvGrpSpPr>
                  <p:cNvPr id="473" name="Group 472"/>
                  <p:cNvGrpSpPr/>
                  <p:nvPr/>
                </p:nvGrpSpPr>
                <p:grpSpPr>
                  <a:xfrm>
                    <a:off x="1224000" y="720000"/>
                    <a:ext cx="263750" cy="108000"/>
                    <a:chOff x="434900" y="1059582"/>
                    <a:chExt cx="263750" cy="108000"/>
                  </a:xfrm>
                </p:grpSpPr>
                <p:grpSp>
                  <p:nvGrpSpPr>
                    <p:cNvPr id="474" name="Gruppieren 112"/>
                    <p:cNvGrpSpPr>
                      <a:grpSpLocks noChangeAspect="1"/>
                    </p:cNvGrpSpPr>
                    <p:nvPr/>
                  </p:nvGrpSpPr>
                  <p:grpSpPr>
                    <a:xfrm>
                      <a:off x="434900" y="1059582"/>
                      <a:ext cx="119750" cy="108000"/>
                      <a:chOff x="6300788" y="1562100"/>
                      <a:chExt cx="760412" cy="685800"/>
                    </a:xfrm>
                    <a:solidFill>
                      <a:srgbClr val="1063AD"/>
                    </a:solidFill>
                  </p:grpSpPr>
                  <p:sp>
                    <p:nvSpPr>
                      <p:cNvPr id="478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516688" y="1562100"/>
                        <a:ext cx="328612" cy="457200"/>
                      </a:xfrm>
                      <a:custGeom>
                        <a:avLst/>
                        <a:gdLst>
                          <a:gd name="T0" fmla="*/ 174 w 347"/>
                          <a:gd name="T1" fmla="*/ 0 h 480"/>
                          <a:gd name="T2" fmla="*/ 0 w 347"/>
                          <a:gd name="T3" fmla="*/ 173 h 480"/>
                          <a:gd name="T4" fmla="*/ 0 w 347"/>
                          <a:gd name="T5" fmla="*/ 306 h 480"/>
                          <a:gd name="T6" fmla="*/ 174 w 347"/>
                          <a:gd name="T7" fmla="*/ 480 h 480"/>
                          <a:gd name="T8" fmla="*/ 347 w 347"/>
                          <a:gd name="T9" fmla="*/ 306 h 480"/>
                          <a:gd name="T10" fmla="*/ 347 w 347"/>
                          <a:gd name="T11" fmla="*/ 173 h 480"/>
                          <a:gd name="T12" fmla="*/ 174 w 347"/>
                          <a:gd name="T13" fmla="*/ 0 h 48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347" h="480">
                            <a:moveTo>
                              <a:pt x="174" y="0"/>
                            </a:moveTo>
                            <a:cubicBezTo>
                              <a:pt x="78" y="0"/>
                              <a:pt x="0" y="81"/>
                              <a:pt x="0" y="173"/>
                            </a:cubicBezTo>
                            <a:cubicBezTo>
                              <a:pt x="0" y="306"/>
                              <a:pt x="0" y="306"/>
                              <a:pt x="0" y="306"/>
                            </a:cubicBezTo>
                            <a:cubicBezTo>
                              <a:pt x="0" y="398"/>
                              <a:pt x="78" y="480"/>
                              <a:pt x="174" y="480"/>
                            </a:cubicBezTo>
                            <a:cubicBezTo>
                              <a:pt x="269" y="480"/>
                              <a:pt x="347" y="398"/>
                              <a:pt x="347" y="306"/>
                            </a:cubicBezTo>
                            <a:cubicBezTo>
                              <a:pt x="347" y="173"/>
                              <a:pt x="347" y="173"/>
                              <a:pt x="347" y="173"/>
                            </a:cubicBezTo>
                            <a:cubicBezTo>
                              <a:pt x="347" y="81"/>
                              <a:pt x="269" y="0"/>
                              <a:pt x="174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  <p:sp>
                    <p:nvSpPr>
                      <p:cNvPr id="479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300788" y="2073275"/>
                        <a:ext cx="760412" cy="174625"/>
                      </a:xfrm>
                      <a:custGeom>
                        <a:avLst/>
                        <a:gdLst>
                          <a:gd name="T0" fmla="*/ 643 w 800"/>
                          <a:gd name="T1" fmla="*/ 0 h 184"/>
                          <a:gd name="T2" fmla="*/ 156 w 800"/>
                          <a:gd name="T3" fmla="*/ 0 h 184"/>
                          <a:gd name="T4" fmla="*/ 0 w 800"/>
                          <a:gd name="T5" fmla="*/ 156 h 184"/>
                          <a:gd name="T6" fmla="*/ 0 w 800"/>
                          <a:gd name="T7" fmla="*/ 184 h 184"/>
                          <a:gd name="T8" fmla="*/ 800 w 800"/>
                          <a:gd name="T9" fmla="*/ 184 h 184"/>
                          <a:gd name="T10" fmla="*/ 800 w 800"/>
                          <a:gd name="T11" fmla="*/ 156 h 184"/>
                          <a:gd name="T12" fmla="*/ 643 w 800"/>
                          <a:gd name="T13" fmla="*/ 0 h 18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800" h="184">
                            <a:moveTo>
                              <a:pt x="643" y="0"/>
                            </a:moveTo>
                            <a:cubicBezTo>
                              <a:pt x="156" y="0"/>
                              <a:pt x="156" y="0"/>
                              <a:pt x="156" y="0"/>
                            </a:cubicBezTo>
                            <a:cubicBezTo>
                              <a:pt x="70" y="0"/>
                              <a:pt x="0" y="70"/>
                              <a:pt x="0" y="156"/>
                            </a:cubicBezTo>
                            <a:cubicBezTo>
                              <a:pt x="0" y="184"/>
                              <a:pt x="0" y="184"/>
                              <a:pt x="0" y="184"/>
                            </a:cubicBezTo>
                            <a:cubicBezTo>
                              <a:pt x="800" y="184"/>
                              <a:pt x="800" y="184"/>
                              <a:pt x="800" y="184"/>
                            </a:cubicBezTo>
                            <a:cubicBezTo>
                              <a:pt x="800" y="156"/>
                              <a:pt x="800" y="156"/>
                              <a:pt x="800" y="156"/>
                            </a:cubicBezTo>
                            <a:cubicBezTo>
                              <a:pt x="800" y="70"/>
                              <a:pt x="730" y="0"/>
                              <a:pt x="643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</p:grpSp>
                <p:grpSp>
                  <p:nvGrpSpPr>
                    <p:cNvPr id="475" name="Gruppieren 112"/>
                    <p:cNvGrpSpPr>
                      <a:grpSpLocks noChangeAspect="1"/>
                    </p:cNvGrpSpPr>
                    <p:nvPr/>
                  </p:nvGrpSpPr>
                  <p:grpSpPr>
                    <a:xfrm>
                      <a:off x="578900" y="1059582"/>
                      <a:ext cx="119750" cy="108000"/>
                      <a:chOff x="6300788" y="1562100"/>
                      <a:chExt cx="760412" cy="685800"/>
                    </a:xfrm>
                    <a:solidFill>
                      <a:srgbClr val="1063AD"/>
                    </a:solidFill>
                  </p:grpSpPr>
                  <p:sp>
                    <p:nvSpPr>
                      <p:cNvPr id="476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516688" y="1562100"/>
                        <a:ext cx="328612" cy="457200"/>
                      </a:xfrm>
                      <a:custGeom>
                        <a:avLst/>
                        <a:gdLst>
                          <a:gd name="T0" fmla="*/ 174 w 347"/>
                          <a:gd name="T1" fmla="*/ 0 h 480"/>
                          <a:gd name="T2" fmla="*/ 0 w 347"/>
                          <a:gd name="T3" fmla="*/ 173 h 480"/>
                          <a:gd name="T4" fmla="*/ 0 w 347"/>
                          <a:gd name="T5" fmla="*/ 306 h 480"/>
                          <a:gd name="T6" fmla="*/ 174 w 347"/>
                          <a:gd name="T7" fmla="*/ 480 h 480"/>
                          <a:gd name="T8" fmla="*/ 347 w 347"/>
                          <a:gd name="T9" fmla="*/ 306 h 480"/>
                          <a:gd name="T10" fmla="*/ 347 w 347"/>
                          <a:gd name="T11" fmla="*/ 173 h 480"/>
                          <a:gd name="T12" fmla="*/ 174 w 347"/>
                          <a:gd name="T13" fmla="*/ 0 h 48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347" h="480">
                            <a:moveTo>
                              <a:pt x="174" y="0"/>
                            </a:moveTo>
                            <a:cubicBezTo>
                              <a:pt x="78" y="0"/>
                              <a:pt x="0" y="81"/>
                              <a:pt x="0" y="173"/>
                            </a:cubicBezTo>
                            <a:cubicBezTo>
                              <a:pt x="0" y="306"/>
                              <a:pt x="0" y="306"/>
                              <a:pt x="0" y="306"/>
                            </a:cubicBezTo>
                            <a:cubicBezTo>
                              <a:pt x="0" y="398"/>
                              <a:pt x="78" y="480"/>
                              <a:pt x="174" y="480"/>
                            </a:cubicBezTo>
                            <a:cubicBezTo>
                              <a:pt x="269" y="480"/>
                              <a:pt x="347" y="398"/>
                              <a:pt x="347" y="306"/>
                            </a:cubicBezTo>
                            <a:cubicBezTo>
                              <a:pt x="347" y="173"/>
                              <a:pt x="347" y="173"/>
                              <a:pt x="347" y="173"/>
                            </a:cubicBezTo>
                            <a:cubicBezTo>
                              <a:pt x="347" y="81"/>
                              <a:pt x="269" y="0"/>
                              <a:pt x="174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  <p:sp>
                    <p:nvSpPr>
                      <p:cNvPr id="477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300788" y="2073275"/>
                        <a:ext cx="760412" cy="174625"/>
                      </a:xfrm>
                      <a:custGeom>
                        <a:avLst/>
                        <a:gdLst>
                          <a:gd name="T0" fmla="*/ 643 w 800"/>
                          <a:gd name="T1" fmla="*/ 0 h 184"/>
                          <a:gd name="T2" fmla="*/ 156 w 800"/>
                          <a:gd name="T3" fmla="*/ 0 h 184"/>
                          <a:gd name="T4" fmla="*/ 0 w 800"/>
                          <a:gd name="T5" fmla="*/ 156 h 184"/>
                          <a:gd name="T6" fmla="*/ 0 w 800"/>
                          <a:gd name="T7" fmla="*/ 184 h 184"/>
                          <a:gd name="T8" fmla="*/ 800 w 800"/>
                          <a:gd name="T9" fmla="*/ 184 h 184"/>
                          <a:gd name="T10" fmla="*/ 800 w 800"/>
                          <a:gd name="T11" fmla="*/ 156 h 184"/>
                          <a:gd name="T12" fmla="*/ 643 w 800"/>
                          <a:gd name="T13" fmla="*/ 0 h 18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800" h="184">
                            <a:moveTo>
                              <a:pt x="643" y="0"/>
                            </a:moveTo>
                            <a:cubicBezTo>
                              <a:pt x="156" y="0"/>
                              <a:pt x="156" y="0"/>
                              <a:pt x="156" y="0"/>
                            </a:cubicBezTo>
                            <a:cubicBezTo>
                              <a:pt x="70" y="0"/>
                              <a:pt x="0" y="70"/>
                              <a:pt x="0" y="156"/>
                            </a:cubicBezTo>
                            <a:cubicBezTo>
                              <a:pt x="0" y="184"/>
                              <a:pt x="0" y="184"/>
                              <a:pt x="0" y="184"/>
                            </a:cubicBezTo>
                            <a:cubicBezTo>
                              <a:pt x="800" y="184"/>
                              <a:pt x="800" y="184"/>
                              <a:pt x="800" y="184"/>
                            </a:cubicBezTo>
                            <a:cubicBezTo>
                              <a:pt x="800" y="156"/>
                              <a:pt x="800" y="156"/>
                              <a:pt x="800" y="156"/>
                            </a:cubicBezTo>
                            <a:cubicBezTo>
                              <a:pt x="800" y="70"/>
                              <a:pt x="730" y="0"/>
                              <a:pt x="643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</p:grpSp>
              </p:grpSp>
            </p:grpSp>
          </p:grpSp>
          <p:grpSp>
            <p:nvGrpSpPr>
              <p:cNvPr id="398" name="Group 397"/>
              <p:cNvGrpSpPr/>
              <p:nvPr/>
            </p:nvGrpSpPr>
            <p:grpSpPr>
              <a:xfrm>
                <a:off x="360000" y="1491598"/>
                <a:ext cx="1127750" cy="108000"/>
                <a:chOff x="360000" y="720000"/>
                <a:chExt cx="1127750" cy="108000"/>
              </a:xfrm>
            </p:grpSpPr>
            <p:grpSp>
              <p:nvGrpSpPr>
                <p:cNvPr id="441" name="Gruppieren 112"/>
                <p:cNvGrpSpPr>
                  <a:grpSpLocks noChangeAspect="1"/>
                </p:cNvGrpSpPr>
                <p:nvPr/>
              </p:nvGrpSpPr>
              <p:grpSpPr>
                <a:xfrm>
                  <a:off x="360000" y="720000"/>
                  <a:ext cx="119750" cy="108000"/>
                  <a:chOff x="6300788" y="1562100"/>
                  <a:chExt cx="760412" cy="685800"/>
                </a:xfrm>
                <a:solidFill>
                  <a:srgbClr val="1063AD"/>
                </a:solidFill>
              </p:grpSpPr>
              <p:sp>
                <p:nvSpPr>
                  <p:cNvPr id="465" name="Freeform 28"/>
                  <p:cNvSpPr>
                    <a:spLocks/>
                  </p:cNvSpPr>
                  <p:nvPr/>
                </p:nvSpPr>
                <p:spPr bwMode="auto">
                  <a:xfrm>
                    <a:off x="6516688" y="1562100"/>
                    <a:ext cx="328612" cy="457200"/>
                  </a:xfrm>
                  <a:custGeom>
                    <a:avLst/>
                    <a:gdLst>
                      <a:gd name="T0" fmla="*/ 174 w 347"/>
                      <a:gd name="T1" fmla="*/ 0 h 480"/>
                      <a:gd name="T2" fmla="*/ 0 w 347"/>
                      <a:gd name="T3" fmla="*/ 173 h 480"/>
                      <a:gd name="T4" fmla="*/ 0 w 347"/>
                      <a:gd name="T5" fmla="*/ 306 h 480"/>
                      <a:gd name="T6" fmla="*/ 174 w 347"/>
                      <a:gd name="T7" fmla="*/ 480 h 480"/>
                      <a:gd name="T8" fmla="*/ 347 w 347"/>
                      <a:gd name="T9" fmla="*/ 306 h 480"/>
                      <a:gd name="T10" fmla="*/ 347 w 347"/>
                      <a:gd name="T11" fmla="*/ 173 h 480"/>
                      <a:gd name="T12" fmla="*/ 174 w 347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7" h="480">
                        <a:moveTo>
                          <a:pt x="174" y="0"/>
                        </a:moveTo>
                        <a:cubicBezTo>
                          <a:pt x="78" y="0"/>
                          <a:pt x="0" y="81"/>
                          <a:pt x="0" y="173"/>
                        </a:cubicBezTo>
                        <a:cubicBezTo>
                          <a:pt x="0" y="306"/>
                          <a:pt x="0" y="306"/>
                          <a:pt x="0" y="306"/>
                        </a:cubicBezTo>
                        <a:cubicBezTo>
                          <a:pt x="0" y="398"/>
                          <a:pt x="78" y="480"/>
                          <a:pt x="174" y="480"/>
                        </a:cubicBezTo>
                        <a:cubicBezTo>
                          <a:pt x="269" y="480"/>
                          <a:pt x="347" y="398"/>
                          <a:pt x="347" y="306"/>
                        </a:cubicBezTo>
                        <a:cubicBezTo>
                          <a:pt x="347" y="173"/>
                          <a:pt x="347" y="173"/>
                          <a:pt x="347" y="173"/>
                        </a:cubicBezTo>
                        <a:cubicBezTo>
                          <a:pt x="347" y="81"/>
                          <a:pt x="269" y="0"/>
                          <a:pt x="174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  <p:sp>
                <p:nvSpPr>
                  <p:cNvPr id="466" name="Freeform 29"/>
                  <p:cNvSpPr>
                    <a:spLocks/>
                  </p:cNvSpPr>
                  <p:nvPr/>
                </p:nvSpPr>
                <p:spPr bwMode="auto">
                  <a:xfrm>
                    <a:off x="6300788" y="2073275"/>
                    <a:ext cx="760412" cy="174625"/>
                  </a:xfrm>
                  <a:custGeom>
                    <a:avLst/>
                    <a:gdLst>
                      <a:gd name="T0" fmla="*/ 643 w 800"/>
                      <a:gd name="T1" fmla="*/ 0 h 184"/>
                      <a:gd name="T2" fmla="*/ 156 w 800"/>
                      <a:gd name="T3" fmla="*/ 0 h 184"/>
                      <a:gd name="T4" fmla="*/ 0 w 800"/>
                      <a:gd name="T5" fmla="*/ 156 h 184"/>
                      <a:gd name="T6" fmla="*/ 0 w 800"/>
                      <a:gd name="T7" fmla="*/ 184 h 184"/>
                      <a:gd name="T8" fmla="*/ 800 w 800"/>
                      <a:gd name="T9" fmla="*/ 184 h 184"/>
                      <a:gd name="T10" fmla="*/ 800 w 800"/>
                      <a:gd name="T11" fmla="*/ 156 h 184"/>
                      <a:gd name="T12" fmla="*/ 643 w 800"/>
                      <a:gd name="T13" fmla="*/ 0 h 1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00" h="184">
                        <a:moveTo>
                          <a:pt x="643" y="0"/>
                        </a:moveTo>
                        <a:cubicBezTo>
                          <a:pt x="156" y="0"/>
                          <a:pt x="156" y="0"/>
                          <a:pt x="156" y="0"/>
                        </a:cubicBezTo>
                        <a:cubicBezTo>
                          <a:pt x="70" y="0"/>
                          <a:pt x="0" y="70"/>
                          <a:pt x="0" y="156"/>
                        </a:cubicBezTo>
                        <a:cubicBezTo>
                          <a:pt x="0" y="184"/>
                          <a:pt x="0" y="184"/>
                          <a:pt x="0" y="184"/>
                        </a:cubicBezTo>
                        <a:cubicBezTo>
                          <a:pt x="800" y="184"/>
                          <a:pt x="800" y="184"/>
                          <a:pt x="800" y="184"/>
                        </a:cubicBezTo>
                        <a:cubicBezTo>
                          <a:pt x="800" y="156"/>
                          <a:pt x="800" y="156"/>
                          <a:pt x="800" y="156"/>
                        </a:cubicBezTo>
                        <a:cubicBezTo>
                          <a:pt x="800" y="70"/>
                          <a:pt x="730" y="0"/>
                          <a:pt x="643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</p:grpSp>
            <p:grpSp>
              <p:nvGrpSpPr>
                <p:cNvPr id="442" name="Gruppieren 112"/>
                <p:cNvGrpSpPr>
                  <a:grpSpLocks noChangeAspect="1"/>
                </p:cNvGrpSpPr>
                <p:nvPr/>
              </p:nvGrpSpPr>
              <p:grpSpPr>
                <a:xfrm>
                  <a:off x="504000" y="720000"/>
                  <a:ext cx="119750" cy="108000"/>
                  <a:chOff x="6300788" y="1562100"/>
                  <a:chExt cx="760412" cy="685800"/>
                </a:xfrm>
                <a:solidFill>
                  <a:srgbClr val="1063AD"/>
                </a:solidFill>
              </p:grpSpPr>
              <p:sp>
                <p:nvSpPr>
                  <p:cNvPr id="463" name="Freeform 28"/>
                  <p:cNvSpPr>
                    <a:spLocks/>
                  </p:cNvSpPr>
                  <p:nvPr/>
                </p:nvSpPr>
                <p:spPr bwMode="auto">
                  <a:xfrm>
                    <a:off x="6516688" y="1562100"/>
                    <a:ext cx="328612" cy="457200"/>
                  </a:xfrm>
                  <a:custGeom>
                    <a:avLst/>
                    <a:gdLst>
                      <a:gd name="T0" fmla="*/ 174 w 347"/>
                      <a:gd name="T1" fmla="*/ 0 h 480"/>
                      <a:gd name="T2" fmla="*/ 0 w 347"/>
                      <a:gd name="T3" fmla="*/ 173 h 480"/>
                      <a:gd name="T4" fmla="*/ 0 w 347"/>
                      <a:gd name="T5" fmla="*/ 306 h 480"/>
                      <a:gd name="T6" fmla="*/ 174 w 347"/>
                      <a:gd name="T7" fmla="*/ 480 h 480"/>
                      <a:gd name="T8" fmla="*/ 347 w 347"/>
                      <a:gd name="T9" fmla="*/ 306 h 480"/>
                      <a:gd name="T10" fmla="*/ 347 w 347"/>
                      <a:gd name="T11" fmla="*/ 173 h 480"/>
                      <a:gd name="T12" fmla="*/ 174 w 347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7" h="480">
                        <a:moveTo>
                          <a:pt x="174" y="0"/>
                        </a:moveTo>
                        <a:cubicBezTo>
                          <a:pt x="78" y="0"/>
                          <a:pt x="0" y="81"/>
                          <a:pt x="0" y="173"/>
                        </a:cubicBezTo>
                        <a:cubicBezTo>
                          <a:pt x="0" y="306"/>
                          <a:pt x="0" y="306"/>
                          <a:pt x="0" y="306"/>
                        </a:cubicBezTo>
                        <a:cubicBezTo>
                          <a:pt x="0" y="398"/>
                          <a:pt x="78" y="480"/>
                          <a:pt x="174" y="480"/>
                        </a:cubicBezTo>
                        <a:cubicBezTo>
                          <a:pt x="269" y="480"/>
                          <a:pt x="347" y="398"/>
                          <a:pt x="347" y="306"/>
                        </a:cubicBezTo>
                        <a:cubicBezTo>
                          <a:pt x="347" y="173"/>
                          <a:pt x="347" y="173"/>
                          <a:pt x="347" y="173"/>
                        </a:cubicBezTo>
                        <a:cubicBezTo>
                          <a:pt x="347" y="81"/>
                          <a:pt x="269" y="0"/>
                          <a:pt x="174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  <p:sp>
                <p:nvSpPr>
                  <p:cNvPr id="464" name="Freeform 29"/>
                  <p:cNvSpPr>
                    <a:spLocks/>
                  </p:cNvSpPr>
                  <p:nvPr/>
                </p:nvSpPr>
                <p:spPr bwMode="auto">
                  <a:xfrm>
                    <a:off x="6300788" y="2073275"/>
                    <a:ext cx="760412" cy="174625"/>
                  </a:xfrm>
                  <a:custGeom>
                    <a:avLst/>
                    <a:gdLst>
                      <a:gd name="T0" fmla="*/ 643 w 800"/>
                      <a:gd name="T1" fmla="*/ 0 h 184"/>
                      <a:gd name="T2" fmla="*/ 156 w 800"/>
                      <a:gd name="T3" fmla="*/ 0 h 184"/>
                      <a:gd name="T4" fmla="*/ 0 w 800"/>
                      <a:gd name="T5" fmla="*/ 156 h 184"/>
                      <a:gd name="T6" fmla="*/ 0 w 800"/>
                      <a:gd name="T7" fmla="*/ 184 h 184"/>
                      <a:gd name="T8" fmla="*/ 800 w 800"/>
                      <a:gd name="T9" fmla="*/ 184 h 184"/>
                      <a:gd name="T10" fmla="*/ 800 w 800"/>
                      <a:gd name="T11" fmla="*/ 156 h 184"/>
                      <a:gd name="T12" fmla="*/ 643 w 800"/>
                      <a:gd name="T13" fmla="*/ 0 h 1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00" h="184">
                        <a:moveTo>
                          <a:pt x="643" y="0"/>
                        </a:moveTo>
                        <a:cubicBezTo>
                          <a:pt x="156" y="0"/>
                          <a:pt x="156" y="0"/>
                          <a:pt x="156" y="0"/>
                        </a:cubicBezTo>
                        <a:cubicBezTo>
                          <a:pt x="70" y="0"/>
                          <a:pt x="0" y="70"/>
                          <a:pt x="0" y="156"/>
                        </a:cubicBezTo>
                        <a:cubicBezTo>
                          <a:pt x="0" y="184"/>
                          <a:pt x="0" y="184"/>
                          <a:pt x="0" y="184"/>
                        </a:cubicBezTo>
                        <a:cubicBezTo>
                          <a:pt x="800" y="184"/>
                          <a:pt x="800" y="184"/>
                          <a:pt x="800" y="184"/>
                        </a:cubicBezTo>
                        <a:cubicBezTo>
                          <a:pt x="800" y="156"/>
                          <a:pt x="800" y="156"/>
                          <a:pt x="800" y="156"/>
                        </a:cubicBezTo>
                        <a:cubicBezTo>
                          <a:pt x="800" y="70"/>
                          <a:pt x="730" y="0"/>
                          <a:pt x="643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</p:grpSp>
            <p:grpSp>
              <p:nvGrpSpPr>
                <p:cNvPr id="443" name="Gruppieren 112"/>
                <p:cNvGrpSpPr>
                  <a:grpSpLocks noChangeAspect="1"/>
                </p:cNvGrpSpPr>
                <p:nvPr/>
              </p:nvGrpSpPr>
              <p:grpSpPr>
                <a:xfrm>
                  <a:off x="648000" y="720000"/>
                  <a:ext cx="119750" cy="108000"/>
                  <a:chOff x="6300788" y="1562100"/>
                  <a:chExt cx="760412" cy="685800"/>
                </a:xfrm>
                <a:solidFill>
                  <a:srgbClr val="1063AD"/>
                </a:solidFill>
              </p:grpSpPr>
              <p:sp>
                <p:nvSpPr>
                  <p:cNvPr id="461" name="Freeform 28"/>
                  <p:cNvSpPr>
                    <a:spLocks/>
                  </p:cNvSpPr>
                  <p:nvPr/>
                </p:nvSpPr>
                <p:spPr bwMode="auto">
                  <a:xfrm>
                    <a:off x="6516688" y="1562100"/>
                    <a:ext cx="328612" cy="457200"/>
                  </a:xfrm>
                  <a:custGeom>
                    <a:avLst/>
                    <a:gdLst>
                      <a:gd name="T0" fmla="*/ 174 w 347"/>
                      <a:gd name="T1" fmla="*/ 0 h 480"/>
                      <a:gd name="T2" fmla="*/ 0 w 347"/>
                      <a:gd name="T3" fmla="*/ 173 h 480"/>
                      <a:gd name="T4" fmla="*/ 0 w 347"/>
                      <a:gd name="T5" fmla="*/ 306 h 480"/>
                      <a:gd name="T6" fmla="*/ 174 w 347"/>
                      <a:gd name="T7" fmla="*/ 480 h 480"/>
                      <a:gd name="T8" fmla="*/ 347 w 347"/>
                      <a:gd name="T9" fmla="*/ 306 h 480"/>
                      <a:gd name="T10" fmla="*/ 347 w 347"/>
                      <a:gd name="T11" fmla="*/ 173 h 480"/>
                      <a:gd name="T12" fmla="*/ 174 w 347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7" h="480">
                        <a:moveTo>
                          <a:pt x="174" y="0"/>
                        </a:moveTo>
                        <a:cubicBezTo>
                          <a:pt x="78" y="0"/>
                          <a:pt x="0" y="81"/>
                          <a:pt x="0" y="173"/>
                        </a:cubicBezTo>
                        <a:cubicBezTo>
                          <a:pt x="0" y="306"/>
                          <a:pt x="0" y="306"/>
                          <a:pt x="0" y="306"/>
                        </a:cubicBezTo>
                        <a:cubicBezTo>
                          <a:pt x="0" y="398"/>
                          <a:pt x="78" y="480"/>
                          <a:pt x="174" y="480"/>
                        </a:cubicBezTo>
                        <a:cubicBezTo>
                          <a:pt x="269" y="480"/>
                          <a:pt x="347" y="398"/>
                          <a:pt x="347" y="306"/>
                        </a:cubicBezTo>
                        <a:cubicBezTo>
                          <a:pt x="347" y="173"/>
                          <a:pt x="347" y="173"/>
                          <a:pt x="347" y="173"/>
                        </a:cubicBezTo>
                        <a:cubicBezTo>
                          <a:pt x="347" y="81"/>
                          <a:pt x="269" y="0"/>
                          <a:pt x="174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  <p:sp>
                <p:nvSpPr>
                  <p:cNvPr id="462" name="Freeform 29"/>
                  <p:cNvSpPr>
                    <a:spLocks/>
                  </p:cNvSpPr>
                  <p:nvPr/>
                </p:nvSpPr>
                <p:spPr bwMode="auto">
                  <a:xfrm>
                    <a:off x="6300788" y="2073275"/>
                    <a:ext cx="760412" cy="174625"/>
                  </a:xfrm>
                  <a:custGeom>
                    <a:avLst/>
                    <a:gdLst>
                      <a:gd name="T0" fmla="*/ 643 w 800"/>
                      <a:gd name="T1" fmla="*/ 0 h 184"/>
                      <a:gd name="T2" fmla="*/ 156 w 800"/>
                      <a:gd name="T3" fmla="*/ 0 h 184"/>
                      <a:gd name="T4" fmla="*/ 0 w 800"/>
                      <a:gd name="T5" fmla="*/ 156 h 184"/>
                      <a:gd name="T6" fmla="*/ 0 w 800"/>
                      <a:gd name="T7" fmla="*/ 184 h 184"/>
                      <a:gd name="T8" fmla="*/ 800 w 800"/>
                      <a:gd name="T9" fmla="*/ 184 h 184"/>
                      <a:gd name="T10" fmla="*/ 800 w 800"/>
                      <a:gd name="T11" fmla="*/ 156 h 184"/>
                      <a:gd name="T12" fmla="*/ 643 w 800"/>
                      <a:gd name="T13" fmla="*/ 0 h 1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00" h="184">
                        <a:moveTo>
                          <a:pt x="643" y="0"/>
                        </a:moveTo>
                        <a:cubicBezTo>
                          <a:pt x="156" y="0"/>
                          <a:pt x="156" y="0"/>
                          <a:pt x="156" y="0"/>
                        </a:cubicBezTo>
                        <a:cubicBezTo>
                          <a:pt x="70" y="0"/>
                          <a:pt x="0" y="70"/>
                          <a:pt x="0" y="156"/>
                        </a:cubicBezTo>
                        <a:cubicBezTo>
                          <a:pt x="0" y="184"/>
                          <a:pt x="0" y="184"/>
                          <a:pt x="0" y="184"/>
                        </a:cubicBezTo>
                        <a:cubicBezTo>
                          <a:pt x="800" y="184"/>
                          <a:pt x="800" y="184"/>
                          <a:pt x="800" y="184"/>
                        </a:cubicBezTo>
                        <a:cubicBezTo>
                          <a:pt x="800" y="156"/>
                          <a:pt x="800" y="156"/>
                          <a:pt x="800" y="156"/>
                        </a:cubicBezTo>
                        <a:cubicBezTo>
                          <a:pt x="800" y="70"/>
                          <a:pt x="730" y="0"/>
                          <a:pt x="643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</p:grpSp>
            <p:grpSp>
              <p:nvGrpSpPr>
                <p:cNvPr id="444" name="Group 443"/>
                <p:cNvGrpSpPr/>
                <p:nvPr/>
              </p:nvGrpSpPr>
              <p:grpSpPr>
                <a:xfrm>
                  <a:off x="792000" y="720000"/>
                  <a:ext cx="407750" cy="108000"/>
                  <a:chOff x="512400" y="872400"/>
                  <a:chExt cx="407750" cy="108000"/>
                </a:xfrm>
              </p:grpSpPr>
              <p:grpSp>
                <p:nvGrpSpPr>
                  <p:cNvPr id="452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512400" y="872400"/>
                    <a:ext cx="119750" cy="108000"/>
                    <a:chOff x="6300788" y="1562100"/>
                    <a:chExt cx="760412" cy="685800"/>
                  </a:xfrm>
                  <a:solidFill>
                    <a:srgbClr val="1063AD"/>
                  </a:solidFill>
                </p:grpSpPr>
                <p:sp>
                  <p:nvSpPr>
                    <p:cNvPr id="459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460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  <p:grpSp>
                <p:nvGrpSpPr>
                  <p:cNvPr id="453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656400" y="872400"/>
                    <a:ext cx="119750" cy="108000"/>
                    <a:chOff x="6300788" y="1562100"/>
                    <a:chExt cx="760412" cy="685800"/>
                  </a:xfrm>
                  <a:solidFill>
                    <a:srgbClr val="1063AD"/>
                  </a:solidFill>
                </p:grpSpPr>
                <p:sp>
                  <p:nvSpPr>
                    <p:cNvPr id="457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458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  <p:grpSp>
                <p:nvGrpSpPr>
                  <p:cNvPr id="454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800400" y="872400"/>
                    <a:ext cx="119750" cy="108000"/>
                    <a:chOff x="6300788" y="1562100"/>
                    <a:chExt cx="760412" cy="685800"/>
                  </a:xfrm>
                  <a:solidFill>
                    <a:srgbClr val="1063AD"/>
                  </a:solidFill>
                </p:grpSpPr>
                <p:sp>
                  <p:nvSpPr>
                    <p:cNvPr id="455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456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</p:grpSp>
            <p:grpSp>
              <p:nvGrpSpPr>
                <p:cNvPr id="445" name="Group 444"/>
                <p:cNvGrpSpPr/>
                <p:nvPr/>
              </p:nvGrpSpPr>
              <p:grpSpPr>
                <a:xfrm>
                  <a:off x="1224000" y="720000"/>
                  <a:ext cx="263750" cy="108000"/>
                  <a:chOff x="434900" y="1059582"/>
                  <a:chExt cx="263750" cy="108000"/>
                </a:xfrm>
              </p:grpSpPr>
              <p:grpSp>
                <p:nvGrpSpPr>
                  <p:cNvPr id="446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434900" y="1059582"/>
                    <a:ext cx="119750" cy="108000"/>
                    <a:chOff x="6300788" y="1562100"/>
                    <a:chExt cx="760412" cy="685800"/>
                  </a:xfrm>
                  <a:solidFill>
                    <a:srgbClr val="1063AD"/>
                  </a:solidFill>
                </p:grpSpPr>
                <p:sp>
                  <p:nvSpPr>
                    <p:cNvPr id="450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451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  <p:grpSp>
                <p:nvGrpSpPr>
                  <p:cNvPr id="447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578900" y="1059582"/>
                    <a:ext cx="119750" cy="108000"/>
                    <a:chOff x="6300788" y="1562100"/>
                    <a:chExt cx="760412" cy="685800"/>
                  </a:xfrm>
                  <a:solidFill>
                    <a:srgbClr val="1063AD"/>
                  </a:solidFill>
                </p:grpSpPr>
                <p:sp>
                  <p:nvSpPr>
                    <p:cNvPr id="448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449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399" name="Group 398"/>
              <p:cNvGrpSpPr/>
              <p:nvPr/>
            </p:nvGrpSpPr>
            <p:grpSpPr>
              <a:xfrm>
                <a:off x="360000" y="1635598"/>
                <a:ext cx="1127750" cy="108000"/>
                <a:chOff x="360000" y="720000"/>
                <a:chExt cx="1127750" cy="108000"/>
              </a:xfrm>
            </p:grpSpPr>
            <p:grpSp>
              <p:nvGrpSpPr>
                <p:cNvPr id="415" name="Gruppieren 112"/>
                <p:cNvGrpSpPr>
                  <a:grpSpLocks noChangeAspect="1"/>
                </p:cNvGrpSpPr>
                <p:nvPr/>
              </p:nvGrpSpPr>
              <p:grpSpPr>
                <a:xfrm>
                  <a:off x="360000" y="720000"/>
                  <a:ext cx="119750" cy="108000"/>
                  <a:chOff x="6300788" y="1562100"/>
                  <a:chExt cx="760412" cy="685800"/>
                </a:xfrm>
                <a:solidFill>
                  <a:srgbClr val="1063AD"/>
                </a:solidFill>
              </p:grpSpPr>
              <p:sp>
                <p:nvSpPr>
                  <p:cNvPr id="439" name="Freeform 28"/>
                  <p:cNvSpPr>
                    <a:spLocks/>
                  </p:cNvSpPr>
                  <p:nvPr/>
                </p:nvSpPr>
                <p:spPr bwMode="auto">
                  <a:xfrm>
                    <a:off x="6516688" y="1562100"/>
                    <a:ext cx="328612" cy="457200"/>
                  </a:xfrm>
                  <a:custGeom>
                    <a:avLst/>
                    <a:gdLst>
                      <a:gd name="T0" fmla="*/ 174 w 347"/>
                      <a:gd name="T1" fmla="*/ 0 h 480"/>
                      <a:gd name="T2" fmla="*/ 0 w 347"/>
                      <a:gd name="T3" fmla="*/ 173 h 480"/>
                      <a:gd name="T4" fmla="*/ 0 w 347"/>
                      <a:gd name="T5" fmla="*/ 306 h 480"/>
                      <a:gd name="T6" fmla="*/ 174 w 347"/>
                      <a:gd name="T7" fmla="*/ 480 h 480"/>
                      <a:gd name="T8" fmla="*/ 347 w 347"/>
                      <a:gd name="T9" fmla="*/ 306 h 480"/>
                      <a:gd name="T10" fmla="*/ 347 w 347"/>
                      <a:gd name="T11" fmla="*/ 173 h 480"/>
                      <a:gd name="T12" fmla="*/ 174 w 347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7" h="480">
                        <a:moveTo>
                          <a:pt x="174" y="0"/>
                        </a:moveTo>
                        <a:cubicBezTo>
                          <a:pt x="78" y="0"/>
                          <a:pt x="0" y="81"/>
                          <a:pt x="0" y="173"/>
                        </a:cubicBezTo>
                        <a:cubicBezTo>
                          <a:pt x="0" y="306"/>
                          <a:pt x="0" y="306"/>
                          <a:pt x="0" y="306"/>
                        </a:cubicBezTo>
                        <a:cubicBezTo>
                          <a:pt x="0" y="398"/>
                          <a:pt x="78" y="480"/>
                          <a:pt x="174" y="480"/>
                        </a:cubicBezTo>
                        <a:cubicBezTo>
                          <a:pt x="269" y="480"/>
                          <a:pt x="347" y="398"/>
                          <a:pt x="347" y="306"/>
                        </a:cubicBezTo>
                        <a:cubicBezTo>
                          <a:pt x="347" y="173"/>
                          <a:pt x="347" y="173"/>
                          <a:pt x="347" y="173"/>
                        </a:cubicBezTo>
                        <a:cubicBezTo>
                          <a:pt x="347" y="81"/>
                          <a:pt x="269" y="0"/>
                          <a:pt x="174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  <p:sp>
                <p:nvSpPr>
                  <p:cNvPr id="440" name="Freeform 29"/>
                  <p:cNvSpPr>
                    <a:spLocks/>
                  </p:cNvSpPr>
                  <p:nvPr/>
                </p:nvSpPr>
                <p:spPr bwMode="auto">
                  <a:xfrm>
                    <a:off x="6300788" y="2073275"/>
                    <a:ext cx="760412" cy="174625"/>
                  </a:xfrm>
                  <a:custGeom>
                    <a:avLst/>
                    <a:gdLst>
                      <a:gd name="T0" fmla="*/ 643 w 800"/>
                      <a:gd name="T1" fmla="*/ 0 h 184"/>
                      <a:gd name="T2" fmla="*/ 156 w 800"/>
                      <a:gd name="T3" fmla="*/ 0 h 184"/>
                      <a:gd name="T4" fmla="*/ 0 w 800"/>
                      <a:gd name="T5" fmla="*/ 156 h 184"/>
                      <a:gd name="T6" fmla="*/ 0 w 800"/>
                      <a:gd name="T7" fmla="*/ 184 h 184"/>
                      <a:gd name="T8" fmla="*/ 800 w 800"/>
                      <a:gd name="T9" fmla="*/ 184 h 184"/>
                      <a:gd name="T10" fmla="*/ 800 w 800"/>
                      <a:gd name="T11" fmla="*/ 156 h 184"/>
                      <a:gd name="T12" fmla="*/ 643 w 800"/>
                      <a:gd name="T13" fmla="*/ 0 h 1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00" h="184">
                        <a:moveTo>
                          <a:pt x="643" y="0"/>
                        </a:moveTo>
                        <a:cubicBezTo>
                          <a:pt x="156" y="0"/>
                          <a:pt x="156" y="0"/>
                          <a:pt x="156" y="0"/>
                        </a:cubicBezTo>
                        <a:cubicBezTo>
                          <a:pt x="70" y="0"/>
                          <a:pt x="0" y="70"/>
                          <a:pt x="0" y="156"/>
                        </a:cubicBezTo>
                        <a:cubicBezTo>
                          <a:pt x="0" y="184"/>
                          <a:pt x="0" y="184"/>
                          <a:pt x="0" y="184"/>
                        </a:cubicBezTo>
                        <a:cubicBezTo>
                          <a:pt x="800" y="184"/>
                          <a:pt x="800" y="184"/>
                          <a:pt x="800" y="184"/>
                        </a:cubicBezTo>
                        <a:cubicBezTo>
                          <a:pt x="800" y="156"/>
                          <a:pt x="800" y="156"/>
                          <a:pt x="800" y="156"/>
                        </a:cubicBezTo>
                        <a:cubicBezTo>
                          <a:pt x="800" y="70"/>
                          <a:pt x="730" y="0"/>
                          <a:pt x="643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</p:grpSp>
            <p:grpSp>
              <p:nvGrpSpPr>
                <p:cNvPr id="416" name="Gruppieren 112"/>
                <p:cNvGrpSpPr>
                  <a:grpSpLocks noChangeAspect="1"/>
                </p:cNvGrpSpPr>
                <p:nvPr/>
              </p:nvGrpSpPr>
              <p:grpSpPr>
                <a:xfrm>
                  <a:off x="504000" y="720000"/>
                  <a:ext cx="119750" cy="108000"/>
                  <a:chOff x="6300788" y="1562100"/>
                  <a:chExt cx="760412" cy="685800"/>
                </a:xfrm>
                <a:solidFill>
                  <a:srgbClr val="1063AD"/>
                </a:solidFill>
              </p:grpSpPr>
              <p:sp>
                <p:nvSpPr>
                  <p:cNvPr id="437" name="Freeform 28"/>
                  <p:cNvSpPr>
                    <a:spLocks/>
                  </p:cNvSpPr>
                  <p:nvPr/>
                </p:nvSpPr>
                <p:spPr bwMode="auto">
                  <a:xfrm>
                    <a:off x="6516688" y="1562100"/>
                    <a:ext cx="328612" cy="457200"/>
                  </a:xfrm>
                  <a:custGeom>
                    <a:avLst/>
                    <a:gdLst>
                      <a:gd name="T0" fmla="*/ 174 w 347"/>
                      <a:gd name="T1" fmla="*/ 0 h 480"/>
                      <a:gd name="T2" fmla="*/ 0 w 347"/>
                      <a:gd name="T3" fmla="*/ 173 h 480"/>
                      <a:gd name="T4" fmla="*/ 0 w 347"/>
                      <a:gd name="T5" fmla="*/ 306 h 480"/>
                      <a:gd name="T6" fmla="*/ 174 w 347"/>
                      <a:gd name="T7" fmla="*/ 480 h 480"/>
                      <a:gd name="T8" fmla="*/ 347 w 347"/>
                      <a:gd name="T9" fmla="*/ 306 h 480"/>
                      <a:gd name="T10" fmla="*/ 347 w 347"/>
                      <a:gd name="T11" fmla="*/ 173 h 480"/>
                      <a:gd name="T12" fmla="*/ 174 w 347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7" h="480">
                        <a:moveTo>
                          <a:pt x="174" y="0"/>
                        </a:moveTo>
                        <a:cubicBezTo>
                          <a:pt x="78" y="0"/>
                          <a:pt x="0" y="81"/>
                          <a:pt x="0" y="173"/>
                        </a:cubicBezTo>
                        <a:cubicBezTo>
                          <a:pt x="0" y="306"/>
                          <a:pt x="0" y="306"/>
                          <a:pt x="0" y="306"/>
                        </a:cubicBezTo>
                        <a:cubicBezTo>
                          <a:pt x="0" y="398"/>
                          <a:pt x="78" y="480"/>
                          <a:pt x="174" y="480"/>
                        </a:cubicBezTo>
                        <a:cubicBezTo>
                          <a:pt x="269" y="480"/>
                          <a:pt x="347" y="398"/>
                          <a:pt x="347" y="306"/>
                        </a:cubicBezTo>
                        <a:cubicBezTo>
                          <a:pt x="347" y="173"/>
                          <a:pt x="347" y="173"/>
                          <a:pt x="347" y="173"/>
                        </a:cubicBezTo>
                        <a:cubicBezTo>
                          <a:pt x="347" y="81"/>
                          <a:pt x="269" y="0"/>
                          <a:pt x="174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  <p:sp>
                <p:nvSpPr>
                  <p:cNvPr id="438" name="Freeform 29"/>
                  <p:cNvSpPr>
                    <a:spLocks/>
                  </p:cNvSpPr>
                  <p:nvPr/>
                </p:nvSpPr>
                <p:spPr bwMode="auto">
                  <a:xfrm>
                    <a:off x="6300788" y="2073275"/>
                    <a:ext cx="760412" cy="174625"/>
                  </a:xfrm>
                  <a:custGeom>
                    <a:avLst/>
                    <a:gdLst>
                      <a:gd name="T0" fmla="*/ 643 w 800"/>
                      <a:gd name="T1" fmla="*/ 0 h 184"/>
                      <a:gd name="T2" fmla="*/ 156 w 800"/>
                      <a:gd name="T3" fmla="*/ 0 h 184"/>
                      <a:gd name="T4" fmla="*/ 0 w 800"/>
                      <a:gd name="T5" fmla="*/ 156 h 184"/>
                      <a:gd name="T6" fmla="*/ 0 w 800"/>
                      <a:gd name="T7" fmla="*/ 184 h 184"/>
                      <a:gd name="T8" fmla="*/ 800 w 800"/>
                      <a:gd name="T9" fmla="*/ 184 h 184"/>
                      <a:gd name="T10" fmla="*/ 800 w 800"/>
                      <a:gd name="T11" fmla="*/ 156 h 184"/>
                      <a:gd name="T12" fmla="*/ 643 w 800"/>
                      <a:gd name="T13" fmla="*/ 0 h 1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00" h="184">
                        <a:moveTo>
                          <a:pt x="643" y="0"/>
                        </a:moveTo>
                        <a:cubicBezTo>
                          <a:pt x="156" y="0"/>
                          <a:pt x="156" y="0"/>
                          <a:pt x="156" y="0"/>
                        </a:cubicBezTo>
                        <a:cubicBezTo>
                          <a:pt x="70" y="0"/>
                          <a:pt x="0" y="70"/>
                          <a:pt x="0" y="156"/>
                        </a:cubicBezTo>
                        <a:cubicBezTo>
                          <a:pt x="0" y="184"/>
                          <a:pt x="0" y="184"/>
                          <a:pt x="0" y="184"/>
                        </a:cubicBezTo>
                        <a:cubicBezTo>
                          <a:pt x="800" y="184"/>
                          <a:pt x="800" y="184"/>
                          <a:pt x="800" y="184"/>
                        </a:cubicBezTo>
                        <a:cubicBezTo>
                          <a:pt x="800" y="156"/>
                          <a:pt x="800" y="156"/>
                          <a:pt x="800" y="156"/>
                        </a:cubicBezTo>
                        <a:cubicBezTo>
                          <a:pt x="800" y="70"/>
                          <a:pt x="730" y="0"/>
                          <a:pt x="643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</p:grpSp>
            <p:grpSp>
              <p:nvGrpSpPr>
                <p:cNvPr id="417" name="Gruppieren 112"/>
                <p:cNvGrpSpPr>
                  <a:grpSpLocks noChangeAspect="1"/>
                </p:cNvGrpSpPr>
                <p:nvPr/>
              </p:nvGrpSpPr>
              <p:grpSpPr>
                <a:xfrm>
                  <a:off x="648000" y="720000"/>
                  <a:ext cx="119750" cy="108000"/>
                  <a:chOff x="6300788" y="1562100"/>
                  <a:chExt cx="760412" cy="685800"/>
                </a:xfrm>
                <a:solidFill>
                  <a:srgbClr val="1063AD"/>
                </a:solidFill>
              </p:grpSpPr>
              <p:sp>
                <p:nvSpPr>
                  <p:cNvPr id="435" name="Freeform 28"/>
                  <p:cNvSpPr>
                    <a:spLocks/>
                  </p:cNvSpPr>
                  <p:nvPr/>
                </p:nvSpPr>
                <p:spPr bwMode="auto">
                  <a:xfrm>
                    <a:off x="6516688" y="1562100"/>
                    <a:ext cx="328612" cy="457200"/>
                  </a:xfrm>
                  <a:custGeom>
                    <a:avLst/>
                    <a:gdLst>
                      <a:gd name="T0" fmla="*/ 174 w 347"/>
                      <a:gd name="T1" fmla="*/ 0 h 480"/>
                      <a:gd name="T2" fmla="*/ 0 w 347"/>
                      <a:gd name="T3" fmla="*/ 173 h 480"/>
                      <a:gd name="T4" fmla="*/ 0 w 347"/>
                      <a:gd name="T5" fmla="*/ 306 h 480"/>
                      <a:gd name="T6" fmla="*/ 174 w 347"/>
                      <a:gd name="T7" fmla="*/ 480 h 480"/>
                      <a:gd name="T8" fmla="*/ 347 w 347"/>
                      <a:gd name="T9" fmla="*/ 306 h 480"/>
                      <a:gd name="T10" fmla="*/ 347 w 347"/>
                      <a:gd name="T11" fmla="*/ 173 h 480"/>
                      <a:gd name="T12" fmla="*/ 174 w 347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7" h="480">
                        <a:moveTo>
                          <a:pt x="174" y="0"/>
                        </a:moveTo>
                        <a:cubicBezTo>
                          <a:pt x="78" y="0"/>
                          <a:pt x="0" y="81"/>
                          <a:pt x="0" y="173"/>
                        </a:cubicBezTo>
                        <a:cubicBezTo>
                          <a:pt x="0" y="306"/>
                          <a:pt x="0" y="306"/>
                          <a:pt x="0" y="306"/>
                        </a:cubicBezTo>
                        <a:cubicBezTo>
                          <a:pt x="0" y="398"/>
                          <a:pt x="78" y="480"/>
                          <a:pt x="174" y="480"/>
                        </a:cubicBezTo>
                        <a:cubicBezTo>
                          <a:pt x="269" y="480"/>
                          <a:pt x="347" y="398"/>
                          <a:pt x="347" y="306"/>
                        </a:cubicBezTo>
                        <a:cubicBezTo>
                          <a:pt x="347" y="173"/>
                          <a:pt x="347" y="173"/>
                          <a:pt x="347" y="173"/>
                        </a:cubicBezTo>
                        <a:cubicBezTo>
                          <a:pt x="347" y="81"/>
                          <a:pt x="269" y="0"/>
                          <a:pt x="174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  <p:sp>
                <p:nvSpPr>
                  <p:cNvPr id="436" name="Freeform 29"/>
                  <p:cNvSpPr>
                    <a:spLocks/>
                  </p:cNvSpPr>
                  <p:nvPr/>
                </p:nvSpPr>
                <p:spPr bwMode="auto">
                  <a:xfrm>
                    <a:off x="6300788" y="2073275"/>
                    <a:ext cx="760412" cy="174625"/>
                  </a:xfrm>
                  <a:custGeom>
                    <a:avLst/>
                    <a:gdLst>
                      <a:gd name="T0" fmla="*/ 643 w 800"/>
                      <a:gd name="T1" fmla="*/ 0 h 184"/>
                      <a:gd name="T2" fmla="*/ 156 w 800"/>
                      <a:gd name="T3" fmla="*/ 0 h 184"/>
                      <a:gd name="T4" fmla="*/ 0 w 800"/>
                      <a:gd name="T5" fmla="*/ 156 h 184"/>
                      <a:gd name="T6" fmla="*/ 0 w 800"/>
                      <a:gd name="T7" fmla="*/ 184 h 184"/>
                      <a:gd name="T8" fmla="*/ 800 w 800"/>
                      <a:gd name="T9" fmla="*/ 184 h 184"/>
                      <a:gd name="T10" fmla="*/ 800 w 800"/>
                      <a:gd name="T11" fmla="*/ 156 h 184"/>
                      <a:gd name="T12" fmla="*/ 643 w 800"/>
                      <a:gd name="T13" fmla="*/ 0 h 1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00" h="184">
                        <a:moveTo>
                          <a:pt x="643" y="0"/>
                        </a:moveTo>
                        <a:cubicBezTo>
                          <a:pt x="156" y="0"/>
                          <a:pt x="156" y="0"/>
                          <a:pt x="156" y="0"/>
                        </a:cubicBezTo>
                        <a:cubicBezTo>
                          <a:pt x="70" y="0"/>
                          <a:pt x="0" y="70"/>
                          <a:pt x="0" y="156"/>
                        </a:cubicBezTo>
                        <a:cubicBezTo>
                          <a:pt x="0" y="184"/>
                          <a:pt x="0" y="184"/>
                          <a:pt x="0" y="184"/>
                        </a:cubicBezTo>
                        <a:cubicBezTo>
                          <a:pt x="800" y="184"/>
                          <a:pt x="800" y="184"/>
                          <a:pt x="800" y="184"/>
                        </a:cubicBezTo>
                        <a:cubicBezTo>
                          <a:pt x="800" y="156"/>
                          <a:pt x="800" y="156"/>
                          <a:pt x="800" y="156"/>
                        </a:cubicBezTo>
                        <a:cubicBezTo>
                          <a:pt x="800" y="70"/>
                          <a:pt x="730" y="0"/>
                          <a:pt x="643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</p:grpSp>
            <p:grpSp>
              <p:nvGrpSpPr>
                <p:cNvPr id="418" name="Group 417"/>
                <p:cNvGrpSpPr/>
                <p:nvPr/>
              </p:nvGrpSpPr>
              <p:grpSpPr>
                <a:xfrm>
                  <a:off x="792000" y="720000"/>
                  <a:ext cx="407750" cy="108000"/>
                  <a:chOff x="512400" y="872400"/>
                  <a:chExt cx="407750" cy="108000"/>
                </a:xfrm>
              </p:grpSpPr>
              <p:grpSp>
                <p:nvGrpSpPr>
                  <p:cNvPr id="426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512400" y="872400"/>
                    <a:ext cx="119750" cy="108000"/>
                    <a:chOff x="6300788" y="1562100"/>
                    <a:chExt cx="760412" cy="685800"/>
                  </a:xfrm>
                  <a:solidFill>
                    <a:srgbClr val="1063AD"/>
                  </a:solidFill>
                </p:grpSpPr>
                <p:sp>
                  <p:nvSpPr>
                    <p:cNvPr id="433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434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  <p:grpSp>
                <p:nvGrpSpPr>
                  <p:cNvPr id="427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656400" y="872400"/>
                    <a:ext cx="119750" cy="108000"/>
                    <a:chOff x="6300788" y="1562100"/>
                    <a:chExt cx="760412" cy="685800"/>
                  </a:xfrm>
                  <a:solidFill>
                    <a:srgbClr val="1063AD"/>
                  </a:solidFill>
                </p:grpSpPr>
                <p:sp>
                  <p:nvSpPr>
                    <p:cNvPr id="431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432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  <p:grpSp>
                <p:nvGrpSpPr>
                  <p:cNvPr id="428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800400" y="872400"/>
                    <a:ext cx="119750" cy="108000"/>
                    <a:chOff x="6300788" y="1562100"/>
                    <a:chExt cx="760412" cy="685800"/>
                  </a:xfrm>
                  <a:solidFill>
                    <a:srgbClr val="1063AD"/>
                  </a:solidFill>
                </p:grpSpPr>
                <p:sp>
                  <p:nvSpPr>
                    <p:cNvPr id="429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430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</p:grpSp>
            <p:grpSp>
              <p:nvGrpSpPr>
                <p:cNvPr id="419" name="Group 418"/>
                <p:cNvGrpSpPr/>
                <p:nvPr/>
              </p:nvGrpSpPr>
              <p:grpSpPr>
                <a:xfrm>
                  <a:off x="1224000" y="720000"/>
                  <a:ext cx="263750" cy="108000"/>
                  <a:chOff x="434900" y="1059582"/>
                  <a:chExt cx="263750" cy="108000"/>
                </a:xfrm>
              </p:grpSpPr>
              <p:grpSp>
                <p:nvGrpSpPr>
                  <p:cNvPr id="420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434900" y="1059582"/>
                    <a:ext cx="119750" cy="108000"/>
                    <a:chOff x="6300788" y="1562100"/>
                    <a:chExt cx="760412" cy="685800"/>
                  </a:xfrm>
                  <a:solidFill>
                    <a:srgbClr val="1063AD"/>
                  </a:solidFill>
                </p:grpSpPr>
                <p:sp>
                  <p:nvSpPr>
                    <p:cNvPr id="424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425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  <p:grpSp>
                <p:nvGrpSpPr>
                  <p:cNvPr id="421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578900" y="1059582"/>
                    <a:ext cx="119750" cy="108000"/>
                    <a:chOff x="6300788" y="1562100"/>
                    <a:chExt cx="760412" cy="685800"/>
                  </a:xfrm>
                  <a:solidFill>
                    <a:srgbClr val="1063AD"/>
                  </a:solidFill>
                </p:grpSpPr>
                <p:sp>
                  <p:nvSpPr>
                    <p:cNvPr id="422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423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00" name="Group 399"/>
              <p:cNvGrpSpPr/>
              <p:nvPr/>
            </p:nvGrpSpPr>
            <p:grpSpPr>
              <a:xfrm>
                <a:off x="936000" y="1058400"/>
                <a:ext cx="551750" cy="108000"/>
                <a:chOff x="936000" y="720000"/>
                <a:chExt cx="551750" cy="108000"/>
              </a:xfrm>
            </p:grpSpPr>
            <p:grpSp>
              <p:nvGrpSpPr>
                <p:cNvPr id="401" name="Group 400"/>
                <p:cNvGrpSpPr/>
                <p:nvPr/>
              </p:nvGrpSpPr>
              <p:grpSpPr>
                <a:xfrm>
                  <a:off x="936000" y="720000"/>
                  <a:ext cx="263750" cy="108000"/>
                  <a:chOff x="656400" y="872400"/>
                  <a:chExt cx="263750" cy="108000"/>
                </a:xfrm>
              </p:grpSpPr>
              <p:grpSp>
                <p:nvGrpSpPr>
                  <p:cNvPr id="409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656400" y="872400"/>
                    <a:ext cx="119750" cy="108000"/>
                    <a:chOff x="6300788" y="1562100"/>
                    <a:chExt cx="760412" cy="685800"/>
                  </a:xfrm>
                  <a:solidFill>
                    <a:srgbClr val="1063AD"/>
                  </a:solidFill>
                </p:grpSpPr>
                <p:sp>
                  <p:nvSpPr>
                    <p:cNvPr id="413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414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  <p:grpSp>
                <p:nvGrpSpPr>
                  <p:cNvPr id="410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800400" y="872400"/>
                    <a:ext cx="119750" cy="108000"/>
                    <a:chOff x="6300788" y="1562100"/>
                    <a:chExt cx="760412" cy="685800"/>
                  </a:xfrm>
                  <a:solidFill>
                    <a:srgbClr val="1063AD"/>
                  </a:solidFill>
                </p:grpSpPr>
                <p:sp>
                  <p:nvSpPr>
                    <p:cNvPr id="411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412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</p:grpSp>
            <p:grpSp>
              <p:nvGrpSpPr>
                <p:cNvPr id="402" name="Group 401"/>
                <p:cNvGrpSpPr/>
                <p:nvPr/>
              </p:nvGrpSpPr>
              <p:grpSpPr>
                <a:xfrm>
                  <a:off x="1224000" y="720000"/>
                  <a:ext cx="263750" cy="108000"/>
                  <a:chOff x="434900" y="1059582"/>
                  <a:chExt cx="263750" cy="108000"/>
                </a:xfrm>
              </p:grpSpPr>
              <p:grpSp>
                <p:nvGrpSpPr>
                  <p:cNvPr id="403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434900" y="1059582"/>
                    <a:ext cx="119750" cy="108000"/>
                    <a:chOff x="6300788" y="1562100"/>
                    <a:chExt cx="760412" cy="685800"/>
                  </a:xfrm>
                  <a:solidFill>
                    <a:srgbClr val="1063AD"/>
                  </a:solidFill>
                </p:grpSpPr>
                <p:sp>
                  <p:nvSpPr>
                    <p:cNvPr id="407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408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  <p:grpSp>
                <p:nvGrpSpPr>
                  <p:cNvPr id="404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578900" y="1059582"/>
                    <a:ext cx="119750" cy="108000"/>
                    <a:chOff x="6300788" y="1562100"/>
                    <a:chExt cx="760412" cy="685800"/>
                  </a:xfrm>
                  <a:solidFill>
                    <a:srgbClr val="1063AD"/>
                  </a:solidFill>
                </p:grpSpPr>
                <p:sp>
                  <p:nvSpPr>
                    <p:cNvPr id="405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406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</p:grpSp>
          </p:grpSp>
        </p:grpSp>
        <p:grpSp>
          <p:nvGrpSpPr>
            <p:cNvPr id="521" name="Group 520"/>
            <p:cNvGrpSpPr/>
            <p:nvPr/>
          </p:nvGrpSpPr>
          <p:grpSpPr>
            <a:xfrm>
              <a:off x="7764729" y="1850604"/>
              <a:ext cx="1127750" cy="540000"/>
              <a:chOff x="360000" y="1203598"/>
              <a:chExt cx="1127750" cy="540000"/>
            </a:xfrm>
            <a:solidFill>
              <a:srgbClr val="53BAF2"/>
            </a:solidFill>
          </p:grpSpPr>
          <p:grpSp>
            <p:nvGrpSpPr>
              <p:cNvPr id="522" name="Group 521"/>
              <p:cNvGrpSpPr/>
              <p:nvPr/>
            </p:nvGrpSpPr>
            <p:grpSpPr>
              <a:xfrm>
                <a:off x="360000" y="1203598"/>
                <a:ext cx="1127750" cy="252000"/>
                <a:chOff x="360000" y="720000"/>
                <a:chExt cx="1127750" cy="252000"/>
              </a:xfrm>
              <a:grpFill/>
            </p:grpSpPr>
            <p:grpSp>
              <p:nvGrpSpPr>
                <p:cNvPr id="577" name="Group 576"/>
                <p:cNvGrpSpPr/>
                <p:nvPr/>
              </p:nvGrpSpPr>
              <p:grpSpPr>
                <a:xfrm>
                  <a:off x="936000" y="720000"/>
                  <a:ext cx="551750" cy="108000"/>
                  <a:chOff x="936000" y="720000"/>
                  <a:chExt cx="551750" cy="108000"/>
                </a:xfrm>
                <a:grpFill/>
              </p:grpSpPr>
              <p:grpSp>
                <p:nvGrpSpPr>
                  <p:cNvPr id="605" name="Group 604"/>
                  <p:cNvGrpSpPr/>
                  <p:nvPr/>
                </p:nvGrpSpPr>
                <p:grpSpPr>
                  <a:xfrm>
                    <a:off x="936000" y="720000"/>
                    <a:ext cx="263750" cy="108000"/>
                    <a:chOff x="656400" y="872400"/>
                    <a:chExt cx="263750" cy="108000"/>
                  </a:xfrm>
                  <a:grpFill/>
                </p:grpSpPr>
                <p:grpSp>
                  <p:nvGrpSpPr>
                    <p:cNvPr id="613" name="Gruppieren 112"/>
                    <p:cNvGrpSpPr>
                      <a:grpSpLocks noChangeAspect="1"/>
                    </p:cNvGrpSpPr>
                    <p:nvPr/>
                  </p:nvGrpSpPr>
                  <p:grpSpPr>
                    <a:xfrm>
                      <a:off x="656400" y="872400"/>
                      <a:ext cx="119750" cy="108000"/>
                      <a:chOff x="6300788" y="1562100"/>
                      <a:chExt cx="760412" cy="685800"/>
                    </a:xfrm>
                    <a:grpFill/>
                  </p:grpSpPr>
                  <p:sp>
                    <p:nvSpPr>
                      <p:cNvPr id="617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516688" y="1562100"/>
                        <a:ext cx="328612" cy="457200"/>
                      </a:xfrm>
                      <a:custGeom>
                        <a:avLst/>
                        <a:gdLst>
                          <a:gd name="T0" fmla="*/ 174 w 347"/>
                          <a:gd name="T1" fmla="*/ 0 h 480"/>
                          <a:gd name="T2" fmla="*/ 0 w 347"/>
                          <a:gd name="T3" fmla="*/ 173 h 480"/>
                          <a:gd name="T4" fmla="*/ 0 w 347"/>
                          <a:gd name="T5" fmla="*/ 306 h 480"/>
                          <a:gd name="T6" fmla="*/ 174 w 347"/>
                          <a:gd name="T7" fmla="*/ 480 h 480"/>
                          <a:gd name="T8" fmla="*/ 347 w 347"/>
                          <a:gd name="T9" fmla="*/ 306 h 480"/>
                          <a:gd name="T10" fmla="*/ 347 w 347"/>
                          <a:gd name="T11" fmla="*/ 173 h 480"/>
                          <a:gd name="T12" fmla="*/ 174 w 347"/>
                          <a:gd name="T13" fmla="*/ 0 h 48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347" h="480">
                            <a:moveTo>
                              <a:pt x="174" y="0"/>
                            </a:moveTo>
                            <a:cubicBezTo>
                              <a:pt x="78" y="0"/>
                              <a:pt x="0" y="81"/>
                              <a:pt x="0" y="173"/>
                            </a:cubicBezTo>
                            <a:cubicBezTo>
                              <a:pt x="0" y="306"/>
                              <a:pt x="0" y="306"/>
                              <a:pt x="0" y="306"/>
                            </a:cubicBezTo>
                            <a:cubicBezTo>
                              <a:pt x="0" y="398"/>
                              <a:pt x="78" y="480"/>
                              <a:pt x="174" y="480"/>
                            </a:cubicBezTo>
                            <a:cubicBezTo>
                              <a:pt x="269" y="480"/>
                              <a:pt x="347" y="398"/>
                              <a:pt x="347" y="306"/>
                            </a:cubicBezTo>
                            <a:cubicBezTo>
                              <a:pt x="347" y="173"/>
                              <a:pt x="347" y="173"/>
                              <a:pt x="347" y="173"/>
                            </a:cubicBezTo>
                            <a:cubicBezTo>
                              <a:pt x="347" y="81"/>
                              <a:pt x="269" y="0"/>
                              <a:pt x="174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  <p:sp>
                    <p:nvSpPr>
                      <p:cNvPr id="618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300788" y="2073275"/>
                        <a:ext cx="760412" cy="174625"/>
                      </a:xfrm>
                      <a:custGeom>
                        <a:avLst/>
                        <a:gdLst>
                          <a:gd name="T0" fmla="*/ 643 w 800"/>
                          <a:gd name="T1" fmla="*/ 0 h 184"/>
                          <a:gd name="T2" fmla="*/ 156 w 800"/>
                          <a:gd name="T3" fmla="*/ 0 h 184"/>
                          <a:gd name="T4" fmla="*/ 0 w 800"/>
                          <a:gd name="T5" fmla="*/ 156 h 184"/>
                          <a:gd name="T6" fmla="*/ 0 w 800"/>
                          <a:gd name="T7" fmla="*/ 184 h 184"/>
                          <a:gd name="T8" fmla="*/ 800 w 800"/>
                          <a:gd name="T9" fmla="*/ 184 h 184"/>
                          <a:gd name="T10" fmla="*/ 800 w 800"/>
                          <a:gd name="T11" fmla="*/ 156 h 184"/>
                          <a:gd name="T12" fmla="*/ 643 w 800"/>
                          <a:gd name="T13" fmla="*/ 0 h 18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800" h="184">
                            <a:moveTo>
                              <a:pt x="643" y="0"/>
                            </a:moveTo>
                            <a:cubicBezTo>
                              <a:pt x="156" y="0"/>
                              <a:pt x="156" y="0"/>
                              <a:pt x="156" y="0"/>
                            </a:cubicBezTo>
                            <a:cubicBezTo>
                              <a:pt x="70" y="0"/>
                              <a:pt x="0" y="70"/>
                              <a:pt x="0" y="156"/>
                            </a:cubicBezTo>
                            <a:cubicBezTo>
                              <a:pt x="0" y="184"/>
                              <a:pt x="0" y="184"/>
                              <a:pt x="0" y="184"/>
                            </a:cubicBezTo>
                            <a:cubicBezTo>
                              <a:pt x="800" y="184"/>
                              <a:pt x="800" y="184"/>
                              <a:pt x="800" y="184"/>
                            </a:cubicBezTo>
                            <a:cubicBezTo>
                              <a:pt x="800" y="156"/>
                              <a:pt x="800" y="156"/>
                              <a:pt x="800" y="156"/>
                            </a:cubicBezTo>
                            <a:cubicBezTo>
                              <a:pt x="800" y="70"/>
                              <a:pt x="730" y="0"/>
                              <a:pt x="643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</p:grpSp>
                <p:grpSp>
                  <p:nvGrpSpPr>
                    <p:cNvPr id="614" name="Gruppieren 112"/>
                    <p:cNvGrpSpPr>
                      <a:grpSpLocks noChangeAspect="1"/>
                    </p:cNvGrpSpPr>
                    <p:nvPr/>
                  </p:nvGrpSpPr>
                  <p:grpSpPr>
                    <a:xfrm>
                      <a:off x="800400" y="872400"/>
                      <a:ext cx="119750" cy="108000"/>
                      <a:chOff x="6300788" y="1562100"/>
                      <a:chExt cx="760412" cy="685800"/>
                    </a:xfrm>
                    <a:grpFill/>
                  </p:grpSpPr>
                  <p:sp>
                    <p:nvSpPr>
                      <p:cNvPr id="615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516688" y="1562100"/>
                        <a:ext cx="328612" cy="457200"/>
                      </a:xfrm>
                      <a:custGeom>
                        <a:avLst/>
                        <a:gdLst>
                          <a:gd name="T0" fmla="*/ 174 w 347"/>
                          <a:gd name="T1" fmla="*/ 0 h 480"/>
                          <a:gd name="T2" fmla="*/ 0 w 347"/>
                          <a:gd name="T3" fmla="*/ 173 h 480"/>
                          <a:gd name="T4" fmla="*/ 0 w 347"/>
                          <a:gd name="T5" fmla="*/ 306 h 480"/>
                          <a:gd name="T6" fmla="*/ 174 w 347"/>
                          <a:gd name="T7" fmla="*/ 480 h 480"/>
                          <a:gd name="T8" fmla="*/ 347 w 347"/>
                          <a:gd name="T9" fmla="*/ 306 h 480"/>
                          <a:gd name="T10" fmla="*/ 347 w 347"/>
                          <a:gd name="T11" fmla="*/ 173 h 480"/>
                          <a:gd name="T12" fmla="*/ 174 w 347"/>
                          <a:gd name="T13" fmla="*/ 0 h 48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347" h="480">
                            <a:moveTo>
                              <a:pt x="174" y="0"/>
                            </a:moveTo>
                            <a:cubicBezTo>
                              <a:pt x="78" y="0"/>
                              <a:pt x="0" y="81"/>
                              <a:pt x="0" y="173"/>
                            </a:cubicBezTo>
                            <a:cubicBezTo>
                              <a:pt x="0" y="306"/>
                              <a:pt x="0" y="306"/>
                              <a:pt x="0" y="306"/>
                            </a:cubicBezTo>
                            <a:cubicBezTo>
                              <a:pt x="0" y="398"/>
                              <a:pt x="78" y="480"/>
                              <a:pt x="174" y="480"/>
                            </a:cubicBezTo>
                            <a:cubicBezTo>
                              <a:pt x="269" y="480"/>
                              <a:pt x="347" y="398"/>
                              <a:pt x="347" y="306"/>
                            </a:cubicBezTo>
                            <a:cubicBezTo>
                              <a:pt x="347" y="173"/>
                              <a:pt x="347" y="173"/>
                              <a:pt x="347" y="173"/>
                            </a:cubicBezTo>
                            <a:cubicBezTo>
                              <a:pt x="347" y="81"/>
                              <a:pt x="269" y="0"/>
                              <a:pt x="174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  <p:sp>
                    <p:nvSpPr>
                      <p:cNvPr id="616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300788" y="2073275"/>
                        <a:ext cx="760412" cy="174625"/>
                      </a:xfrm>
                      <a:custGeom>
                        <a:avLst/>
                        <a:gdLst>
                          <a:gd name="T0" fmla="*/ 643 w 800"/>
                          <a:gd name="T1" fmla="*/ 0 h 184"/>
                          <a:gd name="T2" fmla="*/ 156 w 800"/>
                          <a:gd name="T3" fmla="*/ 0 h 184"/>
                          <a:gd name="T4" fmla="*/ 0 w 800"/>
                          <a:gd name="T5" fmla="*/ 156 h 184"/>
                          <a:gd name="T6" fmla="*/ 0 w 800"/>
                          <a:gd name="T7" fmla="*/ 184 h 184"/>
                          <a:gd name="T8" fmla="*/ 800 w 800"/>
                          <a:gd name="T9" fmla="*/ 184 h 184"/>
                          <a:gd name="T10" fmla="*/ 800 w 800"/>
                          <a:gd name="T11" fmla="*/ 156 h 184"/>
                          <a:gd name="T12" fmla="*/ 643 w 800"/>
                          <a:gd name="T13" fmla="*/ 0 h 18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800" h="184">
                            <a:moveTo>
                              <a:pt x="643" y="0"/>
                            </a:moveTo>
                            <a:cubicBezTo>
                              <a:pt x="156" y="0"/>
                              <a:pt x="156" y="0"/>
                              <a:pt x="156" y="0"/>
                            </a:cubicBezTo>
                            <a:cubicBezTo>
                              <a:pt x="70" y="0"/>
                              <a:pt x="0" y="70"/>
                              <a:pt x="0" y="156"/>
                            </a:cubicBezTo>
                            <a:cubicBezTo>
                              <a:pt x="0" y="184"/>
                              <a:pt x="0" y="184"/>
                              <a:pt x="0" y="184"/>
                            </a:cubicBezTo>
                            <a:cubicBezTo>
                              <a:pt x="800" y="184"/>
                              <a:pt x="800" y="184"/>
                              <a:pt x="800" y="184"/>
                            </a:cubicBezTo>
                            <a:cubicBezTo>
                              <a:pt x="800" y="156"/>
                              <a:pt x="800" y="156"/>
                              <a:pt x="800" y="156"/>
                            </a:cubicBezTo>
                            <a:cubicBezTo>
                              <a:pt x="800" y="70"/>
                              <a:pt x="730" y="0"/>
                              <a:pt x="643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</p:grpSp>
              </p:grpSp>
              <p:grpSp>
                <p:nvGrpSpPr>
                  <p:cNvPr id="606" name="Group 605"/>
                  <p:cNvGrpSpPr/>
                  <p:nvPr/>
                </p:nvGrpSpPr>
                <p:grpSpPr>
                  <a:xfrm>
                    <a:off x="1224000" y="720000"/>
                    <a:ext cx="263750" cy="108000"/>
                    <a:chOff x="434900" y="1059582"/>
                    <a:chExt cx="263750" cy="108000"/>
                  </a:xfrm>
                  <a:grpFill/>
                </p:grpSpPr>
                <p:grpSp>
                  <p:nvGrpSpPr>
                    <p:cNvPr id="607" name="Gruppieren 112"/>
                    <p:cNvGrpSpPr>
                      <a:grpSpLocks noChangeAspect="1"/>
                    </p:cNvGrpSpPr>
                    <p:nvPr/>
                  </p:nvGrpSpPr>
                  <p:grpSpPr>
                    <a:xfrm>
                      <a:off x="434900" y="1059582"/>
                      <a:ext cx="119750" cy="108000"/>
                      <a:chOff x="6300788" y="1562100"/>
                      <a:chExt cx="760412" cy="685800"/>
                    </a:xfrm>
                    <a:grpFill/>
                  </p:grpSpPr>
                  <p:sp>
                    <p:nvSpPr>
                      <p:cNvPr id="611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516688" y="1562100"/>
                        <a:ext cx="328612" cy="457200"/>
                      </a:xfrm>
                      <a:custGeom>
                        <a:avLst/>
                        <a:gdLst>
                          <a:gd name="T0" fmla="*/ 174 w 347"/>
                          <a:gd name="T1" fmla="*/ 0 h 480"/>
                          <a:gd name="T2" fmla="*/ 0 w 347"/>
                          <a:gd name="T3" fmla="*/ 173 h 480"/>
                          <a:gd name="T4" fmla="*/ 0 w 347"/>
                          <a:gd name="T5" fmla="*/ 306 h 480"/>
                          <a:gd name="T6" fmla="*/ 174 w 347"/>
                          <a:gd name="T7" fmla="*/ 480 h 480"/>
                          <a:gd name="T8" fmla="*/ 347 w 347"/>
                          <a:gd name="T9" fmla="*/ 306 h 480"/>
                          <a:gd name="T10" fmla="*/ 347 w 347"/>
                          <a:gd name="T11" fmla="*/ 173 h 480"/>
                          <a:gd name="T12" fmla="*/ 174 w 347"/>
                          <a:gd name="T13" fmla="*/ 0 h 48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347" h="480">
                            <a:moveTo>
                              <a:pt x="174" y="0"/>
                            </a:moveTo>
                            <a:cubicBezTo>
                              <a:pt x="78" y="0"/>
                              <a:pt x="0" y="81"/>
                              <a:pt x="0" y="173"/>
                            </a:cubicBezTo>
                            <a:cubicBezTo>
                              <a:pt x="0" y="306"/>
                              <a:pt x="0" y="306"/>
                              <a:pt x="0" y="306"/>
                            </a:cubicBezTo>
                            <a:cubicBezTo>
                              <a:pt x="0" y="398"/>
                              <a:pt x="78" y="480"/>
                              <a:pt x="174" y="480"/>
                            </a:cubicBezTo>
                            <a:cubicBezTo>
                              <a:pt x="269" y="480"/>
                              <a:pt x="347" y="398"/>
                              <a:pt x="347" y="306"/>
                            </a:cubicBezTo>
                            <a:cubicBezTo>
                              <a:pt x="347" y="173"/>
                              <a:pt x="347" y="173"/>
                              <a:pt x="347" y="173"/>
                            </a:cubicBezTo>
                            <a:cubicBezTo>
                              <a:pt x="347" y="81"/>
                              <a:pt x="269" y="0"/>
                              <a:pt x="174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  <p:sp>
                    <p:nvSpPr>
                      <p:cNvPr id="612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300788" y="2073275"/>
                        <a:ext cx="760412" cy="174625"/>
                      </a:xfrm>
                      <a:custGeom>
                        <a:avLst/>
                        <a:gdLst>
                          <a:gd name="T0" fmla="*/ 643 w 800"/>
                          <a:gd name="T1" fmla="*/ 0 h 184"/>
                          <a:gd name="T2" fmla="*/ 156 w 800"/>
                          <a:gd name="T3" fmla="*/ 0 h 184"/>
                          <a:gd name="T4" fmla="*/ 0 w 800"/>
                          <a:gd name="T5" fmla="*/ 156 h 184"/>
                          <a:gd name="T6" fmla="*/ 0 w 800"/>
                          <a:gd name="T7" fmla="*/ 184 h 184"/>
                          <a:gd name="T8" fmla="*/ 800 w 800"/>
                          <a:gd name="T9" fmla="*/ 184 h 184"/>
                          <a:gd name="T10" fmla="*/ 800 w 800"/>
                          <a:gd name="T11" fmla="*/ 156 h 184"/>
                          <a:gd name="T12" fmla="*/ 643 w 800"/>
                          <a:gd name="T13" fmla="*/ 0 h 18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800" h="184">
                            <a:moveTo>
                              <a:pt x="643" y="0"/>
                            </a:moveTo>
                            <a:cubicBezTo>
                              <a:pt x="156" y="0"/>
                              <a:pt x="156" y="0"/>
                              <a:pt x="156" y="0"/>
                            </a:cubicBezTo>
                            <a:cubicBezTo>
                              <a:pt x="70" y="0"/>
                              <a:pt x="0" y="70"/>
                              <a:pt x="0" y="156"/>
                            </a:cubicBezTo>
                            <a:cubicBezTo>
                              <a:pt x="0" y="184"/>
                              <a:pt x="0" y="184"/>
                              <a:pt x="0" y="184"/>
                            </a:cubicBezTo>
                            <a:cubicBezTo>
                              <a:pt x="800" y="184"/>
                              <a:pt x="800" y="184"/>
                              <a:pt x="800" y="184"/>
                            </a:cubicBezTo>
                            <a:cubicBezTo>
                              <a:pt x="800" y="156"/>
                              <a:pt x="800" y="156"/>
                              <a:pt x="800" y="156"/>
                            </a:cubicBezTo>
                            <a:cubicBezTo>
                              <a:pt x="800" y="70"/>
                              <a:pt x="730" y="0"/>
                              <a:pt x="643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</p:grpSp>
                <p:grpSp>
                  <p:nvGrpSpPr>
                    <p:cNvPr id="608" name="Gruppieren 112"/>
                    <p:cNvGrpSpPr>
                      <a:grpSpLocks noChangeAspect="1"/>
                    </p:cNvGrpSpPr>
                    <p:nvPr/>
                  </p:nvGrpSpPr>
                  <p:grpSpPr>
                    <a:xfrm>
                      <a:off x="578900" y="1059582"/>
                      <a:ext cx="119750" cy="108000"/>
                      <a:chOff x="6300788" y="1562100"/>
                      <a:chExt cx="760412" cy="685800"/>
                    </a:xfrm>
                    <a:grpFill/>
                  </p:grpSpPr>
                  <p:sp>
                    <p:nvSpPr>
                      <p:cNvPr id="609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516688" y="1562100"/>
                        <a:ext cx="328612" cy="457200"/>
                      </a:xfrm>
                      <a:custGeom>
                        <a:avLst/>
                        <a:gdLst>
                          <a:gd name="T0" fmla="*/ 174 w 347"/>
                          <a:gd name="T1" fmla="*/ 0 h 480"/>
                          <a:gd name="T2" fmla="*/ 0 w 347"/>
                          <a:gd name="T3" fmla="*/ 173 h 480"/>
                          <a:gd name="T4" fmla="*/ 0 w 347"/>
                          <a:gd name="T5" fmla="*/ 306 h 480"/>
                          <a:gd name="T6" fmla="*/ 174 w 347"/>
                          <a:gd name="T7" fmla="*/ 480 h 480"/>
                          <a:gd name="T8" fmla="*/ 347 w 347"/>
                          <a:gd name="T9" fmla="*/ 306 h 480"/>
                          <a:gd name="T10" fmla="*/ 347 w 347"/>
                          <a:gd name="T11" fmla="*/ 173 h 480"/>
                          <a:gd name="T12" fmla="*/ 174 w 347"/>
                          <a:gd name="T13" fmla="*/ 0 h 48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347" h="480">
                            <a:moveTo>
                              <a:pt x="174" y="0"/>
                            </a:moveTo>
                            <a:cubicBezTo>
                              <a:pt x="78" y="0"/>
                              <a:pt x="0" y="81"/>
                              <a:pt x="0" y="173"/>
                            </a:cubicBezTo>
                            <a:cubicBezTo>
                              <a:pt x="0" y="306"/>
                              <a:pt x="0" y="306"/>
                              <a:pt x="0" y="306"/>
                            </a:cubicBezTo>
                            <a:cubicBezTo>
                              <a:pt x="0" y="398"/>
                              <a:pt x="78" y="480"/>
                              <a:pt x="174" y="480"/>
                            </a:cubicBezTo>
                            <a:cubicBezTo>
                              <a:pt x="269" y="480"/>
                              <a:pt x="347" y="398"/>
                              <a:pt x="347" y="306"/>
                            </a:cubicBezTo>
                            <a:cubicBezTo>
                              <a:pt x="347" y="173"/>
                              <a:pt x="347" y="173"/>
                              <a:pt x="347" y="173"/>
                            </a:cubicBezTo>
                            <a:cubicBezTo>
                              <a:pt x="347" y="81"/>
                              <a:pt x="269" y="0"/>
                              <a:pt x="174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  <p:sp>
                    <p:nvSpPr>
                      <p:cNvPr id="610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300788" y="2073275"/>
                        <a:ext cx="760412" cy="174625"/>
                      </a:xfrm>
                      <a:custGeom>
                        <a:avLst/>
                        <a:gdLst>
                          <a:gd name="T0" fmla="*/ 643 w 800"/>
                          <a:gd name="T1" fmla="*/ 0 h 184"/>
                          <a:gd name="T2" fmla="*/ 156 w 800"/>
                          <a:gd name="T3" fmla="*/ 0 h 184"/>
                          <a:gd name="T4" fmla="*/ 0 w 800"/>
                          <a:gd name="T5" fmla="*/ 156 h 184"/>
                          <a:gd name="T6" fmla="*/ 0 w 800"/>
                          <a:gd name="T7" fmla="*/ 184 h 184"/>
                          <a:gd name="T8" fmla="*/ 800 w 800"/>
                          <a:gd name="T9" fmla="*/ 184 h 184"/>
                          <a:gd name="T10" fmla="*/ 800 w 800"/>
                          <a:gd name="T11" fmla="*/ 156 h 184"/>
                          <a:gd name="T12" fmla="*/ 643 w 800"/>
                          <a:gd name="T13" fmla="*/ 0 h 18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800" h="184">
                            <a:moveTo>
                              <a:pt x="643" y="0"/>
                            </a:moveTo>
                            <a:cubicBezTo>
                              <a:pt x="156" y="0"/>
                              <a:pt x="156" y="0"/>
                              <a:pt x="156" y="0"/>
                            </a:cubicBezTo>
                            <a:cubicBezTo>
                              <a:pt x="70" y="0"/>
                              <a:pt x="0" y="70"/>
                              <a:pt x="0" y="156"/>
                            </a:cubicBezTo>
                            <a:cubicBezTo>
                              <a:pt x="0" y="184"/>
                              <a:pt x="0" y="184"/>
                              <a:pt x="0" y="184"/>
                            </a:cubicBezTo>
                            <a:cubicBezTo>
                              <a:pt x="800" y="184"/>
                              <a:pt x="800" y="184"/>
                              <a:pt x="800" y="184"/>
                            </a:cubicBezTo>
                            <a:cubicBezTo>
                              <a:pt x="800" y="156"/>
                              <a:pt x="800" y="156"/>
                              <a:pt x="800" y="156"/>
                            </a:cubicBezTo>
                            <a:cubicBezTo>
                              <a:pt x="800" y="70"/>
                              <a:pt x="730" y="0"/>
                              <a:pt x="643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</p:grpSp>
              </p:grpSp>
            </p:grpSp>
            <p:grpSp>
              <p:nvGrpSpPr>
                <p:cNvPr id="578" name="Group 577"/>
                <p:cNvGrpSpPr/>
                <p:nvPr/>
              </p:nvGrpSpPr>
              <p:grpSpPr>
                <a:xfrm>
                  <a:off x="360000" y="864000"/>
                  <a:ext cx="1127750" cy="108000"/>
                  <a:chOff x="360000" y="720000"/>
                  <a:chExt cx="1127750" cy="108000"/>
                </a:xfrm>
                <a:grpFill/>
              </p:grpSpPr>
              <p:grpSp>
                <p:nvGrpSpPr>
                  <p:cNvPr id="579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360000" y="720000"/>
                    <a:ext cx="119750" cy="108000"/>
                    <a:chOff x="6300788" y="1562100"/>
                    <a:chExt cx="760412" cy="685800"/>
                  </a:xfrm>
                  <a:grpFill/>
                </p:grpSpPr>
                <p:sp>
                  <p:nvSpPr>
                    <p:cNvPr id="603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604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  <p:grpSp>
                <p:nvGrpSpPr>
                  <p:cNvPr id="580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504000" y="720000"/>
                    <a:ext cx="119750" cy="108000"/>
                    <a:chOff x="6300788" y="1562100"/>
                    <a:chExt cx="760412" cy="685800"/>
                  </a:xfrm>
                  <a:grpFill/>
                </p:grpSpPr>
                <p:sp>
                  <p:nvSpPr>
                    <p:cNvPr id="601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602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  <p:grpSp>
                <p:nvGrpSpPr>
                  <p:cNvPr id="581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648000" y="720000"/>
                    <a:ext cx="119750" cy="108000"/>
                    <a:chOff x="6300788" y="1562100"/>
                    <a:chExt cx="760412" cy="685800"/>
                  </a:xfrm>
                  <a:grpFill/>
                </p:grpSpPr>
                <p:sp>
                  <p:nvSpPr>
                    <p:cNvPr id="599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600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  <p:grpSp>
                <p:nvGrpSpPr>
                  <p:cNvPr id="582" name="Group 581"/>
                  <p:cNvGrpSpPr/>
                  <p:nvPr/>
                </p:nvGrpSpPr>
                <p:grpSpPr>
                  <a:xfrm>
                    <a:off x="792000" y="720000"/>
                    <a:ext cx="407750" cy="108000"/>
                    <a:chOff x="512400" y="872400"/>
                    <a:chExt cx="407750" cy="108000"/>
                  </a:xfrm>
                  <a:grpFill/>
                </p:grpSpPr>
                <p:grpSp>
                  <p:nvGrpSpPr>
                    <p:cNvPr id="590" name="Gruppieren 112"/>
                    <p:cNvGrpSpPr>
                      <a:grpSpLocks noChangeAspect="1"/>
                    </p:cNvGrpSpPr>
                    <p:nvPr/>
                  </p:nvGrpSpPr>
                  <p:grpSpPr>
                    <a:xfrm>
                      <a:off x="512400" y="872400"/>
                      <a:ext cx="119750" cy="108000"/>
                      <a:chOff x="6300788" y="1562100"/>
                      <a:chExt cx="760412" cy="685800"/>
                    </a:xfrm>
                    <a:grpFill/>
                  </p:grpSpPr>
                  <p:sp>
                    <p:nvSpPr>
                      <p:cNvPr id="597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516688" y="1562100"/>
                        <a:ext cx="328612" cy="457200"/>
                      </a:xfrm>
                      <a:custGeom>
                        <a:avLst/>
                        <a:gdLst>
                          <a:gd name="T0" fmla="*/ 174 w 347"/>
                          <a:gd name="T1" fmla="*/ 0 h 480"/>
                          <a:gd name="T2" fmla="*/ 0 w 347"/>
                          <a:gd name="T3" fmla="*/ 173 h 480"/>
                          <a:gd name="T4" fmla="*/ 0 w 347"/>
                          <a:gd name="T5" fmla="*/ 306 h 480"/>
                          <a:gd name="T6" fmla="*/ 174 w 347"/>
                          <a:gd name="T7" fmla="*/ 480 h 480"/>
                          <a:gd name="T8" fmla="*/ 347 w 347"/>
                          <a:gd name="T9" fmla="*/ 306 h 480"/>
                          <a:gd name="T10" fmla="*/ 347 w 347"/>
                          <a:gd name="T11" fmla="*/ 173 h 480"/>
                          <a:gd name="T12" fmla="*/ 174 w 347"/>
                          <a:gd name="T13" fmla="*/ 0 h 48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347" h="480">
                            <a:moveTo>
                              <a:pt x="174" y="0"/>
                            </a:moveTo>
                            <a:cubicBezTo>
                              <a:pt x="78" y="0"/>
                              <a:pt x="0" y="81"/>
                              <a:pt x="0" y="173"/>
                            </a:cubicBezTo>
                            <a:cubicBezTo>
                              <a:pt x="0" y="306"/>
                              <a:pt x="0" y="306"/>
                              <a:pt x="0" y="306"/>
                            </a:cubicBezTo>
                            <a:cubicBezTo>
                              <a:pt x="0" y="398"/>
                              <a:pt x="78" y="480"/>
                              <a:pt x="174" y="480"/>
                            </a:cubicBezTo>
                            <a:cubicBezTo>
                              <a:pt x="269" y="480"/>
                              <a:pt x="347" y="398"/>
                              <a:pt x="347" y="306"/>
                            </a:cubicBezTo>
                            <a:cubicBezTo>
                              <a:pt x="347" y="173"/>
                              <a:pt x="347" y="173"/>
                              <a:pt x="347" y="173"/>
                            </a:cubicBezTo>
                            <a:cubicBezTo>
                              <a:pt x="347" y="81"/>
                              <a:pt x="269" y="0"/>
                              <a:pt x="174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  <p:sp>
                    <p:nvSpPr>
                      <p:cNvPr id="598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300788" y="2073275"/>
                        <a:ext cx="760412" cy="174625"/>
                      </a:xfrm>
                      <a:custGeom>
                        <a:avLst/>
                        <a:gdLst>
                          <a:gd name="T0" fmla="*/ 643 w 800"/>
                          <a:gd name="T1" fmla="*/ 0 h 184"/>
                          <a:gd name="T2" fmla="*/ 156 w 800"/>
                          <a:gd name="T3" fmla="*/ 0 h 184"/>
                          <a:gd name="T4" fmla="*/ 0 w 800"/>
                          <a:gd name="T5" fmla="*/ 156 h 184"/>
                          <a:gd name="T6" fmla="*/ 0 w 800"/>
                          <a:gd name="T7" fmla="*/ 184 h 184"/>
                          <a:gd name="T8" fmla="*/ 800 w 800"/>
                          <a:gd name="T9" fmla="*/ 184 h 184"/>
                          <a:gd name="T10" fmla="*/ 800 w 800"/>
                          <a:gd name="T11" fmla="*/ 156 h 184"/>
                          <a:gd name="T12" fmla="*/ 643 w 800"/>
                          <a:gd name="T13" fmla="*/ 0 h 18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800" h="184">
                            <a:moveTo>
                              <a:pt x="643" y="0"/>
                            </a:moveTo>
                            <a:cubicBezTo>
                              <a:pt x="156" y="0"/>
                              <a:pt x="156" y="0"/>
                              <a:pt x="156" y="0"/>
                            </a:cubicBezTo>
                            <a:cubicBezTo>
                              <a:pt x="70" y="0"/>
                              <a:pt x="0" y="70"/>
                              <a:pt x="0" y="156"/>
                            </a:cubicBezTo>
                            <a:cubicBezTo>
                              <a:pt x="0" y="184"/>
                              <a:pt x="0" y="184"/>
                              <a:pt x="0" y="184"/>
                            </a:cubicBezTo>
                            <a:cubicBezTo>
                              <a:pt x="800" y="184"/>
                              <a:pt x="800" y="184"/>
                              <a:pt x="800" y="184"/>
                            </a:cubicBezTo>
                            <a:cubicBezTo>
                              <a:pt x="800" y="156"/>
                              <a:pt x="800" y="156"/>
                              <a:pt x="800" y="156"/>
                            </a:cubicBezTo>
                            <a:cubicBezTo>
                              <a:pt x="800" y="70"/>
                              <a:pt x="730" y="0"/>
                              <a:pt x="643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</p:grpSp>
                <p:grpSp>
                  <p:nvGrpSpPr>
                    <p:cNvPr id="591" name="Gruppieren 112"/>
                    <p:cNvGrpSpPr>
                      <a:grpSpLocks noChangeAspect="1"/>
                    </p:cNvGrpSpPr>
                    <p:nvPr/>
                  </p:nvGrpSpPr>
                  <p:grpSpPr>
                    <a:xfrm>
                      <a:off x="656400" y="872400"/>
                      <a:ext cx="119750" cy="108000"/>
                      <a:chOff x="6300788" y="1562100"/>
                      <a:chExt cx="760412" cy="685800"/>
                    </a:xfrm>
                    <a:grpFill/>
                  </p:grpSpPr>
                  <p:sp>
                    <p:nvSpPr>
                      <p:cNvPr id="595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516688" y="1562100"/>
                        <a:ext cx="328612" cy="457200"/>
                      </a:xfrm>
                      <a:custGeom>
                        <a:avLst/>
                        <a:gdLst>
                          <a:gd name="T0" fmla="*/ 174 w 347"/>
                          <a:gd name="T1" fmla="*/ 0 h 480"/>
                          <a:gd name="T2" fmla="*/ 0 w 347"/>
                          <a:gd name="T3" fmla="*/ 173 h 480"/>
                          <a:gd name="T4" fmla="*/ 0 w 347"/>
                          <a:gd name="T5" fmla="*/ 306 h 480"/>
                          <a:gd name="T6" fmla="*/ 174 w 347"/>
                          <a:gd name="T7" fmla="*/ 480 h 480"/>
                          <a:gd name="T8" fmla="*/ 347 w 347"/>
                          <a:gd name="T9" fmla="*/ 306 h 480"/>
                          <a:gd name="T10" fmla="*/ 347 w 347"/>
                          <a:gd name="T11" fmla="*/ 173 h 480"/>
                          <a:gd name="T12" fmla="*/ 174 w 347"/>
                          <a:gd name="T13" fmla="*/ 0 h 48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347" h="480">
                            <a:moveTo>
                              <a:pt x="174" y="0"/>
                            </a:moveTo>
                            <a:cubicBezTo>
                              <a:pt x="78" y="0"/>
                              <a:pt x="0" y="81"/>
                              <a:pt x="0" y="173"/>
                            </a:cubicBezTo>
                            <a:cubicBezTo>
                              <a:pt x="0" y="306"/>
                              <a:pt x="0" y="306"/>
                              <a:pt x="0" y="306"/>
                            </a:cubicBezTo>
                            <a:cubicBezTo>
                              <a:pt x="0" y="398"/>
                              <a:pt x="78" y="480"/>
                              <a:pt x="174" y="480"/>
                            </a:cubicBezTo>
                            <a:cubicBezTo>
                              <a:pt x="269" y="480"/>
                              <a:pt x="347" y="398"/>
                              <a:pt x="347" y="306"/>
                            </a:cubicBezTo>
                            <a:cubicBezTo>
                              <a:pt x="347" y="173"/>
                              <a:pt x="347" y="173"/>
                              <a:pt x="347" y="173"/>
                            </a:cubicBezTo>
                            <a:cubicBezTo>
                              <a:pt x="347" y="81"/>
                              <a:pt x="269" y="0"/>
                              <a:pt x="174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  <p:sp>
                    <p:nvSpPr>
                      <p:cNvPr id="596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300788" y="2073275"/>
                        <a:ext cx="760412" cy="174625"/>
                      </a:xfrm>
                      <a:custGeom>
                        <a:avLst/>
                        <a:gdLst>
                          <a:gd name="T0" fmla="*/ 643 w 800"/>
                          <a:gd name="T1" fmla="*/ 0 h 184"/>
                          <a:gd name="T2" fmla="*/ 156 w 800"/>
                          <a:gd name="T3" fmla="*/ 0 h 184"/>
                          <a:gd name="T4" fmla="*/ 0 w 800"/>
                          <a:gd name="T5" fmla="*/ 156 h 184"/>
                          <a:gd name="T6" fmla="*/ 0 w 800"/>
                          <a:gd name="T7" fmla="*/ 184 h 184"/>
                          <a:gd name="T8" fmla="*/ 800 w 800"/>
                          <a:gd name="T9" fmla="*/ 184 h 184"/>
                          <a:gd name="T10" fmla="*/ 800 w 800"/>
                          <a:gd name="T11" fmla="*/ 156 h 184"/>
                          <a:gd name="T12" fmla="*/ 643 w 800"/>
                          <a:gd name="T13" fmla="*/ 0 h 18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800" h="184">
                            <a:moveTo>
                              <a:pt x="643" y="0"/>
                            </a:moveTo>
                            <a:cubicBezTo>
                              <a:pt x="156" y="0"/>
                              <a:pt x="156" y="0"/>
                              <a:pt x="156" y="0"/>
                            </a:cubicBezTo>
                            <a:cubicBezTo>
                              <a:pt x="70" y="0"/>
                              <a:pt x="0" y="70"/>
                              <a:pt x="0" y="156"/>
                            </a:cubicBezTo>
                            <a:cubicBezTo>
                              <a:pt x="0" y="184"/>
                              <a:pt x="0" y="184"/>
                              <a:pt x="0" y="184"/>
                            </a:cubicBezTo>
                            <a:cubicBezTo>
                              <a:pt x="800" y="184"/>
                              <a:pt x="800" y="184"/>
                              <a:pt x="800" y="184"/>
                            </a:cubicBezTo>
                            <a:cubicBezTo>
                              <a:pt x="800" y="156"/>
                              <a:pt x="800" y="156"/>
                              <a:pt x="800" y="156"/>
                            </a:cubicBezTo>
                            <a:cubicBezTo>
                              <a:pt x="800" y="70"/>
                              <a:pt x="730" y="0"/>
                              <a:pt x="643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</p:grpSp>
                <p:grpSp>
                  <p:nvGrpSpPr>
                    <p:cNvPr id="592" name="Gruppieren 112"/>
                    <p:cNvGrpSpPr>
                      <a:grpSpLocks noChangeAspect="1"/>
                    </p:cNvGrpSpPr>
                    <p:nvPr/>
                  </p:nvGrpSpPr>
                  <p:grpSpPr>
                    <a:xfrm>
                      <a:off x="800400" y="872400"/>
                      <a:ext cx="119750" cy="108000"/>
                      <a:chOff x="6300788" y="1562100"/>
                      <a:chExt cx="760412" cy="685800"/>
                    </a:xfrm>
                    <a:grpFill/>
                  </p:grpSpPr>
                  <p:sp>
                    <p:nvSpPr>
                      <p:cNvPr id="593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516688" y="1562100"/>
                        <a:ext cx="328612" cy="457200"/>
                      </a:xfrm>
                      <a:custGeom>
                        <a:avLst/>
                        <a:gdLst>
                          <a:gd name="T0" fmla="*/ 174 w 347"/>
                          <a:gd name="T1" fmla="*/ 0 h 480"/>
                          <a:gd name="T2" fmla="*/ 0 w 347"/>
                          <a:gd name="T3" fmla="*/ 173 h 480"/>
                          <a:gd name="T4" fmla="*/ 0 w 347"/>
                          <a:gd name="T5" fmla="*/ 306 h 480"/>
                          <a:gd name="T6" fmla="*/ 174 w 347"/>
                          <a:gd name="T7" fmla="*/ 480 h 480"/>
                          <a:gd name="T8" fmla="*/ 347 w 347"/>
                          <a:gd name="T9" fmla="*/ 306 h 480"/>
                          <a:gd name="T10" fmla="*/ 347 w 347"/>
                          <a:gd name="T11" fmla="*/ 173 h 480"/>
                          <a:gd name="T12" fmla="*/ 174 w 347"/>
                          <a:gd name="T13" fmla="*/ 0 h 48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347" h="480">
                            <a:moveTo>
                              <a:pt x="174" y="0"/>
                            </a:moveTo>
                            <a:cubicBezTo>
                              <a:pt x="78" y="0"/>
                              <a:pt x="0" y="81"/>
                              <a:pt x="0" y="173"/>
                            </a:cubicBezTo>
                            <a:cubicBezTo>
                              <a:pt x="0" y="306"/>
                              <a:pt x="0" y="306"/>
                              <a:pt x="0" y="306"/>
                            </a:cubicBezTo>
                            <a:cubicBezTo>
                              <a:pt x="0" y="398"/>
                              <a:pt x="78" y="480"/>
                              <a:pt x="174" y="480"/>
                            </a:cubicBezTo>
                            <a:cubicBezTo>
                              <a:pt x="269" y="480"/>
                              <a:pt x="347" y="398"/>
                              <a:pt x="347" y="306"/>
                            </a:cubicBezTo>
                            <a:cubicBezTo>
                              <a:pt x="347" y="173"/>
                              <a:pt x="347" y="173"/>
                              <a:pt x="347" y="173"/>
                            </a:cubicBezTo>
                            <a:cubicBezTo>
                              <a:pt x="347" y="81"/>
                              <a:pt x="269" y="0"/>
                              <a:pt x="174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  <p:sp>
                    <p:nvSpPr>
                      <p:cNvPr id="594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300788" y="2073275"/>
                        <a:ext cx="760412" cy="174625"/>
                      </a:xfrm>
                      <a:custGeom>
                        <a:avLst/>
                        <a:gdLst>
                          <a:gd name="T0" fmla="*/ 643 w 800"/>
                          <a:gd name="T1" fmla="*/ 0 h 184"/>
                          <a:gd name="T2" fmla="*/ 156 w 800"/>
                          <a:gd name="T3" fmla="*/ 0 h 184"/>
                          <a:gd name="T4" fmla="*/ 0 w 800"/>
                          <a:gd name="T5" fmla="*/ 156 h 184"/>
                          <a:gd name="T6" fmla="*/ 0 w 800"/>
                          <a:gd name="T7" fmla="*/ 184 h 184"/>
                          <a:gd name="T8" fmla="*/ 800 w 800"/>
                          <a:gd name="T9" fmla="*/ 184 h 184"/>
                          <a:gd name="T10" fmla="*/ 800 w 800"/>
                          <a:gd name="T11" fmla="*/ 156 h 184"/>
                          <a:gd name="T12" fmla="*/ 643 w 800"/>
                          <a:gd name="T13" fmla="*/ 0 h 18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800" h="184">
                            <a:moveTo>
                              <a:pt x="643" y="0"/>
                            </a:moveTo>
                            <a:cubicBezTo>
                              <a:pt x="156" y="0"/>
                              <a:pt x="156" y="0"/>
                              <a:pt x="156" y="0"/>
                            </a:cubicBezTo>
                            <a:cubicBezTo>
                              <a:pt x="70" y="0"/>
                              <a:pt x="0" y="70"/>
                              <a:pt x="0" y="156"/>
                            </a:cubicBezTo>
                            <a:cubicBezTo>
                              <a:pt x="0" y="184"/>
                              <a:pt x="0" y="184"/>
                              <a:pt x="0" y="184"/>
                            </a:cubicBezTo>
                            <a:cubicBezTo>
                              <a:pt x="800" y="184"/>
                              <a:pt x="800" y="184"/>
                              <a:pt x="800" y="184"/>
                            </a:cubicBezTo>
                            <a:cubicBezTo>
                              <a:pt x="800" y="156"/>
                              <a:pt x="800" y="156"/>
                              <a:pt x="800" y="156"/>
                            </a:cubicBezTo>
                            <a:cubicBezTo>
                              <a:pt x="800" y="70"/>
                              <a:pt x="730" y="0"/>
                              <a:pt x="643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</p:grpSp>
              </p:grpSp>
              <p:grpSp>
                <p:nvGrpSpPr>
                  <p:cNvPr id="583" name="Group 582"/>
                  <p:cNvGrpSpPr/>
                  <p:nvPr/>
                </p:nvGrpSpPr>
                <p:grpSpPr>
                  <a:xfrm>
                    <a:off x="1224000" y="720000"/>
                    <a:ext cx="263750" cy="108000"/>
                    <a:chOff x="434900" y="1059582"/>
                    <a:chExt cx="263750" cy="108000"/>
                  </a:xfrm>
                  <a:grpFill/>
                </p:grpSpPr>
                <p:grpSp>
                  <p:nvGrpSpPr>
                    <p:cNvPr id="584" name="Gruppieren 112"/>
                    <p:cNvGrpSpPr>
                      <a:grpSpLocks noChangeAspect="1"/>
                    </p:cNvGrpSpPr>
                    <p:nvPr/>
                  </p:nvGrpSpPr>
                  <p:grpSpPr>
                    <a:xfrm>
                      <a:off x="434900" y="1059582"/>
                      <a:ext cx="119750" cy="108000"/>
                      <a:chOff x="6300788" y="1562100"/>
                      <a:chExt cx="760412" cy="685800"/>
                    </a:xfrm>
                    <a:grpFill/>
                  </p:grpSpPr>
                  <p:sp>
                    <p:nvSpPr>
                      <p:cNvPr id="588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516688" y="1562100"/>
                        <a:ext cx="328612" cy="457200"/>
                      </a:xfrm>
                      <a:custGeom>
                        <a:avLst/>
                        <a:gdLst>
                          <a:gd name="T0" fmla="*/ 174 w 347"/>
                          <a:gd name="T1" fmla="*/ 0 h 480"/>
                          <a:gd name="T2" fmla="*/ 0 w 347"/>
                          <a:gd name="T3" fmla="*/ 173 h 480"/>
                          <a:gd name="T4" fmla="*/ 0 w 347"/>
                          <a:gd name="T5" fmla="*/ 306 h 480"/>
                          <a:gd name="T6" fmla="*/ 174 w 347"/>
                          <a:gd name="T7" fmla="*/ 480 h 480"/>
                          <a:gd name="T8" fmla="*/ 347 w 347"/>
                          <a:gd name="T9" fmla="*/ 306 h 480"/>
                          <a:gd name="T10" fmla="*/ 347 w 347"/>
                          <a:gd name="T11" fmla="*/ 173 h 480"/>
                          <a:gd name="T12" fmla="*/ 174 w 347"/>
                          <a:gd name="T13" fmla="*/ 0 h 48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347" h="480">
                            <a:moveTo>
                              <a:pt x="174" y="0"/>
                            </a:moveTo>
                            <a:cubicBezTo>
                              <a:pt x="78" y="0"/>
                              <a:pt x="0" y="81"/>
                              <a:pt x="0" y="173"/>
                            </a:cubicBezTo>
                            <a:cubicBezTo>
                              <a:pt x="0" y="306"/>
                              <a:pt x="0" y="306"/>
                              <a:pt x="0" y="306"/>
                            </a:cubicBezTo>
                            <a:cubicBezTo>
                              <a:pt x="0" y="398"/>
                              <a:pt x="78" y="480"/>
                              <a:pt x="174" y="480"/>
                            </a:cubicBezTo>
                            <a:cubicBezTo>
                              <a:pt x="269" y="480"/>
                              <a:pt x="347" y="398"/>
                              <a:pt x="347" y="306"/>
                            </a:cubicBezTo>
                            <a:cubicBezTo>
                              <a:pt x="347" y="173"/>
                              <a:pt x="347" y="173"/>
                              <a:pt x="347" y="173"/>
                            </a:cubicBezTo>
                            <a:cubicBezTo>
                              <a:pt x="347" y="81"/>
                              <a:pt x="269" y="0"/>
                              <a:pt x="174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  <p:sp>
                    <p:nvSpPr>
                      <p:cNvPr id="589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300788" y="2073275"/>
                        <a:ext cx="760412" cy="174625"/>
                      </a:xfrm>
                      <a:custGeom>
                        <a:avLst/>
                        <a:gdLst>
                          <a:gd name="T0" fmla="*/ 643 w 800"/>
                          <a:gd name="T1" fmla="*/ 0 h 184"/>
                          <a:gd name="T2" fmla="*/ 156 w 800"/>
                          <a:gd name="T3" fmla="*/ 0 h 184"/>
                          <a:gd name="T4" fmla="*/ 0 w 800"/>
                          <a:gd name="T5" fmla="*/ 156 h 184"/>
                          <a:gd name="T6" fmla="*/ 0 w 800"/>
                          <a:gd name="T7" fmla="*/ 184 h 184"/>
                          <a:gd name="T8" fmla="*/ 800 w 800"/>
                          <a:gd name="T9" fmla="*/ 184 h 184"/>
                          <a:gd name="T10" fmla="*/ 800 w 800"/>
                          <a:gd name="T11" fmla="*/ 156 h 184"/>
                          <a:gd name="T12" fmla="*/ 643 w 800"/>
                          <a:gd name="T13" fmla="*/ 0 h 18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800" h="184">
                            <a:moveTo>
                              <a:pt x="643" y="0"/>
                            </a:moveTo>
                            <a:cubicBezTo>
                              <a:pt x="156" y="0"/>
                              <a:pt x="156" y="0"/>
                              <a:pt x="156" y="0"/>
                            </a:cubicBezTo>
                            <a:cubicBezTo>
                              <a:pt x="70" y="0"/>
                              <a:pt x="0" y="70"/>
                              <a:pt x="0" y="156"/>
                            </a:cubicBezTo>
                            <a:cubicBezTo>
                              <a:pt x="0" y="184"/>
                              <a:pt x="0" y="184"/>
                              <a:pt x="0" y="184"/>
                            </a:cubicBezTo>
                            <a:cubicBezTo>
                              <a:pt x="800" y="184"/>
                              <a:pt x="800" y="184"/>
                              <a:pt x="800" y="184"/>
                            </a:cubicBezTo>
                            <a:cubicBezTo>
                              <a:pt x="800" y="156"/>
                              <a:pt x="800" y="156"/>
                              <a:pt x="800" y="156"/>
                            </a:cubicBezTo>
                            <a:cubicBezTo>
                              <a:pt x="800" y="70"/>
                              <a:pt x="730" y="0"/>
                              <a:pt x="643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</p:grpSp>
                <p:grpSp>
                  <p:nvGrpSpPr>
                    <p:cNvPr id="585" name="Gruppieren 112"/>
                    <p:cNvGrpSpPr>
                      <a:grpSpLocks noChangeAspect="1"/>
                    </p:cNvGrpSpPr>
                    <p:nvPr/>
                  </p:nvGrpSpPr>
                  <p:grpSpPr>
                    <a:xfrm>
                      <a:off x="578900" y="1059582"/>
                      <a:ext cx="119750" cy="108000"/>
                      <a:chOff x="6300788" y="1562100"/>
                      <a:chExt cx="760412" cy="685800"/>
                    </a:xfrm>
                    <a:grpFill/>
                  </p:grpSpPr>
                  <p:sp>
                    <p:nvSpPr>
                      <p:cNvPr id="586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516688" y="1562100"/>
                        <a:ext cx="328612" cy="457200"/>
                      </a:xfrm>
                      <a:custGeom>
                        <a:avLst/>
                        <a:gdLst>
                          <a:gd name="T0" fmla="*/ 174 w 347"/>
                          <a:gd name="T1" fmla="*/ 0 h 480"/>
                          <a:gd name="T2" fmla="*/ 0 w 347"/>
                          <a:gd name="T3" fmla="*/ 173 h 480"/>
                          <a:gd name="T4" fmla="*/ 0 w 347"/>
                          <a:gd name="T5" fmla="*/ 306 h 480"/>
                          <a:gd name="T6" fmla="*/ 174 w 347"/>
                          <a:gd name="T7" fmla="*/ 480 h 480"/>
                          <a:gd name="T8" fmla="*/ 347 w 347"/>
                          <a:gd name="T9" fmla="*/ 306 h 480"/>
                          <a:gd name="T10" fmla="*/ 347 w 347"/>
                          <a:gd name="T11" fmla="*/ 173 h 480"/>
                          <a:gd name="T12" fmla="*/ 174 w 347"/>
                          <a:gd name="T13" fmla="*/ 0 h 48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347" h="480">
                            <a:moveTo>
                              <a:pt x="174" y="0"/>
                            </a:moveTo>
                            <a:cubicBezTo>
                              <a:pt x="78" y="0"/>
                              <a:pt x="0" y="81"/>
                              <a:pt x="0" y="173"/>
                            </a:cubicBezTo>
                            <a:cubicBezTo>
                              <a:pt x="0" y="306"/>
                              <a:pt x="0" y="306"/>
                              <a:pt x="0" y="306"/>
                            </a:cubicBezTo>
                            <a:cubicBezTo>
                              <a:pt x="0" y="398"/>
                              <a:pt x="78" y="480"/>
                              <a:pt x="174" y="480"/>
                            </a:cubicBezTo>
                            <a:cubicBezTo>
                              <a:pt x="269" y="480"/>
                              <a:pt x="347" y="398"/>
                              <a:pt x="347" y="306"/>
                            </a:cubicBezTo>
                            <a:cubicBezTo>
                              <a:pt x="347" y="173"/>
                              <a:pt x="347" y="173"/>
                              <a:pt x="347" y="173"/>
                            </a:cubicBezTo>
                            <a:cubicBezTo>
                              <a:pt x="347" y="81"/>
                              <a:pt x="269" y="0"/>
                              <a:pt x="174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  <p:sp>
                    <p:nvSpPr>
                      <p:cNvPr id="587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300788" y="2073275"/>
                        <a:ext cx="760412" cy="174625"/>
                      </a:xfrm>
                      <a:custGeom>
                        <a:avLst/>
                        <a:gdLst>
                          <a:gd name="T0" fmla="*/ 643 w 800"/>
                          <a:gd name="T1" fmla="*/ 0 h 184"/>
                          <a:gd name="T2" fmla="*/ 156 w 800"/>
                          <a:gd name="T3" fmla="*/ 0 h 184"/>
                          <a:gd name="T4" fmla="*/ 0 w 800"/>
                          <a:gd name="T5" fmla="*/ 156 h 184"/>
                          <a:gd name="T6" fmla="*/ 0 w 800"/>
                          <a:gd name="T7" fmla="*/ 184 h 184"/>
                          <a:gd name="T8" fmla="*/ 800 w 800"/>
                          <a:gd name="T9" fmla="*/ 184 h 184"/>
                          <a:gd name="T10" fmla="*/ 800 w 800"/>
                          <a:gd name="T11" fmla="*/ 156 h 184"/>
                          <a:gd name="T12" fmla="*/ 643 w 800"/>
                          <a:gd name="T13" fmla="*/ 0 h 18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800" h="184">
                            <a:moveTo>
                              <a:pt x="643" y="0"/>
                            </a:moveTo>
                            <a:cubicBezTo>
                              <a:pt x="156" y="0"/>
                              <a:pt x="156" y="0"/>
                              <a:pt x="156" y="0"/>
                            </a:cubicBezTo>
                            <a:cubicBezTo>
                              <a:pt x="70" y="0"/>
                              <a:pt x="0" y="70"/>
                              <a:pt x="0" y="156"/>
                            </a:cubicBezTo>
                            <a:cubicBezTo>
                              <a:pt x="0" y="184"/>
                              <a:pt x="0" y="184"/>
                              <a:pt x="0" y="184"/>
                            </a:cubicBezTo>
                            <a:cubicBezTo>
                              <a:pt x="800" y="184"/>
                              <a:pt x="800" y="184"/>
                              <a:pt x="800" y="184"/>
                            </a:cubicBezTo>
                            <a:cubicBezTo>
                              <a:pt x="800" y="156"/>
                              <a:pt x="800" y="156"/>
                              <a:pt x="800" y="156"/>
                            </a:cubicBezTo>
                            <a:cubicBezTo>
                              <a:pt x="800" y="70"/>
                              <a:pt x="730" y="0"/>
                              <a:pt x="643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</p:grpSp>
              </p:grpSp>
            </p:grpSp>
          </p:grpSp>
          <p:grpSp>
            <p:nvGrpSpPr>
              <p:cNvPr id="523" name="Group 522"/>
              <p:cNvGrpSpPr/>
              <p:nvPr/>
            </p:nvGrpSpPr>
            <p:grpSpPr>
              <a:xfrm>
                <a:off x="360000" y="1491598"/>
                <a:ext cx="1127750" cy="108000"/>
                <a:chOff x="360000" y="720000"/>
                <a:chExt cx="1127750" cy="108000"/>
              </a:xfrm>
              <a:grpFill/>
            </p:grpSpPr>
            <p:grpSp>
              <p:nvGrpSpPr>
                <p:cNvPr id="551" name="Gruppieren 112"/>
                <p:cNvGrpSpPr>
                  <a:grpSpLocks noChangeAspect="1"/>
                </p:cNvGrpSpPr>
                <p:nvPr/>
              </p:nvGrpSpPr>
              <p:grpSpPr>
                <a:xfrm>
                  <a:off x="360000" y="720000"/>
                  <a:ext cx="119750" cy="108000"/>
                  <a:chOff x="6300788" y="1562100"/>
                  <a:chExt cx="760412" cy="685800"/>
                </a:xfrm>
                <a:grpFill/>
              </p:grpSpPr>
              <p:sp>
                <p:nvSpPr>
                  <p:cNvPr id="575" name="Freeform 28"/>
                  <p:cNvSpPr>
                    <a:spLocks/>
                  </p:cNvSpPr>
                  <p:nvPr/>
                </p:nvSpPr>
                <p:spPr bwMode="auto">
                  <a:xfrm>
                    <a:off x="6516688" y="1562100"/>
                    <a:ext cx="328612" cy="457200"/>
                  </a:xfrm>
                  <a:custGeom>
                    <a:avLst/>
                    <a:gdLst>
                      <a:gd name="T0" fmla="*/ 174 w 347"/>
                      <a:gd name="T1" fmla="*/ 0 h 480"/>
                      <a:gd name="T2" fmla="*/ 0 w 347"/>
                      <a:gd name="T3" fmla="*/ 173 h 480"/>
                      <a:gd name="T4" fmla="*/ 0 w 347"/>
                      <a:gd name="T5" fmla="*/ 306 h 480"/>
                      <a:gd name="T6" fmla="*/ 174 w 347"/>
                      <a:gd name="T7" fmla="*/ 480 h 480"/>
                      <a:gd name="T8" fmla="*/ 347 w 347"/>
                      <a:gd name="T9" fmla="*/ 306 h 480"/>
                      <a:gd name="T10" fmla="*/ 347 w 347"/>
                      <a:gd name="T11" fmla="*/ 173 h 480"/>
                      <a:gd name="T12" fmla="*/ 174 w 347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7" h="480">
                        <a:moveTo>
                          <a:pt x="174" y="0"/>
                        </a:moveTo>
                        <a:cubicBezTo>
                          <a:pt x="78" y="0"/>
                          <a:pt x="0" y="81"/>
                          <a:pt x="0" y="173"/>
                        </a:cubicBezTo>
                        <a:cubicBezTo>
                          <a:pt x="0" y="306"/>
                          <a:pt x="0" y="306"/>
                          <a:pt x="0" y="306"/>
                        </a:cubicBezTo>
                        <a:cubicBezTo>
                          <a:pt x="0" y="398"/>
                          <a:pt x="78" y="480"/>
                          <a:pt x="174" y="480"/>
                        </a:cubicBezTo>
                        <a:cubicBezTo>
                          <a:pt x="269" y="480"/>
                          <a:pt x="347" y="398"/>
                          <a:pt x="347" y="306"/>
                        </a:cubicBezTo>
                        <a:cubicBezTo>
                          <a:pt x="347" y="173"/>
                          <a:pt x="347" y="173"/>
                          <a:pt x="347" y="173"/>
                        </a:cubicBezTo>
                        <a:cubicBezTo>
                          <a:pt x="347" y="81"/>
                          <a:pt x="269" y="0"/>
                          <a:pt x="174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  <p:sp>
                <p:nvSpPr>
                  <p:cNvPr id="576" name="Freeform 29"/>
                  <p:cNvSpPr>
                    <a:spLocks/>
                  </p:cNvSpPr>
                  <p:nvPr/>
                </p:nvSpPr>
                <p:spPr bwMode="auto">
                  <a:xfrm>
                    <a:off x="6300788" y="2073275"/>
                    <a:ext cx="760412" cy="174625"/>
                  </a:xfrm>
                  <a:custGeom>
                    <a:avLst/>
                    <a:gdLst>
                      <a:gd name="T0" fmla="*/ 643 w 800"/>
                      <a:gd name="T1" fmla="*/ 0 h 184"/>
                      <a:gd name="T2" fmla="*/ 156 w 800"/>
                      <a:gd name="T3" fmla="*/ 0 h 184"/>
                      <a:gd name="T4" fmla="*/ 0 w 800"/>
                      <a:gd name="T5" fmla="*/ 156 h 184"/>
                      <a:gd name="T6" fmla="*/ 0 w 800"/>
                      <a:gd name="T7" fmla="*/ 184 h 184"/>
                      <a:gd name="T8" fmla="*/ 800 w 800"/>
                      <a:gd name="T9" fmla="*/ 184 h 184"/>
                      <a:gd name="T10" fmla="*/ 800 w 800"/>
                      <a:gd name="T11" fmla="*/ 156 h 184"/>
                      <a:gd name="T12" fmla="*/ 643 w 800"/>
                      <a:gd name="T13" fmla="*/ 0 h 1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00" h="184">
                        <a:moveTo>
                          <a:pt x="643" y="0"/>
                        </a:moveTo>
                        <a:cubicBezTo>
                          <a:pt x="156" y="0"/>
                          <a:pt x="156" y="0"/>
                          <a:pt x="156" y="0"/>
                        </a:cubicBezTo>
                        <a:cubicBezTo>
                          <a:pt x="70" y="0"/>
                          <a:pt x="0" y="70"/>
                          <a:pt x="0" y="156"/>
                        </a:cubicBezTo>
                        <a:cubicBezTo>
                          <a:pt x="0" y="184"/>
                          <a:pt x="0" y="184"/>
                          <a:pt x="0" y="184"/>
                        </a:cubicBezTo>
                        <a:cubicBezTo>
                          <a:pt x="800" y="184"/>
                          <a:pt x="800" y="184"/>
                          <a:pt x="800" y="184"/>
                        </a:cubicBezTo>
                        <a:cubicBezTo>
                          <a:pt x="800" y="156"/>
                          <a:pt x="800" y="156"/>
                          <a:pt x="800" y="156"/>
                        </a:cubicBezTo>
                        <a:cubicBezTo>
                          <a:pt x="800" y="70"/>
                          <a:pt x="730" y="0"/>
                          <a:pt x="643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</p:grpSp>
            <p:grpSp>
              <p:nvGrpSpPr>
                <p:cNvPr id="552" name="Gruppieren 112"/>
                <p:cNvGrpSpPr>
                  <a:grpSpLocks noChangeAspect="1"/>
                </p:cNvGrpSpPr>
                <p:nvPr/>
              </p:nvGrpSpPr>
              <p:grpSpPr>
                <a:xfrm>
                  <a:off x="504000" y="720000"/>
                  <a:ext cx="119750" cy="108000"/>
                  <a:chOff x="6300788" y="1562100"/>
                  <a:chExt cx="760412" cy="685800"/>
                </a:xfrm>
                <a:grpFill/>
              </p:grpSpPr>
              <p:sp>
                <p:nvSpPr>
                  <p:cNvPr id="573" name="Freeform 28"/>
                  <p:cNvSpPr>
                    <a:spLocks/>
                  </p:cNvSpPr>
                  <p:nvPr/>
                </p:nvSpPr>
                <p:spPr bwMode="auto">
                  <a:xfrm>
                    <a:off x="6516688" y="1562100"/>
                    <a:ext cx="328612" cy="457200"/>
                  </a:xfrm>
                  <a:custGeom>
                    <a:avLst/>
                    <a:gdLst>
                      <a:gd name="T0" fmla="*/ 174 w 347"/>
                      <a:gd name="T1" fmla="*/ 0 h 480"/>
                      <a:gd name="T2" fmla="*/ 0 w 347"/>
                      <a:gd name="T3" fmla="*/ 173 h 480"/>
                      <a:gd name="T4" fmla="*/ 0 w 347"/>
                      <a:gd name="T5" fmla="*/ 306 h 480"/>
                      <a:gd name="T6" fmla="*/ 174 w 347"/>
                      <a:gd name="T7" fmla="*/ 480 h 480"/>
                      <a:gd name="T8" fmla="*/ 347 w 347"/>
                      <a:gd name="T9" fmla="*/ 306 h 480"/>
                      <a:gd name="T10" fmla="*/ 347 w 347"/>
                      <a:gd name="T11" fmla="*/ 173 h 480"/>
                      <a:gd name="T12" fmla="*/ 174 w 347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7" h="480">
                        <a:moveTo>
                          <a:pt x="174" y="0"/>
                        </a:moveTo>
                        <a:cubicBezTo>
                          <a:pt x="78" y="0"/>
                          <a:pt x="0" y="81"/>
                          <a:pt x="0" y="173"/>
                        </a:cubicBezTo>
                        <a:cubicBezTo>
                          <a:pt x="0" y="306"/>
                          <a:pt x="0" y="306"/>
                          <a:pt x="0" y="306"/>
                        </a:cubicBezTo>
                        <a:cubicBezTo>
                          <a:pt x="0" y="398"/>
                          <a:pt x="78" y="480"/>
                          <a:pt x="174" y="480"/>
                        </a:cubicBezTo>
                        <a:cubicBezTo>
                          <a:pt x="269" y="480"/>
                          <a:pt x="347" y="398"/>
                          <a:pt x="347" y="306"/>
                        </a:cubicBezTo>
                        <a:cubicBezTo>
                          <a:pt x="347" y="173"/>
                          <a:pt x="347" y="173"/>
                          <a:pt x="347" y="173"/>
                        </a:cubicBezTo>
                        <a:cubicBezTo>
                          <a:pt x="347" y="81"/>
                          <a:pt x="269" y="0"/>
                          <a:pt x="174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  <p:sp>
                <p:nvSpPr>
                  <p:cNvPr id="574" name="Freeform 29"/>
                  <p:cNvSpPr>
                    <a:spLocks/>
                  </p:cNvSpPr>
                  <p:nvPr/>
                </p:nvSpPr>
                <p:spPr bwMode="auto">
                  <a:xfrm>
                    <a:off x="6300788" y="2073275"/>
                    <a:ext cx="760412" cy="174625"/>
                  </a:xfrm>
                  <a:custGeom>
                    <a:avLst/>
                    <a:gdLst>
                      <a:gd name="T0" fmla="*/ 643 w 800"/>
                      <a:gd name="T1" fmla="*/ 0 h 184"/>
                      <a:gd name="T2" fmla="*/ 156 w 800"/>
                      <a:gd name="T3" fmla="*/ 0 h 184"/>
                      <a:gd name="T4" fmla="*/ 0 w 800"/>
                      <a:gd name="T5" fmla="*/ 156 h 184"/>
                      <a:gd name="T6" fmla="*/ 0 w 800"/>
                      <a:gd name="T7" fmla="*/ 184 h 184"/>
                      <a:gd name="T8" fmla="*/ 800 w 800"/>
                      <a:gd name="T9" fmla="*/ 184 h 184"/>
                      <a:gd name="T10" fmla="*/ 800 w 800"/>
                      <a:gd name="T11" fmla="*/ 156 h 184"/>
                      <a:gd name="T12" fmla="*/ 643 w 800"/>
                      <a:gd name="T13" fmla="*/ 0 h 1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00" h="184">
                        <a:moveTo>
                          <a:pt x="643" y="0"/>
                        </a:moveTo>
                        <a:cubicBezTo>
                          <a:pt x="156" y="0"/>
                          <a:pt x="156" y="0"/>
                          <a:pt x="156" y="0"/>
                        </a:cubicBezTo>
                        <a:cubicBezTo>
                          <a:pt x="70" y="0"/>
                          <a:pt x="0" y="70"/>
                          <a:pt x="0" y="156"/>
                        </a:cubicBezTo>
                        <a:cubicBezTo>
                          <a:pt x="0" y="184"/>
                          <a:pt x="0" y="184"/>
                          <a:pt x="0" y="184"/>
                        </a:cubicBezTo>
                        <a:cubicBezTo>
                          <a:pt x="800" y="184"/>
                          <a:pt x="800" y="184"/>
                          <a:pt x="800" y="184"/>
                        </a:cubicBezTo>
                        <a:cubicBezTo>
                          <a:pt x="800" y="156"/>
                          <a:pt x="800" y="156"/>
                          <a:pt x="800" y="156"/>
                        </a:cubicBezTo>
                        <a:cubicBezTo>
                          <a:pt x="800" y="70"/>
                          <a:pt x="730" y="0"/>
                          <a:pt x="643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</p:grpSp>
            <p:grpSp>
              <p:nvGrpSpPr>
                <p:cNvPr id="553" name="Gruppieren 112"/>
                <p:cNvGrpSpPr>
                  <a:grpSpLocks noChangeAspect="1"/>
                </p:cNvGrpSpPr>
                <p:nvPr/>
              </p:nvGrpSpPr>
              <p:grpSpPr>
                <a:xfrm>
                  <a:off x="648000" y="720000"/>
                  <a:ext cx="119750" cy="108000"/>
                  <a:chOff x="6300788" y="1562100"/>
                  <a:chExt cx="760412" cy="685800"/>
                </a:xfrm>
                <a:grpFill/>
              </p:grpSpPr>
              <p:sp>
                <p:nvSpPr>
                  <p:cNvPr id="571" name="Freeform 28"/>
                  <p:cNvSpPr>
                    <a:spLocks/>
                  </p:cNvSpPr>
                  <p:nvPr/>
                </p:nvSpPr>
                <p:spPr bwMode="auto">
                  <a:xfrm>
                    <a:off x="6516688" y="1562100"/>
                    <a:ext cx="328612" cy="457200"/>
                  </a:xfrm>
                  <a:custGeom>
                    <a:avLst/>
                    <a:gdLst>
                      <a:gd name="T0" fmla="*/ 174 w 347"/>
                      <a:gd name="T1" fmla="*/ 0 h 480"/>
                      <a:gd name="T2" fmla="*/ 0 w 347"/>
                      <a:gd name="T3" fmla="*/ 173 h 480"/>
                      <a:gd name="T4" fmla="*/ 0 w 347"/>
                      <a:gd name="T5" fmla="*/ 306 h 480"/>
                      <a:gd name="T6" fmla="*/ 174 w 347"/>
                      <a:gd name="T7" fmla="*/ 480 h 480"/>
                      <a:gd name="T8" fmla="*/ 347 w 347"/>
                      <a:gd name="T9" fmla="*/ 306 h 480"/>
                      <a:gd name="T10" fmla="*/ 347 w 347"/>
                      <a:gd name="T11" fmla="*/ 173 h 480"/>
                      <a:gd name="T12" fmla="*/ 174 w 347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7" h="480">
                        <a:moveTo>
                          <a:pt x="174" y="0"/>
                        </a:moveTo>
                        <a:cubicBezTo>
                          <a:pt x="78" y="0"/>
                          <a:pt x="0" y="81"/>
                          <a:pt x="0" y="173"/>
                        </a:cubicBezTo>
                        <a:cubicBezTo>
                          <a:pt x="0" y="306"/>
                          <a:pt x="0" y="306"/>
                          <a:pt x="0" y="306"/>
                        </a:cubicBezTo>
                        <a:cubicBezTo>
                          <a:pt x="0" y="398"/>
                          <a:pt x="78" y="480"/>
                          <a:pt x="174" y="480"/>
                        </a:cubicBezTo>
                        <a:cubicBezTo>
                          <a:pt x="269" y="480"/>
                          <a:pt x="347" y="398"/>
                          <a:pt x="347" y="306"/>
                        </a:cubicBezTo>
                        <a:cubicBezTo>
                          <a:pt x="347" y="173"/>
                          <a:pt x="347" y="173"/>
                          <a:pt x="347" y="173"/>
                        </a:cubicBezTo>
                        <a:cubicBezTo>
                          <a:pt x="347" y="81"/>
                          <a:pt x="269" y="0"/>
                          <a:pt x="174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  <p:sp>
                <p:nvSpPr>
                  <p:cNvPr id="572" name="Freeform 29"/>
                  <p:cNvSpPr>
                    <a:spLocks/>
                  </p:cNvSpPr>
                  <p:nvPr/>
                </p:nvSpPr>
                <p:spPr bwMode="auto">
                  <a:xfrm>
                    <a:off x="6300788" y="2073275"/>
                    <a:ext cx="760412" cy="174625"/>
                  </a:xfrm>
                  <a:custGeom>
                    <a:avLst/>
                    <a:gdLst>
                      <a:gd name="T0" fmla="*/ 643 w 800"/>
                      <a:gd name="T1" fmla="*/ 0 h 184"/>
                      <a:gd name="T2" fmla="*/ 156 w 800"/>
                      <a:gd name="T3" fmla="*/ 0 h 184"/>
                      <a:gd name="T4" fmla="*/ 0 w 800"/>
                      <a:gd name="T5" fmla="*/ 156 h 184"/>
                      <a:gd name="T6" fmla="*/ 0 w 800"/>
                      <a:gd name="T7" fmla="*/ 184 h 184"/>
                      <a:gd name="T8" fmla="*/ 800 w 800"/>
                      <a:gd name="T9" fmla="*/ 184 h 184"/>
                      <a:gd name="T10" fmla="*/ 800 w 800"/>
                      <a:gd name="T11" fmla="*/ 156 h 184"/>
                      <a:gd name="T12" fmla="*/ 643 w 800"/>
                      <a:gd name="T13" fmla="*/ 0 h 1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00" h="184">
                        <a:moveTo>
                          <a:pt x="643" y="0"/>
                        </a:moveTo>
                        <a:cubicBezTo>
                          <a:pt x="156" y="0"/>
                          <a:pt x="156" y="0"/>
                          <a:pt x="156" y="0"/>
                        </a:cubicBezTo>
                        <a:cubicBezTo>
                          <a:pt x="70" y="0"/>
                          <a:pt x="0" y="70"/>
                          <a:pt x="0" y="156"/>
                        </a:cubicBezTo>
                        <a:cubicBezTo>
                          <a:pt x="0" y="184"/>
                          <a:pt x="0" y="184"/>
                          <a:pt x="0" y="184"/>
                        </a:cubicBezTo>
                        <a:cubicBezTo>
                          <a:pt x="800" y="184"/>
                          <a:pt x="800" y="184"/>
                          <a:pt x="800" y="184"/>
                        </a:cubicBezTo>
                        <a:cubicBezTo>
                          <a:pt x="800" y="156"/>
                          <a:pt x="800" y="156"/>
                          <a:pt x="800" y="156"/>
                        </a:cubicBezTo>
                        <a:cubicBezTo>
                          <a:pt x="800" y="70"/>
                          <a:pt x="730" y="0"/>
                          <a:pt x="643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</p:grpSp>
            <p:grpSp>
              <p:nvGrpSpPr>
                <p:cNvPr id="554" name="Group 553"/>
                <p:cNvGrpSpPr/>
                <p:nvPr/>
              </p:nvGrpSpPr>
              <p:grpSpPr>
                <a:xfrm>
                  <a:off x="792000" y="720000"/>
                  <a:ext cx="407750" cy="108000"/>
                  <a:chOff x="512400" y="872400"/>
                  <a:chExt cx="407750" cy="108000"/>
                </a:xfrm>
                <a:grpFill/>
              </p:grpSpPr>
              <p:grpSp>
                <p:nvGrpSpPr>
                  <p:cNvPr id="562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512400" y="872400"/>
                    <a:ext cx="119750" cy="108000"/>
                    <a:chOff x="6300788" y="1562100"/>
                    <a:chExt cx="760412" cy="685800"/>
                  </a:xfrm>
                  <a:grpFill/>
                </p:grpSpPr>
                <p:sp>
                  <p:nvSpPr>
                    <p:cNvPr id="569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570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  <p:grpSp>
                <p:nvGrpSpPr>
                  <p:cNvPr id="563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656400" y="872400"/>
                    <a:ext cx="119750" cy="108000"/>
                    <a:chOff x="6300788" y="1562100"/>
                    <a:chExt cx="760412" cy="685800"/>
                  </a:xfrm>
                  <a:grpFill/>
                </p:grpSpPr>
                <p:sp>
                  <p:nvSpPr>
                    <p:cNvPr id="567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568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  <p:grpSp>
                <p:nvGrpSpPr>
                  <p:cNvPr id="564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800400" y="872400"/>
                    <a:ext cx="119750" cy="108000"/>
                    <a:chOff x="6300788" y="1562100"/>
                    <a:chExt cx="760412" cy="685800"/>
                  </a:xfrm>
                  <a:grpFill/>
                </p:grpSpPr>
                <p:sp>
                  <p:nvSpPr>
                    <p:cNvPr id="565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566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</p:grpSp>
            <p:grpSp>
              <p:nvGrpSpPr>
                <p:cNvPr id="555" name="Group 554"/>
                <p:cNvGrpSpPr/>
                <p:nvPr/>
              </p:nvGrpSpPr>
              <p:grpSpPr>
                <a:xfrm>
                  <a:off x="1224000" y="720000"/>
                  <a:ext cx="263750" cy="108000"/>
                  <a:chOff x="434900" y="1059582"/>
                  <a:chExt cx="263750" cy="108000"/>
                </a:xfrm>
                <a:grpFill/>
              </p:grpSpPr>
              <p:grpSp>
                <p:nvGrpSpPr>
                  <p:cNvPr id="556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434900" y="1059582"/>
                    <a:ext cx="119750" cy="108000"/>
                    <a:chOff x="6300788" y="1562100"/>
                    <a:chExt cx="760412" cy="685800"/>
                  </a:xfrm>
                  <a:grpFill/>
                </p:grpSpPr>
                <p:sp>
                  <p:nvSpPr>
                    <p:cNvPr id="560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561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  <p:grpSp>
                <p:nvGrpSpPr>
                  <p:cNvPr id="557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578900" y="1059582"/>
                    <a:ext cx="119750" cy="108000"/>
                    <a:chOff x="6300788" y="1562100"/>
                    <a:chExt cx="760412" cy="685800"/>
                  </a:xfrm>
                  <a:grpFill/>
                </p:grpSpPr>
                <p:sp>
                  <p:nvSpPr>
                    <p:cNvPr id="558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559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524" name="Group 523"/>
              <p:cNvGrpSpPr/>
              <p:nvPr/>
            </p:nvGrpSpPr>
            <p:grpSpPr>
              <a:xfrm>
                <a:off x="360000" y="1635598"/>
                <a:ext cx="1127750" cy="108000"/>
                <a:chOff x="360000" y="720000"/>
                <a:chExt cx="1127750" cy="108000"/>
              </a:xfrm>
              <a:grpFill/>
            </p:grpSpPr>
            <p:grpSp>
              <p:nvGrpSpPr>
                <p:cNvPr id="525" name="Gruppieren 112"/>
                <p:cNvGrpSpPr>
                  <a:grpSpLocks noChangeAspect="1"/>
                </p:cNvGrpSpPr>
                <p:nvPr/>
              </p:nvGrpSpPr>
              <p:grpSpPr>
                <a:xfrm>
                  <a:off x="360000" y="720000"/>
                  <a:ext cx="119750" cy="108000"/>
                  <a:chOff x="6300788" y="1562100"/>
                  <a:chExt cx="760412" cy="685800"/>
                </a:xfrm>
                <a:grpFill/>
              </p:grpSpPr>
              <p:sp>
                <p:nvSpPr>
                  <p:cNvPr id="549" name="Freeform 28"/>
                  <p:cNvSpPr>
                    <a:spLocks/>
                  </p:cNvSpPr>
                  <p:nvPr/>
                </p:nvSpPr>
                <p:spPr bwMode="auto">
                  <a:xfrm>
                    <a:off x="6516688" y="1562100"/>
                    <a:ext cx="328612" cy="457200"/>
                  </a:xfrm>
                  <a:custGeom>
                    <a:avLst/>
                    <a:gdLst>
                      <a:gd name="T0" fmla="*/ 174 w 347"/>
                      <a:gd name="T1" fmla="*/ 0 h 480"/>
                      <a:gd name="T2" fmla="*/ 0 w 347"/>
                      <a:gd name="T3" fmla="*/ 173 h 480"/>
                      <a:gd name="T4" fmla="*/ 0 w 347"/>
                      <a:gd name="T5" fmla="*/ 306 h 480"/>
                      <a:gd name="T6" fmla="*/ 174 w 347"/>
                      <a:gd name="T7" fmla="*/ 480 h 480"/>
                      <a:gd name="T8" fmla="*/ 347 w 347"/>
                      <a:gd name="T9" fmla="*/ 306 h 480"/>
                      <a:gd name="T10" fmla="*/ 347 w 347"/>
                      <a:gd name="T11" fmla="*/ 173 h 480"/>
                      <a:gd name="T12" fmla="*/ 174 w 347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7" h="480">
                        <a:moveTo>
                          <a:pt x="174" y="0"/>
                        </a:moveTo>
                        <a:cubicBezTo>
                          <a:pt x="78" y="0"/>
                          <a:pt x="0" y="81"/>
                          <a:pt x="0" y="173"/>
                        </a:cubicBezTo>
                        <a:cubicBezTo>
                          <a:pt x="0" y="306"/>
                          <a:pt x="0" y="306"/>
                          <a:pt x="0" y="306"/>
                        </a:cubicBezTo>
                        <a:cubicBezTo>
                          <a:pt x="0" y="398"/>
                          <a:pt x="78" y="480"/>
                          <a:pt x="174" y="480"/>
                        </a:cubicBezTo>
                        <a:cubicBezTo>
                          <a:pt x="269" y="480"/>
                          <a:pt x="347" y="398"/>
                          <a:pt x="347" y="306"/>
                        </a:cubicBezTo>
                        <a:cubicBezTo>
                          <a:pt x="347" y="173"/>
                          <a:pt x="347" y="173"/>
                          <a:pt x="347" y="173"/>
                        </a:cubicBezTo>
                        <a:cubicBezTo>
                          <a:pt x="347" y="81"/>
                          <a:pt x="269" y="0"/>
                          <a:pt x="174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  <p:sp>
                <p:nvSpPr>
                  <p:cNvPr id="550" name="Freeform 29"/>
                  <p:cNvSpPr>
                    <a:spLocks/>
                  </p:cNvSpPr>
                  <p:nvPr/>
                </p:nvSpPr>
                <p:spPr bwMode="auto">
                  <a:xfrm>
                    <a:off x="6300788" y="2073275"/>
                    <a:ext cx="760412" cy="174625"/>
                  </a:xfrm>
                  <a:custGeom>
                    <a:avLst/>
                    <a:gdLst>
                      <a:gd name="T0" fmla="*/ 643 w 800"/>
                      <a:gd name="T1" fmla="*/ 0 h 184"/>
                      <a:gd name="T2" fmla="*/ 156 w 800"/>
                      <a:gd name="T3" fmla="*/ 0 h 184"/>
                      <a:gd name="T4" fmla="*/ 0 w 800"/>
                      <a:gd name="T5" fmla="*/ 156 h 184"/>
                      <a:gd name="T6" fmla="*/ 0 w 800"/>
                      <a:gd name="T7" fmla="*/ 184 h 184"/>
                      <a:gd name="T8" fmla="*/ 800 w 800"/>
                      <a:gd name="T9" fmla="*/ 184 h 184"/>
                      <a:gd name="T10" fmla="*/ 800 w 800"/>
                      <a:gd name="T11" fmla="*/ 156 h 184"/>
                      <a:gd name="T12" fmla="*/ 643 w 800"/>
                      <a:gd name="T13" fmla="*/ 0 h 1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00" h="184">
                        <a:moveTo>
                          <a:pt x="643" y="0"/>
                        </a:moveTo>
                        <a:cubicBezTo>
                          <a:pt x="156" y="0"/>
                          <a:pt x="156" y="0"/>
                          <a:pt x="156" y="0"/>
                        </a:cubicBezTo>
                        <a:cubicBezTo>
                          <a:pt x="70" y="0"/>
                          <a:pt x="0" y="70"/>
                          <a:pt x="0" y="156"/>
                        </a:cubicBezTo>
                        <a:cubicBezTo>
                          <a:pt x="0" y="184"/>
                          <a:pt x="0" y="184"/>
                          <a:pt x="0" y="184"/>
                        </a:cubicBezTo>
                        <a:cubicBezTo>
                          <a:pt x="800" y="184"/>
                          <a:pt x="800" y="184"/>
                          <a:pt x="800" y="184"/>
                        </a:cubicBezTo>
                        <a:cubicBezTo>
                          <a:pt x="800" y="156"/>
                          <a:pt x="800" y="156"/>
                          <a:pt x="800" y="156"/>
                        </a:cubicBezTo>
                        <a:cubicBezTo>
                          <a:pt x="800" y="70"/>
                          <a:pt x="730" y="0"/>
                          <a:pt x="643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</p:grpSp>
            <p:grpSp>
              <p:nvGrpSpPr>
                <p:cNvPr id="526" name="Gruppieren 112"/>
                <p:cNvGrpSpPr>
                  <a:grpSpLocks noChangeAspect="1"/>
                </p:cNvGrpSpPr>
                <p:nvPr/>
              </p:nvGrpSpPr>
              <p:grpSpPr>
                <a:xfrm>
                  <a:off x="504000" y="720000"/>
                  <a:ext cx="119750" cy="108000"/>
                  <a:chOff x="6300788" y="1562100"/>
                  <a:chExt cx="760412" cy="685800"/>
                </a:xfrm>
                <a:grpFill/>
              </p:grpSpPr>
              <p:sp>
                <p:nvSpPr>
                  <p:cNvPr id="547" name="Freeform 28"/>
                  <p:cNvSpPr>
                    <a:spLocks/>
                  </p:cNvSpPr>
                  <p:nvPr/>
                </p:nvSpPr>
                <p:spPr bwMode="auto">
                  <a:xfrm>
                    <a:off x="6516688" y="1562100"/>
                    <a:ext cx="328612" cy="457200"/>
                  </a:xfrm>
                  <a:custGeom>
                    <a:avLst/>
                    <a:gdLst>
                      <a:gd name="T0" fmla="*/ 174 w 347"/>
                      <a:gd name="T1" fmla="*/ 0 h 480"/>
                      <a:gd name="T2" fmla="*/ 0 w 347"/>
                      <a:gd name="T3" fmla="*/ 173 h 480"/>
                      <a:gd name="T4" fmla="*/ 0 w 347"/>
                      <a:gd name="T5" fmla="*/ 306 h 480"/>
                      <a:gd name="T6" fmla="*/ 174 w 347"/>
                      <a:gd name="T7" fmla="*/ 480 h 480"/>
                      <a:gd name="T8" fmla="*/ 347 w 347"/>
                      <a:gd name="T9" fmla="*/ 306 h 480"/>
                      <a:gd name="T10" fmla="*/ 347 w 347"/>
                      <a:gd name="T11" fmla="*/ 173 h 480"/>
                      <a:gd name="T12" fmla="*/ 174 w 347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7" h="480">
                        <a:moveTo>
                          <a:pt x="174" y="0"/>
                        </a:moveTo>
                        <a:cubicBezTo>
                          <a:pt x="78" y="0"/>
                          <a:pt x="0" y="81"/>
                          <a:pt x="0" y="173"/>
                        </a:cubicBezTo>
                        <a:cubicBezTo>
                          <a:pt x="0" y="306"/>
                          <a:pt x="0" y="306"/>
                          <a:pt x="0" y="306"/>
                        </a:cubicBezTo>
                        <a:cubicBezTo>
                          <a:pt x="0" y="398"/>
                          <a:pt x="78" y="480"/>
                          <a:pt x="174" y="480"/>
                        </a:cubicBezTo>
                        <a:cubicBezTo>
                          <a:pt x="269" y="480"/>
                          <a:pt x="347" y="398"/>
                          <a:pt x="347" y="306"/>
                        </a:cubicBezTo>
                        <a:cubicBezTo>
                          <a:pt x="347" y="173"/>
                          <a:pt x="347" y="173"/>
                          <a:pt x="347" y="173"/>
                        </a:cubicBezTo>
                        <a:cubicBezTo>
                          <a:pt x="347" y="81"/>
                          <a:pt x="269" y="0"/>
                          <a:pt x="174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  <p:sp>
                <p:nvSpPr>
                  <p:cNvPr id="548" name="Freeform 29"/>
                  <p:cNvSpPr>
                    <a:spLocks/>
                  </p:cNvSpPr>
                  <p:nvPr/>
                </p:nvSpPr>
                <p:spPr bwMode="auto">
                  <a:xfrm>
                    <a:off x="6300788" y="2073275"/>
                    <a:ext cx="760412" cy="174625"/>
                  </a:xfrm>
                  <a:custGeom>
                    <a:avLst/>
                    <a:gdLst>
                      <a:gd name="T0" fmla="*/ 643 w 800"/>
                      <a:gd name="T1" fmla="*/ 0 h 184"/>
                      <a:gd name="T2" fmla="*/ 156 w 800"/>
                      <a:gd name="T3" fmla="*/ 0 h 184"/>
                      <a:gd name="T4" fmla="*/ 0 w 800"/>
                      <a:gd name="T5" fmla="*/ 156 h 184"/>
                      <a:gd name="T6" fmla="*/ 0 w 800"/>
                      <a:gd name="T7" fmla="*/ 184 h 184"/>
                      <a:gd name="T8" fmla="*/ 800 w 800"/>
                      <a:gd name="T9" fmla="*/ 184 h 184"/>
                      <a:gd name="T10" fmla="*/ 800 w 800"/>
                      <a:gd name="T11" fmla="*/ 156 h 184"/>
                      <a:gd name="T12" fmla="*/ 643 w 800"/>
                      <a:gd name="T13" fmla="*/ 0 h 1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00" h="184">
                        <a:moveTo>
                          <a:pt x="643" y="0"/>
                        </a:moveTo>
                        <a:cubicBezTo>
                          <a:pt x="156" y="0"/>
                          <a:pt x="156" y="0"/>
                          <a:pt x="156" y="0"/>
                        </a:cubicBezTo>
                        <a:cubicBezTo>
                          <a:pt x="70" y="0"/>
                          <a:pt x="0" y="70"/>
                          <a:pt x="0" y="156"/>
                        </a:cubicBezTo>
                        <a:cubicBezTo>
                          <a:pt x="0" y="184"/>
                          <a:pt x="0" y="184"/>
                          <a:pt x="0" y="184"/>
                        </a:cubicBezTo>
                        <a:cubicBezTo>
                          <a:pt x="800" y="184"/>
                          <a:pt x="800" y="184"/>
                          <a:pt x="800" y="184"/>
                        </a:cubicBezTo>
                        <a:cubicBezTo>
                          <a:pt x="800" y="156"/>
                          <a:pt x="800" y="156"/>
                          <a:pt x="800" y="156"/>
                        </a:cubicBezTo>
                        <a:cubicBezTo>
                          <a:pt x="800" y="70"/>
                          <a:pt x="730" y="0"/>
                          <a:pt x="643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</p:grpSp>
            <p:grpSp>
              <p:nvGrpSpPr>
                <p:cNvPr id="527" name="Gruppieren 112"/>
                <p:cNvGrpSpPr>
                  <a:grpSpLocks noChangeAspect="1"/>
                </p:cNvGrpSpPr>
                <p:nvPr/>
              </p:nvGrpSpPr>
              <p:grpSpPr>
                <a:xfrm>
                  <a:off x="648000" y="720000"/>
                  <a:ext cx="119750" cy="108000"/>
                  <a:chOff x="6300788" y="1562100"/>
                  <a:chExt cx="760412" cy="685800"/>
                </a:xfrm>
                <a:grpFill/>
              </p:grpSpPr>
              <p:sp>
                <p:nvSpPr>
                  <p:cNvPr id="545" name="Freeform 28"/>
                  <p:cNvSpPr>
                    <a:spLocks/>
                  </p:cNvSpPr>
                  <p:nvPr/>
                </p:nvSpPr>
                <p:spPr bwMode="auto">
                  <a:xfrm>
                    <a:off x="6516688" y="1562100"/>
                    <a:ext cx="328612" cy="457200"/>
                  </a:xfrm>
                  <a:custGeom>
                    <a:avLst/>
                    <a:gdLst>
                      <a:gd name="T0" fmla="*/ 174 w 347"/>
                      <a:gd name="T1" fmla="*/ 0 h 480"/>
                      <a:gd name="T2" fmla="*/ 0 w 347"/>
                      <a:gd name="T3" fmla="*/ 173 h 480"/>
                      <a:gd name="T4" fmla="*/ 0 w 347"/>
                      <a:gd name="T5" fmla="*/ 306 h 480"/>
                      <a:gd name="T6" fmla="*/ 174 w 347"/>
                      <a:gd name="T7" fmla="*/ 480 h 480"/>
                      <a:gd name="T8" fmla="*/ 347 w 347"/>
                      <a:gd name="T9" fmla="*/ 306 h 480"/>
                      <a:gd name="T10" fmla="*/ 347 w 347"/>
                      <a:gd name="T11" fmla="*/ 173 h 480"/>
                      <a:gd name="T12" fmla="*/ 174 w 347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7" h="480">
                        <a:moveTo>
                          <a:pt x="174" y="0"/>
                        </a:moveTo>
                        <a:cubicBezTo>
                          <a:pt x="78" y="0"/>
                          <a:pt x="0" y="81"/>
                          <a:pt x="0" y="173"/>
                        </a:cubicBezTo>
                        <a:cubicBezTo>
                          <a:pt x="0" y="306"/>
                          <a:pt x="0" y="306"/>
                          <a:pt x="0" y="306"/>
                        </a:cubicBezTo>
                        <a:cubicBezTo>
                          <a:pt x="0" y="398"/>
                          <a:pt x="78" y="480"/>
                          <a:pt x="174" y="480"/>
                        </a:cubicBezTo>
                        <a:cubicBezTo>
                          <a:pt x="269" y="480"/>
                          <a:pt x="347" y="398"/>
                          <a:pt x="347" y="306"/>
                        </a:cubicBezTo>
                        <a:cubicBezTo>
                          <a:pt x="347" y="173"/>
                          <a:pt x="347" y="173"/>
                          <a:pt x="347" y="173"/>
                        </a:cubicBezTo>
                        <a:cubicBezTo>
                          <a:pt x="347" y="81"/>
                          <a:pt x="269" y="0"/>
                          <a:pt x="174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  <p:sp>
                <p:nvSpPr>
                  <p:cNvPr id="546" name="Freeform 29"/>
                  <p:cNvSpPr>
                    <a:spLocks/>
                  </p:cNvSpPr>
                  <p:nvPr/>
                </p:nvSpPr>
                <p:spPr bwMode="auto">
                  <a:xfrm>
                    <a:off x="6300788" y="2073275"/>
                    <a:ext cx="760412" cy="174625"/>
                  </a:xfrm>
                  <a:custGeom>
                    <a:avLst/>
                    <a:gdLst>
                      <a:gd name="T0" fmla="*/ 643 w 800"/>
                      <a:gd name="T1" fmla="*/ 0 h 184"/>
                      <a:gd name="T2" fmla="*/ 156 w 800"/>
                      <a:gd name="T3" fmla="*/ 0 h 184"/>
                      <a:gd name="T4" fmla="*/ 0 w 800"/>
                      <a:gd name="T5" fmla="*/ 156 h 184"/>
                      <a:gd name="T6" fmla="*/ 0 w 800"/>
                      <a:gd name="T7" fmla="*/ 184 h 184"/>
                      <a:gd name="T8" fmla="*/ 800 w 800"/>
                      <a:gd name="T9" fmla="*/ 184 h 184"/>
                      <a:gd name="T10" fmla="*/ 800 w 800"/>
                      <a:gd name="T11" fmla="*/ 156 h 184"/>
                      <a:gd name="T12" fmla="*/ 643 w 800"/>
                      <a:gd name="T13" fmla="*/ 0 h 1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00" h="184">
                        <a:moveTo>
                          <a:pt x="643" y="0"/>
                        </a:moveTo>
                        <a:cubicBezTo>
                          <a:pt x="156" y="0"/>
                          <a:pt x="156" y="0"/>
                          <a:pt x="156" y="0"/>
                        </a:cubicBezTo>
                        <a:cubicBezTo>
                          <a:pt x="70" y="0"/>
                          <a:pt x="0" y="70"/>
                          <a:pt x="0" y="156"/>
                        </a:cubicBezTo>
                        <a:cubicBezTo>
                          <a:pt x="0" y="184"/>
                          <a:pt x="0" y="184"/>
                          <a:pt x="0" y="184"/>
                        </a:cubicBezTo>
                        <a:cubicBezTo>
                          <a:pt x="800" y="184"/>
                          <a:pt x="800" y="184"/>
                          <a:pt x="800" y="184"/>
                        </a:cubicBezTo>
                        <a:cubicBezTo>
                          <a:pt x="800" y="156"/>
                          <a:pt x="800" y="156"/>
                          <a:pt x="800" y="156"/>
                        </a:cubicBezTo>
                        <a:cubicBezTo>
                          <a:pt x="800" y="70"/>
                          <a:pt x="730" y="0"/>
                          <a:pt x="643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</p:grpSp>
            <p:grpSp>
              <p:nvGrpSpPr>
                <p:cNvPr id="528" name="Group 527"/>
                <p:cNvGrpSpPr/>
                <p:nvPr/>
              </p:nvGrpSpPr>
              <p:grpSpPr>
                <a:xfrm>
                  <a:off x="792000" y="720000"/>
                  <a:ext cx="407750" cy="108000"/>
                  <a:chOff x="512400" y="872400"/>
                  <a:chExt cx="407750" cy="108000"/>
                </a:xfrm>
                <a:grpFill/>
              </p:grpSpPr>
              <p:grpSp>
                <p:nvGrpSpPr>
                  <p:cNvPr id="536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512400" y="872400"/>
                    <a:ext cx="119750" cy="108000"/>
                    <a:chOff x="6300788" y="1562100"/>
                    <a:chExt cx="760412" cy="685800"/>
                  </a:xfrm>
                  <a:grpFill/>
                </p:grpSpPr>
                <p:sp>
                  <p:nvSpPr>
                    <p:cNvPr id="543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544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  <p:grpSp>
                <p:nvGrpSpPr>
                  <p:cNvPr id="537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656400" y="872400"/>
                    <a:ext cx="119750" cy="108000"/>
                    <a:chOff x="6300788" y="1562100"/>
                    <a:chExt cx="760412" cy="685800"/>
                  </a:xfrm>
                  <a:grpFill/>
                </p:grpSpPr>
                <p:sp>
                  <p:nvSpPr>
                    <p:cNvPr id="541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542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  <p:grpSp>
                <p:nvGrpSpPr>
                  <p:cNvPr id="538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800400" y="872400"/>
                    <a:ext cx="119750" cy="108000"/>
                    <a:chOff x="6300788" y="1562100"/>
                    <a:chExt cx="760412" cy="685800"/>
                  </a:xfrm>
                  <a:grpFill/>
                </p:grpSpPr>
                <p:sp>
                  <p:nvSpPr>
                    <p:cNvPr id="539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540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</p:grpSp>
            <p:grpSp>
              <p:nvGrpSpPr>
                <p:cNvPr id="529" name="Group 528"/>
                <p:cNvGrpSpPr/>
                <p:nvPr/>
              </p:nvGrpSpPr>
              <p:grpSpPr>
                <a:xfrm>
                  <a:off x="1224000" y="720000"/>
                  <a:ext cx="263750" cy="108000"/>
                  <a:chOff x="434900" y="1059582"/>
                  <a:chExt cx="263750" cy="108000"/>
                </a:xfrm>
                <a:grpFill/>
              </p:grpSpPr>
              <p:grpSp>
                <p:nvGrpSpPr>
                  <p:cNvPr id="530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434900" y="1059582"/>
                    <a:ext cx="119750" cy="108000"/>
                    <a:chOff x="6300788" y="1562100"/>
                    <a:chExt cx="760412" cy="685800"/>
                  </a:xfrm>
                  <a:grpFill/>
                </p:grpSpPr>
                <p:sp>
                  <p:nvSpPr>
                    <p:cNvPr id="534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535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  <p:grpSp>
                <p:nvGrpSpPr>
                  <p:cNvPr id="531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578900" y="1059582"/>
                    <a:ext cx="119750" cy="108000"/>
                    <a:chOff x="6300788" y="1562100"/>
                    <a:chExt cx="760412" cy="685800"/>
                  </a:xfrm>
                  <a:grpFill/>
                </p:grpSpPr>
                <p:sp>
                  <p:nvSpPr>
                    <p:cNvPr id="532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533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</p:grpSp>
          </p:grpSp>
        </p:grpSp>
        <p:grpSp>
          <p:nvGrpSpPr>
            <p:cNvPr id="619" name="Gruppieren 112"/>
            <p:cNvGrpSpPr>
              <a:grpSpLocks noChangeAspect="1"/>
            </p:cNvGrpSpPr>
            <p:nvPr/>
          </p:nvGrpSpPr>
          <p:grpSpPr>
            <a:xfrm>
              <a:off x="6642818" y="3971281"/>
              <a:ext cx="119750" cy="108000"/>
              <a:chOff x="6300788" y="1562100"/>
              <a:chExt cx="760412" cy="685800"/>
            </a:xfrm>
            <a:solidFill>
              <a:srgbClr val="1BADA2"/>
            </a:solidFill>
          </p:grpSpPr>
          <p:sp>
            <p:nvSpPr>
              <p:cNvPr id="620" name="Freeform 28"/>
              <p:cNvSpPr>
                <a:spLocks/>
              </p:cNvSpPr>
              <p:nvPr/>
            </p:nvSpPr>
            <p:spPr bwMode="auto">
              <a:xfrm>
                <a:off x="6516688" y="1562100"/>
                <a:ext cx="328612" cy="4572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167"/>
                <a:endParaRPr lang="en-US" dirty="0">
                  <a:solidFill>
                    <a:srgbClr val="4B4B4B"/>
                  </a:solidFill>
                </a:endParaRPr>
              </a:p>
            </p:txBody>
          </p:sp>
          <p:sp>
            <p:nvSpPr>
              <p:cNvPr id="621" name="Freeform 29"/>
              <p:cNvSpPr>
                <a:spLocks/>
              </p:cNvSpPr>
              <p:nvPr/>
            </p:nvSpPr>
            <p:spPr bwMode="auto">
              <a:xfrm>
                <a:off x="6300788" y="2073275"/>
                <a:ext cx="760412" cy="174625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167"/>
                <a:endParaRPr lang="en-US" dirty="0">
                  <a:solidFill>
                    <a:srgbClr val="4B4B4B"/>
                  </a:solidFill>
                </a:endParaRPr>
              </a:p>
            </p:txBody>
          </p:sp>
        </p:grpSp>
        <p:sp>
          <p:nvSpPr>
            <p:cNvPr id="622" name="TextBox 621"/>
            <p:cNvSpPr txBox="1"/>
            <p:nvPr/>
          </p:nvSpPr>
          <p:spPr bwMode="gray">
            <a:xfrm>
              <a:off x="3924884" y="1410055"/>
              <a:ext cx="625930" cy="318914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vert="horz" wrap="square" lIns="71991" tIns="35995" rIns="71991" bIns="35995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r" defTabSz="914167"/>
              <a:r>
                <a:rPr lang="hu-HU" sz="1600" kern="0" dirty="0" smtClean="0">
                  <a:solidFill>
                    <a:srgbClr val="1063AD"/>
                  </a:solidFill>
                  <a:latin typeface="TeleGrotesk Headline Ultra" pitchFamily="2" charset="0"/>
                  <a:cs typeface="Arial Unicode MS" panose="020B0604020202020204" pitchFamily="34" charset="-128"/>
                </a:rPr>
                <a:t>2335</a:t>
              </a:r>
              <a:endParaRPr lang="hu-HU" sz="1600" kern="0" dirty="0">
                <a:solidFill>
                  <a:srgbClr val="1063AD"/>
                </a:solidFill>
                <a:latin typeface="TeleGrotesk Headline Ultra" pitchFamily="2" charset="0"/>
                <a:cs typeface="Arial Unicode MS" panose="020B0604020202020204" pitchFamily="34" charset="-128"/>
              </a:endParaRPr>
            </a:p>
          </p:txBody>
        </p:sp>
        <p:sp>
          <p:nvSpPr>
            <p:cNvPr id="623" name="TextBox 622"/>
            <p:cNvSpPr txBox="1"/>
            <p:nvPr/>
          </p:nvSpPr>
          <p:spPr bwMode="gray">
            <a:xfrm>
              <a:off x="8443921" y="1537648"/>
              <a:ext cx="513384" cy="318914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vert="horz" wrap="square" lIns="71991" tIns="35995" rIns="71991" bIns="35995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 defTabSz="914167"/>
              <a:r>
                <a:rPr lang="hu-HU" sz="1600" kern="0" dirty="0" smtClean="0">
                  <a:solidFill>
                    <a:srgbClr val="53BAF2"/>
                  </a:solidFill>
                  <a:latin typeface="TeleGrotesk Headline Ultra" pitchFamily="2" charset="0"/>
                  <a:cs typeface="Arial Unicode MS" panose="020B0604020202020204" pitchFamily="34" charset="-128"/>
                </a:rPr>
                <a:t>1845</a:t>
              </a:r>
              <a:endParaRPr lang="hu-HU" sz="1600" kern="0" dirty="0">
                <a:solidFill>
                  <a:srgbClr val="53BAF2"/>
                </a:solidFill>
                <a:latin typeface="TeleGrotesk Headline Ultra" pitchFamily="2" charset="0"/>
                <a:cs typeface="Arial Unicode MS" panose="020B0604020202020204" pitchFamily="34" charset="-128"/>
              </a:endParaRPr>
            </a:p>
          </p:txBody>
        </p:sp>
        <p:sp>
          <p:nvSpPr>
            <p:cNvPr id="624" name="TextBox 623"/>
            <p:cNvSpPr txBox="1"/>
            <p:nvPr/>
          </p:nvSpPr>
          <p:spPr bwMode="gray">
            <a:xfrm>
              <a:off x="6444208" y="3646820"/>
              <a:ext cx="513384" cy="318914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vert="horz" wrap="square" lIns="71991" tIns="35995" rIns="71991" bIns="35995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 defTabSz="914167"/>
              <a:r>
                <a:rPr lang="hu-HU" sz="1600" kern="0" dirty="0" smtClean="0">
                  <a:solidFill>
                    <a:srgbClr val="1BADA2"/>
                  </a:solidFill>
                  <a:latin typeface="TeleGrotesk Headline Ultra" pitchFamily="2" charset="0"/>
                  <a:cs typeface="Arial Unicode MS" panose="020B0604020202020204" pitchFamily="34" charset="-128"/>
                </a:rPr>
                <a:t>110</a:t>
              </a:r>
              <a:endParaRPr lang="hu-HU" sz="1600" kern="0" dirty="0">
                <a:solidFill>
                  <a:srgbClr val="1BADA2"/>
                </a:solidFill>
                <a:latin typeface="TeleGrotesk Headline Ultra" pitchFamily="2" charset="0"/>
                <a:cs typeface="Arial Unicode MS" panose="020B0604020202020204" pitchFamily="34" charset="-128"/>
              </a:endParaRPr>
            </a:p>
          </p:txBody>
        </p:sp>
        <p:grpSp>
          <p:nvGrpSpPr>
            <p:cNvPr id="625" name="Group 624"/>
            <p:cNvGrpSpPr/>
            <p:nvPr/>
          </p:nvGrpSpPr>
          <p:grpSpPr>
            <a:xfrm>
              <a:off x="4721111" y="4340506"/>
              <a:ext cx="983750" cy="108000"/>
              <a:chOff x="504000" y="720000"/>
              <a:chExt cx="983750" cy="108000"/>
            </a:xfrm>
            <a:solidFill>
              <a:srgbClr val="BFCB44"/>
            </a:solidFill>
          </p:grpSpPr>
          <p:grpSp>
            <p:nvGrpSpPr>
              <p:cNvPr id="626" name="Gruppieren 112"/>
              <p:cNvGrpSpPr>
                <a:grpSpLocks noChangeAspect="1"/>
              </p:cNvGrpSpPr>
              <p:nvPr/>
            </p:nvGrpSpPr>
            <p:grpSpPr>
              <a:xfrm>
                <a:off x="504000" y="720000"/>
                <a:ext cx="119750" cy="108000"/>
                <a:chOff x="6300788" y="1562100"/>
                <a:chExt cx="760412" cy="685800"/>
              </a:xfrm>
              <a:grpFill/>
            </p:grpSpPr>
            <p:sp>
              <p:nvSpPr>
                <p:cNvPr id="647" name="Freeform 28"/>
                <p:cNvSpPr>
                  <a:spLocks/>
                </p:cNvSpPr>
                <p:nvPr/>
              </p:nvSpPr>
              <p:spPr bwMode="auto">
                <a:xfrm>
                  <a:off x="6516688" y="1562100"/>
                  <a:ext cx="328612" cy="457200"/>
                </a:xfrm>
                <a:custGeom>
                  <a:avLst/>
                  <a:gdLst>
                    <a:gd name="T0" fmla="*/ 174 w 347"/>
                    <a:gd name="T1" fmla="*/ 0 h 480"/>
                    <a:gd name="T2" fmla="*/ 0 w 347"/>
                    <a:gd name="T3" fmla="*/ 173 h 480"/>
                    <a:gd name="T4" fmla="*/ 0 w 347"/>
                    <a:gd name="T5" fmla="*/ 306 h 480"/>
                    <a:gd name="T6" fmla="*/ 174 w 347"/>
                    <a:gd name="T7" fmla="*/ 480 h 480"/>
                    <a:gd name="T8" fmla="*/ 347 w 347"/>
                    <a:gd name="T9" fmla="*/ 306 h 480"/>
                    <a:gd name="T10" fmla="*/ 347 w 347"/>
                    <a:gd name="T11" fmla="*/ 173 h 480"/>
                    <a:gd name="T12" fmla="*/ 174 w 347"/>
                    <a:gd name="T13" fmla="*/ 0 h 4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47" h="480">
                      <a:moveTo>
                        <a:pt x="174" y="0"/>
                      </a:moveTo>
                      <a:cubicBezTo>
                        <a:pt x="78" y="0"/>
                        <a:pt x="0" y="81"/>
                        <a:pt x="0" y="173"/>
                      </a:cubicBezTo>
                      <a:cubicBezTo>
                        <a:pt x="0" y="306"/>
                        <a:pt x="0" y="306"/>
                        <a:pt x="0" y="306"/>
                      </a:cubicBezTo>
                      <a:cubicBezTo>
                        <a:pt x="0" y="398"/>
                        <a:pt x="78" y="480"/>
                        <a:pt x="174" y="480"/>
                      </a:cubicBezTo>
                      <a:cubicBezTo>
                        <a:pt x="269" y="480"/>
                        <a:pt x="347" y="398"/>
                        <a:pt x="347" y="306"/>
                      </a:cubicBezTo>
                      <a:cubicBezTo>
                        <a:pt x="347" y="173"/>
                        <a:pt x="347" y="173"/>
                        <a:pt x="347" y="173"/>
                      </a:cubicBezTo>
                      <a:cubicBezTo>
                        <a:pt x="347" y="81"/>
                        <a:pt x="269" y="0"/>
                        <a:pt x="174" y="0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167"/>
                  <a:endParaRPr lang="en-US" dirty="0">
                    <a:solidFill>
                      <a:srgbClr val="4B4B4B"/>
                    </a:solidFill>
                  </a:endParaRPr>
                </a:p>
              </p:txBody>
            </p:sp>
            <p:sp>
              <p:nvSpPr>
                <p:cNvPr id="648" name="Freeform 29"/>
                <p:cNvSpPr>
                  <a:spLocks/>
                </p:cNvSpPr>
                <p:nvPr/>
              </p:nvSpPr>
              <p:spPr bwMode="auto">
                <a:xfrm>
                  <a:off x="6300788" y="2073275"/>
                  <a:ext cx="760412" cy="174625"/>
                </a:xfrm>
                <a:custGeom>
                  <a:avLst/>
                  <a:gdLst>
                    <a:gd name="T0" fmla="*/ 643 w 800"/>
                    <a:gd name="T1" fmla="*/ 0 h 184"/>
                    <a:gd name="T2" fmla="*/ 156 w 800"/>
                    <a:gd name="T3" fmla="*/ 0 h 184"/>
                    <a:gd name="T4" fmla="*/ 0 w 800"/>
                    <a:gd name="T5" fmla="*/ 156 h 184"/>
                    <a:gd name="T6" fmla="*/ 0 w 800"/>
                    <a:gd name="T7" fmla="*/ 184 h 184"/>
                    <a:gd name="T8" fmla="*/ 800 w 800"/>
                    <a:gd name="T9" fmla="*/ 184 h 184"/>
                    <a:gd name="T10" fmla="*/ 800 w 800"/>
                    <a:gd name="T11" fmla="*/ 156 h 184"/>
                    <a:gd name="T12" fmla="*/ 643 w 800"/>
                    <a:gd name="T13" fmla="*/ 0 h 1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00" h="184">
                      <a:moveTo>
                        <a:pt x="643" y="0"/>
                      </a:moveTo>
                      <a:cubicBezTo>
                        <a:pt x="156" y="0"/>
                        <a:pt x="156" y="0"/>
                        <a:pt x="156" y="0"/>
                      </a:cubicBezTo>
                      <a:cubicBezTo>
                        <a:pt x="70" y="0"/>
                        <a:pt x="0" y="70"/>
                        <a:pt x="0" y="156"/>
                      </a:cubicBezTo>
                      <a:cubicBezTo>
                        <a:pt x="0" y="184"/>
                        <a:pt x="0" y="184"/>
                        <a:pt x="0" y="184"/>
                      </a:cubicBezTo>
                      <a:cubicBezTo>
                        <a:pt x="800" y="184"/>
                        <a:pt x="800" y="184"/>
                        <a:pt x="800" y="184"/>
                      </a:cubicBezTo>
                      <a:cubicBezTo>
                        <a:pt x="800" y="156"/>
                        <a:pt x="800" y="156"/>
                        <a:pt x="800" y="156"/>
                      </a:cubicBezTo>
                      <a:cubicBezTo>
                        <a:pt x="800" y="70"/>
                        <a:pt x="730" y="0"/>
                        <a:pt x="643" y="0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167"/>
                  <a:endParaRPr lang="en-US" dirty="0">
                    <a:solidFill>
                      <a:srgbClr val="4B4B4B"/>
                    </a:solidFill>
                  </a:endParaRPr>
                </a:p>
              </p:txBody>
            </p:sp>
          </p:grpSp>
          <p:grpSp>
            <p:nvGrpSpPr>
              <p:cNvPr id="627" name="Gruppieren 112"/>
              <p:cNvGrpSpPr>
                <a:grpSpLocks noChangeAspect="1"/>
              </p:cNvGrpSpPr>
              <p:nvPr/>
            </p:nvGrpSpPr>
            <p:grpSpPr>
              <a:xfrm>
                <a:off x="648000" y="720000"/>
                <a:ext cx="119750" cy="108000"/>
                <a:chOff x="6300788" y="1562100"/>
                <a:chExt cx="760412" cy="685800"/>
              </a:xfrm>
              <a:grpFill/>
            </p:grpSpPr>
            <p:sp>
              <p:nvSpPr>
                <p:cNvPr id="645" name="Freeform 28"/>
                <p:cNvSpPr>
                  <a:spLocks/>
                </p:cNvSpPr>
                <p:nvPr/>
              </p:nvSpPr>
              <p:spPr bwMode="auto">
                <a:xfrm>
                  <a:off x="6516688" y="1562100"/>
                  <a:ext cx="328612" cy="457200"/>
                </a:xfrm>
                <a:custGeom>
                  <a:avLst/>
                  <a:gdLst>
                    <a:gd name="T0" fmla="*/ 174 w 347"/>
                    <a:gd name="T1" fmla="*/ 0 h 480"/>
                    <a:gd name="T2" fmla="*/ 0 w 347"/>
                    <a:gd name="T3" fmla="*/ 173 h 480"/>
                    <a:gd name="T4" fmla="*/ 0 w 347"/>
                    <a:gd name="T5" fmla="*/ 306 h 480"/>
                    <a:gd name="T6" fmla="*/ 174 w 347"/>
                    <a:gd name="T7" fmla="*/ 480 h 480"/>
                    <a:gd name="T8" fmla="*/ 347 w 347"/>
                    <a:gd name="T9" fmla="*/ 306 h 480"/>
                    <a:gd name="T10" fmla="*/ 347 w 347"/>
                    <a:gd name="T11" fmla="*/ 173 h 480"/>
                    <a:gd name="T12" fmla="*/ 174 w 347"/>
                    <a:gd name="T13" fmla="*/ 0 h 4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47" h="480">
                      <a:moveTo>
                        <a:pt x="174" y="0"/>
                      </a:moveTo>
                      <a:cubicBezTo>
                        <a:pt x="78" y="0"/>
                        <a:pt x="0" y="81"/>
                        <a:pt x="0" y="173"/>
                      </a:cubicBezTo>
                      <a:cubicBezTo>
                        <a:pt x="0" y="306"/>
                        <a:pt x="0" y="306"/>
                        <a:pt x="0" y="306"/>
                      </a:cubicBezTo>
                      <a:cubicBezTo>
                        <a:pt x="0" y="398"/>
                        <a:pt x="78" y="480"/>
                        <a:pt x="174" y="480"/>
                      </a:cubicBezTo>
                      <a:cubicBezTo>
                        <a:pt x="269" y="480"/>
                        <a:pt x="347" y="398"/>
                        <a:pt x="347" y="306"/>
                      </a:cubicBezTo>
                      <a:cubicBezTo>
                        <a:pt x="347" y="173"/>
                        <a:pt x="347" y="173"/>
                        <a:pt x="347" y="173"/>
                      </a:cubicBezTo>
                      <a:cubicBezTo>
                        <a:pt x="347" y="81"/>
                        <a:pt x="269" y="0"/>
                        <a:pt x="174" y="0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167"/>
                  <a:endParaRPr lang="en-US" dirty="0">
                    <a:solidFill>
                      <a:srgbClr val="4B4B4B"/>
                    </a:solidFill>
                  </a:endParaRPr>
                </a:p>
              </p:txBody>
            </p:sp>
            <p:sp>
              <p:nvSpPr>
                <p:cNvPr id="646" name="Freeform 29"/>
                <p:cNvSpPr>
                  <a:spLocks/>
                </p:cNvSpPr>
                <p:nvPr/>
              </p:nvSpPr>
              <p:spPr bwMode="auto">
                <a:xfrm>
                  <a:off x="6300788" y="2073275"/>
                  <a:ext cx="760412" cy="174625"/>
                </a:xfrm>
                <a:custGeom>
                  <a:avLst/>
                  <a:gdLst>
                    <a:gd name="T0" fmla="*/ 643 w 800"/>
                    <a:gd name="T1" fmla="*/ 0 h 184"/>
                    <a:gd name="T2" fmla="*/ 156 w 800"/>
                    <a:gd name="T3" fmla="*/ 0 h 184"/>
                    <a:gd name="T4" fmla="*/ 0 w 800"/>
                    <a:gd name="T5" fmla="*/ 156 h 184"/>
                    <a:gd name="T6" fmla="*/ 0 w 800"/>
                    <a:gd name="T7" fmla="*/ 184 h 184"/>
                    <a:gd name="T8" fmla="*/ 800 w 800"/>
                    <a:gd name="T9" fmla="*/ 184 h 184"/>
                    <a:gd name="T10" fmla="*/ 800 w 800"/>
                    <a:gd name="T11" fmla="*/ 156 h 184"/>
                    <a:gd name="T12" fmla="*/ 643 w 800"/>
                    <a:gd name="T13" fmla="*/ 0 h 1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00" h="184">
                      <a:moveTo>
                        <a:pt x="643" y="0"/>
                      </a:moveTo>
                      <a:cubicBezTo>
                        <a:pt x="156" y="0"/>
                        <a:pt x="156" y="0"/>
                        <a:pt x="156" y="0"/>
                      </a:cubicBezTo>
                      <a:cubicBezTo>
                        <a:pt x="70" y="0"/>
                        <a:pt x="0" y="70"/>
                        <a:pt x="0" y="156"/>
                      </a:cubicBezTo>
                      <a:cubicBezTo>
                        <a:pt x="0" y="184"/>
                        <a:pt x="0" y="184"/>
                        <a:pt x="0" y="184"/>
                      </a:cubicBezTo>
                      <a:cubicBezTo>
                        <a:pt x="800" y="184"/>
                        <a:pt x="800" y="184"/>
                        <a:pt x="800" y="184"/>
                      </a:cubicBezTo>
                      <a:cubicBezTo>
                        <a:pt x="800" y="156"/>
                        <a:pt x="800" y="156"/>
                        <a:pt x="800" y="156"/>
                      </a:cubicBezTo>
                      <a:cubicBezTo>
                        <a:pt x="800" y="70"/>
                        <a:pt x="730" y="0"/>
                        <a:pt x="643" y="0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167"/>
                  <a:endParaRPr lang="en-US" dirty="0">
                    <a:solidFill>
                      <a:srgbClr val="4B4B4B"/>
                    </a:solidFill>
                  </a:endParaRPr>
                </a:p>
              </p:txBody>
            </p:sp>
          </p:grpSp>
          <p:grpSp>
            <p:nvGrpSpPr>
              <p:cNvPr id="628" name="Group 627"/>
              <p:cNvGrpSpPr/>
              <p:nvPr/>
            </p:nvGrpSpPr>
            <p:grpSpPr>
              <a:xfrm>
                <a:off x="792000" y="720000"/>
                <a:ext cx="407750" cy="108000"/>
                <a:chOff x="512400" y="872400"/>
                <a:chExt cx="407750" cy="108000"/>
              </a:xfrm>
              <a:grpFill/>
            </p:grpSpPr>
            <p:grpSp>
              <p:nvGrpSpPr>
                <p:cNvPr id="636" name="Gruppieren 112"/>
                <p:cNvGrpSpPr>
                  <a:grpSpLocks noChangeAspect="1"/>
                </p:cNvGrpSpPr>
                <p:nvPr/>
              </p:nvGrpSpPr>
              <p:grpSpPr>
                <a:xfrm>
                  <a:off x="512400" y="872400"/>
                  <a:ext cx="119750" cy="108000"/>
                  <a:chOff x="6300788" y="1562100"/>
                  <a:chExt cx="760412" cy="685800"/>
                </a:xfrm>
                <a:grpFill/>
              </p:grpSpPr>
              <p:sp>
                <p:nvSpPr>
                  <p:cNvPr id="643" name="Freeform 28"/>
                  <p:cNvSpPr>
                    <a:spLocks/>
                  </p:cNvSpPr>
                  <p:nvPr/>
                </p:nvSpPr>
                <p:spPr bwMode="auto">
                  <a:xfrm>
                    <a:off x="6516688" y="1562100"/>
                    <a:ext cx="328612" cy="457200"/>
                  </a:xfrm>
                  <a:custGeom>
                    <a:avLst/>
                    <a:gdLst>
                      <a:gd name="T0" fmla="*/ 174 w 347"/>
                      <a:gd name="T1" fmla="*/ 0 h 480"/>
                      <a:gd name="T2" fmla="*/ 0 w 347"/>
                      <a:gd name="T3" fmla="*/ 173 h 480"/>
                      <a:gd name="T4" fmla="*/ 0 w 347"/>
                      <a:gd name="T5" fmla="*/ 306 h 480"/>
                      <a:gd name="T6" fmla="*/ 174 w 347"/>
                      <a:gd name="T7" fmla="*/ 480 h 480"/>
                      <a:gd name="T8" fmla="*/ 347 w 347"/>
                      <a:gd name="T9" fmla="*/ 306 h 480"/>
                      <a:gd name="T10" fmla="*/ 347 w 347"/>
                      <a:gd name="T11" fmla="*/ 173 h 480"/>
                      <a:gd name="T12" fmla="*/ 174 w 347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7" h="480">
                        <a:moveTo>
                          <a:pt x="174" y="0"/>
                        </a:moveTo>
                        <a:cubicBezTo>
                          <a:pt x="78" y="0"/>
                          <a:pt x="0" y="81"/>
                          <a:pt x="0" y="173"/>
                        </a:cubicBezTo>
                        <a:cubicBezTo>
                          <a:pt x="0" y="306"/>
                          <a:pt x="0" y="306"/>
                          <a:pt x="0" y="306"/>
                        </a:cubicBezTo>
                        <a:cubicBezTo>
                          <a:pt x="0" y="398"/>
                          <a:pt x="78" y="480"/>
                          <a:pt x="174" y="480"/>
                        </a:cubicBezTo>
                        <a:cubicBezTo>
                          <a:pt x="269" y="480"/>
                          <a:pt x="347" y="398"/>
                          <a:pt x="347" y="306"/>
                        </a:cubicBezTo>
                        <a:cubicBezTo>
                          <a:pt x="347" y="173"/>
                          <a:pt x="347" y="173"/>
                          <a:pt x="347" y="173"/>
                        </a:cubicBezTo>
                        <a:cubicBezTo>
                          <a:pt x="347" y="81"/>
                          <a:pt x="269" y="0"/>
                          <a:pt x="174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  <p:sp>
                <p:nvSpPr>
                  <p:cNvPr id="644" name="Freeform 29"/>
                  <p:cNvSpPr>
                    <a:spLocks/>
                  </p:cNvSpPr>
                  <p:nvPr/>
                </p:nvSpPr>
                <p:spPr bwMode="auto">
                  <a:xfrm>
                    <a:off x="6300788" y="2073275"/>
                    <a:ext cx="760412" cy="174625"/>
                  </a:xfrm>
                  <a:custGeom>
                    <a:avLst/>
                    <a:gdLst>
                      <a:gd name="T0" fmla="*/ 643 w 800"/>
                      <a:gd name="T1" fmla="*/ 0 h 184"/>
                      <a:gd name="T2" fmla="*/ 156 w 800"/>
                      <a:gd name="T3" fmla="*/ 0 h 184"/>
                      <a:gd name="T4" fmla="*/ 0 w 800"/>
                      <a:gd name="T5" fmla="*/ 156 h 184"/>
                      <a:gd name="T6" fmla="*/ 0 w 800"/>
                      <a:gd name="T7" fmla="*/ 184 h 184"/>
                      <a:gd name="T8" fmla="*/ 800 w 800"/>
                      <a:gd name="T9" fmla="*/ 184 h 184"/>
                      <a:gd name="T10" fmla="*/ 800 w 800"/>
                      <a:gd name="T11" fmla="*/ 156 h 184"/>
                      <a:gd name="T12" fmla="*/ 643 w 800"/>
                      <a:gd name="T13" fmla="*/ 0 h 1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00" h="184">
                        <a:moveTo>
                          <a:pt x="643" y="0"/>
                        </a:moveTo>
                        <a:cubicBezTo>
                          <a:pt x="156" y="0"/>
                          <a:pt x="156" y="0"/>
                          <a:pt x="156" y="0"/>
                        </a:cubicBezTo>
                        <a:cubicBezTo>
                          <a:pt x="70" y="0"/>
                          <a:pt x="0" y="70"/>
                          <a:pt x="0" y="156"/>
                        </a:cubicBezTo>
                        <a:cubicBezTo>
                          <a:pt x="0" y="184"/>
                          <a:pt x="0" y="184"/>
                          <a:pt x="0" y="184"/>
                        </a:cubicBezTo>
                        <a:cubicBezTo>
                          <a:pt x="800" y="184"/>
                          <a:pt x="800" y="184"/>
                          <a:pt x="800" y="184"/>
                        </a:cubicBezTo>
                        <a:cubicBezTo>
                          <a:pt x="800" y="156"/>
                          <a:pt x="800" y="156"/>
                          <a:pt x="800" y="156"/>
                        </a:cubicBezTo>
                        <a:cubicBezTo>
                          <a:pt x="800" y="70"/>
                          <a:pt x="730" y="0"/>
                          <a:pt x="643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</p:grpSp>
            <p:grpSp>
              <p:nvGrpSpPr>
                <p:cNvPr id="637" name="Gruppieren 112"/>
                <p:cNvGrpSpPr>
                  <a:grpSpLocks noChangeAspect="1"/>
                </p:cNvGrpSpPr>
                <p:nvPr/>
              </p:nvGrpSpPr>
              <p:grpSpPr>
                <a:xfrm>
                  <a:off x="656400" y="872400"/>
                  <a:ext cx="119750" cy="108000"/>
                  <a:chOff x="6300788" y="1562100"/>
                  <a:chExt cx="760412" cy="685800"/>
                </a:xfrm>
                <a:grpFill/>
              </p:grpSpPr>
              <p:sp>
                <p:nvSpPr>
                  <p:cNvPr id="641" name="Freeform 28"/>
                  <p:cNvSpPr>
                    <a:spLocks/>
                  </p:cNvSpPr>
                  <p:nvPr/>
                </p:nvSpPr>
                <p:spPr bwMode="auto">
                  <a:xfrm>
                    <a:off x="6516688" y="1562100"/>
                    <a:ext cx="328612" cy="457200"/>
                  </a:xfrm>
                  <a:custGeom>
                    <a:avLst/>
                    <a:gdLst>
                      <a:gd name="T0" fmla="*/ 174 w 347"/>
                      <a:gd name="T1" fmla="*/ 0 h 480"/>
                      <a:gd name="T2" fmla="*/ 0 w 347"/>
                      <a:gd name="T3" fmla="*/ 173 h 480"/>
                      <a:gd name="T4" fmla="*/ 0 w 347"/>
                      <a:gd name="T5" fmla="*/ 306 h 480"/>
                      <a:gd name="T6" fmla="*/ 174 w 347"/>
                      <a:gd name="T7" fmla="*/ 480 h 480"/>
                      <a:gd name="T8" fmla="*/ 347 w 347"/>
                      <a:gd name="T9" fmla="*/ 306 h 480"/>
                      <a:gd name="T10" fmla="*/ 347 w 347"/>
                      <a:gd name="T11" fmla="*/ 173 h 480"/>
                      <a:gd name="T12" fmla="*/ 174 w 347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7" h="480">
                        <a:moveTo>
                          <a:pt x="174" y="0"/>
                        </a:moveTo>
                        <a:cubicBezTo>
                          <a:pt x="78" y="0"/>
                          <a:pt x="0" y="81"/>
                          <a:pt x="0" y="173"/>
                        </a:cubicBezTo>
                        <a:cubicBezTo>
                          <a:pt x="0" y="306"/>
                          <a:pt x="0" y="306"/>
                          <a:pt x="0" y="306"/>
                        </a:cubicBezTo>
                        <a:cubicBezTo>
                          <a:pt x="0" y="398"/>
                          <a:pt x="78" y="480"/>
                          <a:pt x="174" y="480"/>
                        </a:cubicBezTo>
                        <a:cubicBezTo>
                          <a:pt x="269" y="480"/>
                          <a:pt x="347" y="398"/>
                          <a:pt x="347" y="306"/>
                        </a:cubicBezTo>
                        <a:cubicBezTo>
                          <a:pt x="347" y="173"/>
                          <a:pt x="347" y="173"/>
                          <a:pt x="347" y="173"/>
                        </a:cubicBezTo>
                        <a:cubicBezTo>
                          <a:pt x="347" y="81"/>
                          <a:pt x="269" y="0"/>
                          <a:pt x="174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  <p:sp>
                <p:nvSpPr>
                  <p:cNvPr id="642" name="Freeform 29"/>
                  <p:cNvSpPr>
                    <a:spLocks/>
                  </p:cNvSpPr>
                  <p:nvPr/>
                </p:nvSpPr>
                <p:spPr bwMode="auto">
                  <a:xfrm>
                    <a:off x="6300788" y="2073275"/>
                    <a:ext cx="760412" cy="174625"/>
                  </a:xfrm>
                  <a:custGeom>
                    <a:avLst/>
                    <a:gdLst>
                      <a:gd name="T0" fmla="*/ 643 w 800"/>
                      <a:gd name="T1" fmla="*/ 0 h 184"/>
                      <a:gd name="T2" fmla="*/ 156 w 800"/>
                      <a:gd name="T3" fmla="*/ 0 h 184"/>
                      <a:gd name="T4" fmla="*/ 0 w 800"/>
                      <a:gd name="T5" fmla="*/ 156 h 184"/>
                      <a:gd name="T6" fmla="*/ 0 w 800"/>
                      <a:gd name="T7" fmla="*/ 184 h 184"/>
                      <a:gd name="T8" fmla="*/ 800 w 800"/>
                      <a:gd name="T9" fmla="*/ 184 h 184"/>
                      <a:gd name="T10" fmla="*/ 800 w 800"/>
                      <a:gd name="T11" fmla="*/ 156 h 184"/>
                      <a:gd name="T12" fmla="*/ 643 w 800"/>
                      <a:gd name="T13" fmla="*/ 0 h 1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00" h="184">
                        <a:moveTo>
                          <a:pt x="643" y="0"/>
                        </a:moveTo>
                        <a:cubicBezTo>
                          <a:pt x="156" y="0"/>
                          <a:pt x="156" y="0"/>
                          <a:pt x="156" y="0"/>
                        </a:cubicBezTo>
                        <a:cubicBezTo>
                          <a:pt x="70" y="0"/>
                          <a:pt x="0" y="70"/>
                          <a:pt x="0" y="156"/>
                        </a:cubicBezTo>
                        <a:cubicBezTo>
                          <a:pt x="0" y="184"/>
                          <a:pt x="0" y="184"/>
                          <a:pt x="0" y="184"/>
                        </a:cubicBezTo>
                        <a:cubicBezTo>
                          <a:pt x="800" y="184"/>
                          <a:pt x="800" y="184"/>
                          <a:pt x="800" y="184"/>
                        </a:cubicBezTo>
                        <a:cubicBezTo>
                          <a:pt x="800" y="156"/>
                          <a:pt x="800" y="156"/>
                          <a:pt x="800" y="156"/>
                        </a:cubicBezTo>
                        <a:cubicBezTo>
                          <a:pt x="800" y="70"/>
                          <a:pt x="730" y="0"/>
                          <a:pt x="643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</p:grpSp>
            <p:grpSp>
              <p:nvGrpSpPr>
                <p:cNvPr id="638" name="Gruppieren 112"/>
                <p:cNvGrpSpPr>
                  <a:grpSpLocks noChangeAspect="1"/>
                </p:cNvGrpSpPr>
                <p:nvPr/>
              </p:nvGrpSpPr>
              <p:grpSpPr>
                <a:xfrm>
                  <a:off x="800400" y="872400"/>
                  <a:ext cx="119750" cy="108000"/>
                  <a:chOff x="6300788" y="1562100"/>
                  <a:chExt cx="760412" cy="685800"/>
                </a:xfrm>
                <a:grpFill/>
              </p:grpSpPr>
              <p:sp>
                <p:nvSpPr>
                  <p:cNvPr id="639" name="Freeform 28"/>
                  <p:cNvSpPr>
                    <a:spLocks/>
                  </p:cNvSpPr>
                  <p:nvPr/>
                </p:nvSpPr>
                <p:spPr bwMode="auto">
                  <a:xfrm>
                    <a:off x="6516688" y="1562100"/>
                    <a:ext cx="328612" cy="457200"/>
                  </a:xfrm>
                  <a:custGeom>
                    <a:avLst/>
                    <a:gdLst>
                      <a:gd name="T0" fmla="*/ 174 w 347"/>
                      <a:gd name="T1" fmla="*/ 0 h 480"/>
                      <a:gd name="T2" fmla="*/ 0 w 347"/>
                      <a:gd name="T3" fmla="*/ 173 h 480"/>
                      <a:gd name="T4" fmla="*/ 0 w 347"/>
                      <a:gd name="T5" fmla="*/ 306 h 480"/>
                      <a:gd name="T6" fmla="*/ 174 w 347"/>
                      <a:gd name="T7" fmla="*/ 480 h 480"/>
                      <a:gd name="T8" fmla="*/ 347 w 347"/>
                      <a:gd name="T9" fmla="*/ 306 h 480"/>
                      <a:gd name="T10" fmla="*/ 347 w 347"/>
                      <a:gd name="T11" fmla="*/ 173 h 480"/>
                      <a:gd name="T12" fmla="*/ 174 w 347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7" h="480">
                        <a:moveTo>
                          <a:pt x="174" y="0"/>
                        </a:moveTo>
                        <a:cubicBezTo>
                          <a:pt x="78" y="0"/>
                          <a:pt x="0" y="81"/>
                          <a:pt x="0" y="173"/>
                        </a:cubicBezTo>
                        <a:cubicBezTo>
                          <a:pt x="0" y="306"/>
                          <a:pt x="0" y="306"/>
                          <a:pt x="0" y="306"/>
                        </a:cubicBezTo>
                        <a:cubicBezTo>
                          <a:pt x="0" y="398"/>
                          <a:pt x="78" y="480"/>
                          <a:pt x="174" y="480"/>
                        </a:cubicBezTo>
                        <a:cubicBezTo>
                          <a:pt x="269" y="480"/>
                          <a:pt x="347" y="398"/>
                          <a:pt x="347" y="306"/>
                        </a:cubicBezTo>
                        <a:cubicBezTo>
                          <a:pt x="347" y="173"/>
                          <a:pt x="347" y="173"/>
                          <a:pt x="347" y="173"/>
                        </a:cubicBezTo>
                        <a:cubicBezTo>
                          <a:pt x="347" y="81"/>
                          <a:pt x="269" y="0"/>
                          <a:pt x="174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  <p:sp>
                <p:nvSpPr>
                  <p:cNvPr id="640" name="Freeform 29"/>
                  <p:cNvSpPr>
                    <a:spLocks/>
                  </p:cNvSpPr>
                  <p:nvPr/>
                </p:nvSpPr>
                <p:spPr bwMode="auto">
                  <a:xfrm>
                    <a:off x="6300788" y="2073275"/>
                    <a:ext cx="760412" cy="174625"/>
                  </a:xfrm>
                  <a:custGeom>
                    <a:avLst/>
                    <a:gdLst>
                      <a:gd name="T0" fmla="*/ 643 w 800"/>
                      <a:gd name="T1" fmla="*/ 0 h 184"/>
                      <a:gd name="T2" fmla="*/ 156 w 800"/>
                      <a:gd name="T3" fmla="*/ 0 h 184"/>
                      <a:gd name="T4" fmla="*/ 0 w 800"/>
                      <a:gd name="T5" fmla="*/ 156 h 184"/>
                      <a:gd name="T6" fmla="*/ 0 w 800"/>
                      <a:gd name="T7" fmla="*/ 184 h 184"/>
                      <a:gd name="T8" fmla="*/ 800 w 800"/>
                      <a:gd name="T9" fmla="*/ 184 h 184"/>
                      <a:gd name="T10" fmla="*/ 800 w 800"/>
                      <a:gd name="T11" fmla="*/ 156 h 184"/>
                      <a:gd name="T12" fmla="*/ 643 w 800"/>
                      <a:gd name="T13" fmla="*/ 0 h 1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00" h="184">
                        <a:moveTo>
                          <a:pt x="643" y="0"/>
                        </a:moveTo>
                        <a:cubicBezTo>
                          <a:pt x="156" y="0"/>
                          <a:pt x="156" y="0"/>
                          <a:pt x="156" y="0"/>
                        </a:cubicBezTo>
                        <a:cubicBezTo>
                          <a:pt x="70" y="0"/>
                          <a:pt x="0" y="70"/>
                          <a:pt x="0" y="156"/>
                        </a:cubicBezTo>
                        <a:cubicBezTo>
                          <a:pt x="0" y="184"/>
                          <a:pt x="0" y="184"/>
                          <a:pt x="0" y="184"/>
                        </a:cubicBezTo>
                        <a:cubicBezTo>
                          <a:pt x="800" y="184"/>
                          <a:pt x="800" y="184"/>
                          <a:pt x="800" y="184"/>
                        </a:cubicBezTo>
                        <a:cubicBezTo>
                          <a:pt x="800" y="156"/>
                          <a:pt x="800" y="156"/>
                          <a:pt x="800" y="156"/>
                        </a:cubicBezTo>
                        <a:cubicBezTo>
                          <a:pt x="800" y="70"/>
                          <a:pt x="730" y="0"/>
                          <a:pt x="643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</p:grpSp>
          </p:grpSp>
          <p:grpSp>
            <p:nvGrpSpPr>
              <p:cNvPr id="629" name="Group 628"/>
              <p:cNvGrpSpPr/>
              <p:nvPr/>
            </p:nvGrpSpPr>
            <p:grpSpPr>
              <a:xfrm>
                <a:off x="1224000" y="720000"/>
                <a:ext cx="263750" cy="108000"/>
                <a:chOff x="434900" y="1059582"/>
                <a:chExt cx="263750" cy="108000"/>
              </a:xfrm>
              <a:grpFill/>
            </p:grpSpPr>
            <p:grpSp>
              <p:nvGrpSpPr>
                <p:cNvPr id="630" name="Gruppieren 112"/>
                <p:cNvGrpSpPr>
                  <a:grpSpLocks noChangeAspect="1"/>
                </p:cNvGrpSpPr>
                <p:nvPr/>
              </p:nvGrpSpPr>
              <p:grpSpPr>
                <a:xfrm>
                  <a:off x="434900" y="1059582"/>
                  <a:ext cx="119750" cy="108000"/>
                  <a:chOff x="6300788" y="1562100"/>
                  <a:chExt cx="760412" cy="685800"/>
                </a:xfrm>
                <a:grpFill/>
              </p:grpSpPr>
              <p:sp>
                <p:nvSpPr>
                  <p:cNvPr id="634" name="Freeform 28"/>
                  <p:cNvSpPr>
                    <a:spLocks/>
                  </p:cNvSpPr>
                  <p:nvPr/>
                </p:nvSpPr>
                <p:spPr bwMode="auto">
                  <a:xfrm>
                    <a:off x="6516688" y="1562100"/>
                    <a:ext cx="328612" cy="457200"/>
                  </a:xfrm>
                  <a:custGeom>
                    <a:avLst/>
                    <a:gdLst>
                      <a:gd name="T0" fmla="*/ 174 w 347"/>
                      <a:gd name="T1" fmla="*/ 0 h 480"/>
                      <a:gd name="T2" fmla="*/ 0 w 347"/>
                      <a:gd name="T3" fmla="*/ 173 h 480"/>
                      <a:gd name="T4" fmla="*/ 0 w 347"/>
                      <a:gd name="T5" fmla="*/ 306 h 480"/>
                      <a:gd name="T6" fmla="*/ 174 w 347"/>
                      <a:gd name="T7" fmla="*/ 480 h 480"/>
                      <a:gd name="T8" fmla="*/ 347 w 347"/>
                      <a:gd name="T9" fmla="*/ 306 h 480"/>
                      <a:gd name="T10" fmla="*/ 347 w 347"/>
                      <a:gd name="T11" fmla="*/ 173 h 480"/>
                      <a:gd name="T12" fmla="*/ 174 w 347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7" h="480">
                        <a:moveTo>
                          <a:pt x="174" y="0"/>
                        </a:moveTo>
                        <a:cubicBezTo>
                          <a:pt x="78" y="0"/>
                          <a:pt x="0" y="81"/>
                          <a:pt x="0" y="173"/>
                        </a:cubicBezTo>
                        <a:cubicBezTo>
                          <a:pt x="0" y="306"/>
                          <a:pt x="0" y="306"/>
                          <a:pt x="0" y="306"/>
                        </a:cubicBezTo>
                        <a:cubicBezTo>
                          <a:pt x="0" y="398"/>
                          <a:pt x="78" y="480"/>
                          <a:pt x="174" y="480"/>
                        </a:cubicBezTo>
                        <a:cubicBezTo>
                          <a:pt x="269" y="480"/>
                          <a:pt x="347" y="398"/>
                          <a:pt x="347" y="306"/>
                        </a:cubicBezTo>
                        <a:cubicBezTo>
                          <a:pt x="347" y="173"/>
                          <a:pt x="347" y="173"/>
                          <a:pt x="347" y="173"/>
                        </a:cubicBezTo>
                        <a:cubicBezTo>
                          <a:pt x="347" y="81"/>
                          <a:pt x="269" y="0"/>
                          <a:pt x="174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  <p:sp>
                <p:nvSpPr>
                  <p:cNvPr id="635" name="Freeform 29"/>
                  <p:cNvSpPr>
                    <a:spLocks/>
                  </p:cNvSpPr>
                  <p:nvPr/>
                </p:nvSpPr>
                <p:spPr bwMode="auto">
                  <a:xfrm>
                    <a:off x="6300788" y="2073275"/>
                    <a:ext cx="760412" cy="174625"/>
                  </a:xfrm>
                  <a:custGeom>
                    <a:avLst/>
                    <a:gdLst>
                      <a:gd name="T0" fmla="*/ 643 w 800"/>
                      <a:gd name="T1" fmla="*/ 0 h 184"/>
                      <a:gd name="T2" fmla="*/ 156 w 800"/>
                      <a:gd name="T3" fmla="*/ 0 h 184"/>
                      <a:gd name="T4" fmla="*/ 0 w 800"/>
                      <a:gd name="T5" fmla="*/ 156 h 184"/>
                      <a:gd name="T6" fmla="*/ 0 w 800"/>
                      <a:gd name="T7" fmla="*/ 184 h 184"/>
                      <a:gd name="T8" fmla="*/ 800 w 800"/>
                      <a:gd name="T9" fmla="*/ 184 h 184"/>
                      <a:gd name="T10" fmla="*/ 800 w 800"/>
                      <a:gd name="T11" fmla="*/ 156 h 184"/>
                      <a:gd name="T12" fmla="*/ 643 w 800"/>
                      <a:gd name="T13" fmla="*/ 0 h 1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00" h="184">
                        <a:moveTo>
                          <a:pt x="643" y="0"/>
                        </a:moveTo>
                        <a:cubicBezTo>
                          <a:pt x="156" y="0"/>
                          <a:pt x="156" y="0"/>
                          <a:pt x="156" y="0"/>
                        </a:cubicBezTo>
                        <a:cubicBezTo>
                          <a:pt x="70" y="0"/>
                          <a:pt x="0" y="70"/>
                          <a:pt x="0" y="156"/>
                        </a:cubicBezTo>
                        <a:cubicBezTo>
                          <a:pt x="0" y="184"/>
                          <a:pt x="0" y="184"/>
                          <a:pt x="0" y="184"/>
                        </a:cubicBezTo>
                        <a:cubicBezTo>
                          <a:pt x="800" y="184"/>
                          <a:pt x="800" y="184"/>
                          <a:pt x="800" y="184"/>
                        </a:cubicBezTo>
                        <a:cubicBezTo>
                          <a:pt x="800" y="156"/>
                          <a:pt x="800" y="156"/>
                          <a:pt x="800" y="156"/>
                        </a:cubicBezTo>
                        <a:cubicBezTo>
                          <a:pt x="800" y="70"/>
                          <a:pt x="730" y="0"/>
                          <a:pt x="643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</p:grpSp>
            <p:grpSp>
              <p:nvGrpSpPr>
                <p:cNvPr id="631" name="Gruppieren 112"/>
                <p:cNvGrpSpPr>
                  <a:grpSpLocks noChangeAspect="1"/>
                </p:cNvGrpSpPr>
                <p:nvPr/>
              </p:nvGrpSpPr>
              <p:grpSpPr>
                <a:xfrm>
                  <a:off x="578900" y="1059582"/>
                  <a:ext cx="119750" cy="108000"/>
                  <a:chOff x="6300788" y="1562100"/>
                  <a:chExt cx="760412" cy="685800"/>
                </a:xfrm>
                <a:grpFill/>
              </p:grpSpPr>
              <p:sp>
                <p:nvSpPr>
                  <p:cNvPr id="632" name="Freeform 28"/>
                  <p:cNvSpPr>
                    <a:spLocks/>
                  </p:cNvSpPr>
                  <p:nvPr/>
                </p:nvSpPr>
                <p:spPr bwMode="auto">
                  <a:xfrm>
                    <a:off x="6516688" y="1562100"/>
                    <a:ext cx="328612" cy="457200"/>
                  </a:xfrm>
                  <a:custGeom>
                    <a:avLst/>
                    <a:gdLst>
                      <a:gd name="T0" fmla="*/ 174 w 347"/>
                      <a:gd name="T1" fmla="*/ 0 h 480"/>
                      <a:gd name="T2" fmla="*/ 0 w 347"/>
                      <a:gd name="T3" fmla="*/ 173 h 480"/>
                      <a:gd name="T4" fmla="*/ 0 w 347"/>
                      <a:gd name="T5" fmla="*/ 306 h 480"/>
                      <a:gd name="T6" fmla="*/ 174 w 347"/>
                      <a:gd name="T7" fmla="*/ 480 h 480"/>
                      <a:gd name="T8" fmla="*/ 347 w 347"/>
                      <a:gd name="T9" fmla="*/ 306 h 480"/>
                      <a:gd name="T10" fmla="*/ 347 w 347"/>
                      <a:gd name="T11" fmla="*/ 173 h 480"/>
                      <a:gd name="T12" fmla="*/ 174 w 347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7" h="480">
                        <a:moveTo>
                          <a:pt x="174" y="0"/>
                        </a:moveTo>
                        <a:cubicBezTo>
                          <a:pt x="78" y="0"/>
                          <a:pt x="0" y="81"/>
                          <a:pt x="0" y="173"/>
                        </a:cubicBezTo>
                        <a:cubicBezTo>
                          <a:pt x="0" y="306"/>
                          <a:pt x="0" y="306"/>
                          <a:pt x="0" y="306"/>
                        </a:cubicBezTo>
                        <a:cubicBezTo>
                          <a:pt x="0" y="398"/>
                          <a:pt x="78" y="480"/>
                          <a:pt x="174" y="480"/>
                        </a:cubicBezTo>
                        <a:cubicBezTo>
                          <a:pt x="269" y="480"/>
                          <a:pt x="347" y="398"/>
                          <a:pt x="347" y="306"/>
                        </a:cubicBezTo>
                        <a:cubicBezTo>
                          <a:pt x="347" y="173"/>
                          <a:pt x="347" y="173"/>
                          <a:pt x="347" y="173"/>
                        </a:cubicBezTo>
                        <a:cubicBezTo>
                          <a:pt x="347" y="81"/>
                          <a:pt x="269" y="0"/>
                          <a:pt x="174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  <p:sp>
                <p:nvSpPr>
                  <p:cNvPr id="633" name="Freeform 29"/>
                  <p:cNvSpPr>
                    <a:spLocks/>
                  </p:cNvSpPr>
                  <p:nvPr/>
                </p:nvSpPr>
                <p:spPr bwMode="auto">
                  <a:xfrm>
                    <a:off x="6300788" y="2073275"/>
                    <a:ext cx="760412" cy="174625"/>
                  </a:xfrm>
                  <a:custGeom>
                    <a:avLst/>
                    <a:gdLst>
                      <a:gd name="T0" fmla="*/ 643 w 800"/>
                      <a:gd name="T1" fmla="*/ 0 h 184"/>
                      <a:gd name="T2" fmla="*/ 156 w 800"/>
                      <a:gd name="T3" fmla="*/ 0 h 184"/>
                      <a:gd name="T4" fmla="*/ 0 w 800"/>
                      <a:gd name="T5" fmla="*/ 156 h 184"/>
                      <a:gd name="T6" fmla="*/ 0 w 800"/>
                      <a:gd name="T7" fmla="*/ 184 h 184"/>
                      <a:gd name="T8" fmla="*/ 800 w 800"/>
                      <a:gd name="T9" fmla="*/ 184 h 184"/>
                      <a:gd name="T10" fmla="*/ 800 w 800"/>
                      <a:gd name="T11" fmla="*/ 156 h 184"/>
                      <a:gd name="T12" fmla="*/ 643 w 800"/>
                      <a:gd name="T13" fmla="*/ 0 h 1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00" h="184">
                        <a:moveTo>
                          <a:pt x="643" y="0"/>
                        </a:moveTo>
                        <a:cubicBezTo>
                          <a:pt x="156" y="0"/>
                          <a:pt x="156" y="0"/>
                          <a:pt x="156" y="0"/>
                        </a:cubicBezTo>
                        <a:cubicBezTo>
                          <a:pt x="70" y="0"/>
                          <a:pt x="0" y="70"/>
                          <a:pt x="0" y="156"/>
                        </a:cubicBezTo>
                        <a:cubicBezTo>
                          <a:pt x="0" y="184"/>
                          <a:pt x="0" y="184"/>
                          <a:pt x="0" y="184"/>
                        </a:cubicBezTo>
                        <a:cubicBezTo>
                          <a:pt x="800" y="184"/>
                          <a:pt x="800" y="184"/>
                          <a:pt x="800" y="184"/>
                        </a:cubicBezTo>
                        <a:cubicBezTo>
                          <a:pt x="800" y="156"/>
                          <a:pt x="800" y="156"/>
                          <a:pt x="800" y="156"/>
                        </a:cubicBezTo>
                        <a:cubicBezTo>
                          <a:pt x="800" y="70"/>
                          <a:pt x="730" y="0"/>
                          <a:pt x="643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</p:grpSp>
          </p:grpSp>
        </p:grpSp>
        <p:sp>
          <p:nvSpPr>
            <p:cNvPr id="649" name="TextBox 648"/>
            <p:cNvSpPr txBox="1"/>
            <p:nvPr/>
          </p:nvSpPr>
          <p:spPr bwMode="gray">
            <a:xfrm>
              <a:off x="4713250" y="4088708"/>
              <a:ext cx="513384" cy="318914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vert="horz" wrap="square" lIns="71991" tIns="35995" rIns="71991" bIns="35995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 defTabSz="914167"/>
              <a:r>
                <a:rPr lang="hu-HU" sz="1600" kern="0" dirty="0" smtClean="0">
                  <a:solidFill>
                    <a:srgbClr val="BFCB44"/>
                  </a:solidFill>
                  <a:latin typeface="TeleGrotesk Headline Ultra" pitchFamily="2" charset="0"/>
                  <a:cs typeface="Arial Unicode MS" panose="020B0604020202020204" pitchFamily="34" charset="-128"/>
                </a:rPr>
                <a:t>405</a:t>
              </a:r>
              <a:endParaRPr lang="hu-HU" sz="1600" kern="0" dirty="0">
                <a:solidFill>
                  <a:srgbClr val="BFCB44"/>
                </a:solidFill>
                <a:latin typeface="TeleGrotesk Headline Ultra" pitchFamily="2" charset="0"/>
                <a:cs typeface="Arial Unicode MS" panose="020B0604020202020204" pitchFamily="34" charset="-128"/>
              </a:endParaRPr>
            </a:p>
          </p:txBody>
        </p:sp>
      </p:grpSp>
      <p:sp>
        <p:nvSpPr>
          <p:cNvPr id="15" name="Rectangle 10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66184" y="1370926"/>
            <a:ext cx="2665929" cy="16352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36000" rIns="72000" bIns="36000"/>
          <a:lstStyle/>
          <a:p>
            <a:pPr indent="-457200" defTabSz="901700" eaLnBrk="0" hangingPunct="0">
              <a:lnSpc>
                <a:spcPct val="100000"/>
              </a:lnSpc>
              <a:spcBef>
                <a:spcPts val="425"/>
              </a:spcBef>
              <a:spcAft>
                <a:spcPts val="425"/>
              </a:spcAft>
              <a:buClr>
                <a:srgbClr val="E20074"/>
              </a:buClr>
              <a:buSzPct val="75000"/>
            </a:pPr>
            <a:r>
              <a:rPr lang="en-US" sz="1800" dirty="0" smtClean="0">
                <a:latin typeface="Tele-GroteskNor" pitchFamily="2" charset="0"/>
              </a:rPr>
              <a:t>As a Hungarian subsidiary of </a:t>
            </a:r>
            <a:r>
              <a:rPr lang="en-US" sz="1800" dirty="0" smtClean="0">
                <a:latin typeface="Tele-GroteskFet" pitchFamily="2" charset="0"/>
              </a:rPr>
              <a:t>T-Systems International </a:t>
            </a:r>
            <a:r>
              <a:rPr lang="hu-HU" sz="1800" dirty="0" smtClean="0">
                <a:latin typeface="Tele-GroteskFet" pitchFamily="2" charset="0"/>
              </a:rPr>
              <a:t/>
            </a:r>
            <a:br>
              <a:rPr lang="hu-HU" sz="1800" dirty="0" smtClean="0">
                <a:latin typeface="Tele-GroteskFet" pitchFamily="2" charset="0"/>
              </a:rPr>
            </a:br>
            <a:r>
              <a:rPr lang="en-US" sz="1800" dirty="0" smtClean="0">
                <a:solidFill>
                  <a:srgbClr val="8D2A90"/>
                </a:solidFill>
                <a:latin typeface="Tele-GroteskFet" pitchFamily="2" charset="0"/>
              </a:rPr>
              <a:t>IT Services Hungary </a:t>
            </a:r>
            <a:r>
              <a:rPr lang="hu-HU" sz="1800" dirty="0" smtClean="0">
                <a:latin typeface="Tele-GroteskNor" pitchFamily="2" charset="0"/>
              </a:rPr>
              <a:t/>
            </a:r>
            <a:br>
              <a:rPr lang="hu-HU" sz="1800" dirty="0" smtClean="0">
                <a:latin typeface="Tele-GroteskNor" pitchFamily="2" charset="0"/>
              </a:rPr>
            </a:br>
            <a:r>
              <a:rPr lang="en-US" sz="1800" dirty="0" smtClean="0">
                <a:latin typeface="Tele-GroteskNor" pitchFamily="2" charset="0"/>
              </a:rPr>
              <a:t>serve</a:t>
            </a:r>
            <a:r>
              <a:rPr lang="hu-HU" sz="1800" dirty="0" smtClean="0">
                <a:latin typeface="Tele-GroteskNor" pitchFamily="2" charset="0"/>
              </a:rPr>
              <a:t>s</a:t>
            </a:r>
            <a:r>
              <a:rPr lang="en-US" sz="1800" dirty="0" smtClean="0">
                <a:latin typeface="Tele-GroteskNor" pitchFamily="2" charset="0"/>
              </a:rPr>
              <a:t> our international clients in operational areas on four Service Centers</a:t>
            </a:r>
            <a:endParaRPr lang="en-US" sz="1800" dirty="0">
              <a:latin typeface="Tele-GroteskNor" pitchFamily="2" charset="0"/>
            </a:endParaRPr>
          </a:p>
        </p:txBody>
      </p:sp>
      <p:sp>
        <p:nvSpPr>
          <p:cNvPr id="275" name="Szövegdoboz 16"/>
          <p:cNvSpPr txBox="1"/>
          <p:nvPr/>
        </p:nvSpPr>
        <p:spPr bwMode="gray">
          <a:xfrm>
            <a:off x="9166930" y="4196548"/>
            <a:ext cx="2029070" cy="131918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1991" tIns="35995" rIns="71991" bIns="35995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914167">
              <a:lnSpc>
                <a:spcPct val="90000"/>
              </a:lnSpc>
            </a:pPr>
            <a:r>
              <a:rPr lang="en-US" sz="1800" dirty="0">
                <a:solidFill>
                  <a:srgbClr val="BFCB44"/>
                </a:solidFill>
                <a:latin typeface="TeleGrotesk Headline Ultra" pitchFamily="2" charset="0"/>
              </a:rPr>
              <a:t>Pécs</a:t>
            </a:r>
            <a:r>
              <a:rPr lang="en-US" sz="1800" dirty="0">
                <a:solidFill>
                  <a:srgbClr val="4B4B4B"/>
                </a:solidFill>
                <a:latin typeface="TeleGrotesk Headline" pitchFamily="2" charset="0"/>
              </a:rPr>
              <a:t>, </a:t>
            </a:r>
            <a:r>
              <a:rPr lang="hu-HU" sz="1800" dirty="0" smtClean="0">
                <a:solidFill>
                  <a:srgbClr val="4B4B4B"/>
                </a:solidFill>
                <a:latin typeface="TeleGrotesk Headline" pitchFamily="2" charset="0"/>
              </a:rPr>
              <a:t/>
            </a:r>
            <a:br>
              <a:rPr lang="hu-HU" sz="1800" dirty="0" smtClean="0">
                <a:solidFill>
                  <a:srgbClr val="4B4B4B"/>
                </a:solidFill>
                <a:latin typeface="TeleGrotesk Headline" pitchFamily="2" charset="0"/>
              </a:rPr>
            </a:br>
            <a:r>
              <a:rPr lang="en-US" sz="1800" dirty="0" smtClean="0">
                <a:solidFill>
                  <a:srgbClr val="53BAF2"/>
                </a:solidFill>
                <a:latin typeface="TeleGrotesk Headline Ultra" pitchFamily="2" charset="0"/>
              </a:rPr>
              <a:t>Debrecen</a:t>
            </a:r>
            <a:r>
              <a:rPr lang="en-US" sz="1800" dirty="0" smtClean="0">
                <a:solidFill>
                  <a:srgbClr val="53BAF2"/>
                </a:solidFill>
                <a:latin typeface="TeleGrotesk Headline" pitchFamily="2" charset="0"/>
              </a:rPr>
              <a:t> </a:t>
            </a:r>
            <a:r>
              <a:rPr lang="en-US" sz="1800" dirty="0">
                <a:solidFill>
                  <a:srgbClr val="4B4B4B"/>
                </a:solidFill>
              </a:rPr>
              <a:t>and</a:t>
            </a:r>
            <a:r>
              <a:rPr lang="en-US" sz="1800" dirty="0">
                <a:solidFill>
                  <a:srgbClr val="4B4B4B"/>
                </a:solidFill>
                <a:latin typeface="TeleGrotesk Headline" pitchFamily="2" charset="0"/>
              </a:rPr>
              <a:t> </a:t>
            </a:r>
            <a:r>
              <a:rPr lang="en-US" sz="1800" dirty="0">
                <a:solidFill>
                  <a:srgbClr val="1063AD"/>
                </a:solidFill>
                <a:latin typeface="TeleGrotesk Headline Ultra" pitchFamily="2" charset="0"/>
              </a:rPr>
              <a:t>Budapest</a:t>
            </a:r>
            <a:r>
              <a:rPr lang="en-US" sz="1800" dirty="0">
                <a:solidFill>
                  <a:srgbClr val="4B4B4B"/>
                </a:solidFill>
                <a:latin typeface="TeleGrotesk Headline" pitchFamily="2" charset="0"/>
              </a:rPr>
              <a:t> </a:t>
            </a:r>
            <a:r>
              <a:rPr lang="en-US" sz="1800" dirty="0">
                <a:solidFill>
                  <a:srgbClr val="4B4B4B"/>
                </a:solidFill>
              </a:rPr>
              <a:t>are fully equipped </a:t>
            </a:r>
            <a:r>
              <a:rPr lang="en-US" sz="1800" dirty="0">
                <a:solidFill>
                  <a:srgbClr val="4B4B4B"/>
                </a:solidFill>
                <a:latin typeface="Tele-GroteskFet" pitchFamily="2" charset="0"/>
              </a:rPr>
              <a:t>Business </a:t>
            </a:r>
            <a:r>
              <a:rPr lang="en-US" sz="1800" dirty="0" smtClean="0">
                <a:solidFill>
                  <a:srgbClr val="4B4B4B"/>
                </a:solidFill>
                <a:latin typeface="Tele-GroteskFet" pitchFamily="2" charset="0"/>
              </a:rPr>
              <a:t>Continuity</a:t>
            </a:r>
            <a:r>
              <a:rPr lang="hu-HU" sz="1800" dirty="0" smtClean="0">
                <a:solidFill>
                  <a:srgbClr val="4B4B4B"/>
                </a:solidFill>
                <a:latin typeface="Tele-GroteskFet" pitchFamily="2" charset="0"/>
              </a:rPr>
              <a:t> </a:t>
            </a:r>
            <a:r>
              <a:rPr lang="en-US" sz="1800" dirty="0" smtClean="0">
                <a:solidFill>
                  <a:srgbClr val="4B4B4B"/>
                </a:solidFill>
              </a:rPr>
              <a:t>solutions</a:t>
            </a:r>
            <a:r>
              <a:rPr lang="en-US" sz="1800" dirty="0">
                <a:solidFill>
                  <a:srgbClr val="4B4B4B"/>
                </a:solidFill>
              </a:rPr>
              <a:t>. </a:t>
            </a:r>
            <a:endParaRPr lang="hu-HU" sz="1800" dirty="0" smtClean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312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3"/>
          <p:cNvSpPr/>
          <p:nvPr/>
        </p:nvSpPr>
        <p:spPr>
          <a:xfrm>
            <a:off x="5771024" y="1141482"/>
            <a:ext cx="5537917" cy="2148393"/>
          </a:xfrm>
          <a:prstGeom prst="rect">
            <a:avLst/>
          </a:prstGeom>
          <a:solidFill>
            <a:srgbClr val="FFD32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8" tIns="45715" rIns="91428" bIns="45715" rtlCol="0" anchor="ctr"/>
          <a:lstStyle/>
          <a:p>
            <a:pPr algn="ctr"/>
            <a:endParaRPr lang="hu-HU" dirty="0" err="1" smtClean="0">
              <a:solidFill>
                <a:schemeClr val="tx1"/>
              </a:solidFill>
            </a:endParaRPr>
          </a:p>
        </p:txBody>
      </p:sp>
      <p:sp>
        <p:nvSpPr>
          <p:cNvPr id="8" name="Téglalap 82"/>
          <p:cNvSpPr/>
          <p:nvPr/>
        </p:nvSpPr>
        <p:spPr>
          <a:xfrm>
            <a:off x="241964" y="1141481"/>
            <a:ext cx="5537917" cy="2148393"/>
          </a:xfrm>
          <a:prstGeom prst="rect">
            <a:avLst/>
          </a:prstGeom>
          <a:solidFill>
            <a:srgbClr val="1063A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8" tIns="45715" rIns="91428" bIns="45715" rtlCol="0" anchor="ctr"/>
          <a:lstStyle/>
          <a:p>
            <a:pPr algn="ctr"/>
            <a:endParaRPr lang="hu-HU" dirty="0" err="1" smtClean="0">
              <a:solidFill>
                <a:schemeClr val="tx1"/>
              </a:solidFill>
            </a:endParaRPr>
          </a:p>
        </p:txBody>
      </p:sp>
      <p:sp>
        <p:nvSpPr>
          <p:cNvPr id="9" name="Téglalap 9"/>
          <p:cNvSpPr/>
          <p:nvPr/>
        </p:nvSpPr>
        <p:spPr>
          <a:xfrm>
            <a:off x="5851773" y="1197304"/>
            <a:ext cx="2233279" cy="446266"/>
          </a:xfrm>
          <a:prstGeom prst="rect">
            <a:avLst/>
          </a:prstGeom>
        </p:spPr>
        <p:txBody>
          <a:bodyPr wrap="none" lIns="91428" tIns="45715" rIns="91428" bIns="45715">
            <a:spAutoFit/>
          </a:bodyPr>
          <a:lstStyle/>
          <a:p>
            <a:pPr algn="l"/>
            <a:r>
              <a:rPr lang="hu-HU" dirty="0" smtClean="0">
                <a:solidFill>
                  <a:schemeClr val="bg1"/>
                </a:solidFill>
                <a:latin typeface="+mj-lt"/>
              </a:rPr>
              <a:t>AGE STRUCTURE</a:t>
            </a:r>
            <a:endParaRPr lang="hu-HU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" name="Téglalap 14"/>
          <p:cNvSpPr/>
          <p:nvPr/>
        </p:nvSpPr>
        <p:spPr>
          <a:xfrm>
            <a:off x="333656" y="1173854"/>
            <a:ext cx="2648458" cy="446266"/>
          </a:xfrm>
          <a:prstGeom prst="rect">
            <a:avLst/>
          </a:prstGeom>
        </p:spPr>
        <p:txBody>
          <a:bodyPr wrap="none" lIns="91428" tIns="45715" rIns="91428" bIns="45715">
            <a:spAutoFit/>
          </a:bodyPr>
          <a:lstStyle/>
          <a:p>
            <a:pPr algn="l"/>
            <a:r>
              <a:rPr lang="hu-HU" dirty="0" smtClean="0">
                <a:solidFill>
                  <a:schemeClr val="bg1"/>
                </a:solidFill>
                <a:latin typeface="+mj-lt"/>
              </a:rPr>
              <a:t>EMPLOYEE NUMBER</a:t>
            </a:r>
            <a:endParaRPr lang="hu-HU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" name="Szövegdoboz 28"/>
          <p:cNvSpPr txBox="1"/>
          <p:nvPr/>
        </p:nvSpPr>
        <p:spPr>
          <a:xfrm>
            <a:off x="2588389" y="1897716"/>
            <a:ext cx="2202975" cy="135421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450"/>
              </a:spcAft>
              <a:buClr>
                <a:schemeClr val="tx2"/>
              </a:buClr>
            </a:pPr>
            <a:r>
              <a:rPr lang="hu-HU" sz="8800" dirty="0">
                <a:solidFill>
                  <a:schemeClr val="bg1"/>
                </a:solidFill>
                <a:latin typeface="Tele-GroteskEEUlt" pitchFamily="2" charset="0"/>
              </a:rPr>
              <a:t>4409</a:t>
            </a:r>
            <a:endParaRPr lang="en-US" sz="8800" dirty="0">
              <a:solidFill>
                <a:schemeClr val="bg1"/>
              </a:solidFill>
              <a:latin typeface="Tele-GroteskEEUlt" pitchFamily="2" charset="0"/>
            </a:endParaRPr>
          </a:p>
        </p:txBody>
      </p:sp>
      <p:grpSp>
        <p:nvGrpSpPr>
          <p:cNvPr id="14" name="Csoportba foglalás 29"/>
          <p:cNvGrpSpPr/>
          <p:nvPr/>
        </p:nvGrpSpPr>
        <p:grpSpPr>
          <a:xfrm>
            <a:off x="10539204" y="1286605"/>
            <a:ext cx="445471" cy="348557"/>
            <a:chOff x="534240" y="1819764"/>
            <a:chExt cx="353529" cy="368880"/>
          </a:xfrm>
        </p:grpSpPr>
        <p:pic>
          <p:nvPicPr>
            <p:cNvPr id="15" name="Kép 30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34240" y="1819764"/>
              <a:ext cx="353529" cy="353529"/>
            </a:xfrm>
            <a:prstGeom prst="rect">
              <a:avLst/>
            </a:prstGeom>
          </p:spPr>
        </p:pic>
        <p:sp>
          <p:nvSpPr>
            <p:cNvPr id="16" name="Szövegdoboz 31"/>
            <p:cNvSpPr txBox="1"/>
            <p:nvPr/>
          </p:nvSpPr>
          <p:spPr>
            <a:xfrm>
              <a:off x="609220" y="1824215"/>
              <a:ext cx="157747" cy="13028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450"/>
                </a:spcAft>
                <a:buClr>
                  <a:schemeClr val="tx2"/>
                </a:buClr>
              </a:pPr>
              <a:r>
                <a:rPr lang="en-US" sz="800" dirty="0">
                  <a:solidFill>
                    <a:srgbClr val="FFD329"/>
                  </a:solidFill>
                  <a:latin typeface="Tele-GroteskEEUlt" pitchFamily="2" charset="0"/>
                </a:rPr>
                <a:t>201</a:t>
              </a:r>
              <a:r>
                <a:rPr lang="hu-HU" sz="800" dirty="0">
                  <a:solidFill>
                    <a:srgbClr val="FFD329"/>
                  </a:solidFill>
                  <a:latin typeface="Tele-GroteskEEUlt" pitchFamily="2" charset="0"/>
                </a:rPr>
                <a:t>8</a:t>
              </a:r>
            </a:p>
          </p:txBody>
        </p:sp>
        <p:sp>
          <p:nvSpPr>
            <p:cNvPr id="17" name="Szövegdoboz 32"/>
            <p:cNvSpPr txBox="1"/>
            <p:nvPr/>
          </p:nvSpPr>
          <p:spPr>
            <a:xfrm>
              <a:off x="620128" y="1941583"/>
              <a:ext cx="141210" cy="14657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450"/>
                </a:spcAft>
                <a:buClr>
                  <a:schemeClr val="tx2"/>
                </a:buClr>
              </a:pPr>
              <a:r>
                <a:rPr lang="hu-HU" sz="900" dirty="0">
                  <a:solidFill>
                    <a:schemeClr val="bg1"/>
                  </a:solidFill>
                  <a:latin typeface="Tele-GroteskEEUlt" pitchFamily="2" charset="0"/>
                </a:rPr>
                <a:t>FEB</a:t>
              </a:r>
              <a:endParaRPr lang="en-US" sz="900" dirty="0">
                <a:solidFill>
                  <a:schemeClr val="bg1"/>
                </a:solidFill>
                <a:latin typeface="Tele-GroteskEEUlt" pitchFamily="2" charset="0"/>
              </a:endParaRPr>
            </a:p>
          </p:txBody>
        </p:sp>
        <p:sp>
          <p:nvSpPr>
            <p:cNvPr id="18" name="Szövegdoboz 33"/>
            <p:cNvSpPr txBox="1"/>
            <p:nvPr/>
          </p:nvSpPr>
          <p:spPr>
            <a:xfrm>
              <a:off x="654298" y="2042070"/>
              <a:ext cx="89051" cy="14657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450"/>
                </a:spcAft>
                <a:buClr>
                  <a:schemeClr val="tx2"/>
                </a:buClr>
              </a:pPr>
              <a:r>
                <a:rPr lang="hu-HU" sz="900" dirty="0">
                  <a:solidFill>
                    <a:schemeClr val="bg1"/>
                  </a:solidFill>
                  <a:latin typeface="Tele-GroteskEEUlt" pitchFamily="2" charset="0"/>
                </a:rPr>
                <a:t>28</a:t>
              </a:r>
              <a:endParaRPr lang="en-US" sz="900" dirty="0">
                <a:solidFill>
                  <a:schemeClr val="bg1"/>
                </a:solidFill>
                <a:latin typeface="Tele-GroteskEEUlt" pitchFamily="2" charset="0"/>
              </a:endParaRPr>
            </a:p>
          </p:txBody>
        </p:sp>
      </p:grpSp>
      <p:grpSp>
        <p:nvGrpSpPr>
          <p:cNvPr id="19" name="Csoportba foglalás 52"/>
          <p:cNvGrpSpPr/>
          <p:nvPr/>
        </p:nvGrpSpPr>
        <p:grpSpPr>
          <a:xfrm>
            <a:off x="5942508" y="2048353"/>
            <a:ext cx="2722332" cy="853103"/>
            <a:chOff x="5002986" y="2435703"/>
            <a:chExt cx="3101403" cy="993824"/>
          </a:xfrm>
          <a:solidFill>
            <a:srgbClr val="FFFFFF">
              <a:alpha val="50196"/>
            </a:srgbClr>
          </a:solidFill>
        </p:grpSpPr>
        <p:sp>
          <p:nvSpPr>
            <p:cNvPr id="20" name="Téglalap 47"/>
            <p:cNvSpPr/>
            <p:nvPr/>
          </p:nvSpPr>
          <p:spPr>
            <a:xfrm>
              <a:off x="5002986" y="2435703"/>
              <a:ext cx="3097406" cy="177285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1" name="Téglalap 48"/>
            <p:cNvSpPr/>
            <p:nvPr/>
          </p:nvSpPr>
          <p:spPr>
            <a:xfrm>
              <a:off x="5002986" y="2639110"/>
              <a:ext cx="3097406" cy="177285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2" name="Téglalap 49"/>
            <p:cNvSpPr/>
            <p:nvPr/>
          </p:nvSpPr>
          <p:spPr>
            <a:xfrm>
              <a:off x="5006983" y="2842385"/>
              <a:ext cx="3097406" cy="177285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3" name="Téglalap 50"/>
            <p:cNvSpPr/>
            <p:nvPr/>
          </p:nvSpPr>
          <p:spPr>
            <a:xfrm>
              <a:off x="5002986" y="3047515"/>
              <a:ext cx="3097406" cy="177285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4" name="Téglalap 51"/>
            <p:cNvSpPr/>
            <p:nvPr/>
          </p:nvSpPr>
          <p:spPr>
            <a:xfrm>
              <a:off x="5006983" y="3252242"/>
              <a:ext cx="3097406" cy="177285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25" name="Csoportba foglalás 7"/>
          <p:cNvGrpSpPr/>
          <p:nvPr/>
        </p:nvGrpSpPr>
        <p:grpSpPr>
          <a:xfrm>
            <a:off x="5942509" y="2047671"/>
            <a:ext cx="1015353" cy="853332"/>
            <a:chOff x="6085559" y="2294046"/>
            <a:chExt cx="1524257" cy="903085"/>
          </a:xfrm>
        </p:grpSpPr>
        <p:sp>
          <p:nvSpPr>
            <p:cNvPr id="26" name="Téglalap 37"/>
            <p:cNvSpPr/>
            <p:nvPr/>
          </p:nvSpPr>
          <p:spPr>
            <a:xfrm>
              <a:off x="6680523" y="2294046"/>
              <a:ext cx="334327" cy="161055"/>
            </a:xfrm>
            <a:prstGeom prst="rect">
              <a:avLst/>
            </a:prstGeom>
            <a:solidFill>
              <a:srgbClr val="1BADA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7" name="Téglalap 38"/>
            <p:cNvSpPr/>
            <p:nvPr/>
          </p:nvSpPr>
          <p:spPr>
            <a:xfrm>
              <a:off x="6085559" y="2479554"/>
              <a:ext cx="1524257" cy="161055"/>
            </a:xfrm>
            <a:prstGeom prst="rect">
              <a:avLst/>
            </a:prstGeom>
            <a:solidFill>
              <a:srgbClr val="53BDF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8" name="Téglalap 39"/>
            <p:cNvSpPr/>
            <p:nvPr/>
          </p:nvSpPr>
          <p:spPr>
            <a:xfrm>
              <a:off x="6580225" y="2665062"/>
              <a:ext cx="534924" cy="161055"/>
            </a:xfrm>
            <a:prstGeom prst="rect">
              <a:avLst/>
            </a:prstGeom>
            <a:solidFill>
              <a:srgbClr val="FF9A1E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9" name="Téglalap 40"/>
            <p:cNvSpPr/>
            <p:nvPr/>
          </p:nvSpPr>
          <p:spPr>
            <a:xfrm>
              <a:off x="6780822" y="2850570"/>
              <a:ext cx="133731" cy="161055"/>
            </a:xfrm>
            <a:prstGeom prst="rect">
              <a:avLst/>
            </a:prstGeom>
            <a:solidFill>
              <a:srgbClr val="BFCB4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0" name="Téglalap 41"/>
            <p:cNvSpPr/>
            <p:nvPr/>
          </p:nvSpPr>
          <p:spPr>
            <a:xfrm>
              <a:off x="6814254" y="3036076"/>
              <a:ext cx="66865" cy="161055"/>
            </a:xfrm>
            <a:prstGeom prst="rect">
              <a:avLst/>
            </a:prstGeom>
            <a:solidFill>
              <a:srgbClr val="1063A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31" name="Szövegdoboz 42"/>
          <p:cNvSpPr txBox="1"/>
          <p:nvPr/>
        </p:nvSpPr>
        <p:spPr>
          <a:xfrm>
            <a:off x="7060527" y="2041758"/>
            <a:ext cx="148213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450"/>
              </a:spcAft>
              <a:buClr>
                <a:schemeClr val="tx2"/>
              </a:buClr>
            </a:pPr>
            <a:r>
              <a:rPr lang="hu-HU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6-25:	10%</a:t>
            </a:r>
          </a:p>
        </p:txBody>
      </p:sp>
      <p:sp>
        <p:nvSpPr>
          <p:cNvPr id="32" name="Szövegdoboz 43"/>
          <p:cNvSpPr txBox="1"/>
          <p:nvPr/>
        </p:nvSpPr>
        <p:spPr>
          <a:xfrm>
            <a:off x="7060528" y="2217436"/>
            <a:ext cx="148213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450"/>
              </a:spcAft>
              <a:buClr>
                <a:schemeClr val="tx2"/>
              </a:buClr>
            </a:pPr>
            <a:r>
              <a:rPr lang="hu-HU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6-35:	52%</a:t>
            </a:r>
          </a:p>
        </p:txBody>
      </p:sp>
      <p:sp>
        <p:nvSpPr>
          <p:cNvPr id="33" name="Szövegdoboz 44"/>
          <p:cNvSpPr txBox="1"/>
          <p:nvPr/>
        </p:nvSpPr>
        <p:spPr>
          <a:xfrm>
            <a:off x="7060528" y="2393116"/>
            <a:ext cx="148213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450"/>
              </a:spcAft>
              <a:buClr>
                <a:schemeClr val="tx2"/>
              </a:buClr>
            </a:pPr>
            <a:r>
              <a:rPr lang="hu-HU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6-45:	30%</a:t>
            </a:r>
          </a:p>
        </p:txBody>
      </p:sp>
      <p:sp>
        <p:nvSpPr>
          <p:cNvPr id="34" name="Szövegdoboz 45"/>
          <p:cNvSpPr txBox="1"/>
          <p:nvPr/>
        </p:nvSpPr>
        <p:spPr>
          <a:xfrm>
            <a:off x="7054039" y="2568795"/>
            <a:ext cx="150297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450"/>
              </a:spcAft>
              <a:buClr>
                <a:schemeClr val="tx2"/>
              </a:buClr>
            </a:pPr>
            <a:r>
              <a:rPr lang="hu-HU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6-55:	   6%</a:t>
            </a:r>
          </a:p>
        </p:txBody>
      </p:sp>
      <p:sp>
        <p:nvSpPr>
          <p:cNvPr id="35" name="Szövegdoboz 46"/>
          <p:cNvSpPr txBox="1"/>
          <p:nvPr/>
        </p:nvSpPr>
        <p:spPr>
          <a:xfrm>
            <a:off x="7067103" y="2744473"/>
            <a:ext cx="150297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450"/>
              </a:spcAft>
              <a:buClr>
                <a:schemeClr val="tx2"/>
              </a:buClr>
            </a:pPr>
            <a:r>
              <a:rPr lang="hu-HU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6-65:	   2%</a:t>
            </a:r>
          </a:p>
        </p:txBody>
      </p:sp>
      <p:pic>
        <p:nvPicPr>
          <p:cNvPr id="44" name="Kép 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77438" y="1922861"/>
            <a:ext cx="2369111" cy="1155151"/>
          </a:xfrm>
          <a:prstGeom prst="rect">
            <a:avLst/>
          </a:prstGeom>
        </p:spPr>
      </p:pic>
      <p:grpSp>
        <p:nvGrpSpPr>
          <p:cNvPr id="45" name="Csoportba foglalás 83"/>
          <p:cNvGrpSpPr/>
          <p:nvPr/>
        </p:nvGrpSpPr>
        <p:grpSpPr>
          <a:xfrm>
            <a:off x="4889177" y="1240133"/>
            <a:ext cx="445471" cy="351800"/>
            <a:chOff x="534240" y="1816332"/>
            <a:chExt cx="353529" cy="372312"/>
          </a:xfrm>
        </p:grpSpPr>
        <p:pic>
          <p:nvPicPr>
            <p:cNvPr id="46" name="Kép 84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34240" y="1819764"/>
              <a:ext cx="353529" cy="353529"/>
            </a:xfrm>
            <a:prstGeom prst="rect">
              <a:avLst/>
            </a:prstGeom>
          </p:spPr>
        </p:pic>
        <p:sp>
          <p:nvSpPr>
            <p:cNvPr id="47" name="Szövegdoboz 85"/>
            <p:cNvSpPr txBox="1"/>
            <p:nvPr/>
          </p:nvSpPr>
          <p:spPr>
            <a:xfrm>
              <a:off x="609220" y="1816332"/>
              <a:ext cx="157747" cy="13028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450"/>
                </a:spcAft>
                <a:buClr>
                  <a:schemeClr val="tx2"/>
                </a:buClr>
              </a:pPr>
              <a:r>
                <a:rPr lang="en-US" sz="800" dirty="0">
                  <a:solidFill>
                    <a:srgbClr val="1063AD"/>
                  </a:solidFill>
                  <a:latin typeface="Tele-GroteskEEUlt" pitchFamily="2" charset="0"/>
                </a:rPr>
                <a:t>201</a:t>
              </a:r>
              <a:r>
                <a:rPr lang="hu-HU" sz="800" dirty="0">
                  <a:solidFill>
                    <a:srgbClr val="1063AD"/>
                  </a:solidFill>
                  <a:latin typeface="Tele-GroteskEEUlt" pitchFamily="2" charset="0"/>
                </a:rPr>
                <a:t>8</a:t>
              </a:r>
            </a:p>
          </p:txBody>
        </p:sp>
        <p:sp>
          <p:nvSpPr>
            <p:cNvPr id="48" name="Szövegdoboz 86"/>
            <p:cNvSpPr txBox="1"/>
            <p:nvPr/>
          </p:nvSpPr>
          <p:spPr>
            <a:xfrm>
              <a:off x="620126" y="1941584"/>
              <a:ext cx="141210" cy="14657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450"/>
                </a:spcAft>
                <a:buClr>
                  <a:schemeClr val="tx2"/>
                </a:buClr>
              </a:pPr>
              <a:r>
                <a:rPr lang="hu-HU" sz="900" dirty="0">
                  <a:solidFill>
                    <a:schemeClr val="bg1"/>
                  </a:solidFill>
                  <a:latin typeface="Tele-GroteskEEUlt" pitchFamily="2" charset="0"/>
                </a:rPr>
                <a:t>FEB</a:t>
              </a:r>
              <a:endParaRPr lang="en-US" sz="900" dirty="0">
                <a:solidFill>
                  <a:schemeClr val="bg1"/>
                </a:solidFill>
                <a:latin typeface="Tele-GroteskEEUlt" pitchFamily="2" charset="0"/>
              </a:endParaRPr>
            </a:p>
          </p:txBody>
        </p:sp>
        <p:sp>
          <p:nvSpPr>
            <p:cNvPr id="49" name="Szövegdoboz 87"/>
            <p:cNvSpPr txBox="1"/>
            <p:nvPr/>
          </p:nvSpPr>
          <p:spPr>
            <a:xfrm>
              <a:off x="654298" y="2042070"/>
              <a:ext cx="89051" cy="14657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450"/>
                </a:spcAft>
                <a:buClr>
                  <a:schemeClr val="tx2"/>
                </a:buClr>
              </a:pPr>
              <a:r>
                <a:rPr lang="hu-HU" sz="900" dirty="0">
                  <a:solidFill>
                    <a:schemeClr val="bg1"/>
                  </a:solidFill>
                  <a:latin typeface="Tele-GroteskEEUlt" pitchFamily="2" charset="0"/>
                </a:rPr>
                <a:t>28</a:t>
              </a:r>
              <a:endParaRPr lang="en-US" sz="900" dirty="0">
                <a:solidFill>
                  <a:schemeClr val="bg1"/>
                </a:solidFill>
                <a:latin typeface="Tele-GroteskEEUlt" pitchFamily="2" charset="0"/>
              </a:endParaRPr>
            </a:p>
          </p:txBody>
        </p:sp>
      </p:grpSp>
      <p:pic>
        <p:nvPicPr>
          <p:cNvPr id="50" name="Kép 8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610" y="1475527"/>
            <a:ext cx="1696161" cy="1769761"/>
          </a:xfrm>
          <a:prstGeom prst="rect">
            <a:avLst/>
          </a:prstGeom>
        </p:spPr>
      </p:pic>
      <p:sp>
        <p:nvSpPr>
          <p:cNvPr id="57" name="Téglalap 3"/>
          <p:cNvSpPr/>
          <p:nvPr/>
        </p:nvSpPr>
        <p:spPr>
          <a:xfrm>
            <a:off x="234782" y="3286286"/>
            <a:ext cx="5537917" cy="2148393"/>
          </a:xfrm>
          <a:prstGeom prst="rect">
            <a:avLst/>
          </a:prstGeom>
          <a:solidFill>
            <a:srgbClr val="FF9A1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8" tIns="45715" rIns="91428" bIns="45715" rtlCol="0" anchor="ctr"/>
          <a:lstStyle/>
          <a:p>
            <a:pPr algn="ctr"/>
            <a:endParaRPr lang="hu-HU" dirty="0" err="1" smtClean="0">
              <a:solidFill>
                <a:schemeClr val="tx1"/>
              </a:solidFill>
            </a:endParaRPr>
          </a:p>
        </p:txBody>
      </p:sp>
      <p:sp>
        <p:nvSpPr>
          <p:cNvPr id="58" name="Téglalap 9"/>
          <p:cNvSpPr/>
          <p:nvPr/>
        </p:nvSpPr>
        <p:spPr>
          <a:xfrm>
            <a:off x="315533" y="3342105"/>
            <a:ext cx="2539738" cy="1154152"/>
          </a:xfrm>
          <a:prstGeom prst="rect">
            <a:avLst/>
          </a:prstGeom>
        </p:spPr>
        <p:txBody>
          <a:bodyPr wrap="square" lIns="91428" tIns="45715" rIns="91428" bIns="45715">
            <a:spAutoFit/>
          </a:bodyPr>
          <a:lstStyle/>
          <a:p>
            <a:pPr algn="l"/>
            <a:r>
              <a:rPr lang="en-US" dirty="0" smtClean="0">
                <a:solidFill>
                  <a:schemeClr val="bg1"/>
                </a:solidFill>
                <a:latin typeface="+mj-lt"/>
              </a:rPr>
              <a:t>AVERAGE NUMBER OF TRAINING DAYS PER EMPLOYEE</a:t>
            </a:r>
            <a:endParaRPr lang="hu-HU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9" name="Szövegdoboz 61"/>
          <p:cNvSpPr txBox="1"/>
          <p:nvPr/>
        </p:nvSpPr>
        <p:spPr>
          <a:xfrm>
            <a:off x="698467" y="4269646"/>
            <a:ext cx="921727" cy="8309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450"/>
              </a:spcAft>
              <a:buClr>
                <a:schemeClr val="tx2"/>
              </a:buClr>
            </a:pPr>
            <a:r>
              <a:rPr lang="hu-HU" sz="5400" dirty="0">
                <a:solidFill>
                  <a:schemeClr val="bg1"/>
                </a:solidFill>
                <a:latin typeface="Tele-GroteskEEUlt" pitchFamily="2" charset="0"/>
              </a:rPr>
              <a:t>7,2</a:t>
            </a:r>
            <a:r>
              <a:rPr lang="hu-HU" sz="3200" dirty="0">
                <a:solidFill>
                  <a:schemeClr val="bg1"/>
                </a:solidFill>
                <a:latin typeface="Tele-GroteskEEUlt" pitchFamily="2" charset="0"/>
              </a:rPr>
              <a:t> </a:t>
            </a:r>
            <a:endParaRPr lang="en-US" sz="3200" dirty="0">
              <a:solidFill>
                <a:schemeClr val="bg1"/>
              </a:solidFill>
              <a:latin typeface="Tele-GroteskEENor" pitchFamily="2" charset="0"/>
            </a:endParaRPr>
          </a:p>
        </p:txBody>
      </p:sp>
      <p:sp>
        <p:nvSpPr>
          <p:cNvPr id="60" name="Téglalap 69"/>
          <p:cNvSpPr/>
          <p:nvPr/>
        </p:nvSpPr>
        <p:spPr>
          <a:xfrm>
            <a:off x="668846" y="4882316"/>
            <a:ext cx="1198381" cy="446266"/>
          </a:xfrm>
          <a:prstGeom prst="rect">
            <a:avLst/>
          </a:prstGeom>
        </p:spPr>
        <p:txBody>
          <a:bodyPr wrap="none" lIns="91428" tIns="45715" rIns="91428" bIns="45715">
            <a:spAutoFit/>
          </a:bodyPr>
          <a:lstStyle/>
          <a:p>
            <a:r>
              <a:rPr lang="hu-HU" dirty="0" err="1">
                <a:solidFill>
                  <a:schemeClr val="bg1"/>
                </a:solidFill>
                <a:latin typeface="Tele-GroteskEENor" pitchFamily="2" charset="0"/>
              </a:rPr>
              <a:t>days</a:t>
            </a:r>
            <a:r>
              <a:rPr lang="hu-HU" dirty="0">
                <a:solidFill>
                  <a:schemeClr val="bg1"/>
                </a:solidFill>
                <a:latin typeface="Tele-GroteskEENor" pitchFamily="2" charset="0"/>
              </a:rPr>
              <a:t>/FTE</a:t>
            </a:r>
            <a:endParaRPr lang="hu-HU" dirty="0">
              <a:solidFill>
                <a:schemeClr val="bg1"/>
              </a:solidFill>
            </a:endParaRPr>
          </a:p>
        </p:txBody>
      </p:sp>
      <p:pic>
        <p:nvPicPr>
          <p:cNvPr id="61" name="Kép 15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24625" y="3400843"/>
            <a:ext cx="2840800" cy="1935887"/>
          </a:xfrm>
          <a:prstGeom prst="rect">
            <a:avLst/>
          </a:prstGeom>
        </p:spPr>
      </p:pic>
      <p:sp>
        <p:nvSpPr>
          <p:cNvPr id="62" name="Téglalap 88"/>
          <p:cNvSpPr/>
          <p:nvPr/>
        </p:nvSpPr>
        <p:spPr>
          <a:xfrm>
            <a:off x="5770169" y="3289112"/>
            <a:ext cx="5537917" cy="2148393"/>
          </a:xfrm>
          <a:prstGeom prst="rect">
            <a:avLst/>
          </a:prstGeom>
          <a:solidFill>
            <a:srgbClr val="BFCB4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8" tIns="45715" rIns="91428" bIns="45715" rtlCol="0" anchor="ctr"/>
          <a:lstStyle/>
          <a:p>
            <a:pPr algn="ctr"/>
            <a:endParaRPr lang="hu-HU" dirty="0" err="1" smtClean="0">
              <a:solidFill>
                <a:schemeClr val="tx1"/>
              </a:solidFill>
            </a:endParaRPr>
          </a:p>
        </p:txBody>
      </p:sp>
      <p:sp>
        <p:nvSpPr>
          <p:cNvPr id="63" name="Téglalap 18"/>
          <p:cNvSpPr/>
          <p:nvPr/>
        </p:nvSpPr>
        <p:spPr>
          <a:xfrm>
            <a:off x="5851774" y="3363970"/>
            <a:ext cx="2083539" cy="800209"/>
          </a:xfrm>
          <a:prstGeom prst="rect">
            <a:avLst/>
          </a:prstGeom>
        </p:spPr>
        <p:txBody>
          <a:bodyPr wrap="square" lIns="91428" tIns="45715" rIns="91428" bIns="45715">
            <a:spAutoFit/>
          </a:bodyPr>
          <a:lstStyle/>
          <a:p>
            <a:pPr algn="l"/>
            <a:r>
              <a:rPr lang="hu-HU" dirty="0" smtClean="0">
                <a:solidFill>
                  <a:schemeClr val="bg1"/>
                </a:solidFill>
                <a:latin typeface="+mj-lt"/>
              </a:rPr>
              <a:t>PROPORTION OF WOMEN</a:t>
            </a:r>
            <a:endParaRPr lang="hu-HU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64" name="Kép 12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1512" y="3425511"/>
            <a:ext cx="2450441" cy="1868432"/>
          </a:xfrm>
          <a:prstGeom prst="rect">
            <a:avLst/>
          </a:prstGeom>
        </p:spPr>
      </p:pic>
      <p:sp>
        <p:nvSpPr>
          <p:cNvPr id="65" name="Szövegdoboz 70"/>
          <p:cNvSpPr txBox="1"/>
          <p:nvPr/>
        </p:nvSpPr>
        <p:spPr>
          <a:xfrm>
            <a:off x="5974674" y="4129406"/>
            <a:ext cx="1808187" cy="8309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450"/>
              </a:spcAft>
              <a:buClr>
                <a:schemeClr val="tx2"/>
              </a:buClr>
            </a:pPr>
            <a:r>
              <a:rPr lang="hu-HU" sz="5400" dirty="0">
                <a:solidFill>
                  <a:schemeClr val="bg1"/>
                </a:solidFill>
                <a:latin typeface="Tele-GroteskEEUlt" pitchFamily="2" charset="0"/>
              </a:rPr>
              <a:t>36,8%</a:t>
            </a:r>
            <a:endParaRPr lang="en-US" sz="5400" dirty="0">
              <a:solidFill>
                <a:schemeClr val="bg1"/>
              </a:solidFill>
              <a:latin typeface="Tele-GroteskEEUlt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ITSH HR FACTS</a:t>
            </a:r>
            <a:endParaRPr lang="hu-HU" dirty="0"/>
          </a:p>
        </p:txBody>
      </p:sp>
      <p:sp>
        <p:nvSpPr>
          <p:cNvPr id="66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0761939" y="6007663"/>
            <a:ext cx="364066" cy="271507"/>
          </a:xfrm>
        </p:spPr>
        <p:txBody>
          <a:bodyPr/>
          <a:lstStyle/>
          <a:p>
            <a:pPr>
              <a:defRPr/>
            </a:pPr>
            <a:fld id="{ECD947EA-C75C-4BD6-A5B3-2D27ECB9666E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8008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1522075" cy="648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altLang="hu-HU" dirty="0" smtClean="0">
                <a:latin typeface="Tele-GroteskEEUlt" pitchFamily="2" charset="0"/>
              </a:rPr>
              <a:t>ABOUT OUR COMPAN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C42E853-FB2E-4C41-9A69-35DEFC1A3513}" type="slidenum">
              <a:rPr lang="en-US" smtClean="0">
                <a:solidFill>
                  <a:schemeClr val="bg1"/>
                </a:solidFill>
              </a:rPr>
              <a:pPr>
                <a:defRPr/>
              </a:pPr>
              <a:t>18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2" name="Textfeld 13"/>
          <p:cNvSpPr txBox="1">
            <a:spLocks noChangeArrowheads="1"/>
          </p:cNvSpPr>
          <p:nvPr/>
        </p:nvSpPr>
        <p:spPr bwMode="auto">
          <a:xfrm>
            <a:off x="407669" y="2491638"/>
            <a:ext cx="3545045" cy="3472054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144000" rIns="72000" bIns="72000"/>
          <a:lstStyle>
            <a:lvl1pPr marL="24161750" indent="-24161750"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1pPr>
            <a:lvl2pPr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5pPr>
            <a:lvl6pPr marL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6pPr>
            <a:lvl7pPr marL="9144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7pPr>
            <a:lvl8pPr marL="13716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8pPr>
            <a:lvl9pPr marL="18288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marL="0" lvl="1" eaLnBrk="1" hangingPunct="1">
              <a:spcAft>
                <a:spcPts val="425"/>
              </a:spcAft>
              <a:defRPr/>
            </a:pPr>
            <a:endParaRPr lang="de-DE" sz="1400" smtClean="0">
              <a:latin typeface="Tele-GroteskHal" pitchFamily="2" charset="0"/>
            </a:endParaRPr>
          </a:p>
        </p:txBody>
      </p:sp>
      <p:sp>
        <p:nvSpPr>
          <p:cNvPr id="13" name="Textfeld 13"/>
          <p:cNvSpPr txBox="1">
            <a:spLocks noChangeArrowheads="1"/>
          </p:cNvSpPr>
          <p:nvPr/>
        </p:nvSpPr>
        <p:spPr bwMode="auto">
          <a:xfrm>
            <a:off x="407668" y="2151433"/>
            <a:ext cx="3266588" cy="3812259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144000" rIns="72000" bIns="72000"/>
          <a:lstStyle>
            <a:lvl1pPr marL="24161750" indent="-24161750"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1pPr>
            <a:lvl2pPr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5pPr>
            <a:lvl6pPr marL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6pPr>
            <a:lvl7pPr marL="9144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7pPr>
            <a:lvl8pPr marL="13716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8pPr>
            <a:lvl9pPr marL="18288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marL="0" lvl="1" eaLnBrk="1" hangingPunct="1">
              <a:spcAft>
                <a:spcPts val="425"/>
              </a:spcAft>
              <a:defRPr/>
            </a:pPr>
            <a:endParaRPr lang="de-DE" sz="1400" smtClean="0">
              <a:latin typeface="Tele-GroteskHal" pitchFamily="2" charset="0"/>
            </a:endParaRPr>
          </a:p>
        </p:txBody>
      </p:sp>
      <p:sp>
        <p:nvSpPr>
          <p:cNvPr id="14" name="Textfeld 13"/>
          <p:cNvSpPr txBox="1">
            <a:spLocks noChangeArrowheads="1"/>
          </p:cNvSpPr>
          <p:nvPr/>
        </p:nvSpPr>
        <p:spPr bwMode="auto">
          <a:xfrm>
            <a:off x="407669" y="2287515"/>
            <a:ext cx="3175728" cy="3676177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144000" rIns="72000" bIns="72000"/>
          <a:lstStyle>
            <a:lvl1pPr marL="24161750" indent="-24161750"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1pPr>
            <a:lvl2pPr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5pPr>
            <a:lvl6pPr marL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6pPr>
            <a:lvl7pPr marL="9144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7pPr>
            <a:lvl8pPr marL="13716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8pPr>
            <a:lvl9pPr marL="18288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marL="0" lvl="1" eaLnBrk="1" hangingPunct="1">
              <a:spcAft>
                <a:spcPts val="425"/>
              </a:spcAft>
              <a:defRPr/>
            </a:pPr>
            <a:endParaRPr lang="de-DE" sz="1400" smtClean="0">
              <a:latin typeface="Tele-GroteskHal" pitchFamily="2" charset="0"/>
            </a:endParaRPr>
          </a:p>
        </p:txBody>
      </p:sp>
      <p:sp>
        <p:nvSpPr>
          <p:cNvPr id="15" name="Rectangle 10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07669" y="2219475"/>
            <a:ext cx="3175728" cy="2993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000" tIns="180000" rIns="108000" bIns="36000"/>
          <a:lstStyle/>
          <a:p>
            <a:pPr indent="-457200" defTabSz="901700" eaLnBrk="0" hangingPunct="0">
              <a:lnSpc>
                <a:spcPct val="100000"/>
              </a:lnSpc>
              <a:spcBef>
                <a:spcPts val="425"/>
              </a:spcBef>
              <a:spcAft>
                <a:spcPts val="425"/>
              </a:spcAft>
              <a:buClr>
                <a:srgbClr val="E20074"/>
              </a:buClr>
              <a:buSzPct val="75000"/>
            </a:pPr>
            <a:r>
              <a:rPr lang="en-US" sz="1600" dirty="0" smtClean="0">
                <a:solidFill>
                  <a:schemeClr val="bg1"/>
                </a:solidFill>
                <a:latin typeface="Tele-GroteskEENor" pitchFamily="2" charset="0"/>
              </a:rPr>
              <a:t>As a Hungarian subsidiary of T-Systems International </a:t>
            </a:r>
            <a:br>
              <a:rPr lang="en-US" sz="1600" dirty="0" smtClean="0">
                <a:solidFill>
                  <a:schemeClr val="bg1"/>
                </a:solidFill>
                <a:latin typeface="Tele-GroteskEENor" pitchFamily="2" charset="0"/>
              </a:rPr>
            </a:br>
            <a:r>
              <a:rPr lang="en-US" sz="1600" dirty="0" smtClean="0">
                <a:solidFill>
                  <a:schemeClr val="bg1"/>
                </a:solidFill>
                <a:latin typeface="Tele-GroteskEENor" pitchFamily="2" charset="0"/>
              </a:rPr>
              <a:t>IT Services Hungary serve</a:t>
            </a:r>
            <a:r>
              <a:rPr lang="hu-HU" sz="1600" dirty="0" smtClean="0">
                <a:solidFill>
                  <a:schemeClr val="bg1"/>
                </a:solidFill>
                <a:latin typeface="Tele-GroteskEENor" pitchFamily="2" charset="0"/>
              </a:rPr>
              <a:t>s</a:t>
            </a:r>
            <a:r>
              <a:rPr lang="en-US" sz="1600" dirty="0" smtClean="0">
                <a:solidFill>
                  <a:schemeClr val="bg1"/>
                </a:solidFill>
                <a:latin typeface="Tele-GroteskEENor" pitchFamily="2" charset="0"/>
              </a:rPr>
              <a:t> our international clients in operational areas on </a:t>
            </a:r>
            <a:r>
              <a:rPr lang="hu-HU" sz="1600" dirty="0" err="1" smtClean="0">
                <a:solidFill>
                  <a:schemeClr val="bg1"/>
                </a:solidFill>
                <a:latin typeface="Tele-GroteskEENor" pitchFamily="2" charset="0"/>
              </a:rPr>
              <a:t>seven</a:t>
            </a:r>
            <a:r>
              <a:rPr lang="hu-HU" sz="1600" dirty="0" smtClean="0">
                <a:solidFill>
                  <a:schemeClr val="bg1"/>
                </a:solidFill>
                <a:latin typeface="Tele-GroteskEENor" pitchFamily="2" charset="0"/>
              </a:rPr>
              <a:t> </a:t>
            </a:r>
            <a:r>
              <a:rPr lang="en-US" sz="1600" dirty="0" smtClean="0">
                <a:solidFill>
                  <a:schemeClr val="bg1"/>
                </a:solidFill>
                <a:latin typeface="Tele-GroteskEENor" pitchFamily="2" charset="0"/>
              </a:rPr>
              <a:t>Service Centers </a:t>
            </a:r>
            <a:r>
              <a:rPr lang="hu-HU" sz="1600" dirty="0" err="1" smtClean="0">
                <a:solidFill>
                  <a:schemeClr val="bg1"/>
                </a:solidFill>
                <a:latin typeface="Tele-GroteskEENor" pitchFamily="2" charset="0"/>
              </a:rPr>
              <a:t>in</a:t>
            </a:r>
            <a:r>
              <a:rPr lang="hu-HU" sz="1600" dirty="0" smtClean="0">
                <a:solidFill>
                  <a:schemeClr val="bg1"/>
                </a:solidFill>
                <a:latin typeface="Tele-GroteskEENor" pitchFamily="2" charset="0"/>
              </a:rPr>
              <a:t> </a:t>
            </a:r>
            <a:r>
              <a:rPr lang="hu-HU" sz="1600" dirty="0" err="1" smtClean="0">
                <a:solidFill>
                  <a:schemeClr val="bg1"/>
                </a:solidFill>
                <a:latin typeface="Tele-GroteskEENor" pitchFamily="2" charset="0"/>
              </a:rPr>
              <a:t>four</a:t>
            </a:r>
            <a:r>
              <a:rPr lang="hu-HU" sz="1600" dirty="0" smtClean="0">
                <a:solidFill>
                  <a:schemeClr val="bg1"/>
                </a:solidFill>
                <a:latin typeface="Tele-GroteskEENor" pitchFamily="2" charset="0"/>
              </a:rPr>
              <a:t> </a:t>
            </a:r>
            <a:r>
              <a:rPr lang="hu-HU" sz="1600" dirty="0" err="1" smtClean="0">
                <a:solidFill>
                  <a:schemeClr val="bg1"/>
                </a:solidFill>
                <a:latin typeface="Tele-GroteskEENor" pitchFamily="2" charset="0"/>
              </a:rPr>
              <a:t>cities</a:t>
            </a:r>
            <a:r>
              <a:rPr lang="hu-HU" sz="1600" dirty="0" smtClean="0">
                <a:solidFill>
                  <a:schemeClr val="bg1"/>
                </a:solidFill>
                <a:latin typeface="Tele-GroteskEENor" pitchFamily="2" charset="0"/>
              </a:rPr>
              <a:t>: </a:t>
            </a:r>
            <a:r>
              <a:rPr lang="en-US" sz="1600" dirty="0" smtClean="0">
                <a:solidFill>
                  <a:schemeClr val="bg1"/>
                </a:solidFill>
                <a:latin typeface="Tele-GroteskEENor" pitchFamily="2" charset="0"/>
              </a:rPr>
              <a:t>Budapest, Debrecen, </a:t>
            </a:r>
            <a:r>
              <a:rPr lang="en-US" sz="1600" dirty="0" err="1" smtClean="0">
                <a:solidFill>
                  <a:schemeClr val="bg1"/>
                </a:solidFill>
                <a:latin typeface="Tele-GroteskEENor" pitchFamily="2" charset="0"/>
              </a:rPr>
              <a:t>Pécs</a:t>
            </a:r>
            <a:r>
              <a:rPr lang="en-US" sz="1600" dirty="0" smtClean="0">
                <a:solidFill>
                  <a:schemeClr val="bg1"/>
                </a:solidFill>
                <a:latin typeface="Tele-GroteskEENor" pitchFamily="2" charset="0"/>
              </a:rPr>
              <a:t> and Szeged.</a:t>
            </a:r>
            <a:endParaRPr lang="en-US" sz="1600" dirty="0">
              <a:solidFill>
                <a:schemeClr val="bg1"/>
              </a:solidFill>
              <a:latin typeface="Tele-GroteskEENor" pitchFamily="2" charset="0"/>
            </a:endParaRPr>
          </a:p>
        </p:txBody>
      </p:sp>
      <p:sp>
        <p:nvSpPr>
          <p:cNvPr id="136" name="AutoShape 7"/>
          <p:cNvSpPr>
            <a:spLocks noChangeArrowheads="1"/>
          </p:cNvSpPr>
          <p:nvPr/>
        </p:nvSpPr>
        <p:spPr bwMode="gray">
          <a:xfrm>
            <a:off x="4166422" y="816508"/>
            <a:ext cx="6947986" cy="3343652"/>
          </a:xfrm>
          <a:prstGeom prst="rect">
            <a:avLst/>
          </a:prstGeom>
          <a:solidFill>
            <a:schemeClr val="bg1">
              <a:alpha val="90000"/>
            </a:schemeClr>
          </a:solidFill>
          <a:ln w="9525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  <a:extLst/>
        </p:spPr>
        <p:txBody>
          <a:bodyPr lIns="0" tIns="0" rIns="0" bIns="0" anchor="ctr"/>
          <a:lstStyle/>
          <a:p>
            <a:pPr>
              <a:lnSpc>
                <a:spcPct val="90000"/>
              </a:lnSpc>
              <a:spcBef>
                <a:spcPts val="600"/>
              </a:spcBef>
              <a:buSzPct val="75000"/>
              <a:defRPr/>
            </a:pPr>
            <a:endParaRPr lang="de-DE">
              <a:latin typeface="Tele-GroteskFet" charset="0"/>
            </a:endParaRPr>
          </a:p>
        </p:txBody>
      </p:sp>
      <p:pic>
        <p:nvPicPr>
          <p:cNvPr id="7" name="Kép 6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111" y="4582905"/>
            <a:ext cx="3010777" cy="1306665"/>
          </a:xfrm>
          <a:prstGeom prst="rect">
            <a:avLst/>
          </a:prstGeom>
        </p:spPr>
      </p:pic>
      <p:grpSp>
        <p:nvGrpSpPr>
          <p:cNvPr id="8" name="Csoportba foglalás 7"/>
          <p:cNvGrpSpPr/>
          <p:nvPr/>
        </p:nvGrpSpPr>
        <p:grpSpPr>
          <a:xfrm>
            <a:off x="8092218" y="2140715"/>
            <a:ext cx="2459611" cy="1749750"/>
            <a:chOff x="6516216" y="2388684"/>
            <a:chExt cx="1951965" cy="1851769"/>
          </a:xfrm>
        </p:grpSpPr>
        <p:sp>
          <p:nvSpPr>
            <p:cNvPr id="17" name="Rectangle 9"/>
            <p:cNvSpPr>
              <a:spLocks noChangeAspect="1" noChangeArrowheads="1"/>
            </p:cNvSpPr>
            <p:nvPr/>
          </p:nvSpPr>
          <p:spPr bwMode="gray">
            <a:xfrm>
              <a:off x="7371736" y="2993074"/>
              <a:ext cx="2951" cy="330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11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</a:pPr>
              <a:endParaRPr lang="de-DE"/>
            </a:p>
          </p:txBody>
        </p:sp>
        <p:sp>
          <p:nvSpPr>
            <p:cNvPr id="18" name="Freeform 141"/>
            <p:cNvSpPr>
              <a:spLocks noChangeAspect="1"/>
            </p:cNvSpPr>
            <p:nvPr/>
          </p:nvSpPr>
          <p:spPr bwMode="gray">
            <a:xfrm>
              <a:off x="7126881" y="2388684"/>
              <a:ext cx="846670" cy="652918"/>
            </a:xfrm>
            <a:custGeom>
              <a:avLst/>
              <a:gdLst>
                <a:gd name="T0" fmla="*/ 2147483647 w 330"/>
                <a:gd name="T1" fmla="*/ 2147483647 h 227"/>
                <a:gd name="T2" fmla="*/ 2147483647 w 330"/>
                <a:gd name="T3" fmla="*/ 2147483647 h 227"/>
                <a:gd name="T4" fmla="*/ 2147483647 w 330"/>
                <a:gd name="T5" fmla="*/ 2147483647 h 227"/>
                <a:gd name="T6" fmla="*/ 2147483647 w 330"/>
                <a:gd name="T7" fmla="*/ 2147483647 h 227"/>
                <a:gd name="T8" fmla="*/ 2147483647 w 330"/>
                <a:gd name="T9" fmla="*/ 2147483647 h 227"/>
                <a:gd name="T10" fmla="*/ 2147483647 w 330"/>
                <a:gd name="T11" fmla="*/ 2147483647 h 227"/>
                <a:gd name="T12" fmla="*/ 2147483647 w 330"/>
                <a:gd name="T13" fmla="*/ 2147483647 h 227"/>
                <a:gd name="T14" fmla="*/ 2147483647 w 330"/>
                <a:gd name="T15" fmla="*/ 2147483647 h 227"/>
                <a:gd name="T16" fmla="*/ 2147483647 w 330"/>
                <a:gd name="T17" fmla="*/ 2147483647 h 227"/>
                <a:gd name="T18" fmla="*/ 2147483647 w 330"/>
                <a:gd name="T19" fmla="*/ 2147483647 h 227"/>
                <a:gd name="T20" fmla="*/ 2147483647 w 330"/>
                <a:gd name="T21" fmla="*/ 2147483647 h 227"/>
                <a:gd name="T22" fmla="*/ 2147483647 w 330"/>
                <a:gd name="T23" fmla="*/ 2147483647 h 227"/>
                <a:gd name="T24" fmla="*/ 2147483647 w 330"/>
                <a:gd name="T25" fmla="*/ 2147483647 h 227"/>
                <a:gd name="T26" fmla="*/ 2147483647 w 330"/>
                <a:gd name="T27" fmla="*/ 2147483647 h 227"/>
                <a:gd name="T28" fmla="*/ 2147483647 w 330"/>
                <a:gd name="T29" fmla="*/ 2147483647 h 227"/>
                <a:gd name="T30" fmla="*/ 2147483647 w 330"/>
                <a:gd name="T31" fmla="*/ 2147483647 h 227"/>
                <a:gd name="T32" fmla="*/ 2147483647 w 330"/>
                <a:gd name="T33" fmla="*/ 2147483647 h 227"/>
                <a:gd name="T34" fmla="*/ 2147483647 w 330"/>
                <a:gd name="T35" fmla="*/ 2147483647 h 227"/>
                <a:gd name="T36" fmla="*/ 2147483647 w 330"/>
                <a:gd name="T37" fmla="*/ 2147483647 h 227"/>
                <a:gd name="T38" fmla="*/ 2147483647 w 330"/>
                <a:gd name="T39" fmla="*/ 2147483647 h 227"/>
                <a:gd name="T40" fmla="*/ 2147483647 w 330"/>
                <a:gd name="T41" fmla="*/ 2147483647 h 227"/>
                <a:gd name="T42" fmla="*/ 2147483647 w 330"/>
                <a:gd name="T43" fmla="*/ 2147483647 h 227"/>
                <a:gd name="T44" fmla="*/ 2147483647 w 330"/>
                <a:gd name="T45" fmla="*/ 2147483647 h 227"/>
                <a:gd name="T46" fmla="*/ 2147483647 w 330"/>
                <a:gd name="T47" fmla="*/ 2147483647 h 227"/>
                <a:gd name="T48" fmla="*/ 2147483647 w 330"/>
                <a:gd name="T49" fmla="*/ 2147483647 h 227"/>
                <a:gd name="T50" fmla="*/ 2147483647 w 330"/>
                <a:gd name="T51" fmla="*/ 2147483647 h 227"/>
                <a:gd name="T52" fmla="*/ 2147483647 w 330"/>
                <a:gd name="T53" fmla="*/ 2147483647 h 227"/>
                <a:gd name="T54" fmla="*/ 2147483647 w 330"/>
                <a:gd name="T55" fmla="*/ 2147483647 h 227"/>
                <a:gd name="T56" fmla="*/ 2147483647 w 330"/>
                <a:gd name="T57" fmla="*/ 2147483647 h 227"/>
                <a:gd name="T58" fmla="*/ 2147483647 w 330"/>
                <a:gd name="T59" fmla="*/ 2147483647 h 227"/>
                <a:gd name="T60" fmla="*/ 2147483647 w 330"/>
                <a:gd name="T61" fmla="*/ 2147483647 h 227"/>
                <a:gd name="T62" fmla="*/ 2147483647 w 330"/>
                <a:gd name="T63" fmla="*/ 2147483647 h 227"/>
                <a:gd name="T64" fmla="*/ 2147483647 w 330"/>
                <a:gd name="T65" fmla="*/ 2147483647 h 227"/>
                <a:gd name="T66" fmla="*/ 2147483647 w 330"/>
                <a:gd name="T67" fmla="*/ 2147483647 h 227"/>
                <a:gd name="T68" fmla="*/ 2147483647 w 330"/>
                <a:gd name="T69" fmla="*/ 0 h 227"/>
                <a:gd name="T70" fmla="*/ 2147483647 w 330"/>
                <a:gd name="T71" fmla="*/ 2147483647 h 227"/>
                <a:gd name="T72" fmla="*/ 2147483647 w 330"/>
                <a:gd name="T73" fmla="*/ 2147483647 h 227"/>
                <a:gd name="T74" fmla="*/ 2147483647 w 330"/>
                <a:gd name="T75" fmla="*/ 2147483647 h 227"/>
                <a:gd name="T76" fmla="*/ 2147483647 w 330"/>
                <a:gd name="T77" fmla="*/ 2147483647 h 227"/>
                <a:gd name="T78" fmla="*/ 2147483647 w 330"/>
                <a:gd name="T79" fmla="*/ 2147483647 h 227"/>
                <a:gd name="T80" fmla="*/ 2147483647 w 330"/>
                <a:gd name="T81" fmla="*/ 2147483647 h 227"/>
                <a:gd name="T82" fmla="*/ 2147483647 w 330"/>
                <a:gd name="T83" fmla="*/ 2147483647 h 227"/>
                <a:gd name="T84" fmla="*/ 2147483647 w 330"/>
                <a:gd name="T85" fmla="*/ 2147483647 h 227"/>
                <a:gd name="T86" fmla="*/ 2147483647 w 330"/>
                <a:gd name="T87" fmla="*/ 2147483647 h 227"/>
                <a:gd name="T88" fmla="*/ 2147483647 w 330"/>
                <a:gd name="T89" fmla="*/ 2147483647 h 227"/>
                <a:gd name="T90" fmla="*/ 2147483647 w 330"/>
                <a:gd name="T91" fmla="*/ 2147483647 h 227"/>
                <a:gd name="T92" fmla="*/ 2147483647 w 330"/>
                <a:gd name="T93" fmla="*/ 2147483647 h 227"/>
                <a:gd name="T94" fmla="*/ 2147483647 w 330"/>
                <a:gd name="T95" fmla="*/ 2147483647 h 227"/>
                <a:gd name="T96" fmla="*/ 2147483647 w 330"/>
                <a:gd name="T97" fmla="*/ 2147483647 h 227"/>
                <a:gd name="T98" fmla="*/ 2147483647 w 330"/>
                <a:gd name="T99" fmla="*/ 2147483647 h 227"/>
                <a:gd name="T100" fmla="*/ 2147483647 w 330"/>
                <a:gd name="T101" fmla="*/ 2147483647 h 227"/>
                <a:gd name="T102" fmla="*/ 2147483647 w 330"/>
                <a:gd name="T103" fmla="*/ 2147483647 h 227"/>
                <a:gd name="T104" fmla="*/ 2147483647 w 330"/>
                <a:gd name="T105" fmla="*/ 2147483647 h 227"/>
                <a:gd name="T106" fmla="*/ 2147483647 w 330"/>
                <a:gd name="T107" fmla="*/ 2147483647 h 227"/>
                <a:gd name="T108" fmla="*/ 2147483647 w 330"/>
                <a:gd name="T109" fmla="*/ 2147483647 h 227"/>
                <a:gd name="T110" fmla="*/ 2147483647 w 330"/>
                <a:gd name="T111" fmla="*/ 2147483647 h 227"/>
                <a:gd name="T112" fmla="*/ 2147483647 w 330"/>
                <a:gd name="T113" fmla="*/ 2147483647 h 227"/>
                <a:gd name="T114" fmla="*/ 2147483647 w 330"/>
                <a:gd name="T115" fmla="*/ 2147483647 h 227"/>
                <a:gd name="T116" fmla="*/ 2147483647 w 330"/>
                <a:gd name="T117" fmla="*/ 2147483647 h 227"/>
                <a:gd name="T118" fmla="*/ 2147483647 w 330"/>
                <a:gd name="T119" fmla="*/ 2147483647 h 227"/>
                <a:gd name="T120" fmla="*/ 2147483647 w 330"/>
                <a:gd name="T121" fmla="*/ 2147483647 h 2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30"/>
                <a:gd name="T184" fmla="*/ 0 h 227"/>
                <a:gd name="T185" fmla="*/ 330 w 330"/>
                <a:gd name="T186" fmla="*/ 227 h 22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30" h="227">
                  <a:moveTo>
                    <a:pt x="6" y="158"/>
                  </a:moveTo>
                  <a:lnTo>
                    <a:pt x="12" y="155"/>
                  </a:lnTo>
                  <a:lnTo>
                    <a:pt x="20" y="158"/>
                  </a:lnTo>
                  <a:lnTo>
                    <a:pt x="14" y="161"/>
                  </a:lnTo>
                  <a:lnTo>
                    <a:pt x="9" y="161"/>
                  </a:lnTo>
                  <a:lnTo>
                    <a:pt x="3" y="164"/>
                  </a:lnTo>
                  <a:lnTo>
                    <a:pt x="3" y="170"/>
                  </a:lnTo>
                  <a:lnTo>
                    <a:pt x="9" y="170"/>
                  </a:lnTo>
                  <a:lnTo>
                    <a:pt x="12" y="170"/>
                  </a:lnTo>
                  <a:lnTo>
                    <a:pt x="12" y="172"/>
                  </a:lnTo>
                  <a:lnTo>
                    <a:pt x="3" y="175"/>
                  </a:lnTo>
                  <a:lnTo>
                    <a:pt x="3" y="187"/>
                  </a:lnTo>
                  <a:lnTo>
                    <a:pt x="12" y="190"/>
                  </a:lnTo>
                  <a:lnTo>
                    <a:pt x="20" y="184"/>
                  </a:lnTo>
                  <a:lnTo>
                    <a:pt x="20" y="190"/>
                  </a:lnTo>
                  <a:lnTo>
                    <a:pt x="12" y="190"/>
                  </a:lnTo>
                  <a:lnTo>
                    <a:pt x="6" y="192"/>
                  </a:lnTo>
                  <a:lnTo>
                    <a:pt x="3" y="201"/>
                  </a:lnTo>
                  <a:lnTo>
                    <a:pt x="3" y="207"/>
                  </a:lnTo>
                  <a:lnTo>
                    <a:pt x="12" y="204"/>
                  </a:lnTo>
                  <a:lnTo>
                    <a:pt x="14" y="204"/>
                  </a:lnTo>
                  <a:lnTo>
                    <a:pt x="14" y="207"/>
                  </a:lnTo>
                  <a:lnTo>
                    <a:pt x="12" y="210"/>
                  </a:lnTo>
                  <a:lnTo>
                    <a:pt x="9" y="213"/>
                  </a:lnTo>
                  <a:lnTo>
                    <a:pt x="9" y="215"/>
                  </a:lnTo>
                  <a:lnTo>
                    <a:pt x="17" y="221"/>
                  </a:lnTo>
                  <a:lnTo>
                    <a:pt x="26" y="224"/>
                  </a:lnTo>
                  <a:lnTo>
                    <a:pt x="37" y="227"/>
                  </a:lnTo>
                  <a:lnTo>
                    <a:pt x="43" y="224"/>
                  </a:lnTo>
                  <a:lnTo>
                    <a:pt x="49" y="224"/>
                  </a:lnTo>
                  <a:lnTo>
                    <a:pt x="52" y="221"/>
                  </a:lnTo>
                  <a:lnTo>
                    <a:pt x="63" y="210"/>
                  </a:lnTo>
                  <a:lnTo>
                    <a:pt x="63" y="207"/>
                  </a:lnTo>
                  <a:lnTo>
                    <a:pt x="66" y="207"/>
                  </a:lnTo>
                  <a:lnTo>
                    <a:pt x="72" y="207"/>
                  </a:lnTo>
                  <a:lnTo>
                    <a:pt x="75" y="207"/>
                  </a:lnTo>
                  <a:lnTo>
                    <a:pt x="75" y="201"/>
                  </a:lnTo>
                  <a:lnTo>
                    <a:pt x="75" y="198"/>
                  </a:lnTo>
                  <a:lnTo>
                    <a:pt x="78" y="195"/>
                  </a:lnTo>
                  <a:lnTo>
                    <a:pt x="80" y="201"/>
                  </a:lnTo>
                  <a:lnTo>
                    <a:pt x="80" y="204"/>
                  </a:lnTo>
                  <a:lnTo>
                    <a:pt x="83" y="207"/>
                  </a:lnTo>
                  <a:lnTo>
                    <a:pt x="89" y="204"/>
                  </a:lnTo>
                  <a:lnTo>
                    <a:pt x="92" y="207"/>
                  </a:lnTo>
                  <a:lnTo>
                    <a:pt x="95" y="192"/>
                  </a:lnTo>
                  <a:lnTo>
                    <a:pt x="98" y="192"/>
                  </a:lnTo>
                  <a:lnTo>
                    <a:pt x="101" y="190"/>
                  </a:lnTo>
                  <a:lnTo>
                    <a:pt x="103" y="190"/>
                  </a:lnTo>
                  <a:lnTo>
                    <a:pt x="103" y="184"/>
                  </a:lnTo>
                  <a:lnTo>
                    <a:pt x="101" y="178"/>
                  </a:lnTo>
                  <a:lnTo>
                    <a:pt x="101" y="175"/>
                  </a:lnTo>
                  <a:lnTo>
                    <a:pt x="101" y="172"/>
                  </a:lnTo>
                  <a:lnTo>
                    <a:pt x="103" y="170"/>
                  </a:lnTo>
                  <a:lnTo>
                    <a:pt x="109" y="170"/>
                  </a:lnTo>
                  <a:lnTo>
                    <a:pt x="109" y="167"/>
                  </a:lnTo>
                  <a:lnTo>
                    <a:pt x="106" y="167"/>
                  </a:lnTo>
                  <a:lnTo>
                    <a:pt x="98" y="161"/>
                  </a:lnTo>
                  <a:lnTo>
                    <a:pt x="98" y="158"/>
                  </a:lnTo>
                  <a:lnTo>
                    <a:pt x="98" y="149"/>
                  </a:lnTo>
                  <a:lnTo>
                    <a:pt x="95" y="141"/>
                  </a:lnTo>
                  <a:lnTo>
                    <a:pt x="95" y="138"/>
                  </a:lnTo>
                  <a:lnTo>
                    <a:pt x="98" y="135"/>
                  </a:lnTo>
                  <a:lnTo>
                    <a:pt x="95" y="132"/>
                  </a:lnTo>
                  <a:lnTo>
                    <a:pt x="98" y="126"/>
                  </a:lnTo>
                  <a:lnTo>
                    <a:pt x="101" y="121"/>
                  </a:lnTo>
                  <a:lnTo>
                    <a:pt x="106" y="118"/>
                  </a:lnTo>
                  <a:lnTo>
                    <a:pt x="112" y="118"/>
                  </a:lnTo>
                  <a:lnTo>
                    <a:pt x="121" y="118"/>
                  </a:lnTo>
                  <a:lnTo>
                    <a:pt x="123" y="115"/>
                  </a:lnTo>
                  <a:lnTo>
                    <a:pt x="118" y="112"/>
                  </a:lnTo>
                  <a:lnTo>
                    <a:pt x="126" y="98"/>
                  </a:lnTo>
                  <a:lnTo>
                    <a:pt x="129" y="81"/>
                  </a:lnTo>
                  <a:lnTo>
                    <a:pt x="141" y="81"/>
                  </a:lnTo>
                  <a:lnTo>
                    <a:pt x="141" y="75"/>
                  </a:lnTo>
                  <a:lnTo>
                    <a:pt x="138" y="75"/>
                  </a:lnTo>
                  <a:lnTo>
                    <a:pt x="149" y="66"/>
                  </a:lnTo>
                  <a:lnTo>
                    <a:pt x="146" y="60"/>
                  </a:lnTo>
                  <a:lnTo>
                    <a:pt x="152" y="58"/>
                  </a:lnTo>
                  <a:lnTo>
                    <a:pt x="155" y="55"/>
                  </a:lnTo>
                  <a:lnTo>
                    <a:pt x="158" y="52"/>
                  </a:lnTo>
                  <a:lnTo>
                    <a:pt x="164" y="49"/>
                  </a:lnTo>
                  <a:lnTo>
                    <a:pt x="169" y="52"/>
                  </a:lnTo>
                  <a:lnTo>
                    <a:pt x="172" y="40"/>
                  </a:lnTo>
                  <a:lnTo>
                    <a:pt x="178" y="40"/>
                  </a:lnTo>
                  <a:lnTo>
                    <a:pt x="184" y="40"/>
                  </a:lnTo>
                  <a:lnTo>
                    <a:pt x="190" y="43"/>
                  </a:lnTo>
                  <a:lnTo>
                    <a:pt x="195" y="43"/>
                  </a:lnTo>
                  <a:lnTo>
                    <a:pt x="198" y="43"/>
                  </a:lnTo>
                  <a:lnTo>
                    <a:pt x="198" y="35"/>
                  </a:lnTo>
                  <a:lnTo>
                    <a:pt x="198" y="32"/>
                  </a:lnTo>
                  <a:lnTo>
                    <a:pt x="207" y="32"/>
                  </a:lnTo>
                  <a:lnTo>
                    <a:pt x="210" y="29"/>
                  </a:lnTo>
                  <a:lnTo>
                    <a:pt x="215" y="26"/>
                  </a:lnTo>
                  <a:lnTo>
                    <a:pt x="218" y="29"/>
                  </a:lnTo>
                  <a:lnTo>
                    <a:pt x="224" y="35"/>
                  </a:lnTo>
                  <a:lnTo>
                    <a:pt x="227" y="37"/>
                  </a:lnTo>
                  <a:lnTo>
                    <a:pt x="241" y="37"/>
                  </a:lnTo>
                  <a:lnTo>
                    <a:pt x="244" y="37"/>
                  </a:lnTo>
                  <a:lnTo>
                    <a:pt x="247" y="37"/>
                  </a:lnTo>
                  <a:lnTo>
                    <a:pt x="250" y="37"/>
                  </a:lnTo>
                  <a:lnTo>
                    <a:pt x="256" y="40"/>
                  </a:lnTo>
                  <a:lnTo>
                    <a:pt x="261" y="35"/>
                  </a:lnTo>
                  <a:lnTo>
                    <a:pt x="264" y="35"/>
                  </a:lnTo>
                  <a:lnTo>
                    <a:pt x="267" y="35"/>
                  </a:lnTo>
                  <a:lnTo>
                    <a:pt x="267" y="29"/>
                  </a:lnTo>
                  <a:lnTo>
                    <a:pt x="267" y="23"/>
                  </a:lnTo>
                  <a:lnTo>
                    <a:pt x="278" y="17"/>
                  </a:lnTo>
                  <a:lnTo>
                    <a:pt x="290" y="14"/>
                  </a:lnTo>
                  <a:lnTo>
                    <a:pt x="299" y="17"/>
                  </a:lnTo>
                  <a:lnTo>
                    <a:pt x="310" y="20"/>
                  </a:lnTo>
                  <a:lnTo>
                    <a:pt x="310" y="23"/>
                  </a:lnTo>
                  <a:lnTo>
                    <a:pt x="313" y="29"/>
                  </a:lnTo>
                  <a:lnTo>
                    <a:pt x="310" y="29"/>
                  </a:lnTo>
                  <a:lnTo>
                    <a:pt x="307" y="32"/>
                  </a:lnTo>
                  <a:lnTo>
                    <a:pt x="307" y="35"/>
                  </a:lnTo>
                  <a:lnTo>
                    <a:pt x="310" y="32"/>
                  </a:lnTo>
                  <a:lnTo>
                    <a:pt x="319" y="26"/>
                  </a:lnTo>
                  <a:lnTo>
                    <a:pt x="324" y="23"/>
                  </a:lnTo>
                  <a:lnTo>
                    <a:pt x="327" y="23"/>
                  </a:lnTo>
                  <a:lnTo>
                    <a:pt x="330" y="20"/>
                  </a:lnTo>
                  <a:lnTo>
                    <a:pt x="322" y="20"/>
                  </a:lnTo>
                  <a:lnTo>
                    <a:pt x="316" y="17"/>
                  </a:lnTo>
                  <a:lnTo>
                    <a:pt x="322" y="14"/>
                  </a:lnTo>
                  <a:lnTo>
                    <a:pt x="327" y="14"/>
                  </a:lnTo>
                  <a:lnTo>
                    <a:pt x="330" y="12"/>
                  </a:lnTo>
                  <a:lnTo>
                    <a:pt x="319" y="9"/>
                  </a:lnTo>
                  <a:lnTo>
                    <a:pt x="307" y="6"/>
                  </a:lnTo>
                  <a:lnTo>
                    <a:pt x="301" y="3"/>
                  </a:lnTo>
                  <a:lnTo>
                    <a:pt x="296" y="9"/>
                  </a:lnTo>
                  <a:lnTo>
                    <a:pt x="293" y="6"/>
                  </a:lnTo>
                  <a:lnTo>
                    <a:pt x="296" y="0"/>
                  </a:lnTo>
                  <a:lnTo>
                    <a:pt x="281" y="0"/>
                  </a:lnTo>
                  <a:lnTo>
                    <a:pt x="281" y="6"/>
                  </a:lnTo>
                  <a:lnTo>
                    <a:pt x="278" y="9"/>
                  </a:lnTo>
                  <a:lnTo>
                    <a:pt x="276" y="12"/>
                  </a:lnTo>
                  <a:lnTo>
                    <a:pt x="273" y="9"/>
                  </a:lnTo>
                  <a:lnTo>
                    <a:pt x="276" y="3"/>
                  </a:lnTo>
                  <a:lnTo>
                    <a:pt x="267" y="6"/>
                  </a:lnTo>
                  <a:lnTo>
                    <a:pt x="258" y="17"/>
                  </a:lnTo>
                  <a:lnTo>
                    <a:pt x="256" y="14"/>
                  </a:lnTo>
                  <a:lnTo>
                    <a:pt x="256" y="12"/>
                  </a:lnTo>
                  <a:lnTo>
                    <a:pt x="264" y="6"/>
                  </a:lnTo>
                  <a:lnTo>
                    <a:pt x="267" y="0"/>
                  </a:lnTo>
                  <a:lnTo>
                    <a:pt x="261" y="0"/>
                  </a:lnTo>
                  <a:lnTo>
                    <a:pt x="258" y="3"/>
                  </a:lnTo>
                  <a:lnTo>
                    <a:pt x="253" y="3"/>
                  </a:lnTo>
                  <a:lnTo>
                    <a:pt x="247" y="0"/>
                  </a:lnTo>
                  <a:lnTo>
                    <a:pt x="247" y="6"/>
                  </a:lnTo>
                  <a:lnTo>
                    <a:pt x="244" y="12"/>
                  </a:lnTo>
                  <a:lnTo>
                    <a:pt x="238" y="17"/>
                  </a:lnTo>
                  <a:lnTo>
                    <a:pt x="235" y="12"/>
                  </a:lnTo>
                  <a:lnTo>
                    <a:pt x="241" y="9"/>
                  </a:lnTo>
                  <a:lnTo>
                    <a:pt x="238" y="9"/>
                  </a:lnTo>
                  <a:lnTo>
                    <a:pt x="233" y="9"/>
                  </a:lnTo>
                  <a:lnTo>
                    <a:pt x="235" y="6"/>
                  </a:lnTo>
                  <a:lnTo>
                    <a:pt x="230" y="6"/>
                  </a:lnTo>
                  <a:lnTo>
                    <a:pt x="221" y="6"/>
                  </a:lnTo>
                  <a:lnTo>
                    <a:pt x="215" y="9"/>
                  </a:lnTo>
                  <a:lnTo>
                    <a:pt x="221" y="9"/>
                  </a:lnTo>
                  <a:lnTo>
                    <a:pt x="224" y="12"/>
                  </a:lnTo>
                  <a:lnTo>
                    <a:pt x="221" y="14"/>
                  </a:lnTo>
                  <a:lnTo>
                    <a:pt x="215" y="12"/>
                  </a:lnTo>
                  <a:lnTo>
                    <a:pt x="210" y="14"/>
                  </a:lnTo>
                  <a:lnTo>
                    <a:pt x="207" y="20"/>
                  </a:lnTo>
                  <a:lnTo>
                    <a:pt x="204" y="17"/>
                  </a:lnTo>
                  <a:lnTo>
                    <a:pt x="201" y="14"/>
                  </a:lnTo>
                  <a:lnTo>
                    <a:pt x="198" y="17"/>
                  </a:lnTo>
                  <a:lnTo>
                    <a:pt x="195" y="20"/>
                  </a:lnTo>
                  <a:lnTo>
                    <a:pt x="192" y="23"/>
                  </a:lnTo>
                  <a:lnTo>
                    <a:pt x="190" y="23"/>
                  </a:lnTo>
                  <a:lnTo>
                    <a:pt x="192" y="20"/>
                  </a:lnTo>
                  <a:lnTo>
                    <a:pt x="192" y="17"/>
                  </a:lnTo>
                  <a:lnTo>
                    <a:pt x="192" y="14"/>
                  </a:lnTo>
                  <a:lnTo>
                    <a:pt x="187" y="17"/>
                  </a:lnTo>
                  <a:lnTo>
                    <a:pt x="184" y="14"/>
                  </a:lnTo>
                  <a:lnTo>
                    <a:pt x="181" y="17"/>
                  </a:lnTo>
                  <a:lnTo>
                    <a:pt x="178" y="17"/>
                  </a:lnTo>
                  <a:lnTo>
                    <a:pt x="178" y="20"/>
                  </a:lnTo>
                  <a:lnTo>
                    <a:pt x="172" y="26"/>
                  </a:lnTo>
                  <a:lnTo>
                    <a:pt x="169" y="29"/>
                  </a:lnTo>
                  <a:lnTo>
                    <a:pt x="167" y="26"/>
                  </a:lnTo>
                  <a:lnTo>
                    <a:pt x="167" y="23"/>
                  </a:lnTo>
                  <a:lnTo>
                    <a:pt x="164" y="26"/>
                  </a:lnTo>
                  <a:lnTo>
                    <a:pt x="158" y="29"/>
                  </a:lnTo>
                  <a:lnTo>
                    <a:pt x="158" y="35"/>
                  </a:lnTo>
                  <a:lnTo>
                    <a:pt x="161" y="32"/>
                  </a:lnTo>
                  <a:lnTo>
                    <a:pt x="164" y="29"/>
                  </a:lnTo>
                  <a:lnTo>
                    <a:pt x="164" y="35"/>
                  </a:lnTo>
                  <a:lnTo>
                    <a:pt x="164" y="37"/>
                  </a:lnTo>
                  <a:lnTo>
                    <a:pt x="161" y="35"/>
                  </a:lnTo>
                  <a:lnTo>
                    <a:pt x="155" y="40"/>
                  </a:lnTo>
                  <a:lnTo>
                    <a:pt x="152" y="37"/>
                  </a:lnTo>
                  <a:lnTo>
                    <a:pt x="146" y="37"/>
                  </a:lnTo>
                  <a:lnTo>
                    <a:pt x="144" y="37"/>
                  </a:lnTo>
                  <a:lnTo>
                    <a:pt x="146" y="32"/>
                  </a:lnTo>
                  <a:lnTo>
                    <a:pt x="144" y="29"/>
                  </a:lnTo>
                  <a:lnTo>
                    <a:pt x="138" y="35"/>
                  </a:lnTo>
                  <a:lnTo>
                    <a:pt x="135" y="37"/>
                  </a:lnTo>
                  <a:lnTo>
                    <a:pt x="135" y="35"/>
                  </a:lnTo>
                  <a:lnTo>
                    <a:pt x="123" y="37"/>
                  </a:lnTo>
                  <a:lnTo>
                    <a:pt x="126" y="40"/>
                  </a:lnTo>
                  <a:lnTo>
                    <a:pt x="126" y="43"/>
                  </a:lnTo>
                  <a:lnTo>
                    <a:pt x="123" y="43"/>
                  </a:lnTo>
                  <a:lnTo>
                    <a:pt x="118" y="46"/>
                  </a:lnTo>
                  <a:lnTo>
                    <a:pt x="106" y="52"/>
                  </a:lnTo>
                  <a:lnTo>
                    <a:pt x="118" y="52"/>
                  </a:lnTo>
                  <a:lnTo>
                    <a:pt x="123" y="49"/>
                  </a:lnTo>
                  <a:lnTo>
                    <a:pt x="126" y="49"/>
                  </a:lnTo>
                  <a:lnTo>
                    <a:pt x="135" y="46"/>
                  </a:lnTo>
                  <a:lnTo>
                    <a:pt x="141" y="46"/>
                  </a:lnTo>
                  <a:lnTo>
                    <a:pt x="144" y="43"/>
                  </a:lnTo>
                  <a:lnTo>
                    <a:pt x="149" y="46"/>
                  </a:lnTo>
                  <a:lnTo>
                    <a:pt x="146" y="46"/>
                  </a:lnTo>
                  <a:lnTo>
                    <a:pt x="144" y="49"/>
                  </a:lnTo>
                  <a:lnTo>
                    <a:pt x="135" y="52"/>
                  </a:lnTo>
                  <a:lnTo>
                    <a:pt x="132" y="52"/>
                  </a:lnTo>
                  <a:lnTo>
                    <a:pt x="129" y="55"/>
                  </a:lnTo>
                  <a:lnTo>
                    <a:pt x="132" y="60"/>
                  </a:lnTo>
                  <a:lnTo>
                    <a:pt x="123" y="66"/>
                  </a:lnTo>
                  <a:lnTo>
                    <a:pt x="112" y="75"/>
                  </a:lnTo>
                  <a:lnTo>
                    <a:pt x="109" y="81"/>
                  </a:lnTo>
                  <a:lnTo>
                    <a:pt x="106" y="83"/>
                  </a:lnTo>
                  <a:lnTo>
                    <a:pt x="103" y="81"/>
                  </a:lnTo>
                  <a:lnTo>
                    <a:pt x="101" y="83"/>
                  </a:lnTo>
                  <a:lnTo>
                    <a:pt x="101" y="89"/>
                  </a:lnTo>
                  <a:lnTo>
                    <a:pt x="98" y="98"/>
                  </a:lnTo>
                  <a:lnTo>
                    <a:pt x="92" y="101"/>
                  </a:lnTo>
                  <a:lnTo>
                    <a:pt x="89" y="103"/>
                  </a:lnTo>
                  <a:lnTo>
                    <a:pt x="80" y="103"/>
                  </a:lnTo>
                  <a:lnTo>
                    <a:pt x="86" y="106"/>
                  </a:lnTo>
                  <a:lnTo>
                    <a:pt x="83" y="109"/>
                  </a:lnTo>
                  <a:lnTo>
                    <a:pt x="80" y="109"/>
                  </a:lnTo>
                  <a:lnTo>
                    <a:pt x="75" y="115"/>
                  </a:lnTo>
                  <a:lnTo>
                    <a:pt x="72" y="118"/>
                  </a:lnTo>
                  <a:lnTo>
                    <a:pt x="69" y="121"/>
                  </a:lnTo>
                  <a:lnTo>
                    <a:pt x="63" y="124"/>
                  </a:lnTo>
                  <a:lnTo>
                    <a:pt x="63" y="126"/>
                  </a:lnTo>
                  <a:lnTo>
                    <a:pt x="57" y="132"/>
                  </a:lnTo>
                  <a:lnTo>
                    <a:pt x="57" y="126"/>
                  </a:lnTo>
                  <a:lnTo>
                    <a:pt x="52" y="124"/>
                  </a:lnTo>
                  <a:lnTo>
                    <a:pt x="46" y="124"/>
                  </a:lnTo>
                  <a:lnTo>
                    <a:pt x="49" y="129"/>
                  </a:lnTo>
                  <a:lnTo>
                    <a:pt x="55" y="132"/>
                  </a:lnTo>
                  <a:lnTo>
                    <a:pt x="46" y="135"/>
                  </a:lnTo>
                  <a:lnTo>
                    <a:pt x="43" y="129"/>
                  </a:lnTo>
                  <a:lnTo>
                    <a:pt x="40" y="132"/>
                  </a:lnTo>
                  <a:lnTo>
                    <a:pt x="43" y="135"/>
                  </a:lnTo>
                  <a:lnTo>
                    <a:pt x="37" y="132"/>
                  </a:lnTo>
                  <a:lnTo>
                    <a:pt x="37" y="138"/>
                  </a:lnTo>
                  <a:lnTo>
                    <a:pt x="40" y="138"/>
                  </a:lnTo>
                  <a:lnTo>
                    <a:pt x="40" y="141"/>
                  </a:lnTo>
                  <a:lnTo>
                    <a:pt x="32" y="141"/>
                  </a:lnTo>
                  <a:lnTo>
                    <a:pt x="32" y="135"/>
                  </a:lnTo>
                  <a:lnTo>
                    <a:pt x="26" y="141"/>
                  </a:lnTo>
                  <a:lnTo>
                    <a:pt x="20" y="144"/>
                  </a:lnTo>
                  <a:lnTo>
                    <a:pt x="20" y="149"/>
                  </a:lnTo>
                  <a:lnTo>
                    <a:pt x="23" y="149"/>
                  </a:lnTo>
                  <a:lnTo>
                    <a:pt x="20" y="152"/>
                  </a:lnTo>
                  <a:lnTo>
                    <a:pt x="17" y="147"/>
                  </a:lnTo>
                  <a:lnTo>
                    <a:pt x="9" y="152"/>
                  </a:lnTo>
                  <a:lnTo>
                    <a:pt x="3" y="149"/>
                  </a:lnTo>
                  <a:lnTo>
                    <a:pt x="3" y="155"/>
                  </a:lnTo>
                  <a:lnTo>
                    <a:pt x="0" y="161"/>
                  </a:lnTo>
                  <a:lnTo>
                    <a:pt x="6" y="15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19" name="Freeform 207"/>
            <p:cNvSpPr>
              <a:spLocks noChangeAspect="1"/>
            </p:cNvSpPr>
            <p:nvPr/>
          </p:nvSpPr>
          <p:spPr bwMode="gray">
            <a:xfrm>
              <a:off x="7540873" y="3736429"/>
              <a:ext cx="137670" cy="133451"/>
            </a:xfrm>
            <a:custGeom>
              <a:avLst/>
              <a:gdLst>
                <a:gd name="T0" fmla="*/ 2147483647 w 54"/>
                <a:gd name="T1" fmla="*/ 2147483647 h 46"/>
                <a:gd name="T2" fmla="*/ 2147483647 w 54"/>
                <a:gd name="T3" fmla="*/ 2147483647 h 46"/>
                <a:gd name="T4" fmla="*/ 2147483647 w 54"/>
                <a:gd name="T5" fmla="*/ 2147483647 h 46"/>
                <a:gd name="T6" fmla="*/ 2147483647 w 54"/>
                <a:gd name="T7" fmla="*/ 2147483647 h 46"/>
                <a:gd name="T8" fmla="*/ 2147483647 w 54"/>
                <a:gd name="T9" fmla="*/ 2147483647 h 46"/>
                <a:gd name="T10" fmla="*/ 2147483647 w 54"/>
                <a:gd name="T11" fmla="*/ 2147483647 h 46"/>
                <a:gd name="T12" fmla="*/ 2147483647 w 54"/>
                <a:gd name="T13" fmla="*/ 2147483647 h 46"/>
                <a:gd name="T14" fmla="*/ 2147483647 w 54"/>
                <a:gd name="T15" fmla="*/ 2147483647 h 46"/>
                <a:gd name="T16" fmla="*/ 2147483647 w 54"/>
                <a:gd name="T17" fmla="*/ 2147483647 h 46"/>
                <a:gd name="T18" fmla="*/ 2147483647 w 54"/>
                <a:gd name="T19" fmla="*/ 2147483647 h 46"/>
                <a:gd name="T20" fmla="*/ 2147483647 w 54"/>
                <a:gd name="T21" fmla="*/ 2147483647 h 46"/>
                <a:gd name="T22" fmla="*/ 2147483647 w 54"/>
                <a:gd name="T23" fmla="*/ 2147483647 h 46"/>
                <a:gd name="T24" fmla="*/ 2147483647 w 54"/>
                <a:gd name="T25" fmla="*/ 2147483647 h 46"/>
                <a:gd name="T26" fmla="*/ 2147483647 w 54"/>
                <a:gd name="T27" fmla="*/ 2147483647 h 46"/>
                <a:gd name="T28" fmla="*/ 2147483647 w 54"/>
                <a:gd name="T29" fmla="*/ 2147483647 h 46"/>
                <a:gd name="T30" fmla="*/ 2147483647 w 54"/>
                <a:gd name="T31" fmla="*/ 2147483647 h 46"/>
                <a:gd name="T32" fmla="*/ 2147483647 w 54"/>
                <a:gd name="T33" fmla="*/ 2147483647 h 46"/>
                <a:gd name="T34" fmla="*/ 2147483647 w 54"/>
                <a:gd name="T35" fmla="*/ 2147483647 h 46"/>
                <a:gd name="T36" fmla="*/ 2147483647 w 54"/>
                <a:gd name="T37" fmla="*/ 2147483647 h 46"/>
                <a:gd name="T38" fmla="*/ 2147483647 w 54"/>
                <a:gd name="T39" fmla="*/ 2147483647 h 46"/>
                <a:gd name="T40" fmla="*/ 2147483647 w 54"/>
                <a:gd name="T41" fmla="*/ 0 h 46"/>
                <a:gd name="T42" fmla="*/ 2147483647 w 54"/>
                <a:gd name="T43" fmla="*/ 0 h 46"/>
                <a:gd name="T44" fmla="*/ 2147483647 w 54"/>
                <a:gd name="T45" fmla="*/ 0 h 46"/>
                <a:gd name="T46" fmla="*/ 2147483647 w 54"/>
                <a:gd name="T47" fmla="*/ 0 h 46"/>
                <a:gd name="T48" fmla="*/ 2147483647 w 54"/>
                <a:gd name="T49" fmla="*/ 2147483647 h 46"/>
                <a:gd name="T50" fmla="*/ 2147483647 w 54"/>
                <a:gd name="T51" fmla="*/ 2147483647 h 46"/>
                <a:gd name="T52" fmla="*/ 0 w 54"/>
                <a:gd name="T53" fmla="*/ 0 h 46"/>
                <a:gd name="T54" fmla="*/ 0 w 54"/>
                <a:gd name="T55" fmla="*/ 2147483647 h 46"/>
                <a:gd name="T56" fmla="*/ 2147483647 w 54"/>
                <a:gd name="T57" fmla="*/ 2147483647 h 46"/>
                <a:gd name="T58" fmla="*/ 2147483647 w 54"/>
                <a:gd name="T59" fmla="*/ 2147483647 h 46"/>
                <a:gd name="T60" fmla="*/ 2147483647 w 54"/>
                <a:gd name="T61" fmla="*/ 2147483647 h 46"/>
                <a:gd name="T62" fmla="*/ 2147483647 w 54"/>
                <a:gd name="T63" fmla="*/ 2147483647 h 46"/>
                <a:gd name="T64" fmla="*/ 2147483647 w 54"/>
                <a:gd name="T65" fmla="*/ 2147483647 h 46"/>
                <a:gd name="T66" fmla="*/ 2147483647 w 54"/>
                <a:gd name="T67" fmla="*/ 2147483647 h 46"/>
                <a:gd name="T68" fmla="*/ 2147483647 w 54"/>
                <a:gd name="T69" fmla="*/ 2147483647 h 46"/>
                <a:gd name="T70" fmla="*/ 2147483647 w 54"/>
                <a:gd name="T71" fmla="*/ 2147483647 h 46"/>
                <a:gd name="T72" fmla="*/ 2147483647 w 54"/>
                <a:gd name="T73" fmla="*/ 2147483647 h 46"/>
                <a:gd name="T74" fmla="*/ 2147483647 w 54"/>
                <a:gd name="T75" fmla="*/ 2147483647 h 46"/>
                <a:gd name="T76" fmla="*/ 2147483647 w 54"/>
                <a:gd name="T77" fmla="*/ 2147483647 h 46"/>
                <a:gd name="T78" fmla="*/ 2147483647 w 54"/>
                <a:gd name="T79" fmla="*/ 2147483647 h 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54"/>
                <a:gd name="T121" fmla="*/ 0 h 46"/>
                <a:gd name="T122" fmla="*/ 54 w 54"/>
                <a:gd name="T123" fmla="*/ 46 h 4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54" h="46">
                  <a:moveTo>
                    <a:pt x="43" y="37"/>
                  </a:moveTo>
                  <a:lnTo>
                    <a:pt x="43" y="35"/>
                  </a:lnTo>
                  <a:lnTo>
                    <a:pt x="46" y="35"/>
                  </a:lnTo>
                  <a:lnTo>
                    <a:pt x="46" y="29"/>
                  </a:lnTo>
                  <a:lnTo>
                    <a:pt x="51" y="26"/>
                  </a:lnTo>
                  <a:lnTo>
                    <a:pt x="51" y="23"/>
                  </a:lnTo>
                  <a:lnTo>
                    <a:pt x="51" y="20"/>
                  </a:lnTo>
                  <a:lnTo>
                    <a:pt x="54" y="20"/>
                  </a:lnTo>
                  <a:lnTo>
                    <a:pt x="49" y="12"/>
                  </a:lnTo>
                  <a:lnTo>
                    <a:pt x="49" y="6"/>
                  </a:lnTo>
                  <a:lnTo>
                    <a:pt x="40" y="3"/>
                  </a:lnTo>
                  <a:lnTo>
                    <a:pt x="37" y="3"/>
                  </a:lnTo>
                  <a:lnTo>
                    <a:pt x="31" y="3"/>
                  </a:lnTo>
                  <a:lnTo>
                    <a:pt x="26" y="0"/>
                  </a:lnTo>
                  <a:lnTo>
                    <a:pt x="20" y="0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6" y="6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14"/>
                  </a:lnTo>
                  <a:lnTo>
                    <a:pt x="11" y="20"/>
                  </a:lnTo>
                  <a:lnTo>
                    <a:pt x="17" y="29"/>
                  </a:lnTo>
                  <a:lnTo>
                    <a:pt x="14" y="32"/>
                  </a:lnTo>
                  <a:lnTo>
                    <a:pt x="14" y="35"/>
                  </a:lnTo>
                  <a:lnTo>
                    <a:pt x="23" y="37"/>
                  </a:lnTo>
                  <a:lnTo>
                    <a:pt x="31" y="43"/>
                  </a:lnTo>
                  <a:lnTo>
                    <a:pt x="40" y="46"/>
                  </a:lnTo>
                  <a:lnTo>
                    <a:pt x="40" y="40"/>
                  </a:lnTo>
                  <a:lnTo>
                    <a:pt x="43" y="37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20" name="Freeform 208"/>
            <p:cNvSpPr>
              <a:spLocks noChangeAspect="1"/>
            </p:cNvSpPr>
            <p:nvPr/>
          </p:nvSpPr>
          <p:spPr bwMode="gray">
            <a:xfrm>
              <a:off x="7651010" y="3677975"/>
              <a:ext cx="170121" cy="226095"/>
            </a:xfrm>
            <a:custGeom>
              <a:avLst/>
              <a:gdLst>
                <a:gd name="T0" fmla="*/ 2147483647 w 66"/>
                <a:gd name="T1" fmla="*/ 2147483647 h 78"/>
                <a:gd name="T2" fmla="*/ 2147483647 w 66"/>
                <a:gd name="T3" fmla="*/ 2147483647 h 78"/>
                <a:gd name="T4" fmla="*/ 2147483647 w 66"/>
                <a:gd name="T5" fmla="*/ 2147483647 h 78"/>
                <a:gd name="T6" fmla="*/ 2147483647 w 66"/>
                <a:gd name="T7" fmla="*/ 2147483647 h 78"/>
                <a:gd name="T8" fmla="*/ 2147483647 w 66"/>
                <a:gd name="T9" fmla="*/ 2147483647 h 78"/>
                <a:gd name="T10" fmla="*/ 2147483647 w 66"/>
                <a:gd name="T11" fmla="*/ 2147483647 h 78"/>
                <a:gd name="T12" fmla="*/ 2147483647 w 66"/>
                <a:gd name="T13" fmla="*/ 2147483647 h 78"/>
                <a:gd name="T14" fmla="*/ 2147483647 w 66"/>
                <a:gd name="T15" fmla="*/ 2147483647 h 78"/>
                <a:gd name="T16" fmla="*/ 2147483647 w 66"/>
                <a:gd name="T17" fmla="*/ 2147483647 h 78"/>
                <a:gd name="T18" fmla="*/ 2147483647 w 66"/>
                <a:gd name="T19" fmla="*/ 2147483647 h 78"/>
                <a:gd name="T20" fmla="*/ 2147483647 w 66"/>
                <a:gd name="T21" fmla="*/ 2147483647 h 78"/>
                <a:gd name="T22" fmla="*/ 2147483647 w 66"/>
                <a:gd name="T23" fmla="*/ 2147483647 h 78"/>
                <a:gd name="T24" fmla="*/ 2147483647 w 66"/>
                <a:gd name="T25" fmla="*/ 2147483647 h 78"/>
                <a:gd name="T26" fmla="*/ 2147483647 w 66"/>
                <a:gd name="T27" fmla="*/ 2147483647 h 78"/>
                <a:gd name="T28" fmla="*/ 2147483647 w 66"/>
                <a:gd name="T29" fmla="*/ 2147483647 h 78"/>
                <a:gd name="T30" fmla="*/ 2147483647 w 66"/>
                <a:gd name="T31" fmla="*/ 2147483647 h 78"/>
                <a:gd name="T32" fmla="*/ 2147483647 w 66"/>
                <a:gd name="T33" fmla="*/ 2147483647 h 78"/>
                <a:gd name="T34" fmla="*/ 2147483647 w 66"/>
                <a:gd name="T35" fmla="*/ 2147483647 h 78"/>
                <a:gd name="T36" fmla="*/ 2147483647 w 66"/>
                <a:gd name="T37" fmla="*/ 2147483647 h 78"/>
                <a:gd name="T38" fmla="*/ 2147483647 w 66"/>
                <a:gd name="T39" fmla="*/ 2147483647 h 78"/>
                <a:gd name="T40" fmla="*/ 2147483647 w 66"/>
                <a:gd name="T41" fmla="*/ 2147483647 h 78"/>
                <a:gd name="T42" fmla="*/ 2147483647 w 66"/>
                <a:gd name="T43" fmla="*/ 2147483647 h 78"/>
                <a:gd name="T44" fmla="*/ 2147483647 w 66"/>
                <a:gd name="T45" fmla="*/ 2147483647 h 78"/>
                <a:gd name="T46" fmla="*/ 2147483647 w 66"/>
                <a:gd name="T47" fmla="*/ 2147483647 h 78"/>
                <a:gd name="T48" fmla="*/ 2147483647 w 66"/>
                <a:gd name="T49" fmla="*/ 2147483647 h 78"/>
                <a:gd name="T50" fmla="*/ 2147483647 w 66"/>
                <a:gd name="T51" fmla="*/ 2147483647 h 78"/>
                <a:gd name="T52" fmla="*/ 2147483647 w 66"/>
                <a:gd name="T53" fmla="*/ 2147483647 h 78"/>
                <a:gd name="T54" fmla="*/ 2147483647 w 66"/>
                <a:gd name="T55" fmla="*/ 2147483647 h 78"/>
                <a:gd name="T56" fmla="*/ 2147483647 w 66"/>
                <a:gd name="T57" fmla="*/ 2147483647 h 78"/>
                <a:gd name="T58" fmla="*/ 2147483647 w 66"/>
                <a:gd name="T59" fmla="*/ 2147483647 h 78"/>
                <a:gd name="T60" fmla="*/ 2147483647 w 66"/>
                <a:gd name="T61" fmla="*/ 0 h 78"/>
                <a:gd name="T62" fmla="*/ 2147483647 w 66"/>
                <a:gd name="T63" fmla="*/ 0 h 78"/>
                <a:gd name="T64" fmla="*/ 2147483647 w 66"/>
                <a:gd name="T65" fmla="*/ 2147483647 h 78"/>
                <a:gd name="T66" fmla="*/ 2147483647 w 66"/>
                <a:gd name="T67" fmla="*/ 2147483647 h 78"/>
                <a:gd name="T68" fmla="*/ 2147483647 w 66"/>
                <a:gd name="T69" fmla="*/ 2147483647 h 78"/>
                <a:gd name="T70" fmla="*/ 2147483647 w 66"/>
                <a:gd name="T71" fmla="*/ 2147483647 h 78"/>
                <a:gd name="T72" fmla="*/ 2147483647 w 66"/>
                <a:gd name="T73" fmla="*/ 2147483647 h 78"/>
                <a:gd name="T74" fmla="*/ 2147483647 w 66"/>
                <a:gd name="T75" fmla="*/ 2147483647 h 78"/>
                <a:gd name="T76" fmla="*/ 2147483647 w 66"/>
                <a:gd name="T77" fmla="*/ 2147483647 h 78"/>
                <a:gd name="T78" fmla="*/ 2147483647 w 66"/>
                <a:gd name="T79" fmla="*/ 2147483647 h 78"/>
                <a:gd name="T80" fmla="*/ 2147483647 w 66"/>
                <a:gd name="T81" fmla="*/ 2147483647 h 78"/>
                <a:gd name="T82" fmla="*/ 2147483647 w 66"/>
                <a:gd name="T83" fmla="*/ 2147483647 h 78"/>
                <a:gd name="T84" fmla="*/ 2147483647 w 66"/>
                <a:gd name="T85" fmla="*/ 2147483647 h 78"/>
                <a:gd name="T86" fmla="*/ 2147483647 w 66"/>
                <a:gd name="T87" fmla="*/ 2147483647 h 78"/>
                <a:gd name="T88" fmla="*/ 2147483647 w 66"/>
                <a:gd name="T89" fmla="*/ 2147483647 h 78"/>
                <a:gd name="T90" fmla="*/ 2147483647 w 66"/>
                <a:gd name="T91" fmla="*/ 2147483647 h 78"/>
                <a:gd name="T92" fmla="*/ 2147483647 w 66"/>
                <a:gd name="T93" fmla="*/ 2147483647 h 78"/>
                <a:gd name="T94" fmla="*/ 2147483647 w 66"/>
                <a:gd name="T95" fmla="*/ 2147483647 h 78"/>
                <a:gd name="T96" fmla="*/ 2147483647 w 66"/>
                <a:gd name="T97" fmla="*/ 2147483647 h 78"/>
                <a:gd name="T98" fmla="*/ 2147483647 w 66"/>
                <a:gd name="T99" fmla="*/ 2147483647 h 78"/>
                <a:gd name="T100" fmla="*/ 2147483647 w 66"/>
                <a:gd name="T101" fmla="*/ 2147483647 h 78"/>
                <a:gd name="T102" fmla="*/ 2147483647 w 66"/>
                <a:gd name="T103" fmla="*/ 2147483647 h 78"/>
                <a:gd name="T104" fmla="*/ 2147483647 w 66"/>
                <a:gd name="T105" fmla="*/ 2147483647 h 78"/>
                <a:gd name="T106" fmla="*/ 2147483647 w 66"/>
                <a:gd name="T107" fmla="*/ 2147483647 h 78"/>
                <a:gd name="T108" fmla="*/ 2147483647 w 66"/>
                <a:gd name="T109" fmla="*/ 2147483647 h 78"/>
                <a:gd name="T110" fmla="*/ 0 w 66"/>
                <a:gd name="T111" fmla="*/ 2147483647 h 78"/>
                <a:gd name="T112" fmla="*/ 0 w 66"/>
                <a:gd name="T113" fmla="*/ 2147483647 h 78"/>
                <a:gd name="T114" fmla="*/ 0 w 66"/>
                <a:gd name="T115" fmla="*/ 2147483647 h 78"/>
                <a:gd name="T116" fmla="*/ 2147483647 w 66"/>
                <a:gd name="T117" fmla="*/ 2147483647 h 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6"/>
                <a:gd name="T178" fmla="*/ 0 h 78"/>
                <a:gd name="T179" fmla="*/ 66 w 66"/>
                <a:gd name="T180" fmla="*/ 78 h 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6" h="78">
                  <a:moveTo>
                    <a:pt x="8" y="78"/>
                  </a:moveTo>
                  <a:lnTo>
                    <a:pt x="11" y="72"/>
                  </a:lnTo>
                  <a:lnTo>
                    <a:pt x="17" y="66"/>
                  </a:lnTo>
                  <a:lnTo>
                    <a:pt x="20" y="69"/>
                  </a:lnTo>
                  <a:lnTo>
                    <a:pt x="23" y="66"/>
                  </a:lnTo>
                  <a:lnTo>
                    <a:pt x="29" y="75"/>
                  </a:lnTo>
                  <a:lnTo>
                    <a:pt x="31" y="78"/>
                  </a:lnTo>
                  <a:lnTo>
                    <a:pt x="40" y="75"/>
                  </a:lnTo>
                  <a:lnTo>
                    <a:pt x="49" y="75"/>
                  </a:lnTo>
                  <a:lnTo>
                    <a:pt x="57" y="75"/>
                  </a:lnTo>
                  <a:lnTo>
                    <a:pt x="60" y="72"/>
                  </a:lnTo>
                  <a:lnTo>
                    <a:pt x="57" y="63"/>
                  </a:lnTo>
                  <a:lnTo>
                    <a:pt x="60" y="63"/>
                  </a:lnTo>
                  <a:lnTo>
                    <a:pt x="63" y="60"/>
                  </a:lnTo>
                  <a:lnTo>
                    <a:pt x="66" y="57"/>
                  </a:lnTo>
                  <a:lnTo>
                    <a:pt x="57" y="52"/>
                  </a:lnTo>
                  <a:lnTo>
                    <a:pt x="57" y="40"/>
                  </a:lnTo>
                  <a:lnTo>
                    <a:pt x="60" y="37"/>
                  </a:lnTo>
                  <a:lnTo>
                    <a:pt x="54" y="34"/>
                  </a:lnTo>
                  <a:lnTo>
                    <a:pt x="57" y="32"/>
                  </a:lnTo>
                  <a:lnTo>
                    <a:pt x="60" y="29"/>
                  </a:lnTo>
                  <a:lnTo>
                    <a:pt x="57" y="29"/>
                  </a:lnTo>
                  <a:lnTo>
                    <a:pt x="54" y="34"/>
                  </a:lnTo>
                  <a:lnTo>
                    <a:pt x="43" y="29"/>
                  </a:lnTo>
                  <a:lnTo>
                    <a:pt x="40" y="26"/>
                  </a:lnTo>
                  <a:lnTo>
                    <a:pt x="29" y="14"/>
                  </a:lnTo>
                  <a:lnTo>
                    <a:pt x="29" y="11"/>
                  </a:lnTo>
                  <a:lnTo>
                    <a:pt x="31" y="9"/>
                  </a:lnTo>
                  <a:lnTo>
                    <a:pt x="23" y="0"/>
                  </a:lnTo>
                  <a:lnTo>
                    <a:pt x="11" y="0"/>
                  </a:lnTo>
                  <a:lnTo>
                    <a:pt x="8" y="3"/>
                  </a:lnTo>
                  <a:lnTo>
                    <a:pt x="3" y="6"/>
                  </a:lnTo>
                  <a:lnTo>
                    <a:pt x="3" y="9"/>
                  </a:lnTo>
                  <a:lnTo>
                    <a:pt x="6" y="11"/>
                  </a:lnTo>
                  <a:lnTo>
                    <a:pt x="11" y="17"/>
                  </a:lnTo>
                  <a:lnTo>
                    <a:pt x="11" y="23"/>
                  </a:lnTo>
                  <a:lnTo>
                    <a:pt x="8" y="32"/>
                  </a:lnTo>
                  <a:lnTo>
                    <a:pt x="14" y="40"/>
                  </a:lnTo>
                  <a:lnTo>
                    <a:pt x="11" y="43"/>
                  </a:lnTo>
                  <a:lnTo>
                    <a:pt x="14" y="49"/>
                  </a:lnTo>
                  <a:lnTo>
                    <a:pt x="11" y="49"/>
                  </a:lnTo>
                  <a:lnTo>
                    <a:pt x="6" y="52"/>
                  </a:lnTo>
                  <a:lnTo>
                    <a:pt x="6" y="55"/>
                  </a:lnTo>
                  <a:lnTo>
                    <a:pt x="6" y="57"/>
                  </a:lnTo>
                  <a:lnTo>
                    <a:pt x="3" y="57"/>
                  </a:lnTo>
                  <a:lnTo>
                    <a:pt x="0" y="63"/>
                  </a:lnTo>
                  <a:lnTo>
                    <a:pt x="0" y="69"/>
                  </a:lnTo>
                  <a:lnTo>
                    <a:pt x="8" y="7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21" name="Freeform 209"/>
            <p:cNvSpPr>
              <a:spLocks noChangeAspect="1"/>
            </p:cNvSpPr>
            <p:nvPr/>
          </p:nvSpPr>
          <p:spPr bwMode="gray">
            <a:xfrm>
              <a:off x="7599875" y="3861056"/>
              <a:ext cx="19668" cy="17646"/>
            </a:xfrm>
            <a:custGeom>
              <a:avLst/>
              <a:gdLst>
                <a:gd name="T0" fmla="*/ 2147483647 w 8"/>
                <a:gd name="T1" fmla="*/ 2147483647 h 6"/>
                <a:gd name="T2" fmla="*/ 2147483647 w 8"/>
                <a:gd name="T3" fmla="*/ 2147483647 h 6"/>
                <a:gd name="T4" fmla="*/ 2147483647 w 8"/>
                <a:gd name="T5" fmla="*/ 0 h 6"/>
                <a:gd name="T6" fmla="*/ 0 w 8"/>
                <a:gd name="T7" fmla="*/ 2147483647 h 6"/>
                <a:gd name="T8" fmla="*/ 2147483647 w 8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6"/>
                <a:gd name="T17" fmla="*/ 8 w 8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6">
                  <a:moveTo>
                    <a:pt x="6" y="6"/>
                  </a:moveTo>
                  <a:lnTo>
                    <a:pt x="8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6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22" name="Freeform 215"/>
            <p:cNvSpPr>
              <a:spLocks noChangeAspect="1"/>
            </p:cNvSpPr>
            <p:nvPr/>
          </p:nvSpPr>
          <p:spPr bwMode="gray">
            <a:xfrm>
              <a:off x="7341253" y="2489048"/>
              <a:ext cx="437594" cy="735636"/>
            </a:xfrm>
            <a:custGeom>
              <a:avLst/>
              <a:gdLst>
                <a:gd name="T0" fmla="*/ 2147483647 w 170"/>
                <a:gd name="T1" fmla="*/ 2147483647 h 255"/>
                <a:gd name="T2" fmla="*/ 2147483647 w 170"/>
                <a:gd name="T3" fmla="*/ 2147483647 h 255"/>
                <a:gd name="T4" fmla="*/ 2147483647 w 170"/>
                <a:gd name="T5" fmla="*/ 2147483647 h 255"/>
                <a:gd name="T6" fmla="*/ 2147483647 w 170"/>
                <a:gd name="T7" fmla="*/ 2147483647 h 255"/>
                <a:gd name="T8" fmla="*/ 2147483647 w 170"/>
                <a:gd name="T9" fmla="*/ 2147483647 h 255"/>
                <a:gd name="T10" fmla="*/ 2147483647 w 170"/>
                <a:gd name="T11" fmla="*/ 2147483647 h 255"/>
                <a:gd name="T12" fmla="*/ 2147483647 w 170"/>
                <a:gd name="T13" fmla="*/ 2147483647 h 255"/>
                <a:gd name="T14" fmla="*/ 2147483647 w 170"/>
                <a:gd name="T15" fmla="*/ 2147483647 h 255"/>
                <a:gd name="T16" fmla="*/ 2147483647 w 170"/>
                <a:gd name="T17" fmla="*/ 2147483647 h 255"/>
                <a:gd name="T18" fmla="*/ 2147483647 w 170"/>
                <a:gd name="T19" fmla="*/ 2147483647 h 255"/>
                <a:gd name="T20" fmla="*/ 2147483647 w 170"/>
                <a:gd name="T21" fmla="*/ 2147483647 h 255"/>
                <a:gd name="T22" fmla="*/ 2147483647 w 170"/>
                <a:gd name="T23" fmla="*/ 2147483647 h 255"/>
                <a:gd name="T24" fmla="*/ 2147483647 w 170"/>
                <a:gd name="T25" fmla="*/ 2147483647 h 255"/>
                <a:gd name="T26" fmla="*/ 2147483647 w 170"/>
                <a:gd name="T27" fmla="*/ 2147483647 h 255"/>
                <a:gd name="T28" fmla="*/ 2147483647 w 170"/>
                <a:gd name="T29" fmla="*/ 2147483647 h 255"/>
                <a:gd name="T30" fmla="*/ 2147483647 w 170"/>
                <a:gd name="T31" fmla="*/ 2147483647 h 255"/>
                <a:gd name="T32" fmla="*/ 2147483647 w 170"/>
                <a:gd name="T33" fmla="*/ 2147483647 h 255"/>
                <a:gd name="T34" fmla="*/ 2147483647 w 170"/>
                <a:gd name="T35" fmla="*/ 2147483647 h 255"/>
                <a:gd name="T36" fmla="*/ 2147483647 w 170"/>
                <a:gd name="T37" fmla="*/ 2147483647 h 255"/>
                <a:gd name="T38" fmla="*/ 2147483647 w 170"/>
                <a:gd name="T39" fmla="*/ 2147483647 h 255"/>
                <a:gd name="T40" fmla="*/ 2147483647 w 170"/>
                <a:gd name="T41" fmla="*/ 2147483647 h 255"/>
                <a:gd name="T42" fmla="*/ 2147483647 w 170"/>
                <a:gd name="T43" fmla="*/ 2147483647 h 255"/>
                <a:gd name="T44" fmla="*/ 2147483647 w 170"/>
                <a:gd name="T45" fmla="*/ 2147483647 h 255"/>
                <a:gd name="T46" fmla="*/ 2147483647 w 170"/>
                <a:gd name="T47" fmla="*/ 2147483647 h 255"/>
                <a:gd name="T48" fmla="*/ 2147483647 w 170"/>
                <a:gd name="T49" fmla="*/ 2147483647 h 255"/>
                <a:gd name="T50" fmla="*/ 2147483647 w 170"/>
                <a:gd name="T51" fmla="*/ 2147483647 h 255"/>
                <a:gd name="T52" fmla="*/ 2147483647 w 170"/>
                <a:gd name="T53" fmla="*/ 2147483647 h 255"/>
                <a:gd name="T54" fmla="*/ 2147483647 w 170"/>
                <a:gd name="T55" fmla="*/ 2147483647 h 255"/>
                <a:gd name="T56" fmla="*/ 2147483647 w 170"/>
                <a:gd name="T57" fmla="*/ 2147483647 h 255"/>
                <a:gd name="T58" fmla="*/ 2147483647 w 170"/>
                <a:gd name="T59" fmla="*/ 2147483647 h 255"/>
                <a:gd name="T60" fmla="*/ 2147483647 w 170"/>
                <a:gd name="T61" fmla="*/ 2147483647 h 255"/>
                <a:gd name="T62" fmla="*/ 2147483647 w 170"/>
                <a:gd name="T63" fmla="*/ 2147483647 h 255"/>
                <a:gd name="T64" fmla="*/ 2147483647 w 170"/>
                <a:gd name="T65" fmla="*/ 2147483647 h 255"/>
                <a:gd name="T66" fmla="*/ 2147483647 w 170"/>
                <a:gd name="T67" fmla="*/ 2147483647 h 255"/>
                <a:gd name="T68" fmla="*/ 2147483647 w 170"/>
                <a:gd name="T69" fmla="*/ 2147483647 h 255"/>
                <a:gd name="T70" fmla="*/ 2147483647 w 170"/>
                <a:gd name="T71" fmla="*/ 2147483647 h 255"/>
                <a:gd name="T72" fmla="*/ 2147483647 w 170"/>
                <a:gd name="T73" fmla="*/ 2147483647 h 255"/>
                <a:gd name="T74" fmla="*/ 2147483647 w 170"/>
                <a:gd name="T75" fmla="*/ 2147483647 h 255"/>
                <a:gd name="T76" fmla="*/ 2147483647 w 170"/>
                <a:gd name="T77" fmla="*/ 2147483647 h 255"/>
                <a:gd name="T78" fmla="*/ 2147483647 w 170"/>
                <a:gd name="T79" fmla="*/ 2147483647 h 255"/>
                <a:gd name="T80" fmla="*/ 2147483647 w 170"/>
                <a:gd name="T81" fmla="*/ 2147483647 h 255"/>
                <a:gd name="T82" fmla="*/ 2147483647 w 170"/>
                <a:gd name="T83" fmla="*/ 2147483647 h 255"/>
                <a:gd name="T84" fmla="*/ 2147483647 w 170"/>
                <a:gd name="T85" fmla="*/ 2147483647 h 255"/>
                <a:gd name="T86" fmla="*/ 2147483647 w 170"/>
                <a:gd name="T87" fmla="*/ 2147483647 h 255"/>
                <a:gd name="T88" fmla="*/ 2147483647 w 170"/>
                <a:gd name="T89" fmla="*/ 2147483647 h 255"/>
                <a:gd name="T90" fmla="*/ 2147483647 w 170"/>
                <a:gd name="T91" fmla="*/ 2147483647 h 255"/>
                <a:gd name="T92" fmla="*/ 2147483647 w 170"/>
                <a:gd name="T93" fmla="*/ 2147483647 h 255"/>
                <a:gd name="T94" fmla="*/ 2147483647 w 170"/>
                <a:gd name="T95" fmla="*/ 2147483647 h 255"/>
                <a:gd name="T96" fmla="*/ 2147483647 w 170"/>
                <a:gd name="T97" fmla="*/ 2147483647 h 255"/>
                <a:gd name="T98" fmla="*/ 2147483647 w 170"/>
                <a:gd name="T99" fmla="*/ 2147483647 h 255"/>
                <a:gd name="T100" fmla="*/ 2147483647 w 170"/>
                <a:gd name="T101" fmla="*/ 2147483647 h 255"/>
                <a:gd name="T102" fmla="*/ 2147483647 w 170"/>
                <a:gd name="T103" fmla="*/ 2147483647 h 255"/>
                <a:gd name="T104" fmla="*/ 2147483647 w 170"/>
                <a:gd name="T105" fmla="*/ 2147483647 h 255"/>
                <a:gd name="T106" fmla="*/ 2147483647 w 170"/>
                <a:gd name="T107" fmla="*/ 2147483647 h 255"/>
                <a:gd name="T108" fmla="*/ 2147483647 w 170"/>
                <a:gd name="T109" fmla="*/ 2147483647 h 255"/>
                <a:gd name="T110" fmla="*/ 2147483647 w 170"/>
                <a:gd name="T111" fmla="*/ 2147483647 h 25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70"/>
                <a:gd name="T169" fmla="*/ 0 h 255"/>
                <a:gd name="T170" fmla="*/ 170 w 170"/>
                <a:gd name="T171" fmla="*/ 255 h 255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70" h="255">
                  <a:moveTo>
                    <a:pt x="23" y="229"/>
                  </a:moveTo>
                  <a:lnTo>
                    <a:pt x="20" y="226"/>
                  </a:lnTo>
                  <a:lnTo>
                    <a:pt x="15" y="232"/>
                  </a:lnTo>
                  <a:lnTo>
                    <a:pt x="9" y="229"/>
                  </a:lnTo>
                  <a:lnTo>
                    <a:pt x="3" y="232"/>
                  </a:lnTo>
                  <a:lnTo>
                    <a:pt x="0" y="235"/>
                  </a:lnTo>
                  <a:lnTo>
                    <a:pt x="3" y="241"/>
                  </a:lnTo>
                  <a:lnTo>
                    <a:pt x="9" y="244"/>
                  </a:lnTo>
                  <a:lnTo>
                    <a:pt x="12" y="249"/>
                  </a:lnTo>
                  <a:lnTo>
                    <a:pt x="3" y="249"/>
                  </a:lnTo>
                  <a:lnTo>
                    <a:pt x="9" y="255"/>
                  </a:lnTo>
                  <a:lnTo>
                    <a:pt x="18" y="252"/>
                  </a:lnTo>
                  <a:lnTo>
                    <a:pt x="23" y="246"/>
                  </a:lnTo>
                  <a:lnTo>
                    <a:pt x="18" y="244"/>
                  </a:lnTo>
                  <a:lnTo>
                    <a:pt x="20" y="238"/>
                  </a:lnTo>
                  <a:lnTo>
                    <a:pt x="23" y="232"/>
                  </a:lnTo>
                  <a:lnTo>
                    <a:pt x="29" y="232"/>
                  </a:lnTo>
                  <a:lnTo>
                    <a:pt x="29" y="241"/>
                  </a:lnTo>
                  <a:lnTo>
                    <a:pt x="40" y="238"/>
                  </a:lnTo>
                  <a:lnTo>
                    <a:pt x="46" y="238"/>
                  </a:lnTo>
                  <a:lnTo>
                    <a:pt x="49" y="232"/>
                  </a:lnTo>
                  <a:lnTo>
                    <a:pt x="52" y="226"/>
                  </a:lnTo>
                  <a:lnTo>
                    <a:pt x="63" y="226"/>
                  </a:lnTo>
                  <a:lnTo>
                    <a:pt x="72" y="224"/>
                  </a:lnTo>
                  <a:lnTo>
                    <a:pt x="75" y="221"/>
                  </a:lnTo>
                  <a:lnTo>
                    <a:pt x="78" y="226"/>
                  </a:lnTo>
                  <a:lnTo>
                    <a:pt x="86" y="206"/>
                  </a:lnTo>
                  <a:lnTo>
                    <a:pt x="84" y="209"/>
                  </a:lnTo>
                  <a:lnTo>
                    <a:pt x="78" y="212"/>
                  </a:lnTo>
                  <a:lnTo>
                    <a:pt x="81" y="203"/>
                  </a:lnTo>
                  <a:lnTo>
                    <a:pt x="81" y="189"/>
                  </a:lnTo>
                  <a:lnTo>
                    <a:pt x="84" y="183"/>
                  </a:lnTo>
                  <a:lnTo>
                    <a:pt x="86" y="178"/>
                  </a:lnTo>
                  <a:lnTo>
                    <a:pt x="98" y="175"/>
                  </a:lnTo>
                  <a:lnTo>
                    <a:pt x="104" y="175"/>
                  </a:lnTo>
                  <a:lnTo>
                    <a:pt x="104" y="166"/>
                  </a:lnTo>
                  <a:lnTo>
                    <a:pt x="109" y="163"/>
                  </a:lnTo>
                  <a:lnTo>
                    <a:pt x="112" y="157"/>
                  </a:lnTo>
                  <a:lnTo>
                    <a:pt x="104" y="152"/>
                  </a:lnTo>
                  <a:lnTo>
                    <a:pt x="101" y="146"/>
                  </a:lnTo>
                  <a:lnTo>
                    <a:pt x="92" y="143"/>
                  </a:lnTo>
                  <a:lnTo>
                    <a:pt x="86" y="140"/>
                  </a:lnTo>
                  <a:lnTo>
                    <a:pt x="84" y="126"/>
                  </a:lnTo>
                  <a:lnTo>
                    <a:pt x="89" y="126"/>
                  </a:lnTo>
                  <a:lnTo>
                    <a:pt x="86" y="120"/>
                  </a:lnTo>
                  <a:lnTo>
                    <a:pt x="89" y="117"/>
                  </a:lnTo>
                  <a:lnTo>
                    <a:pt x="86" y="112"/>
                  </a:lnTo>
                  <a:lnTo>
                    <a:pt x="92" y="112"/>
                  </a:lnTo>
                  <a:lnTo>
                    <a:pt x="92" y="103"/>
                  </a:lnTo>
                  <a:lnTo>
                    <a:pt x="95" y="103"/>
                  </a:lnTo>
                  <a:lnTo>
                    <a:pt x="101" y="103"/>
                  </a:lnTo>
                  <a:lnTo>
                    <a:pt x="104" y="100"/>
                  </a:lnTo>
                  <a:lnTo>
                    <a:pt x="109" y="97"/>
                  </a:lnTo>
                  <a:lnTo>
                    <a:pt x="112" y="94"/>
                  </a:lnTo>
                  <a:lnTo>
                    <a:pt x="118" y="94"/>
                  </a:lnTo>
                  <a:lnTo>
                    <a:pt x="127" y="89"/>
                  </a:lnTo>
                  <a:lnTo>
                    <a:pt x="135" y="80"/>
                  </a:lnTo>
                  <a:lnTo>
                    <a:pt x="141" y="74"/>
                  </a:lnTo>
                  <a:lnTo>
                    <a:pt x="138" y="74"/>
                  </a:lnTo>
                  <a:lnTo>
                    <a:pt x="135" y="74"/>
                  </a:lnTo>
                  <a:lnTo>
                    <a:pt x="135" y="71"/>
                  </a:lnTo>
                  <a:lnTo>
                    <a:pt x="141" y="63"/>
                  </a:lnTo>
                  <a:lnTo>
                    <a:pt x="147" y="57"/>
                  </a:lnTo>
                  <a:lnTo>
                    <a:pt x="150" y="57"/>
                  </a:lnTo>
                  <a:lnTo>
                    <a:pt x="147" y="57"/>
                  </a:lnTo>
                  <a:lnTo>
                    <a:pt x="147" y="54"/>
                  </a:lnTo>
                  <a:lnTo>
                    <a:pt x="150" y="54"/>
                  </a:lnTo>
                  <a:lnTo>
                    <a:pt x="164" y="54"/>
                  </a:lnTo>
                  <a:lnTo>
                    <a:pt x="170" y="54"/>
                  </a:lnTo>
                  <a:lnTo>
                    <a:pt x="167" y="48"/>
                  </a:lnTo>
                  <a:lnTo>
                    <a:pt x="164" y="43"/>
                  </a:lnTo>
                  <a:lnTo>
                    <a:pt x="164" y="40"/>
                  </a:lnTo>
                  <a:lnTo>
                    <a:pt x="164" y="34"/>
                  </a:lnTo>
                  <a:lnTo>
                    <a:pt x="158" y="28"/>
                  </a:lnTo>
                  <a:lnTo>
                    <a:pt x="161" y="28"/>
                  </a:lnTo>
                  <a:lnTo>
                    <a:pt x="161" y="25"/>
                  </a:lnTo>
                  <a:lnTo>
                    <a:pt x="158" y="17"/>
                  </a:lnTo>
                  <a:lnTo>
                    <a:pt x="155" y="14"/>
                  </a:lnTo>
                  <a:lnTo>
                    <a:pt x="150" y="11"/>
                  </a:lnTo>
                  <a:lnTo>
                    <a:pt x="147" y="11"/>
                  </a:lnTo>
                  <a:lnTo>
                    <a:pt x="141" y="11"/>
                  </a:lnTo>
                  <a:lnTo>
                    <a:pt x="135" y="8"/>
                  </a:lnTo>
                  <a:lnTo>
                    <a:pt x="129" y="8"/>
                  </a:lnTo>
                  <a:lnTo>
                    <a:pt x="121" y="0"/>
                  </a:lnTo>
                  <a:lnTo>
                    <a:pt x="118" y="0"/>
                  </a:lnTo>
                  <a:lnTo>
                    <a:pt x="118" y="8"/>
                  </a:lnTo>
                  <a:lnTo>
                    <a:pt x="115" y="11"/>
                  </a:lnTo>
                  <a:lnTo>
                    <a:pt x="112" y="11"/>
                  </a:lnTo>
                  <a:lnTo>
                    <a:pt x="104" y="11"/>
                  </a:lnTo>
                  <a:lnTo>
                    <a:pt x="95" y="8"/>
                  </a:lnTo>
                  <a:lnTo>
                    <a:pt x="92" y="8"/>
                  </a:lnTo>
                  <a:lnTo>
                    <a:pt x="92" y="17"/>
                  </a:lnTo>
                  <a:lnTo>
                    <a:pt x="89" y="20"/>
                  </a:lnTo>
                  <a:lnTo>
                    <a:pt x="86" y="20"/>
                  </a:lnTo>
                  <a:lnTo>
                    <a:pt x="81" y="17"/>
                  </a:lnTo>
                  <a:lnTo>
                    <a:pt x="78" y="20"/>
                  </a:lnTo>
                  <a:lnTo>
                    <a:pt x="75" y="23"/>
                  </a:lnTo>
                  <a:lnTo>
                    <a:pt x="72" y="23"/>
                  </a:lnTo>
                  <a:lnTo>
                    <a:pt x="75" y="23"/>
                  </a:lnTo>
                  <a:lnTo>
                    <a:pt x="66" y="28"/>
                  </a:lnTo>
                  <a:lnTo>
                    <a:pt x="69" y="34"/>
                  </a:lnTo>
                  <a:lnTo>
                    <a:pt x="61" y="40"/>
                  </a:lnTo>
                  <a:lnTo>
                    <a:pt x="61" y="46"/>
                  </a:lnTo>
                  <a:lnTo>
                    <a:pt x="58" y="48"/>
                  </a:lnTo>
                  <a:lnTo>
                    <a:pt x="52" y="48"/>
                  </a:lnTo>
                  <a:lnTo>
                    <a:pt x="49" y="48"/>
                  </a:lnTo>
                  <a:lnTo>
                    <a:pt x="46" y="63"/>
                  </a:lnTo>
                  <a:lnTo>
                    <a:pt x="38" y="74"/>
                  </a:lnTo>
                  <a:lnTo>
                    <a:pt x="43" y="77"/>
                  </a:lnTo>
                  <a:lnTo>
                    <a:pt x="43" y="80"/>
                  </a:lnTo>
                  <a:lnTo>
                    <a:pt x="40" y="83"/>
                  </a:lnTo>
                  <a:lnTo>
                    <a:pt x="38" y="86"/>
                  </a:lnTo>
                  <a:lnTo>
                    <a:pt x="29" y="86"/>
                  </a:lnTo>
                  <a:lnTo>
                    <a:pt x="20" y="89"/>
                  </a:lnTo>
                  <a:lnTo>
                    <a:pt x="18" y="97"/>
                  </a:lnTo>
                  <a:lnTo>
                    <a:pt x="18" y="100"/>
                  </a:lnTo>
                  <a:lnTo>
                    <a:pt x="18" y="103"/>
                  </a:lnTo>
                  <a:lnTo>
                    <a:pt x="18" y="106"/>
                  </a:lnTo>
                  <a:lnTo>
                    <a:pt x="20" y="114"/>
                  </a:lnTo>
                  <a:lnTo>
                    <a:pt x="18" y="123"/>
                  </a:lnTo>
                  <a:lnTo>
                    <a:pt x="26" y="129"/>
                  </a:lnTo>
                  <a:lnTo>
                    <a:pt x="29" y="132"/>
                  </a:lnTo>
                  <a:lnTo>
                    <a:pt x="29" y="135"/>
                  </a:lnTo>
                  <a:lnTo>
                    <a:pt x="26" y="137"/>
                  </a:lnTo>
                  <a:lnTo>
                    <a:pt x="23" y="137"/>
                  </a:lnTo>
                  <a:lnTo>
                    <a:pt x="20" y="140"/>
                  </a:lnTo>
                  <a:lnTo>
                    <a:pt x="23" y="146"/>
                  </a:lnTo>
                  <a:lnTo>
                    <a:pt x="23" y="149"/>
                  </a:lnTo>
                  <a:lnTo>
                    <a:pt x="23" y="155"/>
                  </a:lnTo>
                  <a:lnTo>
                    <a:pt x="20" y="157"/>
                  </a:lnTo>
                  <a:lnTo>
                    <a:pt x="15" y="160"/>
                  </a:lnTo>
                  <a:lnTo>
                    <a:pt x="12" y="175"/>
                  </a:lnTo>
                  <a:lnTo>
                    <a:pt x="6" y="175"/>
                  </a:lnTo>
                  <a:lnTo>
                    <a:pt x="3" y="175"/>
                  </a:lnTo>
                  <a:lnTo>
                    <a:pt x="3" y="180"/>
                  </a:lnTo>
                  <a:lnTo>
                    <a:pt x="9" y="192"/>
                  </a:lnTo>
                  <a:lnTo>
                    <a:pt x="20" y="206"/>
                  </a:lnTo>
                  <a:lnTo>
                    <a:pt x="29" y="221"/>
                  </a:lnTo>
                  <a:lnTo>
                    <a:pt x="23" y="226"/>
                  </a:lnTo>
                  <a:lnTo>
                    <a:pt x="23" y="229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23" name="Freeform 217"/>
            <p:cNvSpPr>
              <a:spLocks noChangeAspect="1"/>
            </p:cNvSpPr>
            <p:nvPr/>
          </p:nvSpPr>
          <p:spPr bwMode="gray">
            <a:xfrm>
              <a:off x="7398288" y="3803705"/>
              <a:ext cx="7867" cy="17646"/>
            </a:xfrm>
            <a:custGeom>
              <a:avLst/>
              <a:gdLst>
                <a:gd name="T0" fmla="*/ 2147483647 w 3"/>
                <a:gd name="T1" fmla="*/ 2147483647 h 6"/>
                <a:gd name="T2" fmla="*/ 2147483647 w 3"/>
                <a:gd name="T3" fmla="*/ 2147483647 h 6"/>
                <a:gd name="T4" fmla="*/ 2147483647 w 3"/>
                <a:gd name="T5" fmla="*/ 2147483647 h 6"/>
                <a:gd name="T6" fmla="*/ 2147483647 w 3"/>
                <a:gd name="T7" fmla="*/ 2147483647 h 6"/>
                <a:gd name="T8" fmla="*/ 2147483647 w 3"/>
                <a:gd name="T9" fmla="*/ 0 h 6"/>
                <a:gd name="T10" fmla="*/ 2147483647 w 3"/>
                <a:gd name="T11" fmla="*/ 0 h 6"/>
                <a:gd name="T12" fmla="*/ 0 w 3"/>
                <a:gd name="T13" fmla="*/ 2147483647 h 6"/>
                <a:gd name="T14" fmla="*/ 0 w 3"/>
                <a:gd name="T15" fmla="*/ 2147483647 h 6"/>
                <a:gd name="T16" fmla="*/ 2147483647 w 3"/>
                <a:gd name="T17" fmla="*/ 2147483647 h 6"/>
                <a:gd name="T18" fmla="*/ 2147483647 w 3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6"/>
                <a:gd name="T32" fmla="*/ 3 w 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6">
                  <a:moveTo>
                    <a:pt x="3" y="6"/>
                  </a:moveTo>
                  <a:lnTo>
                    <a:pt x="3" y="6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24" name="Freeform 219"/>
            <p:cNvSpPr>
              <a:spLocks noChangeAspect="1"/>
            </p:cNvSpPr>
            <p:nvPr/>
          </p:nvSpPr>
          <p:spPr bwMode="gray">
            <a:xfrm>
              <a:off x="7142615" y="3451879"/>
              <a:ext cx="27535" cy="46322"/>
            </a:xfrm>
            <a:custGeom>
              <a:avLst/>
              <a:gdLst>
                <a:gd name="T0" fmla="*/ 2147483647 w 11"/>
                <a:gd name="T1" fmla="*/ 2147483647 h 15"/>
                <a:gd name="T2" fmla="*/ 0 w 11"/>
                <a:gd name="T3" fmla="*/ 2147483647 h 15"/>
                <a:gd name="T4" fmla="*/ 2147483647 w 11"/>
                <a:gd name="T5" fmla="*/ 2147483647 h 15"/>
                <a:gd name="T6" fmla="*/ 2147483647 w 11"/>
                <a:gd name="T7" fmla="*/ 2147483647 h 15"/>
                <a:gd name="T8" fmla="*/ 2147483647 w 11"/>
                <a:gd name="T9" fmla="*/ 2147483647 h 15"/>
                <a:gd name="T10" fmla="*/ 2147483647 w 11"/>
                <a:gd name="T11" fmla="*/ 2147483647 h 15"/>
                <a:gd name="T12" fmla="*/ 2147483647 w 11"/>
                <a:gd name="T13" fmla="*/ 2147483647 h 15"/>
                <a:gd name="T14" fmla="*/ 2147483647 w 11"/>
                <a:gd name="T15" fmla="*/ 0 h 15"/>
                <a:gd name="T16" fmla="*/ 2147483647 w 11"/>
                <a:gd name="T17" fmla="*/ 0 h 15"/>
                <a:gd name="T18" fmla="*/ 2147483647 w 11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"/>
                <a:gd name="T31" fmla="*/ 0 h 15"/>
                <a:gd name="T32" fmla="*/ 11 w 11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" h="15">
                  <a:moveTo>
                    <a:pt x="3" y="3"/>
                  </a:moveTo>
                  <a:lnTo>
                    <a:pt x="0" y="6"/>
                  </a:lnTo>
                  <a:lnTo>
                    <a:pt x="6" y="15"/>
                  </a:lnTo>
                  <a:lnTo>
                    <a:pt x="8" y="12"/>
                  </a:lnTo>
                  <a:lnTo>
                    <a:pt x="11" y="12"/>
                  </a:lnTo>
                  <a:lnTo>
                    <a:pt x="8" y="9"/>
                  </a:lnTo>
                  <a:lnTo>
                    <a:pt x="6" y="0"/>
                  </a:lnTo>
                  <a:lnTo>
                    <a:pt x="3" y="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25" name="Freeform 221"/>
            <p:cNvSpPr>
              <a:spLocks noChangeAspect="1"/>
            </p:cNvSpPr>
            <p:nvPr/>
          </p:nvSpPr>
          <p:spPr bwMode="gray">
            <a:xfrm>
              <a:off x="7966668" y="4051858"/>
              <a:ext cx="14751" cy="25366"/>
            </a:xfrm>
            <a:custGeom>
              <a:avLst/>
              <a:gdLst>
                <a:gd name="T0" fmla="*/ 2147483647 w 6"/>
                <a:gd name="T1" fmla="*/ 0 h 9"/>
                <a:gd name="T2" fmla="*/ 0 w 6"/>
                <a:gd name="T3" fmla="*/ 2147483647 h 9"/>
                <a:gd name="T4" fmla="*/ 2147483647 w 6"/>
                <a:gd name="T5" fmla="*/ 2147483647 h 9"/>
                <a:gd name="T6" fmla="*/ 2147483647 w 6"/>
                <a:gd name="T7" fmla="*/ 0 h 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9"/>
                <a:gd name="T14" fmla="*/ 6 w 6"/>
                <a:gd name="T15" fmla="*/ 9 h 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9">
                  <a:moveTo>
                    <a:pt x="3" y="0"/>
                  </a:moveTo>
                  <a:lnTo>
                    <a:pt x="0" y="6"/>
                  </a:lnTo>
                  <a:lnTo>
                    <a:pt x="6" y="9"/>
                  </a:lnTo>
                  <a:lnTo>
                    <a:pt x="3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26" name="Freeform 224"/>
            <p:cNvSpPr>
              <a:spLocks noChangeAspect="1"/>
            </p:cNvSpPr>
            <p:nvPr/>
          </p:nvSpPr>
          <p:spPr bwMode="gray">
            <a:xfrm>
              <a:off x="7510044" y="3804199"/>
              <a:ext cx="16589" cy="17369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0 w 6"/>
                <a:gd name="T5" fmla="*/ 2147483647 h 6"/>
                <a:gd name="T6" fmla="*/ 2147483647 w 6"/>
                <a:gd name="T7" fmla="*/ 2147483647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6" y="6"/>
                  </a:moveTo>
                  <a:lnTo>
                    <a:pt x="6" y="0"/>
                  </a:lnTo>
                  <a:lnTo>
                    <a:pt x="0" y="3"/>
                  </a:lnTo>
                  <a:lnTo>
                    <a:pt x="6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de-DE">
                <a:latin typeface="Tele-GroteskFet" charset="0"/>
              </a:endParaRPr>
            </a:p>
          </p:txBody>
        </p:sp>
        <p:sp>
          <p:nvSpPr>
            <p:cNvPr id="27" name="Freeform 226"/>
            <p:cNvSpPr>
              <a:spLocks noChangeAspect="1"/>
            </p:cNvSpPr>
            <p:nvPr/>
          </p:nvSpPr>
          <p:spPr bwMode="gray">
            <a:xfrm>
              <a:off x="7806380" y="3787162"/>
              <a:ext cx="243872" cy="155508"/>
            </a:xfrm>
            <a:custGeom>
              <a:avLst/>
              <a:gdLst>
                <a:gd name="T0" fmla="*/ 2147483647 w 95"/>
                <a:gd name="T1" fmla="*/ 2147483647 h 55"/>
                <a:gd name="T2" fmla="*/ 2147483647 w 95"/>
                <a:gd name="T3" fmla="*/ 2147483647 h 55"/>
                <a:gd name="T4" fmla="*/ 2147483647 w 95"/>
                <a:gd name="T5" fmla="*/ 2147483647 h 55"/>
                <a:gd name="T6" fmla="*/ 2147483647 w 95"/>
                <a:gd name="T7" fmla="*/ 2147483647 h 55"/>
                <a:gd name="T8" fmla="*/ 2147483647 w 95"/>
                <a:gd name="T9" fmla="*/ 2147483647 h 55"/>
                <a:gd name="T10" fmla="*/ 2147483647 w 95"/>
                <a:gd name="T11" fmla="*/ 2147483647 h 55"/>
                <a:gd name="T12" fmla="*/ 2147483647 w 95"/>
                <a:gd name="T13" fmla="*/ 2147483647 h 55"/>
                <a:gd name="T14" fmla="*/ 2147483647 w 95"/>
                <a:gd name="T15" fmla="*/ 2147483647 h 55"/>
                <a:gd name="T16" fmla="*/ 2147483647 w 95"/>
                <a:gd name="T17" fmla="*/ 2147483647 h 55"/>
                <a:gd name="T18" fmla="*/ 2147483647 w 95"/>
                <a:gd name="T19" fmla="*/ 2147483647 h 55"/>
                <a:gd name="T20" fmla="*/ 2147483647 w 95"/>
                <a:gd name="T21" fmla="*/ 2147483647 h 55"/>
                <a:gd name="T22" fmla="*/ 2147483647 w 95"/>
                <a:gd name="T23" fmla="*/ 2147483647 h 55"/>
                <a:gd name="T24" fmla="*/ 2147483647 w 95"/>
                <a:gd name="T25" fmla="*/ 0 h 55"/>
                <a:gd name="T26" fmla="*/ 0 w 95"/>
                <a:gd name="T27" fmla="*/ 2147483647 h 55"/>
                <a:gd name="T28" fmla="*/ 0 w 95"/>
                <a:gd name="T29" fmla="*/ 2147483647 h 55"/>
                <a:gd name="T30" fmla="*/ 2147483647 w 95"/>
                <a:gd name="T31" fmla="*/ 2147483647 h 55"/>
                <a:gd name="T32" fmla="*/ 2147483647 w 95"/>
                <a:gd name="T33" fmla="*/ 2147483647 h 55"/>
                <a:gd name="T34" fmla="*/ 2147483647 w 95"/>
                <a:gd name="T35" fmla="*/ 2147483647 h 55"/>
                <a:gd name="T36" fmla="*/ 2147483647 w 95"/>
                <a:gd name="T37" fmla="*/ 2147483647 h 55"/>
                <a:gd name="T38" fmla="*/ 2147483647 w 95"/>
                <a:gd name="T39" fmla="*/ 2147483647 h 55"/>
                <a:gd name="T40" fmla="*/ 2147483647 w 95"/>
                <a:gd name="T41" fmla="*/ 2147483647 h 55"/>
                <a:gd name="T42" fmla="*/ 2147483647 w 95"/>
                <a:gd name="T43" fmla="*/ 2147483647 h 55"/>
                <a:gd name="T44" fmla="*/ 2147483647 w 95"/>
                <a:gd name="T45" fmla="*/ 2147483647 h 55"/>
                <a:gd name="T46" fmla="*/ 2147483647 w 95"/>
                <a:gd name="T47" fmla="*/ 2147483647 h 55"/>
                <a:gd name="T48" fmla="*/ 2147483647 w 95"/>
                <a:gd name="T49" fmla="*/ 2147483647 h 55"/>
                <a:gd name="T50" fmla="*/ 2147483647 w 95"/>
                <a:gd name="T51" fmla="*/ 2147483647 h 55"/>
                <a:gd name="T52" fmla="*/ 2147483647 w 95"/>
                <a:gd name="T53" fmla="*/ 2147483647 h 55"/>
                <a:gd name="T54" fmla="*/ 2147483647 w 95"/>
                <a:gd name="T55" fmla="*/ 2147483647 h 55"/>
                <a:gd name="T56" fmla="*/ 2147483647 w 95"/>
                <a:gd name="T57" fmla="*/ 2147483647 h 55"/>
                <a:gd name="T58" fmla="*/ 2147483647 w 95"/>
                <a:gd name="T59" fmla="*/ 2147483647 h 55"/>
                <a:gd name="T60" fmla="*/ 2147483647 w 95"/>
                <a:gd name="T61" fmla="*/ 2147483647 h 55"/>
                <a:gd name="T62" fmla="*/ 2147483647 w 95"/>
                <a:gd name="T63" fmla="*/ 2147483647 h 55"/>
                <a:gd name="T64" fmla="*/ 2147483647 w 95"/>
                <a:gd name="T65" fmla="*/ 2147483647 h 55"/>
                <a:gd name="T66" fmla="*/ 2147483647 w 95"/>
                <a:gd name="T67" fmla="*/ 2147483647 h 55"/>
                <a:gd name="T68" fmla="*/ 2147483647 w 95"/>
                <a:gd name="T69" fmla="*/ 2147483647 h 55"/>
                <a:gd name="T70" fmla="*/ 2147483647 w 95"/>
                <a:gd name="T71" fmla="*/ 2147483647 h 55"/>
                <a:gd name="T72" fmla="*/ 2147483647 w 95"/>
                <a:gd name="T73" fmla="*/ 2147483647 h 55"/>
                <a:gd name="T74" fmla="*/ 2147483647 w 95"/>
                <a:gd name="T75" fmla="*/ 2147483647 h 55"/>
                <a:gd name="T76" fmla="*/ 2147483647 w 95"/>
                <a:gd name="T77" fmla="*/ 2147483647 h 55"/>
                <a:gd name="T78" fmla="*/ 2147483647 w 95"/>
                <a:gd name="T79" fmla="*/ 2147483647 h 55"/>
                <a:gd name="T80" fmla="*/ 2147483647 w 95"/>
                <a:gd name="T81" fmla="*/ 2147483647 h 55"/>
                <a:gd name="T82" fmla="*/ 2147483647 w 95"/>
                <a:gd name="T83" fmla="*/ 2147483647 h 55"/>
                <a:gd name="T84" fmla="*/ 2147483647 w 95"/>
                <a:gd name="T85" fmla="*/ 2147483647 h 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95"/>
                <a:gd name="T130" fmla="*/ 0 h 55"/>
                <a:gd name="T131" fmla="*/ 95 w 95"/>
                <a:gd name="T132" fmla="*/ 55 h 5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95" h="55">
                  <a:moveTo>
                    <a:pt x="92" y="18"/>
                  </a:moveTo>
                  <a:lnTo>
                    <a:pt x="95" y="12"/>
                  </a:lnTo>
                  <a:lnTo>
                    <a:pt x="86" y="9"/>
                  </a:lnTo>
                  <a:lnTo>
                    <a:pt x="78" y="3"/>
                  </a:lnTo>
                  <a:lnTo>
                    <a:pt x="66" y="3"/>
                  </a:lnTo>
                  <a:lnTo>
                    <a:pt x="55" y="6"/>
                  </a:lnTo>
                  <a:lnTo>
                    <a:pt x="46" y="12"/>
                  </a:lnTo>
                  <a:lnTo>
                    <a:pt x="32" y="9"/>
                  </a:lnTo>
                  <a:lnTo>
                    <a:pt x="29" y="15"/>
                  </a:lnTo>
                  <a:lnTo>
                    <a:pt x="3" y="6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6"/>
                  </a:lnTo>
                  <a:lnTo>
                    <a:pt x="0" y="12"/>
                  </a:lnTo>
                  <a:lnTo>
                    <a:pt x="9" y="18"/>
                  </a:lnTo>
                  <a:lnTo>
                    <a:pt x="9" y="20"/>
                  </a:lnTo>
                  <a:lnTo>
                    <a:pt x="6" y="26"/>
                  </a:lnTo>
                  <a:lnTo>
                    <a:pt x="3" y="29"/>
                  </a:lnTo>
                  <a:lnTo>
                    <a:pt x="3" y="35"/>
                  </a:lnTo>
                  <a:lnTo>
                    <a:pt x="3" y="38"/>
                  </a:lnTo>
                  <a:lnTo>
                    <a:pt x="9" y="41"/>
                  </a:lnTo>
                  <a:lnTo>
                    <a:pt x="12" y="49"/>
                  </a:lnTo>
                  <a:lnTo>
                    <a:pt x="29" y="52"/>
                  </a:lnTo>
                  <a:lnTo>
                    <a:pt x="40" y="52"/>
                  </a:lnTo>
                  <a:lnTo>
                    <a:pt x="49" y="55"/>
                  </a:lnTo>
                  <a:lnTo>
                    <a:pt x="58" y="55"/>
                  </a:lnTo>
                  <a:lnTo>
                    <a:pt x="55" y="46"/>
                  </a:lnTo>
                  <a:lnTo>
                    <a:pt x="58" y="46"/>
                  </a:lnTo>
                  <a:lnTo>
                    <a:pt x="63" y="43"/>
                  </a:lnTo>
                  <a:lnTo>
                    <a:pt x="66" y="43"/>
                  </a:lnTo>
                  <a:lnTo>
                    <a:pt x="75" y="41"/>
                  </a:lnTo>
                  <a:lnTo>
                    <a:pt x="78" y="41"/>
                  </a:lnTo>
                  <a:lnTo>
                    <a:pt x="81" y="43"/>
                  </a:lnTo>
                  <a:lnTo>
                    <a:pt x="89" y="43"/>
                  </a:lnTo>
                  <a:lnTo>
                    <a:pt x="86" y="41"/>
                  </a:lnTo>
                  <a:lnTo>
                    <a:pt x="83" y="35"/>
                  </a:lnTo>
                  <a:lnTo>
                    <a:pt x="83" y="23"/>
                  </a:lnTo>
                  <a:lnTo>
                    <a:pt x="92" y="1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28" name="Freeform 227"/>
            <p:cNvSpPr>
              <a:spLocks noChangeAspect="1"/>
            </p:cNvSpPr>
            <p:nvPr/>
          </p:nvSpPr>
          <p:spPr bwMode="gray">
            <a:xfrm>
              <a:off x="7716895" y="3926128"/>
              <a:ext cx="256655" cy="226094"/>
            </a:xfrm>
            <a:custGeom>
              <a:avLst/>
              <a:gdLst>
                <a:gd name="T0" fmla="*/ 2147483647 w 100"/>
                <a:gd name="T1" fmla="*/ 2147483647 h 78"/>
                <a:gd name="T2" fmla="*/ 2147483647 w 100"/>
                <a:gd name="T3" fmla="*/ 0 h 78"/>
                <a:gd name="T4" fmla="*/ 2147483647 w 100"/>
                <a:gd name="T5" fmla="*/ 2147483647 h 78"/>
                <a:gd name="T6" fmla="*/ 2147483647 w 100"/>
                <a:gd name="T7" fmla="*/ 2147483647 h 78"/>
                <a:gd name="T8" fmla="*/ 2147483647 w 100"/>
                <a:gd name="T9" fmla="*/ 2147483647 h 78"/>
                <a:gd name="T10" fmla="*/ 2147483647 w 100"/>
                <a:gd name="T11" fmla="*/ 2147483647 h 78"/>
                <a:gd name="T12" fmla="*/ 2147483647 w 100"/>
                <a:gd name="T13" fmla="*/ 2147483647 h 78"/>
                <a:gd name="T14" fmla="*/ 2147483647 w 100"/>
                <a:gd name="T15" fmla="*/ 2147483647 h 78"/>
                <a:gd name="T16" fmla="*/ 0 w 100"/>
                <a:gd name="T17" fmla="*/ 2147483647 h 78"/>
                <a:gd name="T18" fmla="*/ 2147483647 w 100"/>
                <a:gd name="T19" fmla="*/ 2147483647 h 78"/>
                <a:gd name="T20" fmla="*/ 0 w 100"/>
                <a:gd name="T21" fmla="*/ 2147483647 h 78"/>
                <a:gd name="T22" fmla="*/ 2147483647 w 100"/>
                <a:gd name="T23" fmla="*/ 2147483647 h 78"/>
                <a:gd name="T24" fmla="*/ 2147483647 w 100"/>
                <a:gd name="T25" fmla="*/ 2147483647 h 78"/>
                <a:gd name="T26" fmla="*/ 2147483647 w 100"/>
                <a:gd name="T27" fmla="*/ 2147483647 h 78"/>
                <a:gd name="T28" fmla="*/ 2147483647 w 100"/>
                <a:gd name="T29" fmla="*/ 2147483647 h 78"/>
                <a:gd name="T30" fmla="*/ 2147483647 w 100"/>
                <a:gd name="T31" fmla="*/ 2147483647 h 78"/>
                <a:gd name="T32" fmla="*/ 2147483647 w 100"/>
                <a:gd name="T33" fmla="*/ 2147483647 h 78"/>
                <a:gd name="T34" fmla="*/ 2147483647 w 100"/>
                <a:gd name="T35" fmla="*/ 2147483647 h 78"/>
                <a:gd name="T36" fmla="*/ 2147483647 w 100"/>
                <a:gd name="T37" fmla="*/ 2147483647 h 78"/>
                <a:gd name="T38" fmla="*/ 2147483647 w 100"/>
                <a:gd name="T39" fmla="*/ 2147483647 h 78"/>
                <a:gd name="T40" fmla="*/ 2147483647 w 100"/>
                <a:gd name="T41" fmla="*/ 2147483647 h 78"/>
                <a:gd name="T42" fmla="*/ 2147483647 w 100"/>
                <a:gd name="T43" fmla="*/ 2147483647 h 78"/>
                <a:gd name="T44" fmla="*/ 2147483647 w 100"/>
                <a:gd name="T45" fmla="*/ 2147483647 h 78"/>
                <a:gd name="T46" fmla="*/ 2147483647 w 100"/>
                <a:gd name="T47" fmla="*/ 2147483647 h 78"/>
                <a:gd name="T48" fmla="*/ 2147483647 w 100"/>
                <a:gd name="T49" fmla="*/ 2147483647 h 78"/>
                <a:gd name="T50" fmla="*/ 2147483647 w 100"/>
                <a:gd name="T51" fmla="*/ 2147483647 h 78"/>
                <a:gd name="T52" fmla="*/ 2147483647 w 100"/>
                <a:gd name="T53" fmla="*/ 2147483647 h 78"/>
                <a:gd name="T54" fmla="*/ 2147483647 w 100"/>
                <a:gd name="T55" fmla="*/ 2147483647 h 78"/>
                <a:gd name="T56" fmla="*/ 2147483647 w 100"/>
                <a:gd name="T57" fmla="*/ 2147483647 h 78"/>
                <a:gd name="T58" fmla="*/ 2147483647 w 100"/>
                <a:gd name="T59" fmla="*/ 2147483647 h 78"/>
                <a:gd name="T60" fmla="*/ 2147483647 w 100"/>
                <a:gd name="T61" fmla="*/ 2147483647 h 78"/>
                <a:gd name="T62" fmla="*/ 2147483647 w 100"/>
                <a:gd name="T63" fmla="*/ 2147483647 h 78"/>
                <a:gd name="T64" fmla="*/ 2147483647 w 100"/>
                <a:gd name="T65" fmla="*/ 2147483647 h 78"/>
                <a:gd name="T66" fmla="*/ 2147483647 w 100"/>
                <a:gd name="T67" fmla="*/ 2147483647 h 78"/>
                <a:gd name="T68" fmla="*/ 2147483647 w 100"/>
                <a:gd name="T69" fmla="*/ 2147483647 h 78"/>
                <a:gd name="T70" fmla="*/ 2147483647 w 100"/>
                <a:gd name="T71" fmla="*/ 2147483647 h 78"/>
                <a:gd name="T72" fmla="*/ 2147483647 w 100"/>
                <a:gd name="T73" fmla="*/ 2147483647 h 78"/>
                <a:gd name="T74" fmla="*/ 2147483647 w 100"/>
                <a:gd name="T75" fmla="*/ 2147483647 h 78"/>
                <a:gd name="T76" fmla="*/ 2147483647 w 100"/>
                <a:gd name="T77" fmla="*/ 2147483647 h 78"/>
                <a:gd name="T78" fmla="*/ 2147483647 w 100"/>
                <a:gd name="T79" fmla="*/ 2147483647 h 78"/>
                <a:gd name="T80" fmla="*/ 2147483647 w 100"/>
                <a:gd name="T81" fmla="*/ 2147483647 h 78"/>
                <a:gd name="T82" fmla="*/ 2147483647 w 100"/>
                <a:gd name="T83" fmla="*/ 2147483647 h 78"/>
                <a:gd name="T84" fmla="*/ 2147483647 w 100"/>
                <a:gd name="T85" fmla="*/ 2147483647 h 78"/>
                <a:gd name="T86" fmla="*/ 2147483647 w 100"/>
                <a:gd name="T87" fmla="*/ 2147483647 h 78"/>
                <a:gd name="T88" fmla="*/ 2147483647 w 100"/>
                <a:gd name="T89" fmla="*/ 2147483647 h 78"/>
                <a:gd name="T90" fmla="*/ 2147483647 w 100"/>
                <a:gd name="T91" fmla="*/ 2147483647 h 78"/>
                <a:gd name="T92" fmla="*/ 2147483647 w 100"/>
                <a:gd name="T93" fmla="*/ 2147483647 h 78"/>
                <a:gd name="T94" fmla="*/ 2147483647 w 100"/>
                <a:gd name="T95" fmla="*/ 2147483647 h 78"/>
                <a:gd name="T96" fmla="*/ 2147483647 w 100"/>
                <a:gd name="T97" fmla="*/ 2147483647 h 78"/>
                <a:gd name="T98" fmla="*/ 2147483647 w 100"/>
                <a:gd name="T99" fmla="*/ 2147483647 h 78"/>
                <a:gd name="T100" fmla="*/ 2147483647 w 100"/>
                <a:gd name="T101" fmla="*/ 2147483647 h 78"/>
                <a:gd name="T102" fmla="*/ 2147483647 w 100"/>
                <a:gd name="T103" fmla="*/ 2147483647 h 78"/>
                <a:gd name="T104" fmla="*/ 2147483647 w 100"/>
                <a:gd name="T105" fmla="*/ 2147483647 h 78"/>
                <a:gd name="T106" fmla="*/ 2147483647 w 100"/>
                <a:gd name="T107" fmla="*/ 2147483647 h 7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00"/>
                <a:gd name="T163" fmla="*/ 0 h 78"/>
                <a:gd name="T164" fmla="*/ 100 w 100"/>
                <a:gd name="T165" fmla="*/ 78 h 7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00" h="78">
                  <a:moveTo>
                    <a:pt x="100" y="6"/>
                  </a:moveTo>
                  <a:lnTo>
                    <a:pt x="100" y="3"/>
                  </a:lnTo>
                  <a:lnTo>
                    <a:pt x="97" y="0"/>
                  </a:lnTo>
                  <a:lnTo>
                    <a:pt x="94" y="0"/>
                  </a:lnTo>
                  <a:lnTo>
                    <a:pt x="94" y="12"/>
                  </a:lnTo>
                  <a:lnTo>
                    <a:pt x="83" y="9"/>
                  </a:lnTo>
                  <a:lnTo>
                    <a:pt x="74" y="9"/>
                  </a:lnTo>
                  <a:lnTo>
                    <a:pt x="63" y="6"/>
                  </a:lnTo>
                  <a:lnTo>
                    <a:pt x="43" y="3"/>
                  </a:lnTo>
                  <a:lnTo>
                    <a:pt x="43" y="9"/>
                  </a:lnTo>
                  <a:lnTo>
                    <a:pt x="31" y="12"/>
                  </a:lnTo>
                  <a:lnTo>
                    <a:pt x="23" y="17"/>
                  </a:lnTo>
                  <a:lnTo>
                    <a:pt x="17" y="17"/>
                  </a:lnTo>
                  <a:lnTo>
                    <a:pt x="17" y="20"/>
                  </a:lnTo>
                  <a:lnTo>
                    <a:pt x="8" y="29"/>
                  </a:lnTo>
                  <a:lnTo>
                    <a:pt x="5" y="32"/>
                  </a:lnTo>
                  <a:lnTo>
                    <a:pt x="3" y="37"/>
                  </a:lnTo>
                  <a:lnTo>
                    <a:pt x="0" y="43"/>
                  </a:lnTo>
                  <a:lnTo>
                    <a:pt x="3" y="43"/>
                  </a:lnTo>
                  <a:lnTo>
                    <a:pt x="3" y="49"/>
                  </a:lnTo>
                  <a:lnTo>
                    <a:pt x="0" y="52"/>
                  </a:lnTo>
                  <a:lnTo>
                    <a:pt x="3" y="58"/>
                  </a:lnTo>
                  <a:lnTo>
                    <a:pt x="8" y="58"/>
                  </a:lnTo>
                  <a:lnTo>
                    <a:pt x="14" y="60"/>
                  </a:lnTo>
                  <a:lnTo>
                    <a:pt x="20" y="66"/>
                  </a:lnTo>
                  <a:lnTo>
                    <a:pt x="31" y="66"/>
                  </a:lnTo>
                  <a:lnTo>
                    <a:pt x="31" y="63"/>
                  </a:lnTo>
                  <a:lnTo>
                    <a:pt x="34" y="63"/>
                  </a:lnTo>
                  <a:lnTo>
                    <a:pt x="43" y="63"/>
                  </a:lnTo>
                  <a:lnTo>
                    <a:pt x="48" y="69"/>
                  </a:lnTo>
                  <a:lnTo>
                    <a:pt x="51" y="72"/>
                  </a:lnTo>
                  <a:lnTo>
                    <a:pt x="54" y="78"/>
                  </a:lnTo>
                  <a:lnTo>
                    <a:pt x="54" y="72"/>
                  </a:lnTo>
                  <a:lnTo>
                    <a:pt x="57" y="75"/>
                  </a:lnTo>
                  <a:lnTo>
                    <a:pt x="60" y="72"/>
                  </a:lnTo>
                  <a:lnTo>
                    <a:pt x="66" y="78"/>
                  </a:lnTo>
                  <a:lnTo>
                    <a:pt x="66" y="72"/>
                  </a:lnTo>
                  <a:lnTo>
                    <a:pt x="66" y="69"/>
                  </a:lnTo>
                  <a:lnTo>
                    <a:pt x="63" y="69"/>
                  </a:lnTo>
                  <a:lnTo>
                    <a:pt x="66" y="69"/>
                  </a:lnTo>
                  <a:lnTo>
                    <a:pt x="71" y="72"/>
                  </a:lnTo>
                  <a:lnTo>
                    <a:pt x="74" y="69"/>
                  </a:lnTo>
                  <a:lnTo>
                    <a:pt x="69" y="66"/>
                  </a:lnTo>
                  <a:lnTo>
                    <a:pt x="69" y="60"/>
                  </a:lnTo>
                  <a:lnTo>
                    <a:pt x="69" y="58"/>
                  </a:lnTo>
                  <a:lnTo>
                    <a:pt x="66" y="60"/>
                  </a:lnTo>
                  <a:lnTo>
                    <a:pt x="60" y="63"/>
                  </a:lnTo>
                  <a:lnTo>
                    <a:pt x="57" y="63"/>
                  </a:lnTo>
                  <a:lnTo>
                    <a:pt x="54" y="58"/>
                  </a:lnTo>
                  <a:lnTo>
                    <a:pt x="48" y="55"/>
                  </a:lnTo>
                  <a:lnTo>
                    <a:pt x="48" y="52"/>
                  </a:lnTo>
                  <a:lnTo>
                    <a:pt x="51" y="49"/>
                  </a:lnTo>
                  <a:lnTo>
                    <a:pt x="54" y="49"/>
                  </a:lnTo>
                  <a:lnTo>
                    <a:pt x="54" y="46"/>
                  </a:lnTo>
                  <a:lnTo>
                    <a:pt x="46" y="43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7" y="20"/>
                  </a:lnTo>
                  <a:lnTo>
                    <a:pt x="46" y="23"/>
                  </a:lnTo>
                  <a:lnTo>
                    <a:pt x="54" y="26"/>
                  </a:lnTo>
                  <a:lnTo>
                    <a:pt x="57" y="26"/>
                  </a:lnTo>
                  <a:lnTo>
                    <a:pt x="60" y="26"/>
                  </a:lnTo>
                  <a:lnTo>
                    <a:pt x="57" y="17"/>
                  </a:lnTo>
                  <a:lnTo>
                    <a:pt x="60" y="17"/>
                  </a:lnTo>
                  <a:lnTo>
                    <a:pt x="63" y="17"/>
                  </a:lnTo>
                  <a:lnTo>
                    <a:pt x="71" y="14"/>
                  </a:lnTo>
                  <a:lnTo>
                    <a:pt x="71" y="17"/>
                  </a:lnTo>
                  <a:lnTo>
                    <a:pt x="74" y="17"/>
                  </a:lnTo>
                  <a:lnTo>
                    <a:pt x="74" y="14"/>
                  </a:lnTo>
                  <a:lnTo>
                    <a:pt x="77" y="14"/>
                  </a:lnTo>
                  <a:lnTo>
                    <a:pt x="80" y="14"/>
                  </a:lnTo>
                  <a:lnTo>
                    <a:pt x="86" y="17"/>
                  </a:lnTo>
                  <a:lnTo>
                    <a:pt x="89" y="17"/>
                  </a:lnTo>
                  <a:lnTo>
                    <a:pt x="92" y="17"/>
                  </a:lnTo>
                  <a:lnTo>
                    <a:pt x="94" y="14"/>
                  </a:lnTo>
                  <a:lnTo>
                    <a:pt x="94" y="9"/>
                  </a:lnTo>
                  <a:lnTo>
                    <a:pt x="100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29" name="Freeform 228"/>
            <p:cNvSpPr>
              <a:spLocks noChangeAspect="1"/>
            </p:cNvSpPr>
            <p:nvPr/>
          </p:nvSpPr>
          <p:spPr bwMode="gray">
            <a:xfrm>
              <a:off x="7953884" y="4101487"/>
              <a:ext cx="12784" cy="24264"/>
            </a:xfrm>
            <a:custGeom>
              <a:avLst/>
              <a:gdLst>
                <a:gd name="T0" fmla="*/ 0 w 5"/>
                <a:gd name="T1" fmla="*/ 0 h 9"/>
                <a:gd name="T2" fmla="*/ 0 w 5"/>
                <a:gd name="T3" fmla="*/ 2147483647 h 9"/>
                <a:gd name="T4" fmla="*/ 0 w 5"/>
                <a:gd name="T5" fmla="*/ 2147483647 h 9"/>
                <a:gd name="T6" fmla="*/ 2147483647 w 5"/>
                <a:gd name="T7" fmla="*/ 2147483647 h 9"/>
                <a:gd name="T8" fmla="*/ 2147483647 w 5"/>
                <a:gd name="T9" fmla="*/ 0 h 9"/>
                <a:gd name="T10" fmla="*/ 0 w 5"/>
                <a:gd name="T11" fmla="*/ 0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9"/>
                <a:gd name="T20" fmla="*/ 5 w 5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9">
                  <a:moveTo>
                    <a:pt x="0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5" y="9"/>
                  </a:lnTo>
                  <a:lnTo>
                    <a:pt x="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30" name="Freeform 229"/>
            <p:cNvSpPr>
              <a:spLocks noChangeAspect="1"/>
            </p:cNvSpPr>
            <p:nvPr/>
          </p:nvSpPr>
          <p:spPr bwMode="gray">
            <a:xfrm>
              <a:off x="7778847" y="3338282"/>
              <a:ext cx="689334" cy="398147"/>
            </a:xfrm>
            <a:custGeom>
              <a:avLst/>
              <a:gdLst>
                <a:gd name="T0" fmla="*/ 2147483647 w 269"/>
                <a:gd name="T1" fmla="*/ 2147483647 h 138"/>
                <a:gd name="T2" fmla="*/ 2147483647 w 269"/>
                <a:gd name="T3" fmla="*/ 2147483647 h 138"/>
                <a:gd name="T4" fmla="*/ 2147483647 w 269"/>
                <a:gd name="T5" fmla="*/ 2147483647 h 138"/>
                <a:gd name="T6" fmla="*/ 2147483647 w 269"/>
                <a:gd name="T7" fmla="*/ 2147483647 h 138"/>
                <a:gd name="T8" fmla="*/ 2147483647 w 269"/>
                <a:gd name="T9" fmla="*/ 2147483647 h 138"/>
                <a:gd name="T10" fmla="*/ 2147483647 w 269"/>
                <a:gd name="T11" fmla="*/ 2147483647 h 138"/>
                <a:gd name="T12" fmla="*/ 2147483647 w 269"/>
                <a:gd name="T13" fmla="*/ 2147483647 h 138"/>
                <a:gd name="T14" fmla="*/ 2147483647 w 269"/>
                <a:gd name="T15" fmla="*/ 2147483647 h 138"/>
                <a:gd name="T16" fmla="*/ 2147483647 w 269"/>
                <a:gd name="T17" fmla="*/ 2147483647 h 138"/>
                <a:gd name="T18" fmla="*/ 2147483647 w 269"/>
                <a:gd name="T19" fmla="*/ 2147483647 h 138"/>
                <a:gd name="T20" fmla="*/ 2147483647 w 269"/>
                <a:gd name="T21" fmla="*/ 2147483647 h 138"/>
                <a:gd name="T22" fmla="*/ 2147483647 w 269"/>
                <a:gd name="T23" fmla="*/ 2147483647 h 138"/>
                <a:gd name="T24" fmla="*/ 2147483647 w 269"/>
                <a:gd name="T25" fmla="*/ 2147483647 h 138"/>
                <a:gd name="T26" fmla="*/ 2147483647 w 269"/>
                <a:gd name="T27" fmla="*/ 2147483647 h 138"/>
                <a:gd name="T28" fmla="*/ 2147483647 w 269"/>
                <a:gd name="T29" fmla="*/ 2147483647 h 138"/>
                <a:gd name="T30" fmla="*/ 2147483647 w 269"/>
                <a:gd name="T31" fmla="*/ 2147483647 h 138"/>
                <a:gd name="T32" fmla="*/ 2147483647 w 269"/>
                <a:gd name="T33" fmla="*/ 2147483647 h 138"/>
                <a:gd name="T34" fmla="*/ 2147483647 w 269"/>
                <a:gd name="T35" fmla="*/ 2147483647 h 138"/>
                <a:gd name="T36" fmla="*/ 2147483647 w 269"/>
                <a:gd name="T37" fmla="*/ 2147483647 h 138"/>
                <a:gd name="T38" fmla="*/ 2147483647 w 269"/>
                <a:gd name="T39" fmla="*/ 2147483647 h 138"/>
                <a:gd name="T40" fmla="*/ 2147483647 w 269"/>
                <a:gd name="T41" fmla="*/ 2147483647 h 138"/>
                <a:gd name="T42" fmla="*/ 2147483647 w 269"/>
                <a:gd name="T43" fmla="*/ 2147483647 h 138"/>
                <a:gd name="T44" fmla="*/ 0 w 269"/>
                <a:gd name="T45" fmla="*/ 2147483647 h 138"/>
                <a:gd name="T46" fmla="*/ 2147483647 w 269"/>
                <a:gd name="T47" fmla="*/ 2147483647 h 138"/>
                <a:gd name="T48" fmla="*/ 2147483647 w 269"/>
                <a:gd name="T49" fmla="*/ 2147483647 h 138"/>
                <a:gd name="T50" fmla="*/ 2147483647 w 269"/>
                <a:gd name="T51" fmla="*/ 2147483647 h 138"/>
                <a:gd name="T52" fmla="*/ 2147483647 w 269"/>
                <a:gd name="T53" fmla="*/ 2147483647 h 138"/>
                <a:gd name="T54" fmla="*/ 2147483647 w 269"/>
                <a:gd name="T55" fmla="*/ 2147483647 h 138"/>
                <a:gd name="T56" fmla="*/ 2147483647 w 269"/>
                <a:gd name="T57" fmla="*/ 2147483647 h 138"/>
                <a:gd name="T58" fmla="*/ 2147483647 w 269"/>
                <a:gd name="T59" fmla="*/ 2147483647 h 138"/>
                <a:gd name="T60" fmla="*/ 2147483647 w 269"/>
                <a:gd name="T61" fmla="*/ 2147483647 h 138"/>
                <a:gd name="T62" fmla="*/ 2147483647 w 269"/>
                <a:gd name="T63" fmla="*/ 2147483647 h 138"/>
                <a:gd name="T64" fmla="*/ 2147483647 w 269"/>
                <a:gd name="T65" fmla="*/ 2147483647 h 138"/>
                <a:gd name="T66" fmla="*/ 2147483647 w 269"/>
                <a:gd name="T67" fmla="*/ 2147483647 h 138"/>
                <a:gd name="T68" fmla="*/ 2147483647 w 269"/>
                <a:gd name="T69" fmla="*/ 2147483647 h 138"/>
                <a:gd name="T70" fmla="*/ 2147483647 w 269"/>
                <a:gd name="T71" fmla="*/ 2147483647 h 138"/>
                <a:gd name="T72" fmla="*/ 2147483647 w 269"/>
                <a:gd name="T73" fmla="*/ 2147483647 h 138"/>
                <a:gd name="T74" fmla="*/ 2147483647 w 269"/>
                <a:gd name="T75" fmla="*/ 2147483647 h 138"/>
                <a:gd name="T76" fmla="*/ 2147483647 w 269"/>
                <a:gd name="T77" fmla="*/ 2147483647 h 138"/>
                <a:gd name="T78" fmla="*/ 2147483647 w 269"/>
                <a:gd name="T79" fmla="*/ 2147483647 h 138"/>
                <a:gd name="T80" fmla="*/ 2147483647 w 269"/>
                <a:gd name="T81" fmla="*/ 2147483647 h 138"/>
                <a:gd name="T82" fmla="*/ 2147483647 w 269"/>
                <a:gd name="T83" fmla="*/ 2147483647 h 138"/>
                <a:gd name="T84" fmla="*/ 2147483647 w 269"/>
                <a:gd name="T85" fmla="*/ 2147483647 h 138"/>
                <a:gd name="T86" fmla="*/ 2147483647 w 269"/>
                <a:gd name="T87" fmla="*/ 2147483647 h 138"/>
                <a:gd name="T88" fmla="*/ 2147483647 w 269"/>
                <a:gd name="T89" fmla="*/ 2147483647 h 138"/>
                <a:gd name="T90" fmla="*/ 2147483647 w 269"/>
                <a:gd name="T91" fmla="*/ 2147483647 h 138"/>
                <a:gd name="T92" fmla="*/ 2147483647 w 269"/>
                <a:gd name="T93" fmla="*/ 2147483647 h 138"/>
                <a:gd name="T94" fmla="*/ 2147483647 w 269"/>
                <a:gd name="T95" fmla="*/ 2147483647 h 138"/>
                <a:gd name="T96" fmla="*/ 2147483647 w 269"/>
                <a:gd name="T97" fmla="*/ 2147483647 h 138"/>
                <a:gd name="T98" fmla="*/ 2147483647 w 269"/>
                <a:gd name="T99" fmla="*/ 2147483647 h 138"/>
                <a:gd name="T100" fmla="*/ 2147483647 w 269"/>
                <a:gd name="T101" fmla="*/ 2147483647 h 138"/>
                <a:gd name="T102" fmla="*/ 2147483647 w 269"/>
                <a:gd name="T103" fmla="*/ 2147483647 h 138"/>
                <a:gd name="T104" fmla="*/ 2147483647 w 269"/>
                <a:gd name="T105" fmla="*/ 2147483647 h 138"/>
                <a:gd name="T106" fmla="*/ 2147483647 w 269"/>
                <a:gd name="T107" fmla="*/ 2147483647 h 138"/>
                <a:gd name="T108" fmla="*/ 2147483647 w 269"/>
                <a:gd name="T109" fmla="*/ 2147483647 h 138"/>
                <a:gd name="T110" fmla="*/ 2147483647 w 269"/>
                <a:gd name="T111" fmla="*/ 2147483647 h 138"/>
                <a:gd name="T112" fmla="*/ 2147483647 w 269"/>
                <a:gd name="T113" fmla="*/ 2147483647 h 13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69"/>
                <a:gd name="T172" fmla="*/ 0 h 138"/>
                <a:gd name="T173" fmla="*/ 269 w 269"/>
                <a:gd name="T174" fmla="*/ 138 h 13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69" h="138">
                  <a:moveTo>
                    <a:pt x="175" y="9"/>
                  </a:moveTo>
                  <a:lnTo>
                    <a:pt x="169" y="6"/>
                  </a:lnTo>
                  <a:lnTo>
                    <a:pt x="163" y="3"/>
                  </a:lnTo>
                  <a:lnTo>
                    <a:pt x="158" y="0"/>
                  </a:lnTo>
                  <a:lnTo>
                    <a:pt x="152" y="6"/>
                  </a:lnTo>
                  <a:lnTo>
                    <a:pt x="146" y="3"/>
                  </a:lnTo>
                  <a:lnTo>
                    <a:pt x="143" y="9"/>
                  </a:lnTo>
                  <a:lnTo>
                    <a:pt x="135" y="6"/>
                  </a:lnTo>
                  <a:lnTo>
                    <a:pt x="126" y="9"/>
                  </a:lnTo>
                  <a:lnTo>
                    <a:pt x="120" y="15"/>
                  </a:lnTo>
                  <a:lnTo>
                    <a:pt x="126" y="20"/>
                  </a:lnTo>
                  <a:lnTo>
                    <a:pt x="117" y="23"/>
                  </a:lnTo>
                  <a:lnTo>
                    <a:pt x="112" y="20"/>
                  </a:lnTo>
                  <a:lnTo>
                    <a:pt x="109" y="18"/>
                  </a:lnTo>
                  <a:lnTo>
                    <a:pt x="103" y="20"/>
                  </a:lnTo>
                  <a:lnTo>
                    <a:pt x="100" y="20"/>
                  </a:lnTo>
                  <a:lnTo>
                    <a:pt x="97" y="15"/>
                  </a:lnTo>
                  <a:lnTo>
                    <a:pt x="94" y="20"/>
                  </a:lnTo>
                  <a:lnTo>
                    <a:pt x="92" y="18"/>
                  </a:lnTo>
                  <a:lnTo>
                    <a:pt x="86" y="15"/>
                  </a:lnTo>
                  <a:lnTo>
                    <a:pt x="77" y="18"/>
                  </a:lnTo>
                  <a:lnTo>
                    <a:pt x="71" y="18"/>
                  </a:lnTo>
                  <a:lnTo>
                    <a:pt x="69" y="12"/>
                  </a:lnTo>
                  <a:lnTo>
                    <a:pt x="60" y="12"/>
                  </a:lnTo>
                  <a:lnTo>
                    <a:pt x="51" y="9"/>
                  </a:lnTo>
                  <a:lnTo>
                    <a:pt x="48" y="9"/>
                  </a:lnTo>
                  <a:lnTo>
                    <a:pt x="34" y="12"/>
                  </a:lnTo>
                  <a:lnTo>
                    <a:pt x="28" y="12"/>
                  </a:lnTo>
                  <a:lnTo>
                    <a:pt x="25" y="18"/>
                  </a:lnTo>
                  <a:lnTo>
                    <a:pt x="23" y="18"/>
                  </a:lnTo>
                  <a:lnTo>
                    <a:pt x="20" y="15"/>
                  </a:lnTo>
                  <a:lnTo>
                    <a:pt x="25" y="26"/>
                  </a:lnTo>
                  <a:lnTo>
                    <a:pt x="28" y="35"/>
                  </a:lnTo>
                  <a:lnTo>
                    <a:pt x="20" y="40"/>
                  </a:lnTo>
                  <a:lnTo>
                    <a:pt x="14" y="46"/>
                  </a:lnTo>
                  <a:lnTo>
                    <a:pt x="8" y="55"/>
                  </a:lnTo>
                  <a:lnTo>
                    <a:pt x="11" y="63"/>
                  </a:lnTo>
                  <a:lnTo>
                    <a:pt x="14" y="66"/>
                  </a:lnTo>
                  <a:lnTo>
                    <a:pt x="8" y="66"/>
                  </a:lnTo>
                  <a:lnTo>
                    <a:pt x="5" y="63"/>
                  </a:lnTo>
                  <a:lnTo>
                    <a:pt x="3" y="69"/>
                  </a:lnTo>
                  <a:lnTo>
                    <a:pt x="0" y="72"/>
                  </a:lnTo>
                  <a:lnTo>
                    <a:pt x="3" y="75"/>
                  </a:lnTo>
                  <a:lnTo>
                    <a:pt x="11" y="78"/>
                  </a:lnTo>
                  <a:lnTo>
                    <a:pt x="14" y="81"/>
                  </a:lnTo>
                  <a:lnTo>
                    <a:pt x="20" y="78"/>
                  </a:lnTo>
                  <a:lnTo>
                    <a:pt x="25" y="81"/>
                  </a:lnTo>
                  <a:lnTo>
                    <a:pt x="31" y="81"/>
                  </a:lnTo>
                  <a:lnTo>
                    <a:pt x="37" y="78"/>
                  </a:lnTo>
                  <a:lnTo>
                    <a:pt x="46" y="86"/>
                  </a:lnTo>
                  <a:lnTo>
                    <a:pt x="48" y="84"/>
                  </a:lnTo>
                  <a:lnTo>
                    <a:pt x="60" y="81"/>
                  </a:lnTo>
                  <a:lnTo>
                    <a:pt x="66" y="75"/>
                  </a:lnTo>
                  <a:lnTo>
                    <a:pt x="71" y="75"/>
                  </a:lnTo>
                  <a:lnTo>
                    <a:pt x="74" y="75"/>
                  </a:lnTo>
                  <a:lnTo>
                    <a:pt x="83" y="72"/>
                  </a:lnTo>
                  <a:lnTo>
                    <a:pt x="97" y="78"/>
                  </a:lnTo>
                  <a:lnTo>
                    <a:pt x="103" y="78"/>
                  </a:lnTo>
                  <a:lnTo>
                    <a:pt x="112" y="86"/>
                  </a:lnTo>
                  <a:lnTo>
                    <a:pt x="109" y="89"/>
                  </a:lnTo>
                  <a:lnTo>
                    <a:pt x="109" y="92"/>
                  </a:lnTo>
                  <a:lnTo>
                    <a:pt x="117" y="101"/>
                  </a:lnTo>
                  <a:lnTo>
                    <a:pt x="123" y="109"/>
                  </a:lnTo>
                  <a:lnTo>
                    <a:pt x="123" y="112"/>
                  </a:lnTo>
                  <a:lnTo>
                    <a:pt x="123" y="115"/>
                  </a:lnTo>
                  <a:lnTo>
                    <a:pt x="112" y="112"/>
                  </a:lnTo>
                  <a:lnTo>
                    <a:pt x="109" y="115"/>
                  </a:lnTo>
                  <a:lnTo>
                    <a:pt x="109" y="118"/>
                  </a:lnTo>
                  <a:lnTo>
                    <a:pt x="109" y="121"/>
                  </a:lnTo>
                  <a:lnTo>
                    <a:pt x="103" y="127"/>
                  </a:lnTo>
                  <a:lnTo>
                    <a:pt x="100" y="132"/>
                  </a:lnTo>
                  <a:lnTo>
                    <a:pt x="103" y="132"/>
                  </a:lnTo>
                  <a:lnTo>
                    <a:pt x="114" y="129"/>
                  </a:lnTo>
                  <a:lnTo>
                    <a:pt x="120" y="138"/>
                  </a:lnTo>
                  <a:lnTo>
                    <a:pt x="120" y="132"/>
                  </a:lnTo>
                  <a:lnTo>
                    <a:pt x="123" y="127"/>
                  </a:lnTo>
                  <a:lnTo>
                    <a:pt x="132" y="121"/>
                  </a:lnTo>
                  <a:lnTo>
                    <a:pt x="135" y="115"/>
                  </a:lnTo>
                  <a:lnTo>
                    <a:pt x="137" y="112"/>
                  </a:lnTo>
                  <a:lnTo>
                    <a:pt x="143" y="109"/>
                  </a:lnTo>
                  <a:lnTo>
                    <a:pt x="149" y="109"/>
                  </a:lnTo>
                  <a:lnTo>
                    <a:pt x="152" y="112"/>
                  </a:lnTo>
                  <a:lnTo>
                    <a:pt x="155" y="118"/>
                  </a:lnTo>
                  <a:lnTo>
                    <a:pt x="169" y="118"/>
                  </a:lnTo>
                  <a:lnTo>
                    <a:pt x="181" y="118"/>
                  </a:lnTo>
                  <a:lnTo>
                    <a:pt x="189" y="118"/>
                  </a:lnTo>
                  <a:lnTo>
                    <a:pt x="201" y="115"/>
                  </a:lnTo>
                  <a:lnTo>
                    <a:pt x="209" y="112"/>
                  </a:lnTo>
                  <a:lnTo>
                    <a:pt x="221" y="107"/>
                  </a:lnTo>
                  <a:lnTo>
                    <a:pt x="232" y="104"/>
                  </a:lnTo>
                  <a:lnTo>
                    <a:pt x="244" y="101"/>
                  </a:lnTo>
                  <a:lnTo>
                    <a:pt x="247" y="89"/>
                  </a:lnTo>
                  <a:lnTo>
                    <a:pt x="255" y="84"/>
                  </a:lnTo>
                  <a:lnTo>
                    <a:pt x="267" y="84"/>
                  </a:lnTo>
                  <a:lnTo>
                    <a:pt x="269" y="78"/>
                  </a:lnTo>
                  <a:lnTo>
                    <a:pt x="261" y="69"/>
                  </a:lnTo>
                  <a:lnTo>
                    <a:pt x="264" y="69"/>
                  </a:lnTo>
                  <a:lnTo>
                    <a:pt x="267" y="66"/>
                  </a:lnTo>
                  <a:lnTo>
                    <a:pt x="264" y="63"/>
                  </a:lnTo>
                  <a:lnTo>
                    <a:pt x="269" y="58"/>
                  </a:lnTo>
                  <a:lnTo>
                    <a:pt x="267" y="52"/>
                  </a:lnTo>
                  <a:lnTo>
                    <a:pt x="252" y="52"/>
                  </a:lnTo>
                  <a:lnTo>
                    <a:pt x="241" y="46"/>
                  </a:lnTo>
                  <a:lnTo>
                    <a:pt x="238" y="49"/>
                  </a:lnTo>
                  <a:lnTo>
                    <a:pt x="226" y="38"/>
                  </a:lnTo>
                  <a:lnTo>
                    <a:pt x="212" y="43"/>
                  </a:lnTo>
                  <a:lnTo>
                    <a:pt x="203" y="38"/>
                  </a:lnTo>
                  <a:lnTo>
                    <a:pt x="201" y="40"/>
                  </a:lnTo>
                  <a:lnTo>
                    <a:pt x="201" y="38"/>
                  </a:lnTo>
                  <a:lnTo>
                    <a:pt x="198" y="35"/>
                  </a:lnTo>
                  <a:lnTo>
                    <a:pt x="192" y="29"/>
                  </a:lnTo>
                  <a:lnTo>
                    <a:pt x="189" y="26"/>
                  </a:lnTo>
                  <a:lnTo>
                    <a:pt x="189" y="23"/>
                  </a:lnTo>
                  <a:lnTo>
                    <a:pt x="186" y="23"/>
                  </a:lnTo>
                  <a:lnTo>
                    <a:pt x="172" y="20"/>
                  </a:lnTo>
                  <a:lnTo>
                    <a:pt x="169" y="15"/>
                  </a:lnTo>
                  <a:lnTo>
                    <a:pt x="172" y="12"/>
                  </a:lnTo>
                  <a:lnTo>
                    <a:pt x="175" y="9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31" name="Freeform 230"/>
            <p:cNvSpPr>
              <a:spLocks noChangeAspect="1"/>
            </p:cNvSpPr>
            <p:nvPr/>
          </p:nvSpPr>
          <p:spPr bwMode="gray">
            <a:xfrm>
              <a:off x="7806380" y="3139759"/>
              <a:ext cx="346142" cy="255873"/>
            </a:xfrm>
            <a:custGeom>
              <a:avLst/>
              <a:gdLst>
                <a:gd name="T0" fmla="*/ 2147483647 w 135"/>
                <a:gd name="T1" fmla="*/ 2147483647 h 89"/>
                <a:gd name="T2" fmla="*/ 2147483647 w 135"/>
                <a:gd name="T3" fmla="*/ 0 h 89"/>
                <a:gd name="T4" fmla="*/ 2147483647 w 135"/>
                <a:gd name="T5" fmla="*/ 2147483647 h 89"/>
                <a:gd name="T6" fmla="*/ 2147483647 w 135"/>
                <a:gd name="T7" fmla="*/ 2147483647 h 89"/>
                <a:gd name="T8" fmla="*/ 2147483647 w 135"/>
                <a:gd name="T9" fmla="*/ 2147483647 h 89"/>
                <a:gd name="T10" fmla="*/ 2147483647 w 135"/>
                <a:gd name="T11" fmla="*/ 2147483647 h 89"/>
                <a:gd name="T12" fmla="*/ 2147483647 w 135"/>
                <a:gd name="T13" fmla="*/ 2147483647 h 89"/>
                <a:gd name="T14" fmla="*/ 2147483647 w 135"/>
                <a:gd name="T15" fmla="*/ 2147483647 h 89"/>
                <a:gd name="T16" fmla="*/ 2147483647 w 135"/>
                <a:gd name="T17" fmla="*/ 2147483647 h 89"/>
                <a:gd name="T18" fmla="*/ 2147483647 w 135"/>
                <a:gd name="T19" fmla="*/ 2147483647 h 89"/>
                <a:gd name="T20" fmla="*/ 2147483647 w 135"/>
                <a:gd name="T21" fmla="*/ 2147483647 h 89"/>
                <a:gd name="T22" fmla="*/ 2147483647 w 135"/>
                <a:gd name="T23" fmla="*/ 2147483647 h 89"/>
                <a:gd name="T24" fmla="*/ 2147483647 w 135"/>
                <a:gd name="T25" fmla="*/ 2147483647 h 89"/>
                <a:gd name="T26" fmla="*/ 2147483647 w 135"/>
                <a:gd name="T27" fmla="*/ 2147483647 h 89"/>
                <a:gd name="T28" fmla="*/ 2147483647 w 135"/>
                <a:gd name="T29" fmla="*/ 2147483647 h 89"/>
                <a:gd name="T30" fmla="*/ 2147483647 w 135"/>
                <a:gd name="T31" fmla="*/ 2147483647 h 89"/>
                <a:gd name="T32" fmla="*/ 2147483647 w 135"/>
                <a:gd name="T33" fmla="*/ 2147483647 h 89"/>
                <a:gd name="T34" fmla="*/ 2147483647 w 135"/>
                <a:gd name="T35" fmla="*/ 2147483647 h 89"/>
                <a:gd name="T36" fmla="*/ 2147483647 w 135"/>
                <a:gd name="T37" fmla="*/ 2147483647 h 89"/>
                <a:gd name="T38" fmla="*/ 2147483647 w 135"/>
                <a:gd name="T39" fmla="*/ 2147483647 h 89"/>
                <a:gd name="T40" fmla="*/ 2147483647 w 135"/>
                <a:gd name="T41" fmla="*/ 2147483647 h 89"/>
                <a:gd name="T42" fmla="*/ 2147483647 w 135"/>
                <a:gd name="T43" fmla="*/ 2147483647 h 89"/>
                <a:gd name="T44" fmla="*/ 2147483647 w 135"/>
                <a:gd name="T45" fmla="*/ 2147483647 h 89"/>
                <a:gd name="T46" fmla="*/ 2147483647 w 135"/>
                <a:gd name="T47" fmla="*/ 2147483647 h 89"/>
                <a:gd name="T48" fmla="*/ 2147483647 w 135"/>
                <a:gd name="T49" fmla="*/ 2147483647 h 89"/>
                <a:gd name="T50" fmla="*/ 2147483647 w 135"/>
                <a:gd name="T51" fmla="*/ 2147483647 h 89"/>
                <a:gd name="T52" fmla="*/ 2147483647 w 135"/>
                <a:gd name="T53" fmla="*/ 2147483647 h 89"/>
                <a:gd name="T54" fmla="*/ 2147483647 w 135"/>
                <a:gd name="T55" fmla="*/ 2147483647 h 89"/>
                <a:gd name="T56" fmla="*/ 2147483647 w 135"/>
                <a:gd name="T57" fmla="*/ 2147483647 h 89"/>
                <a:gd name="T58" fmla="*/ 2147483647 w 135"/>
                <a:gd name="T59" fmla="*/ 2147483647 h 89"/>
                <a:gd name="T60" fmla="*/ 2147483647 w 135"/>
                <a:gd name="T61" fmla="*/ 2147483647 h 89"/>
                <a:gd name="T62" fmla="*/ 2147483647 w 135"/>
                <a:gd name="T63" fmla="*/ 2147483647 h 89"/>
                <a:gd name="T64" fmla="*/ 2147483647 w 135"/>
                <a:gd name="T65" fmla="*/ 2147483647 h 89"/>
                <a:gd name="T66" fmla="*/ 2147483647 w 135"/>
                <a:gd name="T67" fmla="*/ 2147483647 h 89"/>
                <a:gd name="T68" fmla="*/ 2147483647 w 135"/>
                <a:gd name="T69" fmla="*/ 2147483647 h 89"/>
                <a:gd name="T70" fmla="*/ 2147483647 w 135"/>
                <a:gd name="T71" fmla="*/ 2147483647 h 89"/>
                <a:gd name="T72" fmla="*/ 2147483647 w 135"/>
                <a:gd name="T73" fmla="*/ 2147483647 h 89"/>
                <a:gd name="T74" fmla="*/ 2147483647 w 135"/>
                <a:gd name="T75" fmla="*/ 2147483647 h 89"/>
                <a:gd name="T76" fmla="*/ 2147483647 w 135"/>
                <a:gd name="T77" fmla="*/ 2147483647 h 89"/>
                <a:gd name="T78" fmla="*/ 2147483647 w 135"/>
                <a:gd name="T79" fmla="*/ 2147483647 h 89"/>
                <a:gd name="T80" fmla="*/ 2147483647 w 135"/>
                <a:gd name="T81" fmla="*/ 2147483647 h 89"/>
                <a:gd name="T82" fmla="*/ 2147483647 w 135"/>
                <a:gd name="T83" fmla="*/ 2147483647 h 89"/>
                <a:gd name="T84" fmla="*/ 2147483647 w 135"/>
                <a:gd name="T85" fmla="*/ 2147483647 h 89"/>
                <a:gd name="T86" fmla="*/ 2147483647 w 135"/>
                <a:gd name="T87" fmla="*/ 2147483647 h 89"/>
                <a:gd name="T88" fmla="*/ 2147483647 w 135"/>
                <a:gd name="T89" fmla="*/ 2147483647 h 89"/>
                <a:gd name="T90" fmla="*/ 2147483647 w 135"/>
                <a:gd name="T91" fmla="*/ 2147483647 h 89"/>
                <a:gd name="T92" fmla="*/ 2147483647 w 135"/>
                <a:gd name="T93" fmla="*/ 2147483647 h 89"/>
                <a:gd name="T94" fmla="*/ 2147483647 w 135"/>
                <a:gd name="T95" fmla="*/ 2147483647 h 89"/>
                <a:gd name="T96" fmla="*/ 2147483647 w 135"/>
                <a:gd name="T97" fmla="*/ 2147483647 h 89"/>
                <a:gd name="T98" fmla="*/ 2147483647 w 135"/>
                <a:gd name="T99" fmla="*/ 2147483647 h 89"/>
                <a:gd name="T100" fmla="*/ 2147483647 w 135"/>
                <a:gd name="T101" fmla="*/ 2147483647 h 89"/>
                <a:gd name="T102" fmla="*/ 2147483647 w 135"/>
                <a:gd name="T103" fmla="*/ 2147483647 h 89"/>
                <a:gd name="T104" fmla="*/ 2147483647 w 135"/>
                <a:gd name="T105" fmla="*/ 2147483647 h 89"/>
                <a:gd name="T106" fmla="*/ 2147483647 w 135"/>
                <a:gd name="T107" fmla="*/ 2147483647 h 89"/>
                <a:gd name="T108" fmla="*/ 2147483647 w 135"/>
                <a:gd name="T109" fmla="*/ 2147483647 h 89"/>
                <a:gd name="T110" fmla="*/ 2147483647 w 135"/>
                <a:gd name="T111" fmla="*/ 2147483647 h 89"/>
                <a:gd name="T112" fmla="*/ 2147483647 w 135"/>
                <a:gd name="T113" fmla="*/ 2147483647 h 89"/>
                <a:gd name="T114" fmla="*/ 2147483647 w 135"/>
                <a:gd name="T115" fmla="*/ 2147483647 h 89"/>
                <a:gd name="T116" fmla="*/ 2147483647 w 135"/>
                <a:gd name="T117" fmla="*/ 2147483647 h 89"/>
                <a:gd name="T118" fmla="*/ 2147483647 w 135"/>
                <a:gd name="T119" fmla="*/ 2147483647 h 89"/>
                <a:gd name="T120" fmla="*/ 2147483647 w 135"/>
                <a:gd name="T121" fmla="*/ 2147483647 h 8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5"/>
                <a:gd name="T184" fmla="*/ 0 h 89"/>
                <a:gd name="T185" fmla="*/ 135 w 135"/>
                <a:gd name="T186" fmla="*/ 89 h 8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5" h="89">
                  <a:moveTo>
                    <a:pt x="78" y="3"/>
                  </a:moveTo>
                  <a:lnTo>
                    <a:pt x="72" y="3"/>
                  </a:lnTo>
                  <a:lnTo>
                    <a:pt x="69" y="0"/>
                  </a:lnTo>
                  <a:lnTo>
                    <a:pt x="66" y="3"/>
                  </a:lnTo>
                  <a:lnTo>
                    <a:pt x="58" y="6"/>
                  </a:lnTo>
                  <a:lnTo>
                    <a:pt x="43" y="9"/>
                  </a:lnTo>
                  <a:lnTo>
                    <a:pt x="43" y="12"/>
                  </a:lnTo>
                  <a:lnTo>
                    <a:pt x="49" y="12"/>
                  </a:lnTo>
                  <a:lnTo>
                    <a:pt x="49" y="15"/>
                  </a:lnTo>
                  <a:lnTo>
                    <a:pt x="46" y="20"/>
                  </a:lnTo>
                  <a:lnTo>
                    <a:pt x="43" y="20"/>
                  </a:lnTo>
                  <a:lnTo>
                    <a:pt x="40" y="20"/>
                  </a:lnTo>
                  <a:lnTo>
                    <a:pt x="35" y="23"/>
                  </a:lnTo>
                  <a:lnTo>
                    <a:pt x="35" y="29"/>
                  </a:lnTo>
                  <a:lnTo>
                    <a:pt x="37" y="35"/>
                  </a:lnTo>
                  <a:lnTo>
                    <a:pt x="29" y="38"/>
                  </a:lnTo>
                  <a:lnTo>
                    <a:pt x="29" y="35"/>
                  </a:lnTo>
                  <a:lnTo>
                    <a:pt x="26" y="38"/>
                  </a:lnTo>
                  <a:lnTo>
                    <a:pt x="23" y="38"/>
                  </a:lnTo>
                  <a:lnTo>
                    <a:pt x="20" y="43"/>
                  </a:lnTo>
                  <a:lnTo>
                    <a:pt x="17" y="43"/>
                  </a:lnTo>
                  <a:lnTo>
                    <a:pt x="9" y="41"/>
                  </a:lnTo>
                  <a:lnTo>
                    <a:pt x="3" y="43"/>
                  </a:lnTo>
                  <a:lnTo>
                    <a:pt x="12" y="58"/>
                  </a:lnTo>
                  <a:lnTo>
                    <a:pt x="9" y="64"/>
                  </a:lnTo>
                  <a:lnTo>
                    <a:pt x="0" y="72"/>
                  </a:lnTo>
                  <a:lnTo>
                    <a:pt x="6" y="81"/>
                  </a:lnTo>
                  <a:lnTo>
                    <a:pt x="12" y="84"/>
                  </a:lnTo>
                  <a:lnTo>
                    <a:pt x="14" y="78"/>
                  </a:lnTo>
                  <a:lnTo>
                    <a:pt x="23" y="78"/>
                  </a:lnTo>
                  <a:lnTo>
                    <a:pt x="37" y="75"/>
                  </a:lnTo>
                  <a:lnTo>
                    <a:pt x="40" y="75"/>
                  </a:lnTo>
                  <a:lnTo>
                    <a:pt x="58" y="78"/>
                  </a:lnTo>
                  <a:lnTo>
                    <a:pt x="58" y="81"/>
                  </a:lnTo>
                  <a:lnTo>
                    <a:pt x="60" y="84"/>
                  </a:lnTo>
                  <a:lnTo>
                    <a:pt x="66" y="84"/>
                  </a:lnTo>
                  <a:lnTo>
                    <a:pt x="75" y="81"/>
                  </a:lnTo>
                  <a:lnTo>
                    <a:pt x="81" y="84"/>
                  </a:lnTo>
                  <a:lnTo>
                    <a:pt x="86" y="81"/>
                  </a:lnTo>
                  <a:lnTo>
                    <a:pt x="89" y="81"/>
                  </a:lnTo>
                  <a:lnTo>
                    <a:pt x="92" y="87"/>
                  </a:lnTo>
                  <a:lnTo>
                    <a:pt x="95" y="87"/>
                  </a:lnTo>
                  <a:lnTo>
                    <a:pt x="95" y="84"/>
                  </a:lnTo>
                  <a:lnTo>
                    <a:pt x="98" y="84"/>
                  </a:lnTo>
                  <a:lnTo>
                    <a:pt x="103" y="87"/>
                  </a:lnTo>
                  <a:lnTo>
                    <a:pt x="106" y="89"/>
                  </a:lnTo>
                  <a:lnTo>
                    <a:pt x="109" y="87"/>
                  </a:lnTo>
                  <a:lnTo>
                    <a:pt x="106" y="84"/>
                  </a:lnTo>
                  <a:lnTo>
                    <a:pt x="112" y="75"/>
                  </a:lnTo>
                  <a:lnTo>
                    <a:pt x="121" y="72"/>
                  </a:lnTo>
                  <a:lnTo>
                    <a:pt x="115" y="61"/>
                  </a:lnTo>
                  <a:lnTo>
                    <a:pt x="115" y="58"/>
                  </a:lnTo>
                  <a:lnTo>
                    <a:pt x="118" y="52"/>
                  </a:lnTo>
                  <a:lnTo>
                    <a:pt x="121" y="52"/>
                  </a:lnTo>
                  <a:lnTo>
                    <a:pt x="124" y="55"/>
                  </a:lnTo>
                  <a:lnTo>
                    <a:pt x="129" y="55"/>
                  </a:lnTo>
                  <a:lnTo>
                    <a:pt x="132" y="52"/>
                  </a:lnTo>
                  <a:lnTo>
                    <a:pt x="135" y="49"/>
                  </a:lnTo>
                  <a:lnTo>
                    <a:pt x="132" y="49"/>
                  </a:lnTo>
                  <a:lnTo>
                    <a:pt x="132" y="46"/>
                  </a:lnTo>
                  <a:lnTo>
                    <a:pt x="129" y="43"/>
                  </a:lnTo>
                  <a:lnTo>
                    <a:pt x="124" y="43"/>
                  </a:lnTo>
                  <a:lnTo>
                    <a:pt x="121" y="38"/>
                  </a:lnTo>
                  <a:lnTo>
                    <a:pt x="112" y="35"/>
                  </a:lnTo>
                  <a:lnTo>
                    <a:pt x="106" y="26"/>
                  </a:lnTo>
                  <a:lnTo>
                    <a:pt x="103" y="23"/>
                  </a:lnTo>
                  <a:lnTo>
                    <a:pt x="106" y="20"/>
                  </a:lnTo>
                  <a:lnTo>
                    <a:pt x="103" y="18"/>
                  </a:lnTo>
                  <a:lnTo>
                    <a:pt x="103" y="9"/>
                  </a:lnTo>
                  <a:lnTo>
                    <a:pt x="95" y="6"/>
                  </a:lnTo>
                  <a:lnTo>
                    <a:pt x="92" y="3"/>
                  </a:lnTo>
                  <a:lnTo>
                    <a:pt x="89" y="6"/>
                  </a:lnTo>
                  <a:lnTo>
                    <a:pt x="89" y="9"/>
                  </a:lnTo>
                  <a:lnTo>
                    <a:pt x="86" y="9"/>
                  </a:lnTo>
                  <a:lnTo>
                    <a:pt x="83" y="9"/>
                  </a:lnTo>
                  <a:lnTo>
                    <a:pt x="81" y="6"/>
                  </a:lnTo>
                  <a:lnTo>
                    <a:pt x="81" y="3"/>
                  </a:lnTo>
                  <a:lnTo>
                    <a:pt x="78" y="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32" name="Freeform 231"/>
            <p:cNvSpPr>
              <a:spLocks noChangeAspect="1"/>
            </p:cNvSpPr>
            <p:nvPr/>
          </p:nvSpPr>
          <p:spPr bwMode="gray">
            <a:xfrm>
              <a:off x="7785730" y="2958883"/>
              <a:ext cx="161271" cy="100364"/>
            </a:xfrm>
            <a:custGeom>
              <a:avLst/>
              <a:gdLst>
                <a:gd name="T0" fmla="*/ 2147483647 w 63"/>
                <a:gd name="T1" fmla="*/ 2147483647 h 35"/>
                <a:gd name="T2" fmla="*/ 2147483647 w 63"/>
                <a:gd name="T3" fmla="*/ 2147483647 h 35"/>
                <a:gd name="T4" fmla="*/ 2147483647 w 63"/>
                <a:gd name="T5" fmla="*/ 2147483647 h 35"/>
                <a:gd name="T6" fmla="*/ 2147483647 w 63"/>
                <a:gd name="T7" fmla="*/ 2147483647 h 35"/>
                <a:gd name="T8" fmla="*/ 2147483647 w 63"/>
                <a:gd name="T9" fmla="*/ 2147483647 h 35"/>
                <a:gd name="T10" fmla="*/ 2147483647 w 63"/>
                <a:gd name="T11" fmla="*/ 2147483647 h 35"/>
                <a:gd name="T12" fmla="*/ 2147483647 w 63"/>
                <a:gd name="T13" fmla="*/ 2147483647 h 35"/>
                <a:gd name="T14" fmla="*/ 2147483647 w 63"/>
                <a:gd name="T15" fmla="*/ 0 h 35"/>
                <a:gd name="T16" fmla="*/ 2147483647 w 63"/>
                <a:gd name="T17" fmla="*/ 0 h 35"/>
                <a:gd name="T18" fmla="*/ 2147483647 w 63"/>
                <a:gd name="T19" fmla="*/ 0 h 35"/>
                <a:gd name="T20" fmla="*/ 2147483647 w 63"/>
                <a:gd name="T21" fmla="*/ 2147483647 h 35"/>
                <a:gd name="T22" fmla="*/ 2147483647 w 63"/>
                <a:gd name="T23" fmla="*/ 2147483647 h 35"/>
                <a:gd name="T24" fmla="*/ 0 w 63"/>
                <a:gd name="T25" fmla="*/ 2147483647 h 35"/>
                <a:gd name="T26" fmla="*/ 0 w 63"/>
                <a:gd name="T27" fmla="*/ 2147483647 h 35"/>
                <a:gd name="T28" fmla="*/ 0 w 63"/>
                <a:gd name="T29" fmla="*/ 2147483647 h 35"/>
                <a:gd name="T30" fmla="*/ 0 w 63"/>
                <a:gd name="T31" fmla="*/ 2147483647 h 35"/>
                <a:gd name="T32" fmla="*/ 0 w 63"/>
                <a:gd name="T33" fmla="*/ 2147483647 h 35"/>
                <a:gd name="T34" fmla="*/ 2147483647 w 63"/>
                <a:gd name="T35" fmla="*/ 2147483647 h 35"/>
                <a:gd name="T36" fmla="*/ 2147483647 w 63"/>
                <a:gd name="T37" fmla="*/ 2147483647 h 35"/>
                <a:gd name="T38" fmla="*/ 2147483647 w 63"/>
                <a:gd name="T39" fmla="*/ 2147483647 h 35"/>
                <a:gd name="T40" fmla="*/ 2147483647 w 63"/>
                <a:gd name="T41" fmla="*/ 2147483647 h 35"/>
                <a:gd name="T42" fmla="*/ 2147483647 w 63"/>
                <a:gd name="T43" fmla="*/ 2147483647 h 35"/>
                <a:gd name="T44" fmla="*/ 2147483647 w 63"/>
                <a:gd name="T45" fmla="*/ 2147483647 h 35"/>
                <a:gd name="T46" fmla="*/ 2147483647 w 63"/>
                <a:gd name="T47" fmla="*/ 2147483647 h 35"/>
                <a:gd name="T48" fmla="*/ 2147483647 w 63"/>
                <a:gd name="T49" fmla="*/ 2147483647 h 35"/>
                <a:gd name="T50" fmla="*/ 2147483647 w 63"/>
                <a:gd name="T51" fmla="*/ 2147483647 h 35"/>
                <a:gd name="T52" fmla="*/ 2147483647 w 63"/>
                <a:gd name="T53" fmla="*/ 2147483647 h 35"/>
                <a:gd name="T54" fmla="*/ 2147483647 w 63"/>
                <a:gd name="T55" fmla="*/ 2147483647 h 35"/>
                <a:gd name="T56" fmla="*/ 2147483647 w 63"/>
                <a:gd name="T57" fmla="*/ 2147483647 h 35"/>
                <a:gd name="T58" fmla="*/ 2147483647 w 63"/>
                <a:gd name="T59" fmla="*/ 2147483647 h 35"/>
                <a:gd name="T60" fmla="*/ 2147483647 w 63"/>
                <a:gd name="T61" fmla="*/ 2147483647 h 35"/>
                <a:gd name="T62" fmla="*/ 2147483647 w 63"/>
                <a:gd name="T63" fmla="*/ 2147483647 h 35"/>
                <a:gd name="T64" fmla="*/ 2147483647 w 63"/>
                <a:gd name="T65" fmla="*/ 2147483647 h 35"/>
                <a:gd name="T66" fmla="*/ 2147483647 w 63"/>
                <a:gd name="T67" fmla="*/ 2147483647 h 35"/>
                <a:gd name="T68" fmla="*/ 2147483647 w 63"/>
                <a:gd name="T69" fmla="*/ 2147483647 h 35"/>
                <a:gd name="T70" fmla="*/ 2147483647 w 63"/>
                <a:gd name="T71" fmla="*/ 2147483647 h 35"/>
                <a:gd name="T72" fmla="*/ 2147483647 w 63"/>
                <a:gd name="T73" fmla="*/ 2147483647 h 35"/>
                <a:gd name="T74" fmla="*/ 2147483647 w 63"/>
                <a:gd name="T75" fmla="*/ 2147483647 h 35"/>
                <a:gd name="T76" fmla="*/ 2147483647 w 63"/>
                <a:gd name="T77" fmla="*/ 2147483647 h 35"/>
                <a:gd name="T78" fmla="*/ 2147483647 w 63"/>
                <a:gd name="T79" fmla="*/ 2147483647 h 35"/>
                <a:gd name="T80" fmla="*/ 2147483647 w 63"/>
                <a:gd name="T81" fmla="*/ 2147483647 h 35"/>
                <a:gd name="T82" fmla="*/ 2147483647 w 63"/>
                <a:gd name="T83" fmla="*/ 2147483647 h 3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63"/>
                <a:gd name="T127" fmla="*/ 0 h 35"/>
                <a:gd name="T128" fmla="*/ 63 w 63"/>
                <a:gd name="T129" fmla="*/ 35 h 3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63" h="35">
                  <a:moveTo>
                    <a:pt x="60" y="3"/>
                  </a:moveTo>
                  <a:lnTo>
                    <a:pt x="60" y="3"/>
                  </a:lnTo>
                  <a:lnTo>
                    <a:pt x="57" y="3"/>
                  </a:lnTo>
                  <a:lnTo>
                    <a:pt x="51" y="3"/>
                  </a:lnTo>
                  <a:lnTo>
                    <a:pt x="43" y="3"/>
                  </a:lnTo>
                  <a:lnTo>
                    <a:pt x="34" y="0"/>
                  </a:lnTo>
                  <a:lnTo>
                    <a:pt x="28" y="0"/>
                  </a:lnTo>
                  <a:lnTo>
                    <a:pt x="17" y="3"/>
                  </a:lnTo>
                  <a:lnTo>
                    <a:pt x="0" y="6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2" y="20"/>
                  </a:lnTo>
                  <a:lnTo>
                    <a:pt x="5" y="23"/>
                  </a:lnTo>
                  <a:lnTo>
                    <a:pt x="11" y="26"/>
                  </a:lnTo>
                  <a:lnTo>
                    <a:pt x="14" y="23"/>
                  </a:lnTo>
                  <a:lnTo>
                    <a:pt x="17" y="26"/>
                  </a:lnTo>
                  <a:lnTo>
                    <a:pt x="17" y="29"/>
                  </a:lnTo>
                  <a:lnTo>
                    <a:pt x="25" y="26"/>
                  </a:lnTo>
                  <a:lnTo>
                    <a:pt x="37" y="29"/>
                  </a:lnTo>
                  <a:lnTo>
                    <a:pt x="45" y="35"/>
                  </a:lnTo>
                  <a:lnTo>
                    <a:pt x="48" y="35"/>
                  </a:lnTo>
                  <a:lnTo>
                    <a:pt x="51" y="32"/>
                  </a:lnTo>
                  <a:lnTo>
                    <a:pt x="57" y="35"/>
                  </a:lnTo>
                  <a:lnTo>
                    <a:pt x="63" y="32"/>
                  </a:lnTo>
                  <a:lnTo>
                    <a:pt x="57" y="29"/>
                  </a:lnTo>
                  <a:lnTo>
                    <a:pt x="57" y="23"/>
                  </a:lnTo>
                  <a:lnTo>
                    <a:pt x="54" y="17"/>
                  </a:lnTo>
                  <a:lnTo>
                    <a:pt x="57" y="9"/>
                  </a:lnTo>
                  <a:lnTo>
                    <a:pt x="60" y="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33" name="Freeform 232"/>
            <p:cNvSpPr>
              <a:spLocks noChangeAspect="1"/>
            </p:cNvSpPr>
            <p:nvPr/>
          </p:nvSpPr>
          <p:spPr bwMode="gray">
            <a:xfrm>
              <a:off x="7658876" y="2436109"/>
              <a:ext cx="383509" cy="506232"/>
            </a:xfrm>
            <a:custGeom>
              <a:avLst/>
              <a:gdLst>
                <a:gd name="T0" fmla="*/ 2147483647 w 149"/>
                <a:gd name="T1" fmla="*/ 2147483647 h 175"/>
                <a:gd name="T2" fmla="*/ 2147483647 w 149"/>
                <a:gd name="T3" fmla="*/ 2147483647 h 175"/>
                <a:gd name="T4" fmla="*/ 2147483647 w 149"/>
                <a:gd name="T5" fmla="*/ 2147483647 h 175"/>
                <a:gd name="T6" fmla="*/ 2147483647 w 149"/>
                <a:gd name="T7" fmla="*/ 2147483647 h 175"/>
                <a:gd name="T8" fmla="*/ 2147483647 w 149"/>
                <a:gd name="T9" fmla="*/ 2147483647 h 175"/>
                <a:gd name="T10" fmla="*/ 2147483647 w 149"/>
                <a:gd name="T11" fmla="*/ 2147483647 h 175"/>
                <a:gd name="T12" fmla="*/ 2147483647 w 149"/>
                <a:gd name="T13" fmla="*/ 2147483647 h 175"/>
                <a:gd name="T14" fmla="*/ 2147483647 w 149"/>
                <a:gd name="T15" fmla="*/ 2147483647 h 175"/>
                <a:gd name="T16" fmla="*/ 2147483647 w 149"/>
                <a:gd name="T17" fmla="*/ 2147483647 h 175"/>
                <a:gd name="T18" fmla="*/ 2147483647 w 149"/>
                <a:gd name="T19" fmla="*/ 2147483647 h 175"/>
                <a:gd name="T20" fmla="*/ 2147483647 w 149"/>
                <a:gd name="T21" fmla="*/ 2147483647 h 175"/>
                <a:gd name="T22" fmla="*/ 2147483647 w 149"/>
                <a:gd name="T23" fmla="*/ 2147483647 h 175"/>
                <a:gd name="T24" fmla="*/ 2147483647 w 149"/>
                <a:gd name="T25" fmla="*/ 2147483647 h 175"/>
                <a:gd name="T26" fmla="*/ 0 w 149"/>
                <a:gd name="T27" fmla="*/ 2147483647 h 175"/>
                <a:gd name="T28" fmla="*/ 2147483647 w 149"/>
                <a:gd name="T29" fmla="*/ 2147483647 h 175"/>
                <a:gd name="T30" fmla="*/ 2147483647 w 149"/>
                <a:gd name="T31" fmla="*/ 2147483647 h 175"/>
                <a:gd name="T32" fmla="*/ 2147483647 w 149"/>
                <a:gd name="T33" fmla="*/ 2147483647 h 175"/>
                <a:gd name="T34" fmla="*/ 2147483647 w 149"/>
                <a:gd name="T35" fmla="*/ 2147483647 h 175"/>
                <a:gd name="T36" fmla="*/ 2147483647 w 149"/>
                <a:gd name="T37" fmla="*/ 2147483647 h 175"/>
                <a:gd name="T38" fmla="*/ 2147483647 w 149"/>
                <a:gd name="T39" fmla="*/ 2147483647 h 175"/>
                <a:gd name="T40" fmla="*/ 2147483647 w 149"/>
                <a:gd name="T41" fmla="*/ 2147483647 h 175"/>
                <a:gd name="T42" fmla="*/ 2147483647 w 149"/>
                <a:gd name="T43" fmla="*/ 2147483647 h 175"/>
                <a:gd name="T44" fmla="*/ 2147483647 w 149"/>
                <a:gd name="T45" fmla="*/ 2147483647 h 175"/>
                <a:gd name="T46" fmla="*/ 2147483647 w 149"/>
                <a:gd name="T47" fmla="*/ 2147483647 h 175"/>
                <a:gd name="T48" fmla="*/ 2147483647 w 149"/>
                <a:gd name="T49" fmla="*/ 2147483647 h 175"/>
                <a:gd name="T50" fmla="*/ 2147483647 w 149"/>
                <a:gd name="T51" fmla="*/ 2147483647 h 175"/>
                <a:gd name="T52" fmla="*/ 2147483647 w 149"/>
                <a:gd name="T53" fmla="*/ 2147483647 h 175"/>
                <a:gd name="T54" fmla="*/ 2147483647 w 149"/>
                <a:gd name="T55" fmla="*/ 2147483647 h 175"/>
                <a:gd name="T56" fmla="*/ 2147483647 w 149"/>
                <a:gd name="T57" fmla="*/ 2147483647 h 175"/>
                <a:gd name="T58" fmla="*/ 2147483647 w 149"/>
                <a:gd name="T59" fmla="*/ 2147483647 h 175"/>
                <a:gd name="T60" fmla="*/ 2147483647 w 149"/>
                <a:gd name="T61" fmla="*/ 2147483647 h 175"/>
                <a:gd name="T62" fmla="*/ 2147483647 w 149"/>
                <a:gd name="T63" fmla="*/ 2147483647 h 175"/>
                <a:gd name="T64" fmla="*/ 2147483647 w 149"/>
                <a:gd name="T65" fmla="*/ 2147483647 h 175"/>
                <a:gd name="T66" fmla="*/ 2147483647 w 149"/>
                <a:gd name="T67" fmla="*/ 2147483647 h 175"/>
                <a:gd name="T68" fmla="*/ 2147483647 w 149"/>
                <a:gd name="T69" fmla="*/ 2147483647 h 175"/>
                <a:gd name="T70" fmla="*/ 2147483647 w 149"/>
                <a:gd name="T71" fmla="*/ 2147483647 h 175"/>
                <a:gd name="T72" fmla="*/ 2147483647 w 149"/>
                <a:gd name="T73" fmla="*/ 2147483647 h 175"/>
                <a:gd name="T74" fmla="*/ 2147483647 w 149"/>
                <a:gd name="T75" fmla="*/ 2147483647 h 175"/>
                <a:gd name="T76" fmla="*/ 2147483647 w 149"/>
                <a:gd name="T77" fmla="*/ 2147483647 h 175"/>
                <a:gd name="T78" fmla="*/ 2147483647 w 149"/>
                <a:gd name="T79" fmla="*/ 2147483647 h 175"/>
                <a:gd name="T80" fmla="*/ 2147483647 w 149"/>
                <a:gd name="T81" fmla="*/ 2147483647 h 175"/>
                <a:gd name="T82" fmla="*/ 2147483647 w 149"/>
                <a:gd name="T83" fmla="*/ 2147483647 h 175"/>
                <a:gd name="T84" fmla="*/ 2147483647 w 149"/>
                <a:gd name="T85" fmla="*/ 2147483647 h 175"/>
                <a:gd name="T86" fmla="*/ 2147483647 w 149"/>
                <a:gd name="T87" fmla="*/ 2147483647 h 175"/>
                <a:gd name="T88" fmla="*/ 2147483647 w 149"/>
                <a:gd name="T89" fmla="*/ 2147483647 h 175"/>
                <a:gd name="T90" fmla="*/ 2147483647 w 149"/>
                <a:gd name="T91" fmla="*/ 2147483647 h 175"/>
                <a:gd name="T92" fmla="*/ 2147483647 w 149"/>
                <a:gd name="T93" fmla="*/ 2147483647 h 175"/>
                <a:gd name="T94" fmla="*/ 2147483647 w 149"/>
                <a:gd name="T95" fmla="*/ 2147483647 h 175"/>
                <a:gd name="T96" fmla="*/ 2147483647 w 149"/>
                <a:gd name="T97" fmla="*/ 2147483647 h 175"/>
                <a:gd name="T98" fmla="*/ 2147483647 w 149"/>
                <a:gd name="T99" fmla="*/ 2147483647 h 175"/>
                <a:gd name="T100" fmla="*/ 2147483647 w 149"/>
                <a:gd name="T101" fmla="*/ 2147483647 h 175"/>
                <a:gd name="T102" fmla="*/ 2147483647 w 149"/>
                <a:gd name="T103" fmla="*/ 2147483647 h 175"/>
                <a:gd name="T104" fmla="*/ 2147483647 w 149"/>
                <a:gd name="T105" fmla="*/ 2147483647 h 175"/>
                <a:gd name="T106" fmla="*/ 2147483647 w 149"/>
                <a:gd name="T107" fmla="*/ 2147483647 h 17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49"/>
                <a:gd name="T163" fmla="*/ 0 h 175"/>
                <a:gd name="T164" fmla="*/ 149 w 149"/>
                <a:gd name="T165" fmla="*/ 175 h 175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49" h="175">
                  <a:moveTo>
                    <a:pt x="97" y="18"/>
                  </a:moveTo>
                  <a:lnTo>
                    <a:pt x="97" y="18"/>
                  </a:lnTo>
                  <a:lnTo>
                    <a:pt x="97" y="12"/>
                  </a:lnTo>
                  <a:lnTo>
                    <a:pt x="100" y="9"/>
                  </a:lnTo>
                  <a:lnTo>
                    <a:pt x="100" y="6"/>
                  </a:lnTo>
                  <a:lnTo>
                    <a:pt x="92" y="3"/>
                  </a:lnTo>
                  <a:lnTo>
                    <a:pt x="83" y="0"/>
                  </a:lnTo>
                  <a:lnTo>
                    <a:pt x="71" y="3"/>
                  </a:lnTo>
                  <a:lnTo>
                    <a:pt x="69" y="6"/>
                  </a:lnTo>
                  <a:lnTo>
                    <a:pt x="63" y="6"/>
                  </a:lnTo>
                  <a:lnTo>
                    <a:pt x="63" y="9"/>
                  </a:lnTo>
                  <a:lnTo>
                    <a:pt x="63" y="12"/>
                  </a:lnTo>
                  <a:lnTo>
                    <a:pt x="63" y="18"/>
                  </a:lnTo>
                  <a:lnTo>
                    <a:pt x="63" y="20"/>
                  </a:lnTo>
                  <a:lnTo>
                    <a:pt x="60" y="20"/>
                  </a:lnTo>
                  <a:lnTo>
                    <a:pt x="57" y="20"/>
                  </a:lnTo>
                  <a:lnTo>
                    <a:pt x="49" y="26"/>
                  </a:lnTo>
                  <a:lnTo>
                    <a:pt x="37" y="23"/>
                  </a:lnTo>
                  <a:lnTo>
                    <a:pt x="34" y="23"/>
                  </a:lnTo>
                  <a:lnTo>
                    <a:pt x="28" y="23"/>
                  </a:lnTo>
                  <a:lnTo>
                    <a:pt x="23" y="23"/>
                  </a:lnTo>
                  <a:lnTo>
                    <a:pt x="20" y="23"/>
                  </a:lnTo>
                  <a:lnTo>
                    <a:pt x="17" y="23"/>
                  </a:lnTo>
                  <a:lnTo>
                    <a:pt x="14" y="20"/>
                  </a:lnTo>
                  <a:lnTo>
                    <a:pt x="8" y="15"/>
                  </a:lnTo>
                  <a:lnTo>
                    <a:pt x="3" y="15"/>
                  </a:lnTo>
                  <a:lnTo>
                    <a:pt x="3" y="18"/>
                  </a:lnTo>
                  <a:lnTo>
                    <a:pt x="0" y="18"/>
                  </a:lnTo>
                  <a:lnTo>
                    <a:pt x="8" y="23"/>
                  </a:lnTo>
                  <a:lnTo>
                    <a:pt x="17" y="26"/>
                  </a:lnTo>
                  <a:lnTo>
                    <a:pt x="23" y="26"/>
                  </a:lnTo>
                  <a:lnTo>
                    <a:pt x="28" y="26"/>
                  </a:lnTo>
                  <a:lnTo>
                    <a:pt x="34" y="32"/>
                  </a:lnTo>
                  <a:lnTo>
                    <a:pt x="37" y="35"/>
                  </a:lnTo>
                  <a:lnTo>
                    <a:pt x="40" y="41"/>
                  </a:lnTo>
                  <a:lnTo>
                    <a:pt x="40" y="43"/>
                  </a:lnTo>
                  <a:lnTo>
                    <a:pt x="40" y="46"/>
                  </a:lnTo>
                  <a:lnTo>
                    <a:pt x="43" y="52"/>
                  </a:lnTo>
                  <a:lnTo>
                    <a:pt x="43" y="58"/>
                  </a:lnTo>
                  <a:lnTo>
                    <a:pt x="43" y="61"/>
                  </a:lnTo>
                  <a:lnTo>
                    <a:pt x="43" y="64"/>
                  </a:lnTo>
                  <a:lnTo>
                    <a:pt x="49" y="72"/>
                  </a:lnTo>
                  <a:lnTo>
                    <a:pt x="57" y="75"/>
                  </a:lnTo>
                  <a:lnTo>
                    <a:pt x="63" y="78"/>
                  </a:lnTo>
                  <a:lnTo>
                    <a:pt x="66" y="84"/>
                  </a:lnTo>
                  <a:lnTo>
                    <a:pt x="66" y="86"/>
                  </a:lnTo>
                  <a:lnTo>
                    <a:pt x="63" y="89"/>
                  </a:lnTo>
                  <a:lnTo>
                    <a:pt x="57" y="86"/>
                  </a:lnTo>
                  <a:lnTo>
                    <a:pt x="57" y="84"/>
                  </a:lnTo>
                  <a:lnTo>
                    <a:pt x="51" y="86"/>
                  </a:lnTo>
                  <a:lnTo>
                    <a:pt x="51" y="92"/>
                  </a:lnTo>
                  <a:lnTo>
                    <a:pt x="49" y="98"/>
                  </a:lnTo>
                  <a:lnTo>
                    <a:pt x="43" y="104"/>
                  </a:lnTo>
                  <a:lnTo>
                    <a:pt x="31" y="109"/>
                  </a:lnTo>
                  <a:lnTo>
                    <a:pt x="26" y="115"/>
                  </a:lnTo>
                  <a:lnTo>
                    <a:pt x="23" y="115"/>
                  </a:lnTo>
                  <a:lnTo>
                    <a:pt x="17" y="115"/>
                  </a:lnTo>
                  <a:lnTo>
                    <a:pt x="14" y="124"/>
                  </a:lnTo>
                  <a:lnTo>
                    <a:pt x="11" y="124"/>
                  </a:lnTo>
                  <a:lnTo>
                    <a:pt x="14" y="127"/>
                  </a:lnTo>
                  <a:lnTo>
                    <a:pt x="17" y="132"/>
                  </a:lnTo>
                  <a:lnTo>
                    <a:pt x="17" y="135"/>
                  </a:lnTo>
                  <a:lnTo>
                    <a:pt x="14" y="135"/>
                  </a:lnTo>
                  <a:lnTo>
                    <a:pt x="14" y="138"/>
                  </a:lnTo>
                  <a:lnTo>
                    <a:pt x="17" y="144"/>
                  </a:lnTo>
                  <a:lnTo>
                    <a:pt x="20" y="144"/>
                  </a:lnTo>
                  <a:lnTo>
                    <a:pt x="20" y="147"/>
                  </a:lnTo>
                  <a:lnTo>
                    <a:pt x="20" y="150"/>
                  </a:lnTo>
                  <a:lnTo>
                    <a:pt x="20" y="153"/>
                  </a:lnTo>
                  <a:lnTo>
                    <a:pt x="17" y="155"/>
                  </a:lnTo>
                  <a:lnTo>
                    <a:pt x="17" y="161"/>
                  </a:lnTo>
                  <a:lnTo>
                    <a:pt x="20" y="164"/>
                  </a:lnTo>
                  <a:lnTo>
                    <a:pt x="23" y="164"/>
                  </a:lnTo>
                  <a:lnTo>
                    <a:pt x="28" y="164"/>
                  </a:lnTo>
                  <a:lnTo>
                    <a:pt x="26" y="167"/>
                  </a:lnTo>
                  <a:lnTo>
                    <a:pt x="28" y="170"/>
                  </a:lnTo>
                  <a:lnTo>
                    <a:pt x="34" y="167"/>
                  </a:lnTo>
                  <a:lnTo>
                    <a:pt x="34" y="173"/>
                  </a:lnTo>
                  <a:lnTo>
                    <a:pt x="40" y="170"/>
                  </a:lnTo>
                  <a:lnTo>
                    <a:pt x="43" y="173"/>
                  </a:lnTo>
                  <a:lnTo>
                    <a:pt x="43" y="175"/>
                  </a:lnTo>
                  <a:lnTo>
                    <a:pt x="51" y="175"/>
                  </a:lnTo>
                  <a:lnTo>
                    <a:pt x="60" y="173"/>
                  </a:lnTo>
                  <a:lnTo>
                    <a:pt x="66" y="170"/>
                  </a:lnTo>
                  <a:lnTo>
                    <a:pt x="74" y="167"/>
                  </a:lnTo>
                  <a:lnTo>
                    <a:pt x="77" y="167"/>
                  </a:lnTo>
                  <a:lnTo>
                    <a:pt x="80" y="167"/>
                  </a:lnTo>
                  <a:lnTo>
                    <a:pt x="86" y="167"/>
                  </a:lnTo>
                  <a:lnTo>
                    <a:pt x="94" y="164"/>
                  </a:lnTo>
                  <a:lnTo>
                    <a:pt x="106" y="164"/>
                  </a:lnTo>
                  <a:lnTo>
                    <a:pt x="115" y="155"/>
                  </a:lnTo>
                  <a:lnTo>
                    <a:pt x="129" y="144"/>
                  </a:lnTo>
                  <a:lnTo>
                    <a:pt x="138" y="135"/>
                  </a:lnTo>
                  <a:lnTo>
                    <a:pt x="143" y="127"/>
                  </a:lnTo>
                  <a:lnTo>
                    <a:pt x="149" y="124"/>
                  </a:lnTo>
                  <a:lnTo>
                    <a:pt x="138" y="115"/>
                  </a:lnTo>
                  <a:lnTo>
                    <a:pt x="129" y="109"/>
                  </a:lnTo>
                  <a:lnTo>
                    <a:pt x="126" y="109"/>
                  </a:lnTo>
                  <a:lnTo>
                    <a:pt x="132" y="101"/>
                  </a:lnTo>
                  <a:lnTo>
                    <a:pt x="123" y="95"/>
                  </a:lnTo>
                  <a:lnTo>
                    <a:pt x="126" y="95"/>
                  </a:lnTo>
                  <a:lnTo>
                    <a:pt x="126" y="89"/>
                  </a:lnTo>
                  <a:lnTo>
                    <a:pt x="120" y="86"/>
                  </a:lnTo>
                  <a:lnTo>
                    <a:pt x="117" y="89"/>
                  </a:lnTo>
                  <a:lnTo>
                    <a:pt x="117" y="86"/>
                  </a:lnTo>
                  <a:lnTo>
                    <a:pt x="120" y="81"/>
                  </a:lnTo>
                  <a:lnTo>
                    <a:pt x="117" y="72"/>
                  </a:lnTo>
                  <a:lnTo>
                    <a:pt x="120" y="69"/>
                  </a:lnTo>
                  <a:lnTo>
                    <a:pt x="115" y="64"/>
                  </a:lnTo>
                  <a:lnTo>
                    <a:pt x="106" y="55"/>
                  </a:lnTo>
                  <a:lnTo>
                    <a:pt x="106" y="52"/>
                  </a:lnTo>
                  <a:lnTo>
                    <a:pt x="106" y="49"/>
                  </a:lnTo>
                  <a:lnTo>
                    <a:pt x="109" y="43"/>
                  </a:lnTo>
                  <a:lnTo>
                    <a:pt x="112" y="43"/>
                  </a:lnTo>
                  <a:lnTo>
                    <a:pt x="115" y="41"/>
                  </a:lnTo>
                  <a:lnTo>
                    <a:pt x="109" y="35"/>
                  </a:lnTo>
                  <a:lnTo>
                    <a:pt x="97" y="32"/>
                  </a:lnTo>
                  <a:lnTo>
                    <a:pt x="94" y="32"/>
                  </a:lnTo>
                  <a:lnTo>
                    <a:pt x="94" y="23"/>
                  </a:lnTo>
                  <a:lnTo>
                    <a:pt x="97" y="23"/>
                  </a:lnTo>
                  <a:lnTo>
                    <a:pt x="97" y="1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34" name="Freeform 233"/>
            <p:cNvSpPr>
              <a:spLocks noChangeAspect="1"/>
            </p:cNvSpPr>
            <p:nvPr/>
          </p:nvSpPr>
          <p:spPr bwMode="gray">
            <a:xfrm>
              <a:off x="7702145" y="3041602"/>
              <a:ext cx="264523" cy="114702"/>
            </a:xfrm>
            <a:custGeom>
              <a:avLst/>
              <a:gdLst>
                <a:gd name="T0" fmla="*/ 2147483647 w 103"/>
                <a:gd name="T1" fmla="*/ 2147483647 h 40"/>
                <a:gd name="T2" fmla="*/ 2147483647 w 103"/>
                <a:gd name="T3" fmla="*/ 2147483647 h 40"/>
                <a:gd name="T4" fmla="*/ 2147483647 w 103"/>
                <a:gd name="T5" fmla="*/ 2147483647 h 40"/>
                <a:gd name="T6" fmla="*/ 2147483647 w 103"/>
                <a:gd name="T7" fmla="*/ 2147483647 h 40"/>
                <a:gd name="T8" fmla="*/ 2147483647 w 103"/>
                <a:gd name="T9" fmla="*/ 2147483647 h 40"/>
                <a:gd name="T10" fmla="*/ 2147483647 w 103"/>
                <a:gd name="T11" fmla="*/ 2147483647 h 40"/>
                <a:gd name="T12" fmla="*/ 2147483647 w 103"/>
                <a:gd name="T13" fmla="*/ 2147483647 h 40"/>
                <a:gd name="T14" fmla="*/ 2147483647 w 103"/>
                <a:gd name="T15" fmla="*/ 2147483647 h 40"/>
                <a:gd name="T16" fmla="*/ 2147483647 w 103"/>
                <a:gd name="T17" fmla="*/ 2147483647 h 40"/>
                <a:gd name="T18" fmla="*/ 2147483647 w 103"/>
                <a:gd name="T19" fmla="*/ 2147483647 h 40"/>
                <a:gd name="T20" fmla="*/ 2147483647 w 103"/>
                <a:gd name="T21" fmla="*/ 2147483647 h 40"/>
                <a:gd name="T22" fmla="*/ 2147483647 w 103"/>
                <a:gd name="T23" fmla="*/ 2147483647 h 40"/>
                <a:gd name="T24" fmla="*/ 2147483647 w 103"/>
                <a:gd name="T25" fmla="*/ 2147483647 h 40"/>
                <a:gd name="T26" fmla="*/ 2147483647 w 103"/>
                <a:gd name="T27" fmla="*/ 2147483647 h 40"/>
                <a:gd name="T28" fmla="*/ 2147483647 w 103"/>
                <a:gd name="T29" fmla="*/ 2147483647 h 40"/>
                <a:gd name="T30" fmla="*/ 0 w 103"/>
                <a:gd name="T31" fmla="*/ 2147483647 h 40"/>
                <a:gd name="T32" fmla="*/ 2147483647 w 103"/>
                <a:gd name="T33" fmla="*/ 2147483647 h 40"/>
                <a:gd name="T34" fmla="*/ 2147483647 w 103"/>
                <a:gd name="T35" fmla="*/ 2147483647 h 40"/>
                <a:gd name="T36" fmla="*/ 2147483647 w 103"/>
                <a:gd name="T37" fmla="*/ 2147483647 h 40"/>
                <a:gd name="T38" fmla="*/ 2147483647 w 103"/>
                <a:gd name="T39" fmla="*/ 2147483647 h 40"/>
                <a:gd name="T40" fmla="*/ 2147483647 w 103"/>
                <a:gd name="T41" fmla="*/ 2147483647 h 40"/>
                <a:gd name="T42" fmla="*/ 2147483647 w 103"/>
                <a:gd name="T43" fmla="*/ 2147483647 h 40"/>
                <a:gd name="T44" fmla="*/ 2147483647 w 103"/>
                <a:gd name="T45" fmla="*/ 2147483647 h 40"/>
                <a:gd name="T46" fmla="*/ 2147483647 w 103"/>
                <a:gd name="T47" fmla="*/ 2147483647 h 40"/>
                <a:gd name="T48" fmla="*/ 2147483647 w 103"/>
                <a:gd name="T49" fmla="*/ 2147483647 h 40"/>
                <a:gd name="T50" fmla="*/ 2147483647 w 103"/>
                <a:gd name="T51" fmla="*/ 2147483647 h 40"/>
                <a:gd name="T52" fmla="*/ 2147483647 w 103"/>
                <a:gd name="T53" fmla="*/ 2147483647 h 40"/>
                <a:gd name="T54" fmla="*/ 2147483647 w 103"/>
                <a:gd name="T55" fmla="*/ 2147483647 h 40"/>
                <a:gd name="T56" fmla="*/ 2147483647 w 103"/>
                <a:gd name="T57" fmla="*/ 2147483647 h 40"/>
                <a:gd name="T58" fmla="*/ 2147483647 w 103"/>
                <a:gd name="T59" fmla="*/ 2147483647 h 40"/>
                <a:gd name="T60" fmla="*/ 2147483647 w 103"/>
                <a:gd name="T61" fmla="*/ 2147483647 h 40"/>
                <a:gd name="T62" fmla="*/ 2147483647 w 103"/>
                <a:gd name="T63" fmla="*/ 2147483647 h 40"/>
                <a:gd name="T64" fmla="*/ 2147483647 w 103"/>
                <a:gd name="T65" fmla="*/ 2147483647 h 40"/>
                <a:gd name="T66" fmla="*/ 2147483647 w 103"/>
                <a:gd name="T67" fmla="*/ 2147483647 h 40"/>
                <a:gd name="T68" fmla="*/ 2147483647 w 103"/>
                <a:gd name="T69" fmla="*/ 2147483647 h 4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03"/>
                <a:gd name="T106" fmla="*/ 0 h 40"/>
                <a:gd name="T107" fmla="*/ 103 w 103"/>
                <a:gd name="T108" fmla="*/ 40 h 4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03" h="40">
                  <a:moveTo>
                    <a:pt x="98" y="11"/>
                  </a:moveTo>
                  <a:lnTo>
                    <a:pt x="98" y="11"/>
                  </a:lnTo>
                  <a:lnTo>
                    <a:pt x="92" y="11"/>
                  </a:lnTo>
                  <a:lnTo>
                    <a:pt x="89" y="11"/>
                  </a:lnTo>
                  <a:lnTo>
                    <a:pt x="86" y="11"/>
                  </a:lnTo>
                  <a:lnTo>
                    <a:pt x="86" y="9"/>
                  </a:lnTo>
                  <a:lnTo>
                    <a:pt x="83" y="9"/>
                  </a:lnTo>
                  <a:lnTo>
                    <a:pt x="80" y="9"/>
                  </a:lnTo>
                  <a:lnTo>
                    <a:pt x="77" y="9"/>
                  </a:lnTo>
                  <a:lnTo>
                    <a:pt x="75" y="9"/>
                  </a:lnTo>
                  <a:lnTo>
                    <a:pt x="69" y="3"/>
                  </a:lnTo>
                  <a:lnTo>
                    <a:pt x="57" y="0"/>
                  </a:lnTo>
                  <a:lnTo>
                    <a:pt x="49" y="3"/>
                  </a:lnTo>
                  <a:lnTo>
                    <a:pt x="49" y="14"/>
                  </a:lnTo>
                  <a:lnTo>
                    <a:pt x="43" y="17"/>
                  </a:lnTo>
                  <a:lnTo>
                    <a:pt x="37" y="17"/>
                  </a:lnTo>
                  <a:lnTo>
                    <a:pt x="23" y="9"/>
                  </a:lnTo>
                  <a:lnTo>
                    <a:pt x="17" y="6"/>
                  </a:lnTo>
                  <a:lnTo>
                    <a:pt x="11" y="6"/>
                  </a:lnTo>
                  <a:lnTo>
                    <a:pt x="6" y="11"/>
                  </a:lnTo>
                  <a:lnTo>
                    <a:pt x="0" y="17"/>
                  </a:lnTo>
                  <a:lnTo>
                    <a:pt x="0" y="23"/>
                  </a:lnTo>
                  <a:lnTo>
                    <a:pt x="3" y="34"/>
                  </a:lnTo>
                  <a:lnTo>
                    <a:pt x="17" y="29"/>
                  </a:lnTo>
                  <a:lnTo>
                    <a:pt x="20" y="29"/>
                  </a:lnTo>
                  <a:lnTo>
                    <a:pt x="32" y="29"/>
                  </a:lnTo>
                  <a:lnTo>
                    <a:pt x="34" y="29"/>
                  </a:lnTo>
                  <a:lnTo>
                    <a:pt x="46" y="26"/>
                  </a:lnTo>
                  <a:lnTo>
                    <a:pt x="57" y="26"/>
                  </a:lnTo>
                  <a:lnTo>
                    <a:pt x="63" y="32"/>
                  </a:lnTo>
                  <a:lnTo>
                    <a:pt x="69" y="34"/>
                  </a:lnTo>
                  <a:lnTo>
                    <a:pt x="83" y="40"/>
                  </a:lnTo>
                  <a:lnTo>
                    <a:pt x="98" y="37"/>
                  </a:lnTo>
                  <a:lnTo>
                    <a:pt x="103" y="34"/>
                  </a:lnTo>
                  <a:lnTo>
                    <a:pt x="100" y="26"/>
                  </a:lnTo>
                  <a:lnTo>
                    <a:pt x="95" y="23"/>
                  </a:lnTo>
                  <a:lnTo>
                    <a:pt x="95" y="20"/>
                  </a:lnTo>
                  <a:lnTo>
                    <a:pt x="98" y="1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35" name="Freeform 235"/>
            <p:cNvSpPr>
              <a:spLocks noChangeAspect="1"/>
            </p:cNvSpPr>
            <p:nvPr/>
          </p:nvSpPr>
          <p:spPr bwMode="gray">
            <a:xfrm>
              <a:off x="7953884" y="4051858"/>
              <a:ext cx="4917" cy="17646"/>
            </a:xfrm>
            <a:custGeom>
              <a:avLst/>
              <a:gdLst>
                <a:gd name="T0" fmla="*/ 2147483647 w 2"/>
                <a:gd name="T1" fmla="*/ 2147483647 h 6"/>
                <a:gd name="T2" fmla="*/ 2147483647 w 2"/>
                <a:gd name="T3" fmla="*/ 0 h 6"/>
                <a:gd name="T4" fmla="*/ 0 w 2"/>
                <a:gd name="T5" fmla="*/ 2147483647 h 6"/>
                <a:gd name="T6" fmla="*/ 2147483647 w 2"/>
                <a:gd name="T7" fmla="*/ 2147483647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6"/>
                <a:gd name="T14" fmla="*/ 2 w 2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6">
                  <a:moveTo>
                    <a:pt x="2" y="6"/>
                  </a:moveTo>
                  <a:lnTo>
                    <a:pt x="2" y="0"/>
                  </a:lnTo>
                  <a:lnTo>
                    <a:pt x="0" y="6"/>
                  </a:lnTo>
                  <a:lnTo>
                    <a:pt x="2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36" name="Freeform 236"/>
            <p:cNvSpPr>
              <a:spLocks noChangeAspect="1"/>
            </p:cNvSpPr>
            <p:nvPr/>
          </p:nvSpPr>
          <p:spPr bwMode="gray">
            <a:xfrm>
              <a:off x="7966668" y="4143399"/>
              <a:ext cx="14751" cy="17646"/>
            </a:xfrm>
            <a:custGeom>
              <a:avLst/>
              <a:gdLst>
                <a:gd name="T0" fmla="*/ 0 w 6"/>
                <a:gd name="T1" fmla="*/ 2147483647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3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37" name="Freeform 237"/>
            <p:cNvSpPr>
              <a:spLocks noChangeAspect="1"/>
            </p:cNvSpPr>
            <p:nvPr/>
          </p:nvSpPr>
          <p:spPr bwMode="gray">
            <a:xfrm>
              <a:off x="7724762" y="3564376"/>
              <a:ext cx="360891" cy="248152"/>
            </a:xfrm>
            <a:custGeom>
              <a:avLst/>
              <a:gdLst>
                <a:gd name="T0" fmla="*/ 2147483647 w 140"/>
                <a:gd name="T1" fmla="*/ 2147483647 h 86"/>
                <a:gd name="T2" fmla="*/ 2147483647 w 140"/>
                <a:gd name="T3" fmla="*/ 2147483647 h 86"/>
                <a:gd name="T4" fmla="*/ 2147483647 w 140"/>
                <a:gd name="T5" fmla="*/ 2147483647 h 86"/>
                <a:gd name="T6" fmla="*/ 2147483647 w 140"/>
                <a:gd name="T7" fmla="*/ 2147483647 h 86"/>
                <a:gd name="T8" fmla="*/ 2147483647 w 140"/>
                <a:gd name="T9" fmla="*/ 2147483647 h 86"/>
                <a:gd name="T10" fmla="*/ 2147483647 w 140"/>
                <a:gd name="T11" fmla="*/ 2147483647 h 86"/>
                <a:gd name="T12" fmla="*/ 2147483647 w 140"/>
                <a:gd name="T13" fmla="*/ 2147483647 h 86"/>
                <a:gd name="T14" fmla="*/ 2147483647 w 140"/>
                <a:gd name="T15" fmla="*/ 2147483647 h 86"/>
                <a:gd name="T16" fmla="*/ 2147483647 w 140"/>
                <a:gd name="T17" fmla="*/ 2147483647 h 86"/>
                <a:gd name="T18" fmla="*/ 2147483647 w 140"/>
                <a:gd name="T19" fmla="*/ 2147483647 h 86"/>
                <a:gd name="T20" fmla="*/ 2147483647 w 140"/>
                <a:gd name="T21" fmla="*/ 2147483647 h 86"/>
                <a:gd name="T22" fmla="*/ 2147483647 w 140"/>
                <a:gd name="T23" fmla="*/ 2147483647 h 86"/>
                <a:gd name="T24" fmla="*/ 2147483647 w 140"/>
                <a:gd name="T25" fmla="*/ 2147483647 h 86"/>
                <a:gd name="T26" fmla="*/ 2147483647 w 140"/>
                <a:gd name="T27" fmla="*/ 2147483647 h 86"/>
                <a:gd name="T28" fmla="*/ 2147483647 w 140"/>
                <a:gd name="T29" fmla="*/ 2147483647 h 86"/>
                <a:gd name="T30" fmla="*/ 2147483647 w 140"/>
                <a:gd name="T31" fmla="*/ 0 h 86"/>
                <a:gd name="T32" fmla="*/ 2147483647 w 140"/>
                <a:gd name="T33" fmla="*/ 2147483647 h 86"/>
                <a:gd name="T34" fmla="*/ 2147483647 w 140"/>
                <a:gd name="T35" fmla="*/ 2147483647 h 86"/>
                <a:gd name="T36" fmla="*/ 2147483647 w 140"/>
                <a:gd name="T37" fmla="*/ 2147483647 h 86"/>
                <a:gd name="T38" fmla="*/ 2147483647 w 140"/>
                <a:gd name="T39" fmla="*/ 2147483647 h 86"/>
                <a:gd name="T40" fmla="*/ 2147483647 w 140"/>
                <a:gd name="T41" fmla="*/ 2147483647 h 86"/>
                <a:gd name="T42" fmla="*/ 2147483647 w 140"/>
                <a:gd name="T43" fmla="*/ 2147483647 h 86"/>
                <a:gd name="T44" fmla="*/ 2147483647 w 140"/>
                <a:gd name="T45" fmla="*/ 2147483647 h 86"/>
                <a:gd name="T46" fmla="*/ 2147483647 w 140"/>
                <a:gd name="T47" fmla="*/ 2147483647 h 86"/>
                <a:gd name="T48" fmla="*/ 2147483647 w 140"/>
                <a:gd name="T49" fmla="*/ 2147483647 h 86"/>
                <a:gd name="T50" fmla="*/ 2147483647 w 140"/>
                <a:gd name="T51" fmla="*/ 2147483647 h 86"/>
                <a:gd name="T52" fmla="*/ 2147483647 w 140"/>
                <a:gd name="T53" fmla="*/ 2147483647 h 86"/>
                <a:gd name="T54" fmla="*/ 2147483647 w 140"/>
                <a:gd name="T55" fmla="*/ 2147483647 h 86"/>
                <a:gd name="T56" fmla="*/ 2147483647 w 140"/>
                <a:gd name="T57" fmla="*/ 2147483647 h 86"/>
                <a:gd name="T58" fmla="*/ 2147483647 w 140"/>
                <a:gd name="T59" fmla="*/ 2147483647 h 86"/>
                <a:gd name="T60" fmla="*/ 2147483647 w 140"/>
                <a:gd name="T61" fmla="*/ 2147483647 h 86"/>
                <a:gd name="T62" fmla="*/ 2147483647 w 140"/>
                <a:gd name="T63" fmla="*/ 2147483647 h 86"/>
                <a:gd name="T64" fmla="*/ 2147483647 w 140"/>
                <a:gd name="T65" fmla="*/ 2147483647 h 86"/>
                <a:gd name="T66" fmla="*/ 2147483647 w 140"/>
                <a:gd name="T67" fmla="*/ 2147483647 h 86"/>
                <a:gd name="T68" fmla="*/ 2147483647 w 140"/>
                <a:gd name="T69" fmla="*/ 2147483647 h 86"/>
                <a:gd name="T70" fmla="*/ 2147483647 w 140"/>
                <a:gd name="T71" fmla="*/ 2147483647 h 86"/>
                <a:gd name="T72" fmla="*/ 2147483647 w 140"/>
                <a:gd name="T73" fmla="*/ 2147483647 h 86"/>
                <a:gd name="T74" fmla="*/ 2147483647 w 140"/>
                <a:gd name="T75" fmla="*/ 2147483647 h 86"/>
                <a:gd name="T76" fmla="*/ 0 w 140"/>
                <a:gd name="T77" fmla="*/ 2147483647 h 86"/>
                <a:gd name="T78" fmla="*/ 0 w 140"/>
                <a:gd name="T79" fmla="*/ 2147483647 h 86"/>
                <a:gd name="T80" fmla="*/ 2147483647 w 140"/>
                <a:gd name="T81" fmla="*/ 2147483647 h 86"/>
                <a:gd name="T82" fmla="*/ 2147483647 w 140"/>
                <a:gd name="T83" fmla="*/ 2147483647 h 86"/>
                <a:gd name="T84" fmla="*/ 2147483647 w 140"/>
                <a:gd name="T85" fmla="*/ 2147483647 h 86"/>
                <a:gd name="T86" fmla="*/ 2147483647 w 140"/>
                <a:gd name="T87" fmla="*/ 2147483647 h 86"/>
                <a:gd name="T88" fmla="*/ 2147483647 w 140"/>
                <a:gd name="T89" fmla="*/ 2147483647 h 86"/>
                <a:gd name="T90" fmla="*/ 2147483647 w 140"/>
                <a:gd name="T91" fmla="*/ 2147483647 h 86"/>
                <a:gd name="T92" fmla="*/ 2147483647 w 140"/>
                <a:gd name="T93" fmla="*/ 2147483647 h 86"/>
                <a:gd name="T94" fmla="*/ 2147483647 w 140"/>
                <a:gd name="T95" fmla="*/ 2147483647 h 86"/>
                <a:gd name="T96" fmla="*/ 2147483647 w 140"/>
                <a:gd name="T97" fmla="*/ 2147483647 h 86"/>
                <a:gd name="T98" fmla="*/ 2147483647 w 140"/>
                <a:gd name="T99" fmla="*/ 2147483647 h 86"/>
                <a:gd name="T100" fmla="*/ 2147483647 w 140"/>
                <a:gd name="T101" fmla="*/ 2147483647 h 86"/>
                <a:gd name="T102" fmla="*/ 2147483647 w 140"/>
                <a:gd name="T103" fmla="*/ 2147483647 h 86"/>
                <a:gd name="T104" fmla="*/ 2147483647 w 140"/>
                <a:gd name="T105" fmla="*/ 2147483647 h 86"/>
                <a:gd name="T106" fmla="*/ 2147483647 w 140"/>
                <a:gd name="T107" fmla="*/ 2147483647 h 86"/>
                <a:gd name="T108" fmla="*/ 2147483647 w 140"/>
                <a:gd name="T109" fmla="*/ 2147483647 h 86"/>
                <a:gd name="T110" fmla="*/ 2147483647 w 140"/>
                <a:gd name="T111" fmla="*/ 2147483647 h 86"/>
                <a:gd name="T112" fmla="*/ 2147483647 w 140"/>
                <a:gd name="T113" fmla="*/ 2147483647 h 86"/>
                <a:gd name="T114" fmla="*/ 2147483647 w 140"/>
                <a:gd name="T115" fmla="*/ 2147483647 h 86"/>
                <a:gd name="T116" fmla="*/ 2147483647 w 140"/>
                <a:gd name="T117" fmla="*/ 2147483647 h 86"/>
                <a:gd name="T118" fmla="*/ 2147483647 w 140"/>
                <a:gd name="T119" fmla="*/ 2147483647 h 86"/>
                <a:gd name="T120" fmla="*/ 2147483647 w 140"/>
                <a:gd name="T121" fmla="*/ 2147483647 h 86"/>
                <a:gd name="T122" fmla="*/ 2147483647 w 140"/>
                <a:gd name="T123" fmla="*/ 2147483647 h 8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0"/>
                <a:gd name="T187" fmla="*/ 0 h 86"/>
                <a:gd name="T188" fmla="*/ 140 w 140"/>
                <a:gd name="T189" fmla="*/ 86 h 8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0" h="86">
                  <a:moveTo>
                    <a:pt x="126" y="83"/>
                  </a:moveTo>
                  <a:lnTo>
                    <a:pt x="126" y="83"/>
                  </a:lnTo>
                  <a:lnTo>
                    <a:pt x="129" y="77"/>
                  </a:lnTo>
                  <a:lnTo>
                    <a:pt x="132" y="69"/>
                  </a:lnTo>
                  <a:lnTo>
                    <a:pt x="132" y="66"/>
                  </a:lnTo>
                  <a:lnTo>
                    <a:pt x="137" y="66"/>
                  </a:lnTo>
                  <a:lnTo>
                    <a:pt x="140" y="63"/>
                  </a:lnTo>
                  <a:lnTo>
                    <a:pt x="134" y="57"/>
                  </a:lnTo>
                  <a:lnTo>
                    <a:pt x="123" y="57"/>
                  </a:lnTo>
                  <a:lnTo>
                    <a:pt x="112" y="51"/>
                  </a:lnTo>
                  <a:lnTo>
                    <a:pt x="114" y="37"/>
                  </a:lnTo>
                  <a:lnTo>
                    <a:pt x="114" y="31"/>
                  </a:lnTo>
                  <a:lnTo>
                    <a:pt x="106" y="20"/>
                  </a:lnTo>
                  <a:lnTo>
                    <a:pt x="91" y="0"/>
                  </a:lnTo>
                  <a:lnTo>
                    <a:pt x="89" y="3"/>
                  </a:lnTo>
                  <a:lnTo>
                    <a:pt x="80" y="6"/>
                  </a:lnTo>
                  <a:lnTo>
                    <a:pt x="68" y="8"/>
                  </a:lnTo>
                  <a:lnTo>
                    <a:pt x="66" y="14"/>
                  </a:lnTo>
                  <a:lnTo>
                    <a:pt x="57" y="6"/>
                  </a:lnTo>
                  <a:lnTo>
                    <a:pt x="54" y="8"/>
                  </a:lnTo>
                  <a:lnTo>
                    <a:pt x="45" y="8"/>
                  </a:lnTo>
                  <a:lnTo>
                    <a:pt x="37" y="3"/>
                  </a:lnTo>
                  <a:lnTo>
                    <a:pt x="34" y="6"/>
                  </a:lnTo>
                  <a:lnTo>
                    <a:pt x="31" y="8"/>
                  </a:lnTo>
                  <a:lnTo>
                    <a:pt x="23" y="11"/>
                  </a:lnTo>
                  <a:lnTo>
                    <a:pt x="20" y="14"/>
                  </a:lnTo>
                  <a:lnTo>
                    <a:pt x="23" y="20"/>
                  </a:lnTo>
                  <a:lnTo>
                    <a:pt x="20" y="23"/>
                  </a:lnTo>
                  <a:lnTo>
                    <a:pt x="17" y="26"/>
                  </a:lnTo>
                  <a:lnTo>
                    <a:pt x="11" y="31"/>
                  </a:lnTo>
                  <a:lnTo>
                    <a:pt x="5" y="37"/>
                  </a:lnTo>
                  <a:lnTo>
                    <a:pt x="2" y="37"/>
                  </a:lnTo>
                  <a:lnTo>
                    <a:pt x="0" y="40"/>
                  </a:lnTo>
                  <a:lnTo>
                    <a:pt x="5" y="46"/>
                  </a:lnTo>
                  <a:lnTo>
                    <a:pt x="5" y="49"/>
                  </a:lnTo>
                  <a:lnTo>
                    <a:pt x="2" y="51"/>
                  </a:lnTo>
                  <a:lnTo>
                    <a:pt x="14" y="63"/>
                  </a:lnTo>
                  <a:lnTo>
                    <a:pt x="17" y="66"/>
                  </a:lnTo>
                  <a:lnTo>
                    <a:pt x="23" y="69"/>
                  </a:lnTo>
                  <a:lnTo>
                    <a:pt x="25" y="63"/>
                  </a:lnTo>
                  <a:lnTo>
                    <a:pt x="37" y="69"/>
                  </a:lnTo>
                  <a:lnTo>
                    <a:pt x="37" y="72"/>
                  </a:lnTo>
                  <a:lnTo>
                    <a:pt x="31" y="74"/>
                  </a:lnTo>
                  <a:lnTo>
                    <a:pt x="40" y="77"/>
                  </a:lnTo>
                  <a:lnTo>
                    <a:pt x="37" y="80"/>
                  </a:lnTo>
                  <a:lnTo>
                    <a:pt x="57" y="86"/>
                  </a:lnTo>
                  <a:lnTo>
                    <a:pt x="60" y="83"/>
                  </a:lnTo>
                  <a:lnTo>
                    <a:pt x="77" y="86"/>
                  </a:lnTo>
                  <a:lnTo>
                    <a:pt x="86" y="80"/>
                  </a:lnTo>
                  <a:lnTo>
                    <a:pt x="97" y="77"/>
                  </a:lnTo>
                  <a:lnTo>
                    <a:pt x="109" y="77"/>
                  </a:lnTo>
                  <a:lnTo>
                    <a:pt x="120" y="83"/>
                  </a:lnTo>
                  <a:lnTo>
                    <a:pt x="126" y="86"/>
                  </a:lnTo>
                  <a:lnTo>
                    <a:pt x="126" y="8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38" name="Freeform 238"/>
            <p:cNvSpPr>
              <a:spLocks noChangeAspect="1"/>
            </p:cNvSpPr>
            <p:nvPr/>
          </p:nvSpPr>
          <p:spPr bwMode="gray">
            <a:xfrm>
              <a:off x="7966668" y="3555552"/>
              <a:ext cx="118986" cy="154406"/>
            </a:xfrm>
            <a:custGeom>
              <a:avLst/>
              <a:gdLst>
                <a:gd name="T0" fmla="*/ 2147483647 w 46"/>
                <a:gd name="T1" fmla="*/ 2147483647 h 54"/>
                <a:gd name="T2" fmla="*/ 2147483647 w 46"/>
                <a:gd name="T3" fmla="*/ 2147483647 h 54"/>
                <a:gd name="T4" fmla="*/ 2147483647 w 46"/>
                <a:gd name="T5" fmla="*/ 0 h 54"/>
                <a:gd name="T6" fmla="*/ 0 w 46"/>
                <a:gd name="T7" fmla="*/ 2147483647 h 54"/>
                <a:gd name="T8" fmla="*/ 0 w 46"/>
                <a:gd name="T9" fmla="*/ 2147483647 h 54"/>
                <a:gd name="T10" fmla="*/ 2147483647 w 46"/>
                <a:gd name="T11" fmla="*/ 2147483647 h 54"/>
                <a:gd name="T12" fmla="*/ 2147483647 w 46"/>
                <a:gd name="T13" fmla="*/ 2147483647 h 54"/>
                <a:gd name="T14" fmla="*/ 2147483647 w 46"/>
                <a:gd name="T15" fmla="*/ 2147483647 h 54"/>
                <a:gd name="T16" fmla="*/ 2147483647 w 46"/>
                <a:gd name="T17" fmla="*/ 2147483647 h 54"/>
                <a:gd name="T18" fmla="*/ 2147483647 w 46"/>
                <a:gd name="T19" fmla="*/ 2147483647 h 54"/>
                <a:gd name="T20" fmla="*/ 2147483647 w 46"/>
                <a:gd name="T21" fmla="*/ 2147483647 h 54"/>
                <a:gd name="T22" fmla="*/ 2147483647 w 46"/>
                <a:gd name="T23" fmla="*/ 2147483647 h 54"/>
                <a:gd name="T24" fmla="*/ 2147483647 w 46"/>
                <a:gd name="T25" fmla="*/ 2147483647 h 54"/>
                <a:gd name="T26" fmla="*/ 2147483647 w 46"/>
                <a:gd name="T27" fmla="*/ 2147483647 h 54"/>
                <a:gd name="T28" fmla="*/ 2147483647 w 46"/>
                <a:gd name="T29" fmla="*/ 2147483647 h 54"/>
                <a:gd name="T30" fmla="*/ 2147483647 w 46"/>
                <a:gd name="T31" fmla="*/ 2147483647 h 54"/>
                <a:gd name="T32" fmla="*/ 2147483647 w 46"/>
                <a:gd name="T33" fmla="*/ 2147483647 h 54"/>
                <a:gd name="T34" fmla="*/ 2147483647 w 46"/>
                <a:gd name="T35" fmla="*/ 2147483647 h 54"/>
                <a:gd name="T36" fmla="*/ 2147483647 w 46"/>
                <a:gd name="T37" fmla="*/ 2147483647 h 54"/>
                <a:gd name="T38" fmla="*/ 2147483647 w 46"/>
                <a:gd name="T39" fmla="*/ 2147483647 h 54"/>
                <a:gd name="T40" fmla="*/ 2147483647 w 46"/>
                <a:gd name="T41" fmla="*/ 2147483647 h 54"/>
                <a:gd name="T42" fmla="*/ 2147483647 w 46"/>
                <a:gd name="T43" fmla="*/ 2147483647 h 54"/>
                <a:gd name="T44" fmla="*/ 2147483647 w 46"/>
                <a:gd name="T45" fmla="*/ 2147483647 h 54"/>
                <a:gd name="T46" fmla="*/ 2147483647 w 46"/>
                <a:gd name="T47" fmla="*/ 2147483647 h 54"/>
                <a:gd name="T48" fmla="*/ 2147483647 w 46"/>
                <a:gd name="T49" fmla="*/ 2147483647 h 54"/>
                <a:gd name="T50" fmla="*/ 2147483647 w 46"/>
                <a:gd name="T51" fmla="*/ 2147483647 h 54"/>
                <a:gd name="T52" fmla="*/ 2147483647 w 46"/>
                <a:gd name="T53" fmla="*/ 2147483647 h 54"/>
                <a:gd name="T54" fmla="*/ 2147483647 w 46"/>
                <a:gd name="T55" fmla="*/ 2147483647 h 54"/>
                <a:gd name="T56" fmla="*/ 2147483647 w 46"/>
                <a:gd name="T57" fmla="*/ 2147483647 h 54"/>
                <a:gd name="T58" fmla="*/ 2147483647 w 46"/>
                <a:gd name="T59" fmla="*/ 2147483647 h 54"/>
                <a:gd name="T60" fmla="*/ 2147483647 w 46"/>
                <a:gd name="T61" fmla="*/ 2147483647 h 54"/>
                <a:gd name="T62" fmla="*/ 2147483647 w 46"/>
                <a:gd name="T63" fmla="*/ 2147483647 h 5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46"/>
                <a:gd name="T97" fmla="*/ 0 h 54"/>
                <a:gd name="T98" fmla="*/ 46 w 46"/>
                <a:gd name="T99" fmla="*/ 54 h 54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46" h="54">
                  <a:moveTo>
                    <a:pt x="26" y="6"/>
                  </a:moveTo>
                  <a:lnTo>
                    <a:pt x="20" y="6"/>
                  </a:lnTo>
                  <a:lnTo>
                    <a:pt x="9" y="0"/>
                  </a:lnTo>
                  <a:lnTo>
                    <a:pt x="0" y="3"/>
                  </a:lnTo>
                  <a:lnTo>
                    <a:pt x="15" y="23"/>
                  </a:lnTo>
                  <a:lnTo>
                    <a:pt x="23" y="34"/>
                  </a:lnTo>
                  <a:lnTo>
                    <a:pt x="23" y="40"/>
                  </a:lnTo>
                  <a:lnTo>
                    <a:pt x="20" y="52"/>
                  </a:lnTo>
                  <a:lnTo>
                    <a:pt x="23" y="54"/>
                  </a:lnTo>
                  <a:lnTo>
                    <a:pt x="26" y="49"/>
                  </a:lnTo>
                  <a:lnTo>
                    <a:pt x="32" y="43"/>
                  </a:lnTo>
                  <a:lnTo>
                    <a:pt x="29" y="37"/>
                  </a:lnTo>
                  <a:lnTo>
                    <a:pt x="32" y="37"/>
                  </a:lnTo>
                  <a:lnTo>
                    <a:pt x="38" y="34"/>
                  </a:lnTo>
                  <a:lnTo>
                    <a:pt x="46" y="37"/>
                  </a:lnTo>
                  <a:lnTo>
                    <a:pt x="43" y="29"/>
                  </a:lnTo>
                  <a:lnTo>
                    <a:pt x="32" y="17"/>
                  </a:lnTo>
                  <a:lnTo>
                    <a:pt x="32" y="14"/>
                  </a:lnTo>
                  <a:lnTo>
                    <a:pt x="35" y="11"/>
                  </a:lnTo>
                  <a:lnTo>
                    <a:pt x="26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39" name="Freeform 239"/>
            <p:cNvSpPr>
              <a:spLocks noChangeAspect="1"/>
            </p:cNvSpPr>
            <p:nvPr/>
          </p:nvSpPr>
          <p:spPr bwMode="gray">
            <a:xfrm>
              <a:off x="7894882" y="4199647"/>
              <a:ext cx="12784" cy="9926"/>
            </a:xfrm>
            <a:custGeom>
              <a:avLst/>
              <a:gdLst>
                <a:gd name="T0" fmla="*/ 2147483647 w 5"/>
                <a:gd name="T1" fmla="*/ 2147483647 h 3"/>
                <a:gd name="T2" fmla="*/ 2147483647 w 5"/>
                <a:gd name="T3" fmla="*/ 0 h 3"/>
                <a:gd name="T4" fmla="*/ 0 w 5"/>
                <a:gd name="T5" fmla="*/ 0 h 3"/>
                <a:gd name="T6" fmla="*/ 2147483647 w 5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3"/>
                <a:gd name="T14" fmla="*/ 5 w 5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3">
                  <a:moveTo>
                    <a:pt x="5" y="3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5" y="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40" name="Rectangle 240"/>
            <p:cNvSpPr>
              <a:spLocks noChangeAspect="1" noChangeArrowheads="1"/>
            </p:cNvSpPr>
            <p:nvPr/>
          </p:nvSpPr>
          <p:spPr bwMode="gray">
            <a:xfrm>
              <a:off x="7894882" y="4152222"/>
              <a:ext cx="4917" cy="8823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</a:pPr>
              <a:endParaRPr lang="de-DE"/>
            </a:p>
          </p:txBody>
        </p:sp>
        <p:sp>
          <p:nvSpPr>
            <p:cNvPr id="41" name="Rectangle 241"/>
            <p:cNvSpPr>
              <a:spLocks noChangeAspect="1" noChangeArrowheads="1"/>
            </p:cNvSpPr>
            <p:nvPr/>
          </p:nvSpPr>
          <p:spPr bwMode="gray">
            <a:xfrm>
              <a:off x="7973550" y="4209572"/>
              <a:ext cx="15733" cy="8823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</a:pPr>
              <a:endParaRPr lang="de-DE"/>
            </a:p>
          </p:txBody>
        </p:sp>
        <p:sp>
          <p:nvSpPr>
            <p:cNvPr id="42" name="Rectangle 242"/>
            <p:cNvSpPr>
              <a:spLocks noChangeAspect="1" noChangeArrowheads="1"/>
            </p:cNvSpPr>
            <p:nvPr/>
          </p:nvSpPr>
          <p:spPr bwMode="gray">
            <a:xfrm>
              <a:off x="7243900" y="3207036"/>
              <a:ext cx="1967" cy="4412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</a:pPr>
              <a:endParaRPr lang="de-DE"/>
            </a:p>
          </p:txBody>
        </p:sp>
        <p:sp>
          <p:nvSpPr>
            <p:cNvPr id="43" name="Freeform 245"/>
            <p:cNvSpPr>
              <a:spLocks noChangeAspect="1"/>
            </p:cNvSpPr>
            <p:nvPr/>
          </p:nvSpPr>
          <p:spPr bwMode="gray">
            <a:xfrm>
              <a:off x="6516216" y="3909584"/>
              <a:ext cx="129803" cy="282342"/>
            </a:xfrm>
            <a:custGeom>
              <a:avLst/>
              <a:gdLst>
                <a:gd name="T0" fmla="*/ 0 w 51"/>
                <a:gd name="T1" fmla="*/ 2147483647 h 98"/>
                <a:gd name="T2" fmla="*/ 2147483647 w 51"/>
                <a:gd name="T3" fmla="*/ 2147483647 h 98"/>
                <a:gd name="T4" fmla="*/ 2147483647 w 51"/>
                <a:gd name="T5" fmla="*/ 2147483647 h 98"/>
                <a:gd name="T6" fmla="*/ 2147483647 w 51"/>
                <a:gd name="T7" fmla="*/ 2147483647 h 98"/>
                <a:gd name="T8" fmla="*/ 2147483647 w 51"/>
                <a:gd name="T9" fmla="*/ 2147483647 h 98"/>
                <a:gd name="T10" fmla="*/ 2147483647 w 51"/>
                <a:gd name="T11" fmla="*/ 2147483647 h 98"/>
                <a:gd name="T12" fmla="*/ 2147483647 w 51"/>
                <a:gd name="T13" fmla="*/ 2147483647 h 98"/>
                <a:gd name="T14" fmla="*/ 2147483647 w 51"/>
                <a:gd name="T15" fmla="*/ 2147483647 h 98"/>
                <a:gd name="T16" fmla="*/ 2147483647 w 51"/>
                <a:gd name="T17" fmla="*/ 2147483647 h 98"/>
                <a:gd name="T18" fmla="*/ 2147483647 w 51"/>
                <a:gd name="T19" fmla="*/ 2147483647 h 98"/>
                <a:gd name="T20" fmla="*/ 2147483647 w 51"/>
                <a:gd name="T21" fmla="*/ 2147483647 h 98"/>
                <a:gd name="T22" fmla="*/ 2147483647 w 51"/>
                <a:gd name="T23" fmla="*/ 2147483647 h 98"/>
                <a:gd name="T24" fmla="*/ 2147483647 w 51"/>
                <a:gd name="T25" fmla="*/ 2147483647 h 98"/>
                <a:gd name="T26" fmla="*/ 2147483647 w 51"/>
                <a:gd name="T27" fmla="*/ 2147483647 h 98"/>
                <a:gd name="T28" fmla="*/ 2147483647 w 51"/>
                <a:gd name="T29" fmla="*/ 2147483647 h 98"/>
                <a:gd name="T30" fmla="*/ 2147483647 w 51"/>
                <a:gd name="T31" fmla="*/ 2147483647 h 98"/>
                <a:gd name="T32" fmla="*/ 2147483647 w 51"/>
                <a:gd name="T33" fmla="*/ 2147483647 h 98"/>
                <a:gd name="T34" fmla="*/ 2147483647 w 51"/>
                <a:gd name="T35" fmla="*/ 2147483647 h 98"/>
                <a:gd name="T36" fmla="*/ 2147483647 w 51"/>
                <a:gd name="T37" fmla="*/ 2147483647 h 98"/>
                <a:gd name="T38" fmla="*/ 2147483647 w 51"/>
                <a:gd name="T39" fmla="*/ 2147483647 h 98"/>
                <a:gd name="T40" fmla="*/ 2147483647 w 51"/>
                <a:gd name="T41" fmla="*/ 2147483647 h 98"/>
                <a:gd name="T42" fmla="*/ 2147483647 w 51"/>
                <a:gd name="T43" fmla="*/ 2147483647 h 98"/>
                <a:gd name="T44" fmla="*/ 2147483647 w 51"/>
                <a:gd name="T45" fmla="*/ 2147483647 h 98"/>
                <a:gd name="T46" fmla="*/ 2147483647 w 51"/>
                <a:gd name="T47" fmla="*/ 2147483647 h 98"/>
                <a:gd name="T48" fmla="*/ 2147483647 w 51"/>
                <a:gd name="T49" fmla="*/ 2147483647 h 98"/>
                <a:gd name="T50" fmla="*/ 2147483647 w 51"/>
                <a:gd name="T51" fmla="*/ 2147483647 h 98"/>
                <a:gd name="T52" fmla="*/ 2147483647 w 51"/>
                <a:gd name="T53" fmla="*/ 2147483647 h 98"/>
                <a:gd name="T54" fmla="*/ 2147483647 w 51"/>
                <a:gd name="T55" fmla="*/ 2147483647 h 98"/>
                <a:gd name="T56" fmla="*/ 2147483647 w 51"/>
                <a:gd name="T57" fmla="*/ 2147483647 h 98"/>
                <a:gd name="T58" fmla="*/ 2147483647 w 51"/>
                <a:gd name="T59" fmla="*/ 2147483647 h 98"/>
                <a:gd name="T60" fmla="*/ 2147483647 w 51"/>
                <a:gd name="T61" fmla="*/ 2147483647 h 98"/>
                <a:gd name="T62" fmla="*/ 2147483647 w 51"/>
                <a:gd name="T63" fmla="*/ 2147483647 h 98"/>
                <a:gd name="T64" fmla="*/ 2147483647 w 51"/>
                <a:gd name="T65" fmla="*/ 2147483647 h 98"/>
                <a:gd name="T66" fmla="*/ 2147483647 w 51"/>
                <a:gd name="T67" fmla="*/ 2147483647 h 98"/>
                <a:gd name="T68" fmla="*/ 2147483647 w 51"/>
                <a:gd name="T69" fmla="*/ 2147483647 h 98"/>
                <a:gd name="T70" fmla="*/ 2147483647 w 51"/>
                <a:gd name="T71" fmla="*/ 2147483647 h 98"/>
                <a:gd name="T72" fmla="*/ 2147483647 w 51"/>
                <a:gd name="T73" fmla="*/ 2147483647 h 98"/>
                <a:gd name="T74" fmla="*/ 2147483647 w 51"/>
                <a:gd name="T75" fmla="*/ 0 h 98"/>
                <a:gd name="T76" fmla="*/ 2147483647 w 51"/>
                <a:gd name="T77" fmla="*/ 2147483647 h 98"/>
                <a:gd name="T78" fmla="*/ 2147483647 w 51"/>
                <a:gd name="T79" fmla="*/ 2147483647 h 98"/>
                <a:gd name="T80" fmla="*/ 2147483647 w 51"/>
                <a:gd name="T81" fmla="*/ 2147483647 h 98"/>
                <a:gd name="T82" fmla="*/ 2147483647 w 51"/>
                <a:gd name="T83" fmla="*/ 2147483647 h 98"/>
                <a:gd name="T84" fmla="*/ 2147483647 w 51"/>
                <a:gd name="T85" fmla="*/ 2147483647 h 98"/>
                <a:gd name="T86" fmla="*/ 2147483647 w 51"/>
                <a:gd name="T87" fmla="*/ 2147483647 h 98"/>
                <a:gd name="T88" fmla="*/ 2147483647 w 51"/>
                <a:gd name="T89" fmla="*/ 2147483647 h 98"/>
                <a:gd name="T90" fmla="*/ 2147483647 w 51"/>
                <a:gd name="T91" fmla="*/ 2147483647 h 98"/>
                <a:gd name="T92" fmla="*/ 2147483647 w 51"/>
                <a:gd name="T93" fmla="*/ 2147483647 h 98"/>
                <a:gd name="T94" fmla="*/ 2147483647 w 51"/>
                <a:gd name="T95" fmla="*/ 2147483647 h 98"/>
                <a:gd name="T96" fmla="*/ 0 w 51"/>
                <a:gd name="T97" fmla="*/ 2147483647 h 98"/>
                <a:gd name="T98" fmla="*/ 0 w 51"/>
                <a:gd name="T99" fmla="*/ 2147483647 h 98"/>
                <a:gd name="T100" fmla="*/ 0 w 51"/>
                <a:gd name="T101" fmla="*/ 2147483647 h 98"/>
                <a:gd name="T102" fmla="*/ 0 w 51"/>
                <a:gd name="T103" fmla="*/ 2147483647 h 98"/>
                <a:gd name="T104" fmla="*/ 0 w 51"/>
                <a:gd name="T105" fmla="*/ 2147483647 h 98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1"/>
                <a:gd name="T160" fmla="*/ 0 h 98"/>
                <a:gd name="T161" fmla="*/ 51 w 51"/>
                <a:gd name="T162" fmla="*/ 98 h 98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1" h="98">
                  <a:moveTo>
                    <a:pt x="0" y="64"/>
                  </a:moveTo>
                  <a:lnTo>
                    <a:pt x="3" y="69"/>
                  </a:lnTo>
                  <a:lnTo>
                    <a:pt x="6" y="66"/>
                  </a:lnTo>
                  <a:lnTo>
                    <a:pt x="6" y="75"/>
                  </a:lnTo>
                  <a:lnTo>
                    <a:pt x="6" y="92"/>
                  </a:lnTo>
                  <a:lnTo>
                    <a:pt x="6" y="98"/>
                  </a:lnTo>
                  <a:lnTo>
                    <a:pt x="8" y="95"/>
                  </a:lnTo>
                  <a:lnTo>
                    <a:pt x="14" y="98"/>
                  </a:lnTo>
                  <a:lnTo>
                    <a:pt x="23" y="95"/>
                  </a:lnTo>
                  <a:lnTo>
                    <a:pt x="26" y="95"/>
                  </a:lnTo>
                  <a:lnTo>
                    <a:pt x="26" y="87"/>
                  </a:lnTo>
                  <a:lnTo>
                    <a:pt x="28" y="81"/>
                  </a:lnTo>
                  <a:lnTo>
                    <a:pt x="34" y="75"/>
                  </a:lnTo>
                  <a:lnTo>
                    <a:pt x="31" y="66"/>
                  </a:lnTo>
                  <a:lnTo>
                    <a:pt x="34" y="58"/>
                  </a:lnTo>
                  <a:lnTo>
                    <a:pt x="28" y="46"/>
                  </a:lnTo>
                  <a:lnTo>
                    <a:pt x="37" y="41"/>
                  </a:lnTo>
                  <a:lnTo>
                    <a:pt x="34" y="35"/>
                  </a:lnTo>
                  <a:lnTo>
                    <a:pt x="37" y="32"/>
                  </a:lnTo>
                  <a:lnTo>
                    <a:pt x="40" y="29"/>
                  </a:lnTo>
                  <a:lnTo>
                    <a:pt x="43" y="15"/>
                  </a:lnTo>
                  <a:lnTo>
                    <a:pt x="51" y="6"/>
                  </a:lnTo>
                  <a:lnTo>
                    <a:pt x="49" y="3"/>
                  </a:lnTo>
                  <a:lnTo>
                    <a:pt x="40" y="3"/>
                  </a:lnTo>
                  <a:lnTo>
                    <a:pt x="37" y="6"/>
                  </a:lnTo>
                  <a:lnTo>
                    <a:pt x="34" y="6"/>
                  </a:lnTo>
                  <a:lnTo>
                    <a:pt x="28" y="3"/>
                  </a:lnTo>
                  <a:lnTo>
                    <a:pt x="23" y="6"/>
                  </a:lnTo>
                  <a:lnTo>
                    <a:pt x="20" y="0"/>
                  </a:lnTo>
                  <a:lnTo>
                    <a:pt x="11" y="3"/>
                  </a:lnTo>
                  <a:lnTo>
                    <a:pt x="11" y="9"/>
                  </a:lnTo>
                  <a:lnTo>
                    <a:pt x="11" y="18"/>
                  </a:lnTo>
                  <a:lnTo>
                    <a:pt x="11" y="26"/>
                  </a:lnTo>
                  <a:lnTo>
                    <a:pt x="8" y="35"/>
                  </a:lnTo>
                  <a:lnTo>
                    <a:pt x="6" y="43"/>
                  </a:lnTo>
                  <a:lnTo>
                    <a:pt x="0" y="52"/>
                  </a:lnTo>
                  <a:lnTo>
                    <a:pt x="0" y="58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44" name="Freeform 247"/>
            <p:cNvSpPr>
              <a:spLocks noChangeAspect="1"/>
            </p:cNvSpPr>
            <p:nvPr/>
          </p:nvSpPr>
          <p:spPr bwMode="gray">
            <a:xfrm>
              <a:off x="7487925" y="3786832"/>
              <a:ext cx="22119" cy="7443"/>
            </a:xfrm>
            <a:custGeom>
              <a:avLst/>
              <a:gdLst>
                <a:gd name="T0" fmla="*/ 0 w 8"/>
                <a:gd name="T1" fmla="*/ 0 h 3"/>
                <a:gd name="T2" fmla="*/ 2147483647 w 8"/>
                <a:gd name="T3" fmla="*/ 2147483647 h 3"/>
                <a:gd name="T4" fmla="*/ 2147483647 w 8"/>
                <a:gd name="T5" fmla="*/ 0 h 3"/>
                <a:gd name="T6" fmla="*/ 0 w 8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3"/>
                <a:gd name="T14" fmla="*/ 8 w 8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3">
                  <a:moveTo>
                    <a:pt x="0" y="0"/>
                  </a:moveTo>
                  <a:lnTo>
                    <a:pt x="8" y="3"/>
                  </a:lnTo>
                  <a:lnTo>
                    <a:pt x="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de-DE">
                <a:latin typeface="Tele-GroteskFet" charset="0"/>
              </a:endParaRPr>
            </a:p>
          </p:txBody>
        </p:sp>
        <p:sp>
          <p:nvSpPr>
            <p:cNvPr id="45" name="Freeform 250"/>
            <p:cNvSpPr>
              <a:spLocks noChangeAspect="1"/>
            </p:cNvSpPr>
            <p:nvPr/>
          </p:nvSpPr>
          <p:spPr bwMode="gray">
            <a:xfrm>
              <a:off x="7894882" y="4077225"/>
              <a:ext cx="12784" cy="8823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2147483647 h 3"/>
                <a:gd name="T4" fmla="*/ 2147483647 w 5"/>
                <a:gd name="T5" fmla="*/ 2147483647 h 3"/>
                <a:gd name="T6" fmla="*/ 2147483647 w 5"/>
                <a:gd name="T7" fmla="*/ 0 h 3"/>
                <a:gd name="T8" fmla="*/ 0 w 5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0" y="3"/>
                  </a:moveTo>
                  <a:lnTo>
                    <a:pt x="5" y="3"/>
                  </a:lnTo>
                  <a:lnTo>
                    <a:pt x="2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46" name="Freeform 252"/>
            <p:cNvSpPr>
              <a:spLocks noChangeAspect="1"/>
            </p:cNvSpPr>
            <p:nvPr/>
          </p:nvSpPr>
          <p:spPr bwMode="gray">
            <a:xfrm>
              <a:off x="7671660" y="3183875"/>
              <a:ext cx="107186" cy="49631"/>
            </a:xfrm>
            <a:custGeom>
              <a:avLst/>
              <a:gdLst>
                <a:gd name="T0" fmla="*/ 2147483647 w 41"/>
                <a:gd name="T1" fmla="*/ 0 h 17"/>
                <a:gd name="T2" fmla="*/ 2147483647 w 41"/>
                <a:gd name="T3" fmla="*/ 0 h 17"/>
                <a:gd name="T4" fmla="*/ 2147483647 w 41"/>
                <a:gd name="T5" fmla="*/ 2147483647 h 17"/>
                <a:gd name="T6" fmla="*/ 2147483647 w 41"/>
                <a:gd name="T7" fmla="*/ 2147483647 h 17"/>
                <a:gd name="T8" fmla="*/ 2147483647 w 41"/>
                <a:gd name="T9" fmla="*/ 2147483647 h 17"/>
                <a:gd name="T10" fmla="*/ 2147483647 w 41"/>
                <a:gd name="T11" fmla="*/ 2147483647 h 17"/>
                <a:gd name="T12" fmla="*/ 0 w 41"/>
                <a:gd name="T13" fmla="*/ 2147483647 h 17"/>
                <a:gd name="T14" fmla="*/ 0 w 41"/>
                <a:gd name="T15" fmla="*/ 2147483647 h 17"/>
                <a:gd name="T16" fmla="*/ 2147483647 w 41"/>
                <a:gd name="T17" fmla="*/ 2147483647 h 17"/>
                <a:gd name="T18" fmla="*/ 2147483647 w 41"/>
                <a:gd name="T19" fmla="*/ 2147483647 h 17"/>
                <a:gd name="T20" fmla="*/ 2147483647 w 41"/>
                <a:gd name="T21" fmla="*/ 2147483647 h 17"/>
                <a:gd name="T22" fmla="*/ 2147483647 w 41"/>
                <a:gd name="T23" fmla="*/ 2147483647 h 17"/>
                <a:gd name="T24" fmla="*/ 2147483647 w 41"/>
                <a:gd name="T25" fmla="*/ 2147483647 h 17"/>
                <a:gd name="T26" fmla="*/ 2147483647 w 41"/>
                <a:gd name="T27" fmla="*/ 2147483647 h 17"/>
                <a:gd name="T28" fmla="*/ 2147483647 w 41"/>
                <a:gd name="T29" fmla="*/ 2147483647 h 17"/>
                <a:gd name="T30" fmla="*/ 2147483647 w 41"/>
                <a:gd name="T31" fmla="*/ 2147483647 h 17"/>
                <a:gd name="T32" fmla="*/ 2147483647 w 41"/>
                <a:gd name="T33" fmla="*/ 2147483647 h 17"/>
                <a:gd name="T34" fmla="*/ 2147483647 w 41"/>
                <a:gd name="T35" fmla="*/ 2147483647 h 17"/>
                <a:gd name="T36" fmla="*/ 2147483647 w 41"/>
                <a:gd name="T37" fmla="*/ 2147483647 h 17"/>
                <a:gd name="T38" fmla="*/ 2147483647 w 41"/>
                <a:gd name="T39" fmla="*/ 2147483647 h 17"/>
                <a:gd name="T40" fmla="*/ 2147483647 w 41"/>
                <a:gd name="T41" fmla="*/ 2147483647 h 17"/>
                <a:gd name="T42" fmla="*/ 2147483647 w 41"/>
                <a:gd name="T43" fmla="*/ 2147483647 h 17"/>
                <a:gd name="T44" fmla="*/ 2147483647 w 41"/>
                <a:gd name="T45" fmla="*/ 2147483647 h 17"/>
                <a:gd name="T46" fmla="*/ 2147483647 w 41"/>
                <a:gd name="T47" fmla="*/ 2147483647 h 17"/>
                <a:gd name="T48" fmla="*/ 2147483647 w 41"/>
                <a:gd name="T49" fmla="*/ 2147483647 h 17"/>
                <a:gd name="T50" fmla="*/ 2147483647 w 41"/>
                <a:gd name="T51" fmla="*/ 2147483647 h 17"/>
                <a:gd name="T52" fmla="*/ 2147483647 w 41"/>
                <a:gd name="T53" fmla="*/ 2147483647 h 17"/>
                <a:gd name="T54" fmla="*/ 2147483647 w 41"/>
                <a:gd name="T55" fmla="*/ 2147483647 h 17"/>
                <a:gd name="T56" fmla="*/ 2147483647 w 41"/>
                <a:gd name="T57" fmla="*/ 2147483647 h 17"/>
                <a:gd name="T58" fmla="*/ 2147483647 w 41"/>
                <a:gd name="T59" fmla="*/ 0 h 17"/>
                <a:gd name="T60" fmla="*/ 2147483647 w 41"/>
                <a:gd name="T61" fmla="*/ 0 h 17"/>
                <a:gd name="T62" fmla="*/ 2147483647 w 41"/>
                <a:gd name="T63" fmla="*/ 0 h 17"/>
                <a:gd name="T64" fmla="*/ 2147483647 w 41"/>
                <a:gd name="T65" fmla="*/ 0 h 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41"/>
                <a:gd name="T100" fmla="*/ 0 h 17"/>
                <a:gd name="T101" fmla="*/ 41 w 41"/>
                <a:gd name="T102" fmla="*/ 17 h 1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41" h="17">
                  <a:moveTo>
                    <a:pt x="15" y="0"/>
                  </a:moveTo>
                  <a:lnTo>
                    <a:pt x="15" y="0"/>
                  </a:lnTo>
                  <a:lnTo>
                    <a:pt x="12" y="3"/>
                  </a:lnTo>
                  <a:lnTo>
                    <a:pt x="6" y="5"/>
                  </a:lnTo>
                  <a:lnTo>
                    <a:pt x="3" y="5"/>
                  </a:lnTo>
                  <a:lnTo>
                    <a:pt x="0" y="14"/>
                  </a:lnTo>
                  <a:lnTo>
                    <a:pt x="3" y="14"/>
                  </a:lnTo>
                  <a:lnTo>
                    <a:pt x="18" y="17"/>
                  </a:lnTo>
                  <a:lnTo>
                    <a:pt x="21" y="17"/>
                  </a:lnTo>
                  <a:lnTo>
                    <a:pt x="41" y="14"/>
                  </a:lnTo>
                  <a:lnTo>
                    <a:pt x="41" y="11"/>
                  </a:lnTo>
                  <a:lnTo>
                    <a:pt x="38" y="5"/>
                  </a:lnTo>
                  <a:lnTo>
                    <a:pt x="32" y="5"/>
                  </a:lnTo>
                  <a:lnTo>
                    <a:pt x="29" y="5"/>
                  </a:lnTo>
                  <a:lnTo>
                    <a:pt x="18" y="3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47" name="Freeform 255"/>
            <p:cNvSpPr>
              <a:spLocks noChangeAspect="1"/>
            </p:cNvSpPr>
            <p:nvPr/>
          </p:nvSpPr>
          <p:spPr bwMode="gray">
            <a:xfrm>
              <a:off x="7702478" y="4032469"/>
              <a:ext cx="14376" cy="8684"/>
            </a:xfrm>
            <a:custGeom>
              <a:avLst/>
              <a:gdLst>
                <a:gd name="T0" fmla="*/ 2147483647 w 6"/>
                <a:gd name="T1" fmla="*/ 0 h 3"/>
                <a:gd name="T2" fmla="*/ 0 w 6"/>
                <a:gd name="T3" fmla="*/ 0 h 3"/>
                <a:gd name="T4" fmla="*/ 0 w 6"/>
                <a:gd name="T5" fmla="*/ 0 h 3"/>
                <a:gd name="T6" fmla="*/ 2147483647 w 6"/>
                <a:gd name="T7" fmla="*/ 2147483647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6" y="0"/>
                  </a:moveTo>
                  <a:lnTo>
                    <a:pt x="0" y="0"/>
                  </a:lnTo>
                  <a:lnTo>
                    <a:pt x="3" y="3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de-DE">
                <a:latin typeface="Tele-GroteskFet" charset="0"/>
              </a:endParaRPr>
            </a:p>
          </p:txBody>
        </p:sp>
        <p:sp>
          <p:nvSpPr>
            <p:cNvPr id="48" name="Rectangle 256"/>
            <p:cNvSpPr>
              <a:spLocks noChangeAspect="1" noChangeArrowheads="1"/>
            </p:cNvSpPr>
            <p:nvPr/>
          </p:nvSpPr>
          <p:spPr bwMode="gray">
            <a:xfrm>
              <a:off x="7702145" y="4040828"/>
              <a:ext cx="6884" cy="1102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</a:pPr>
              <a:endParaRPr lang="de-DE"/>
            </a:p>
          </p:txBody>
        </p:sp>
        <p:sp>
          <p:nvSpPr>
            <p:cNvPr id="49" name="Freeform 257"/>
            <p:cNvSpPr>
              <a:spLocks noChangeAspect="1"/>
            </p:cNvSpPr>
            <p:nvPr/>
          </p:nvSpPr>
          <p:spPr bwMode="gray">
            <a:xfrm>
              <a:off x="7694278" y="4026492"/>
              <a:ext cx="7867" cy="5515"/>
            </a:xfrm>
            <a:custGeom>
              <a:avLst/>
              <a:gdLst>
                <a:gd name="T0" fmla="*/ 0 w 3"/>
                <a:gd name="T1" fmla="*/ 0 h 2"/>
                <a:gd name="T2" fmla="*/ 2147483647 w 3"/>
                <a:gd name="T3" fmla="*/ 2147483647 h 2"/>
                <a:gd name="T4" fmla="*/ 2147483647 w 3"/>
                <a:gd name="T5" fmla="*/ 2147483647 h 2"/>
                <a:gd name="T6" fmla="*/ 0 w 3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2"/>
                <a:gd name="T14" fmla="*/ 3 w 3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2">
                  <a:moveTo>
                    <a:pt x="0" y="0"/>
                  </a:moveTo>
                  <a:lnTo>
                    <a:pt x="3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50" name="Freeform 258"/>
            <p:cNvSpPr>
              <a:spLocks noChangeAspect="1"/>
            </p:cNvSpPr>
            <p:nvPr/>
          </p:nvSpPr>
          <p:spPr bwMode="gray">
            <a:xfrm>
              <a:off x="7907666" y="4183104"/>
              <a:ext cx="7867" cy="8823"/>
            </a:xfrm>
            <a:custGeom>
              <a:avLst/>
              <a:gdLst>
                <a:gd name="T0" fmla="*/ 2147483647 w 3"/>
                <a:gd name="T1" fmla="*/ 0 h 3"/>
                <a:gd name="T2" fmla="*/ 0 w 3"/>
                <a:gd name="T3" fmla="*/ 0 h 3"/>
                <a:gd name="T4" fmla="*/ 2147483647 w 3"/>
                <a:gd name="T5" fmla="*/ 2147483647 h 3"/>
                <a:gd name="T6" fmla="*/ 2147483647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3" y="0"/>
                  </a:moveTo>
                  <a:lnTo>
                    <a:pt x="0" y="0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51" name="Freeform 259"/>
            <p:cNvSpPr>
              <a:spLocks noChangeAspect="1"/>
            </p:cNvSpPr>
            <p:nvPr/>
          </p:nvSpPr>
          <p:spPr bwMode="gray">
            <a:xfrm>
              <a:off x="7709028" y="3124318"/>
              <a:ext cx="206504" cy="134555"/>
            </a:xfrm>
            <a:custGeom>
              <a:avLst/>
              <a:gdLst>
                <a:gd name="T0" fmla="*/ 2147483647 w 80"/>
                <a:gd name="T1" fmla="*/ 2147483647 h 46"/>
                <a:gd name="T2" fmla="*/ 0 w 80"/>
                <a:gd name="T3" fmla="*/ 2147483647 h 46"/>
                <a:gd name="T4" fmla="*/ 0 w 80"/>
                <a:gd name="T5" fmla="*/ 2147483647 h 46"/>
                <a:gd name="T6" fmla="*/ 2147483647 w 80"/>
                <a:gd name="T7" fmla="*/ 2147483647 h 46"/>
                <a:gd name="T8" fmla="*/ 2147483647 w 80"/>
                <a:gd name="T9" fmla="*/ 2147483647 h 46"/>
                <a:gd name="T10" fmla="*/ 2147483647 w 80"/>
                <a:gd name="T11" fmla="*/ 2147483647 h 46"/>
                <a:gd name="T12" fmla="*/ 2147483647 w 80"/>
                <a:gd name="T13" fmla="*/ 2147483647 h 46"/>
                <a:gd name="T14" fmla="*/ 2147483647 w 80"/>
                <a:gd name="T15" fmla="*/ 2147483647 h 46"/>
                <a:gd name="T16" fmla="*/ 2147483647 w 80"/>
                <a:gd name="T17" fmla="*/ 2147483647 h 46"/>
                <a:gd name="T18" fmla="*/ 2147483647 w 80"/>
                <a:gd name="T19" fmla="*/ 2147483647 h 46"/>
                <a:gd name="T20" fmla="*/ 2147483647 w 80"/>
                <a:gd name="T21" fmla="*/ 2147483647 h 46"/>
                <a:gd name="T22" fmla="*/ 2147483647 w 80"/>
                <a:gd name="T23" fmla="*/ 2147483647 h 46"/>
                <a:gd name="T24" fmla="*/ 2147483647 w 80"/>
                <a:gd name="T25" fmla="*/ 2147483647 h 46"/>
                <a:gd name="T26" fmla="*/ 2147483647 w 80"/>
                <a:gd name="T27" fmla="*/ 2147483647 h 46"/>
                <a:gd name="T28" fmla="*/ 2147483647 w 80"/>
                <a:gd name="T29" fmla="*/ 2147483647 h 46"/>
                <a:gd name="T30" fmla="*/ 2147483647 w 80"/>
                <a:gd name="T31" fmla="*/ 2147483647 h 46"/>
                <a:gd name="T32" fmla="*/ 2147483647 w 80"/>
                <a:gd name="T33" fmla="*/ 2147483647 h 46"/>
                <a:gd name="T34" fmla="*/ 2147483647 w 80"/>
                <a:gd name="T35" fmla="*/ 2147483647 h 46"/>
                <a:gd name="T36" fmla="*/ 2147483647 w 80"/>
                <a:gd name="T37" fmla="*/ 2147483647 h 46"/>
                <a:gd name="T38" fmla="*/ 2147483647 w 80"/>
                <a:gd name="T39" fmla="*/ 2147483647 h 46"/>
                <a:gd name="T40" fmla="*/ 2147483647 w 80"/>
                <a:gd name="T41" fmla="*/ 2147483647 h 46"/>
                <a:gd name="T42" fmla="*/ 2147483647 w 80"/>
                <a:gd name="T43" fmla="*/ 2147483647 h 46"/>
                <a:gd name="T44" fmla="*/ 2147483647 w 80"/>
                <a:gd name="T45" fmla="*/ 2147483647 h 46"/>
                <a:gd name="T46" fmla="*/ 2147483647 w 80"/>
                <a:gd name="T47" fmla="*/ 0 h 46"/>
                <a:gd name="T48" fmla="*/ 2147483647 w 80"/>
                <a:gd name="T49" fmla="*/ 0 h 46"/>
                <a:gd name="T50" fmla="*/ 2147483647 w 80"/>
                <a:gd name="T51" fmla="*/ 2147483647 h 46"/>
                <a:gd name="T52" fmla="*/ 2147483647 w 80"/>
                <a:gd name="T53" fmla="*/ 2147483647 h 46"/>
                <a:gd name="T54" fmla="*/ 2147483647 w 80"/>
                <a:gd name="T55" fmla="*/ 2147483647 h 46"/>
                <a:gd name="T56" fmla="*/ 2147483647 w 80"/>
                <a:gd name="T57" fmla="*/ 2147483647 h 46"/>
                <a:gd name="T58" fmla="*/ 2147483647 w 80"/>
                <a:gd name="T59" fmla="*/ 2147483647 h 46"/>
                <a:gd name="T60" fmla="*/ 2147483647 w 80"/>
                <a:gd name="T61" fmla="*/ 2147483647 h 46"/>
                <a:gd name="T62" fmla="*/ 2147483647 w 80"/>
                <a:gd name="T63" fmla="*/ 2147483647 h 4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80"/>
                <a:gd name="T97" fmla="*/ 0 h 46"/>
                <a:gd name="T98" fmla="*/ 80 w 80"/>
                <a:gd name="T99" fmla="*/ 46 h 4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80" h="46">
                  <a:moveTo>
                    <a:pt x="6" y="5"/>
                  </a:moveTo>
                  <a:lnTo>
                    <a:pt x="6" y="5"/>
                  </a:lnTo>
                  <a:lnTo>
                    <a:pt x="0" y="8"/>
                  </a:lnTo>
                  <a:lnTo>
                    <a:pt x="0" y="11"/>
                  </a:lnTo>
                  <a:lnTo>
                    <a:pt x="3" y="17"/>
                  </a:lnTo>
                  <a:lnTo>
                    <a:pt x="6" y="20"/>
                  </a:lnTo>
                  <a:lnTo>
                    <a:pt x="8" y="20"/>
                  </a:lnTo>
                  <a:lnTo>
                    <a:pt x="14" y="23"/>
                  </a:lnTo>
                  <a:lnTo>
                    <a:pt x="17" y="23"/>
                  </a:lnTo>
                  <a:lnTo>
                    <a:pt x="23" y="23"/>
                  </a:lnTo>
                  <a:lnTo>
                    <a:pt x="26" y="25"/>
                  </a:lnTo>
                  <a:lnTo>
                    <a:pt x="29" y="28"/>
                  </a:lnTo>
                  <a:lnTo>
                    <a:pt x="31" y="28"/>
                  </a:lnTo>
                  <a:lnTo>
                    <a:pt x="31" y="31"/>
                  </a:lnTo>
                  <a:lnTo>
                    <a:pt x="29" y="37"/>
                  </a:lnTo>
                  <a:lnTo>
                    <a:pt x="37" y="40"/>
                  </a:lnTo>
                  <a:lnTo>
                    <a:pt x="40" y="46"/>
                  </a:lnTo>
                  <a:lnTo>
                    <a:pt x="46" y="43"/>
                  </a:lnTo>
                  <a:lnTo>
                    <a:pt x="54" y="43"/>
                  </a:lnTo>
                  <a:lnTo>
                    <a:pt x="57" y="40"/>
                  </a:lnTo>
                  <a:lnTo>
                    <a:pt x="60" y="40"/>
                  </a:lnTo>
                  <a:lnTo>
                    <a:pt x="66" y="37"/>
                  </a:lnTo>
                  <a:lnTo>
                    <a:pt x="66" y="40"/>
                  </a:lnTo>
                  <a:lnTo>
                    <a:pt x="69" y="37"/>
                  </a:lnTo>
                  <a:lnTo>
                    <a:pt x="66" y="34"/>
                  </a:lnTo>
                  <a:lnTo>
                    <a:pt x="69" y="25"/>
                  </a:lnTo>
                  <a:lnTo>
                    <a:pt x="74" y="23"/>
                  </a:lnTo>
                  <a:lnTo>
                    <a:pt x="80" y="23"/>
                  </a:lnTo>
                  <a:lnTo>
                    <a:pt x="80" y="20"/>
                  </a:lnTo>
                  <a:lnTo>
                    <a:pt x="77" y="17"/>
                  </a:lnTo>
                  <a:lnTo>
                    <a:pt x="77" y="14"/>
                  </a:lnTo>
                  <a:lnTo>
                    <a:pt x="66" y="8"/>
                  </a:lnTo>
                  <a:lnTo>
                    <a:pt x="57" y="5"/>
                  </a:lnTo>
                  <a:lnTo>
                    <a:pt x="51" y="0"/>
                  </a:lnTo>
                  <a:lnTo>
                    <a:pt x="43" y="0"/>
                  </a:lnTo>
                  <a:lnTo>
                    <a:pt x="31" y="3"/>
                  </a:lnTo>
                  <a:lnTo>
                    <a:pt x="29" y="3"/>
                  </a:lnTo>
                  <a:lnTo>
                    <a:pt x="17" y="3"/>
                  </a:lnTo>
                  <a:lnTo>
                    <a:pt x="14" y="3"/>
                  </a:lnTo>
                  <a:lnTo>
                    <a:pt x="6" y="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52" name="Freeform 260"/>
            <p:cNvSpPr>
              <a:spLocks noChangeAspect="1"/>
            </p:cNvSpPr>
            <p:nvPr/>
          </p:nvSpPr>
          <p:spPr bwMode="gray">
            <a:xfrm>
              <a:off x="7930283" y="4174279"/>
              <a:ext cx="23600" cy="17646"/>
            </a:xfrm>
            <a:custGeom>
              <a:avLst/>
              <a:gdLst>
                <a:gd name="T0" fmla="*/ 2147483647 w 9"/>
                <a:gd name="T1" fmla="*/ 0 h 6"/>
                <a:gd name="T2" fmla="*/ 0 w 9"/>
                <a:gd name="T3" fmla="*/ 2147483647 h 6"/>
                <a:gd name="T4" fmla="*/ 2147483647 w 9"/>
                <a:gd name="T5" fmla="*/ 2147483647 h 6"/>
                <a:gd name="T6" fmla="*/ 2147483647 w 9"/>
                <a:gd name="T7" fmla="*/ 0 h 6"/>
                <a:gd name="T8" fmla="*/ 2147483647 w 9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6"/>
                <a:gd name="T17" fmla="*/ 9 w 9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6">
                  <a:moveTo>
                    <a:pt x="3" y="0"/>
                  </a:moveTo>
                  <a:lnTo>
                    <a:pt x="0" y="3"/>
                  </a:lnTo>
                  <a:lnTo>
                    <a:pt x="6" y="6"/>
                  </a:lnTo>
                  <a:lnTo>
                    <a:pt x="9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53" name="Freeform 261"/>
            <p:cNvSpPr>
              <a:spLocks noChangeAspect="1"/>
            </p:cNvSpPr>
            <p:nvPr/>
          </p:nvSpPr>
          <p:spPr bwMode="gray">
            <a:xfrm>
              <a:off x="7907666" y="4134575"/>
              <a:ext cx="22617" cy="26470"/>
            </a:xfrm>
            <a:custGeom>
              <a:avLst/>
              <a:gdLst>
                <a:gd name="T0" fmla="*/ 2147483647 w 9"/>
                <a:gd name="T1" fmla="*/ 2147483647 h 9"/>
                <a:gd name="T2" fmla="*/ 2147483647 w 9"/>
                <a:gd name="T3" fmla="*/ 2147483647 h 9"/>
                <a:gd name="T4" fmla="*/ 2147483647 w 9"/>
                <a:gd name="T5" fmla="*/ 2147483647 h 9"/>
                <a:gd name="T6" fmla="*/ 2147483647 w 9"/>
                <a:gd name="T7" fmla="*/ 2147483647 h 9"/>
                <a:gd name="T8" fmla="*/ 2147483647 w 9"/>
                <a:gd name="T9" fmla="*/ 0 h 9"/>
                <a:gd name="T10" fmla="*/ 0 w 9"/>
                <a:gd name="T11" fmla="*/ 2147483647 h 9"/>
                <a:gd name="T12" fmla="*/ 2147483647 w 9"/>
                <a:gd name="T13" fmla="*/ 2147483647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9"/>
                <a:gd name="T23" fmla="*/ 9 w 9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9">
                  <a:moveTo>
                    <a:pt x="6" y="9"/>
                  </a:moveTo>
                  <a:lnTo>
                    <a:pt x="9" y="6"/>
                  </a:lnTo>
                  <a:lnTo>
                    <a:pt x="9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6" y="9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54" name="Freeform 262"/>
            <p:cNvSpPr>
              <a:spLocks noChangeAspect="1"/>
            </p:cNvSpPr>
            <p:nvPr/>
          </p:nvSpPr>
          <p:spPr bwMode="gray">
            <a:xfrm>
              <a:off x="7915533" y="4040828"/>
              <a:ext cx="7867" cy="11029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2147483647 h 3"/>
                <a:gd name="T4" fmla="*/ 2147483647 w 3"/>
                <a:gd name="T5" fmla="*/ 2147483647 h 3"/>
                <a:gd name="T6" fmla="*/ 0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55" name="Freeform 263"/>
            <p:cNvSpPr>
              <a:spLocks noChangeAspect="1"/>
            </p:cNvSpPr>
            <p:nvPr/>
          </p:nvSpPr>
          <p:spPr bwMode="gray">
            <a:xfrm>
              <a:off x="7939134" y="4199647"/>
              <a:ext cx="7867" cy="9926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0 h 3"/>
                <a:gd name="T4" fmla="*/ 0 w 3"/>
                <a:gd name="T5" fmla="*/ 0 h 3"/>
                <a:gd name="T6" fmla="*/ 0 w 3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56" name="Freeform 264"/>
            <p:cNvSpPr>
              <a:spLocks noChangeAspect="1"/>
            </p:cNvSpPr>
            <p:nvPr/>
          </p:nvSpPr>
          <p:spPr bwMode="gray">
            <a:xfrm>
              <a:off x="7835881" y="4218396"/>
              <a:ext cx="13767" cy="13234"/>
            </a:xfrm>
            <a:custGeom>
              <a:avLst/>
              <a:gdLst>
                <a:gd name="T0" fmla="*/ 0 w 5"/>
                <a:gd name="T1" fmla="*/ 2147483647 h 5"/>
                <a:gd name="T2" fmla="*/ 2147483647 w 5"/>
                <a:gd name="T3" fmla="*/ 2147483647 h 5"/>
                <a:gd name="T4" fmla="*/ 2147483647 w 5"/>
                <a:gd name="T5" fmla="*/ 0 h 5"/>
                <a:gd name="T6" fmla="*/ 0 w 5"/>
                <a:gd name="T7" fmla="*/ 2147483647 h 5"/>
                <a:gd name="T8" fmla="*/ 0 w 5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5"/>
                <a:gd name="T17" fmla="*/ 5 w 5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5">
                  <a:moveTo>
                    <a:pt x="0" y="5"/>
                  </a:moveTo>
                  <a:lnTo>
                    <a:pt x="5" y="5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57" name="Freeform 265"/>
            <p:cNvSpPr>
              <a:spLocks noChangeAspect="1"/>
            </p:cNvSpPr>
            <p:nvPr/>
          </p:nvSpPr>
          <p:spPr bwMode="gray">
            <a:xfrm>
              <a:off x="7671660" y="3878702"/>
              <a:ext cx="81618" cy="153304"/>
            </a:xfrm>
            <a:custGeom>
              <a:avLst/>
              <a:gdLst>
                <a:gd name="T0" fmla="*/ 2147483647 w 32"/>
                <a:gd name="T1" fmla="*/ 2147483647 h 54"/>
                <a:gd name="T2" fmla="*/ 2147483647 w 32"/>
                <a:gd name="T3" fmla="*/ 2147483647 h 54"/>
                <a:gd name="T4" fmla="*/ 2147483647 w 32"/>
                <a:gd name="T5" fmla="*/ 2147483647 h 54"/>
                <a:gd name="T6" fmla="*/ 2147483647 w 32"/>
                <a:gd name="T7" fmla="*/ 2147483647 h 54"/>
                <a:gd name="T8" fmla="*/ 2147483647 w 32"/>
                <a:gd name="T9" fmla="*/ 2147483647 h 54"/>
                <a:gd name="T10" fmla="*/ 2147483647 w 32"/>
                <a:gd name="T11" fmla="*/ 2147483647 h 54"/>
                <a:gd name="T12" fmla="*/ 2147483647 w 32"/>
                <a:gd name="T13" fmla="*/ 2147483647 h 54"/>
                <a:gd name="T14" fmla="*/ 2147483647 w 32"/>
                <a:gd name="T15" fmla="*/ 2147483647 h 54"/>
                <a:gd name="T16" fmla="*/ 2147483647 w 32"/>
                <a:gd name="T17" fmla="*/ 2147483647 h 54"/>
                <a:gd name="T18" fmla="*/ 2147483647 w 32"/>
                <a:gd name="T19" fmla="*/ 2147483647 h 54"/>
                <a:gd name="T20" fmla="*/ 2147483647 w 32"/>
                <a:gd name="T21" fmla="*/ 2147483647 h 54"/>
                <a:gd name="T22" fmla="*/ 2147483647 w 32"/>
                <a:gd name="T23" fmla="*/ 0 h 54"/>
                <a:gd name="T24" fmla="*/ 2147483647 w 32"/>
                <a:gd name="T25" fmla="*/ 2147483647 h 54"/>
                <a:gd name="T26" fmla="*/ 2147483647 w 32"/>
                <a:gd name="T27" fmla="*/ 2147483647 h 54"/>
                <a:gd name="T28" fmla="*/ 2147483647 w 32"/>
                <a:gd name="T29" fmla="*/ 2147483647 h 54"/>
                <a:gd name="T30" fmla="*/ 2147483647 w 32"/>
                <a:gd name="T31" fmla="*/ 2147483647 h 54"/>
                <a:gd name="T32" fmla="*/ 0 w 32"/>
                <a:gd name="T33" fmla="*/ 2147483647 h 54"/>
                <a:gd name="T34" fmla="*/ 2147483647 w 32"/>
                <a:gd name="T35" fmla="*/ 2147483647 h 54"/>
                <a:gd name="T36" fmla="*/ 2147483647 w 32"/>
                <a:gd name="T37" fmla="*/ 2147483647 h 54"/>
                <a:gd name="T38" fmla="*/ 2147483647 w 32"/>
                <a:gd name="T39" fmla="*/ 2147483647 h 54"/>
                <a:gd name="T40" fmla="*/ 2147483647 w 32"/>
                <a:gd name="T41" fmla="*/ 2147483647 h 54"/>
                <a:gd name="T42" fmla="*/ 2147483647 w 32"/>
                <a:gd name="T43" fmla="*/ 2147483647 h 54"/>
                <a:gd name="T44" fmla="*/ 2147483647 w 32"/>
                <a:gd name="T45" fmla="*/ 2147483647 h 54"/>
                <a:gd name="T46" fmla="*/ 2147483647 w 32"/>
                <a:gd name="T47" fmla="*/ 2147483647 h 54"/>
                <a:gd name="T48" fmla="*/ 2147483647 w 32"/>
                <a:gd name="T49" fmla="*/ 2147483647 h 5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2"/>
                <a:gd name="T76" fmla="*/ 0 h 54"/>
                <a:gd name="T77" fmla="*/ 32 w 32"/>
                <a:gd name="T78" fmla="*/ 54 h 54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2" h="54">
                  <a:moveTo>
                    <a:pt x="18" y="54"/>
                  </a:moveTo>
                  <a:lnTo>
                    <a:pt x="21" y="49"/>
                  </a:lnTo>
                  <a:lnTo>
                    <a:pt x="23" y="43"/>
                  </a:lnTo>
                  <a:lnTo>
                    <a:pt x="32" y="37"/>
                  </a:lnTo>
                  <a:lnTo>
                    <a:pt x="32" y="34"/>
                  </a:lnTo>
                  <a:lnTo>
                    <a:pt x="29" y="34"/>
                  </a:lnTo>
                  <a:lnTo>
                    <a:pt x="23" y="29"/>
                  </a:lnTo>
                  <a:lnTo>
                    <a:pt x="23" y="20"/>
                  </a:lnTo>
                  <a:lnTo>
                    <a:pt x="23" y="11"/>
                  </a:lnTo>
                  <a:lnTo>
                    <a:pt x="18" y="6"/>
                  </a:lnTo>
                  <a:lnTo>
                    <a:pt x="15" y="0"/>
                  </a:lnTo>
                  <a:lnTo>
                    <a:pt x="9" y="6"/>
                  </a:lnTo>
                  <a:lnTo>
                    <a:pt x="9" y="3"/>
                  </a:lnTo>
                  <a:lnTo>
                    <a:pt x="6" y="6"/>
                  </a:lnTo>
                  <a:lnTo>
                    <a:pt x="0" y="11"/>
                  </a:lnTo>
                  <a:lnTo>
                    <a:pt x="6" y="14"/>
                  </a:lnTo>
                  <a:lnTo>
                    <a:pt x="6" y="20"/>
                  </a:lnTo>
                  <a:lnTo>
                    <a:pt x="6" y="34"/>
                  </a:lnTo>
                  <a:lnTo>
                    <a:pt x="6" y="46"/>
                  </a:lnTo>
                  <a:lnTo>
                    <a:pt x="12" y="46"/>
                  </a:lnTo>
                  <a:lnTo>
                    <a:pt x="15" y="52"/>
                  </a:lnTo>
                  <a:lnTo>
                    <a:pt x="18" y="5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58" name="Freeform 266"/>
            <p:cNvSpPr>
              <a:spLocks noChangeAspect="1"/>
            </p:cNvSpPr>
            <p:nvPr/>
          </p:nvSpPr>
          <p:spPr bwMode="gray">
            <a:xfrm>
              <a:off x="7737545" y="3904069"/>
              <a:ext cx="83585" cy="62865"/>
            </a:xfrm>
            <a:custGeom>
              <a:avLst/>
              <a:gdLst>
                <a:gd name="T0" fmla="*/ 2147483647 w 32"/>
                <a:gd name="T1" fmla="*/ 2147483647 h 22"/>
                <a:gd name="T2" fmla="*/ 2147483647 w 32"/>
                <a:gd name="T3" fmla="*/ 2147483647 h 22"/>
                <a:gd name="T4" fmla="*/ 2147483647 w 32"/>
                <a:gd name="T5" fmla="*/ 2147483647 h 22"/>
                <a:gd name="T6" fmla="*/ 2147483647 w 32"/>
                <a:gd name="T7" fmla="*/ 2147483647 h 22"/>
                <a:gd name="T8" fmla="*/ 2147483647 w 32"/>
                <a:gd name="T9" fmla="*/ 0 h 22"/>
                <a:gd name="T10" fmla="*/ 2147483647 w 32"/>
                <a:gd name="T11" fmla="*/ 0 h 22"/>
                <a:gd name="T12" fmla="*/ 2147483647 w 32"/>
                <a:gd name="T13" fmla="*/ 0 h 22"/>
                <a:gd name="T14" fmla="*/ 0 w 32"/>
                <a:gd name="T15" fmla="*/ 2147483647 h 22"/>
                <a:gd name="T16" fmla="*/ 0 w 32"/>
                <a:gd name="T17" fmla="*/ 2147483647 h 22"/>
                <a:gd name="T18" fmla="*/ 2147483647 w 32"/>
                <a:gd name="T19" fmla="*/ 2147483647 h 22"/>
                <a:gd name="T20" fmla="*/ 2147483647 w 32"/>
                <a:gd name="T21" fmla="*/ 2147483647 h 22"/>
                <a:gd name="T22" fmla="*/ 2147483647 w 32"/>
                <a:gd name="T23" fmla="*/ 2147483647 h 2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2"/>
                <a:gd name="T37" fmla="*/ 0 h 22"/>
                <a:gd name="T38" fmla="*/ 32 w 32"/>
                <a:gd name="T39" fmla="*/ 22 h 22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2" h="22">
                  <a:moveTo>
                    <a:pt x="20" y="17"/>
                  </a:moveTo>
                  <a:lnTo>
                    <a:pt x="32" y="14"/>
                  </a:lnTo>
                  <a:lnTo>
                    <a:pt x="32" y="8"/>
                  </a:lnTo>
                  <a:lnTo>
                    <a:pt x="32" y="2"/>
                  </a:lnTo>
                  <a:lnTo>
                    <a:pt x="23" y="0"/>
                  </a:lnTo>
                  <a:lnTo>
                    <a:pt x="15" y="0"/>
                  </a:lnTo>
                  <a:lnTo>
                    <a:pt x="9" y="0"/>
                  </a:lnTo>
                  <a:lnTo>
                    <a:pt x="0" y="2"/>
                  </a:lnTo>
                  <a:lnTo>
                    <a:pt x="0" y="20"/>
                  </a:lnTo>
                  <a:lnTo>
                    <a:pt x="6" y="22"/>
                  </a:lnTo>
                  <a:lnTo>
                    <a:pt x="15" y="22"/>
                  </a:lnTo>
                  <a:lnTo>
                    <a:pt x="20" y="17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59" name="Freeform 267"/>
            <p:cNvSpPr>
              <a:spLocks noChangeAspect="1"/>
            </p:cNvSpPr>
            <p:nvPr/>
          </p:nvSpPr>
          <p:spPr bwMode="gray">
            <a:xfrm>
              <a:off x="7730663" y="4101487"/>
              <a:ext cx="22617" cy="24264"/>
            </a:xfrm>
            <a:custGeom>
              <a:avLst/>
              <a:gdLst>
                <a:gd name="T0" fmla="*/ 2147483647 w 9"/>
                <a:gd name="T1" fmla="*/ 2147483647 h 9"/>
                <a:gd name="T2" fmla="*/ 2147483647 w 9"/>
                <a:gd name="T3" fmla="*/ 0 h 9"/>
                <a:gd name="T4" fmla="*/ 0 w 9"/>
                <a:gd name="T5" fmla="*/ 2147483647 h 9"/>
                <a:gd name="T6" fmla="*/ 2147483647 w 9"/>
                <a:gd name="T7" fmla="*/ 2147483647 h 9"/>
                <a:gd name="T8" fmla="*/ 2147483647 w 9"/>
                <a:gd name="T9" fmla="*/ 2147483647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9"/>
                <a:gd name="T17" fmla="*/ 9 w 9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9">
                  <a:moveTo>
                    <a:pt x="9" y="9"/>
                  </a:moveTo>
                  <a:lnTo>
                    <a:pt x="3" y="0"/>
                  </a:lnTo>
                  <a:lnTo>
                    <a:pt x="0" y="6"/>
                  </a:lnTo>
                  <a:lnTo>
                    <a:pt x="6" y="9"/>
                  </a:lnTo>
                  <a:lnTo>
                    <a:pt x="9" y="9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60" name="Freeform 268"/>
            <p:cNvSpPr>
              <a:spLocks noChangeAspect="1"/>
            </p:cNvSpPr>
            <p:nvPr/>
          </p:nvSpPr>
          <p:spPr bwMode="gray">
            <a:xfrm>
              <a:off x="7770980" y="4118031"/>
              <a:ext cx="86535" cy="100364"/>
            </a:xfrm>
            <a:custGeom>
              <a:avLst/>
              <a:gdLst>
                <a:gd name="T0" fmla="*/ 2147483647 w 34"/>
                <a:gd name="T1" fmla="*/ 2147483647 h 35"/>
                <a:gd name="T2" fmla="*/ 2147483647 w 34"/>
                <a:gd name="T3" fmla="*/ 2147483647 h 35"/>
                <a:gd name="T4" fmla="*/ 2147483647 w 34"/>
                <a:gd name="T5" fmla="*/ 2147483647 h 35"/>
                <a:gd name="T6" fmla="*/ 2147483647 w 34"/>
                <a:gd name="T7" fmla="*/ 2147483647 h 35"/>
                <a:gd name="T8" fmla="*/ 2147483647 w 34"/>
                <a:gd name="T9" fmla="*/ 2147483647 h 35"/>
                <a:gd name="T10" fmla="*/ 2147483647 w 34"/>
                <a:gd name="T11" fmla="*/ 0 h 35"/>
                <a:gd name="T12" fmla="*/ 2147483647 w 34"/>
                <a:gd name="T13" fmla="*/ 0 h 35"/>
                <a:gd name="T14" fmla="*/ 2147483647 w 34"/>
                <a:gd name="T15" fmla="*/ 0 h 35"/>
                <a:gd name="T16" fmla="*/ 2147483647 w 34"/>
                <a:gd name="T17" fmla="*/ 0 h 35"/>
                <a:gd name="T18" fmla="*/ 2147483647 w 34"/>
                <a:gd name="T19" fmla="*/ 2147483647 h 35"/>
                <a:gd name="T20" fmla="*/ 0 w 34"/>
                <a:gd name="T21" fmla="*/ 2147483647 h 35"/>
                <a:gd name="T22" fmla="*/ 0 w 34"/>
                <a:gd name="T23" fmla="*/ 2147483647 h 35"/>
                <a:gd name="T24" fmla="*/ 2147483647 w 34"/>
                <a:gd name="T25" fmla="*/ 2147483647 h 35"/>
                <a:gd name="T26" fmla="*/ 2147483647 w 34"/>
                <a:gd name="T27" fmla="*/ 2147483647 h 35"/>
                <a:gd name="T28" fmla="*/ 2147483647 w 34"/>
                <a:gd name="T29" fmla="*/ 2147483647 h 35"/>
                <a:gd name="T30" fmla="*/ 2147483647 w 34"/>
                <a:gd name="T31" fmla="*/ 2147483647 h 35"/>
                <a:gd name="T32" fmla="*/ 2147483647 w 34"/>
                <a:gd name="T33" fmla="*/ 2147483647 h 35"/>
                <a:gd name="T34" fmla="*/ 2147483647 w 34"/>
                <a:gd name="T35" fmla="*/ 2147483647 h 35"/>
                <a:gd name="T36" fmla="*/ 2147483647 w 34"/>
                <a:gd name="T37" fmla="*/ 2147483647 h 35"/>
                <a:gd name="T38" fmla="*/ 2147483647 w 34"/>
                <a:gd name="T39" fmla="*/ 2147483647 h 35"/>
                <a:gd name="T40" fmla="*/ 2147483647 w 34"/>
                <a:gd name="T41" fmla="*/ 2147483647 h 35"/>
                <a:gd name="T42" fmla="*/ 2147483647 w 34"/>
                <a:gd name="T43" fmla="*/ 2147483647 h 35"/>
                <a:gd name="T44" fmla="*/ 2147483647 w 34"/>
                <a:gd name="T45" fmla="*/ 2147483647 h 35"/>
                <a:gd name="T46" fmla="*/ 2147483647 w 34"/>
                <a:gd name="T47" fmla="*/ 2147483647 h 35"/>
                <a:gd name="T48" fmla="*/ 2147483647 w 34"/>
                <a:gd name="T49" fmla="*/ 2147483647 h 35"/>
                <a:gd name="T50" fmla="*/ 2147483647 w 34"/>
                <a:gd name="T51" fmla="*/ 2147483647 h 35"/>
                <a:gd name="T52" fmla="*/ 2147483647 w 34"/>
                <a:gd name="T53" fmla="*/ 2147483647 h 35"/>
                <a:gd name="T54" fmla="*/ 2147483647 w 34"/>
                <a:gd name="T55" fmla="*/ 2147483647 h 35"/>
                <a:gd name="T56" fmla="*/ 2147483647 w 34"/>
                <a:gd name="T57" fmla="*/ 2147483647 h 35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4"/>
                <a:gd name="T88" fmla="*/ 0 h 35"/>
                <a:gd name="T89" fmla="*/ 34 w 34"/>
                <a:gd name="T90" fmla="*/ 35 h 35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4" h="35">
                  <a:moveTo>
                    <a:pt x="34" y="15"/>
                  </a:moveTo>
                  <a:lnTo>
                    <a:pt x="34" y="15"/>
                  </a:lnTo>
                  <a:lnTo>
                    <a:pt x="31" y="12"/>
                  </a:lnTo>
                  <a:lnTo>
                    <a:pt x="26" y="6"/>
                  </a:lnTo>
                  <a:lnTo>
                    <a:pt x="17" y="0"/>
                  </a:lnTo>
                  <a:lnTo>
                    <a:pt x="14" y="0"/>
                  </a:lnTo>
                  <a:lnTo>
                    <a:pt x="8" y="0"/>
                  </a:lnTo>
                  <a:lnTo>
                    <a:pt x="3" y="3"/>
                  </a:lnTo>
                  <a:lnTo>
                    <a:pt x="0" y="9"/>
                  </a:lnTo>
                  <a:lnTo>
                    <a:pt x="3" y="9"/>
                  </a:lnTo>
                  <a:lnTo>
                    <a:pt x="6" y="9"/>
                  </a:lnTo>
                  <a:lnTo>
                    <a:pt x="6" y="12"/>
                  </a:lnTo>
                  <a:lnTo>
                    <a:pt x="8" y="17"/>
                  </a:lnTo>
                  <a:lnTo>
                    <a:pt x="6" y="20"/>
                  </a:lnTo>
                  <a:lnTo>
                    <a:pt x="8" y="29"/>
                  </a:lnTo>
                  <a:lnTo>
                    <a:pt x="14" y="20"/>
                  </a:lnTo>
                  <a:lnTo>
                    <a:pt x="17" y="32"/>
                  </a:lnTo>
                  <a:lnTo>
                    <a:pt x="20" y="26"/>
                  </a:lnTo>
                  <a:lnTo>
                    <a:pt x="23" y="29"/>
                  </a:lnTo>
                  <a:lnTo>
                    <a:pt x="28" y="35"/>
                  </a:lnTo>
                  <a:lnTo>
                    <a:pt x="34" y="35"/>
                  </a:lnTo>
                  <a:lnTo>
                    <a:pt x="28" y="23"/>
                  </a:lnTo>
                  <a:lnTo>
                    <a:pt x="26" y="17"/>
                  </a:lnTo>
                  <a:lnTo>
                    <a:pt x="26" y="15"/>
                  </a:lnTo>
                  <a:lnTo>
                    <a:pt x="34" y="1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61" name="Freeform 304"/>
            <p:cNvSpPr>
              <a:spLocks noChangeAspect="1"/>
            </p:cNvSpPr>
            <p:nvPr/>
          </p:nvSpPr>
          <p:spPr bwMode="gray">
            <a:xfrm>
              <a:off x="6530967" y="3193802"/>
              <a:ext cx="174054" cy="196316"/>
            </a:xfrm>
            <a:custGeom>
              <a:avLst/>
              <a:gdLst>
                <a:gd name="T0" fmla="*/ 0 w 68"/>
                <a:gd name="T1" fmla="*/ 2147483647 h 69"/>
                <a:gd name="T2" fmla="*/ 2147483647 w 68"/>
                <a:gd name="T3" fmla="*/ 2147483647 h 69"/>
                <a:gd name="T4" fmla="*/ 2147483647 w 68"/>
                <a:gd name="T5" fmla="*/ 2147483647 h 69"/>
                <a:gd name="T6" fmla="*/ 2147483647 w 68"/>
                <a:gd name="T7" fmla="*/ 2147483647 h 69"/>
                <a:gd name="T8" fmla="*/ 2147483647 w 68"/>
                <a:gd name="T9" fmla="*/ 2147483647 h 69"/>
                <a:gd name="T10" fmla="*/ 2147483647 w 68"/>
                <a:gd name="T11" fmla="*/ 2147483647 h 69"/>
                <a:gd name="T12" fmla="*/ 2147483647 w 68"/>
                <a:gd name="T13" fmla="*/ 2147483647 h 69"/>
                <a:gd name="T14" fmla="*/ 2147483647 w 68"/>
                <a:gd name="T15" fmla="*/ 2147483647 h 69"/>
                <a:gd name="T16" fmla="*/ 2147483647 w 68"/>
                <a:gd name="T17" fmla="*/ 2147483647 h 69"/>
                <a:gd name="T18" fmla="*/ 2147483647 w 68"/>
                <a:gd name="T19" fmla="*/ 2147483647 h 69"/>
                <a:gd name="T20" fmla="*/ 2147483647 w 68"/>
                <a:gd name="T21" fmla="*/ 2147483647 h 69"/>
                <a:gd name="T22" fmla="*/ 2147483647 w 68"/>
                <a:gd name="T23" fmla="*/ 2147483647 h 69"/>
                <a:gd name="T24" fmla="*/ 2147483647 w 68"/>
                <a:gd name="T25" fmla="*/ 2147483647 h 69"/>
                <a:gd name="T26" fmla="*/ 2147483647 w 68"/>
                <a:gd name="T27" fmla="*/ 2147483647 h 69"/>
                <a:gd name="T28" fmla="*/ 2147483647 w 68"/>
                <a:gd name="T29" fmla="*/ 2147483647 h 69"/>
                <a:gd name="T30" fmla="*/ 2147483647 w 68"/>
                <a:gd name="T31" fmla="*/ 2147483647 h 69"/>
                <a:gd name="T32" fmla="*/ 2147483647 w 68"/>
                <a:gd name="T33" fmla="*/ 2147483647 h 69"/>
                <a:gd name="T34" fmla="*/ 2147483647 w 68"/>
                <a:gd name="T35" fmla="*/ 2147483647 h 69"/>
                <a:gd name="T36" fmla="*/ 2147483647 w 68"/>
                <a:gd name="T37" fmla="*/ 2147483647 h 69"/>
                <a:gd name="T38" fmla="*/ 2147483647 w 68"/>
                <a:gd name="T39" fmla="*/ 0 h 69"/>
                <a:gd name="T40" fmla="*/ 2147483647 w 68"/>
                <a:gd name="T41" fmla="*/ 2147483647 h 69"/>
                <a:gd name="T42" fmla="*/ 2147483647 w 68"/>
                <a:gd name="T43" fmla="*/ 2147483647 h 69"/>
                <a:gd name="T44" fmla="*/ 2147483647 w 68"/>
                <a:gd name="T45" fmla="*/ 2147483647 h 69"/>
                <a:gd name="T46" fmla="*/ 2147483647 w 68"/>
                <a:gd name="T47" fmla="*/ 2147483647 h 69"/>
                <a:gd name="T48" fmla="*/ 2147483647 w 68"/>
                <a:gd name="T49" fmla="*/ 2147483647 h 69"/>
                <a:gd name="T50" fmla="*/ 2147483647 w 68"/>
                <a:gd name="T51" fmla="*/ 2147483647 h 69"/>
                <a:gd name="T52" fmla="*/ 2147483647 w 68"/>
                <a:gd name="T53" fmla="*/ 2147483647 h 69"/>
                <a:gd name="T54" fmla="*/ 2147483647 w 68"/>
                <a:gd name="T55" fmla="*/ 2147483647 h 69"/>
                <a:gd name="T56" fmla="*/ 2147483647 w 68"/>
                <a:gd name="T57" fmla="*/ 2147483647 h 69"/>
                <a:gd name="T58" fmla="*/ 2147483647 w 68"/>
                <a:gd name="T59" fmla="*/ 2147483647 h 69"/>
                <a:gd name="T60" fmla="*/ 2147483647 w 68"/>
                <a:gd name="T61" fmla="*/ 2147483647 h 69"/>
                <a:gd name="T62" fmla="*/ 2147483647 w 68"/>
                <a:gd name="T63" fmla="*/ 2147483647 h 69"/>
                <a:gd name="T64" fmla="*/ 2147483647 w 68"/>
                <a:gd name="T65" fmla="*/ 2147483647 h 6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68"/>
                <a:gd name="T100" fmla="*/ 0 h 69"/>
                <a:gd name="T101" fmla="*/ 68 w 68"/>
                <a:gd name="T102" fmla="*/ 69 h 69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68" h="69">
                  <a:moveTo>
                    <a:pt x="8" y="48"/>
                  </a:moveTo>
                  <a:lnTo>
                    <a:pt x="0" y="57"/>
                  </a:lnTo>
                  <a:lnTo>
                    <a:pt x="5" y="66"/>
                  </a:lnTo>
                  <a:lnTo>
                    <a:pt x="11" y="60"/>
                  </a:lnTo>
                  <a:lnTo>
                    <a:pt x="11" y="66"/>
                  </a:lnTo>
                  <a:lnTo>
                    <a:pt x="20" y="69"/>
                  </a:lnTo>
                  <a:lnTo>
                    <a:pt x="31" y="66"/>
                  </a:lnTo>
                  <a:lnTo>
                    <a:pt x="40" y="60"/>
                  </a:lnTo>
                  <a:lnTo>
                    <a:pt x="45" y="57"/>
                  </a:lnTo>
                  <a:lnTo>
                    <a:pt x="48" y="54"/>
                  </a:lnTo>
                  <a:lnTo>
                    <a:pt x="57" y="54"/>
                  </a:lnTo>
                  <a:lnTo>
                    <a:pt x="60" y="54"/>
                  </a:lnTo>
                  <a:lnTo>
                    <a:pt x="66" y="43"/>
                  </a:lnTo>
                  <a:lnTo>
                    <a:pt x="68" y="37"/>
                  </a:lnTo>
                  <a:lnTo>
                    <a:pt x="66" y="31"/>
                  </a:lnTo>
                  <a:lnTo>
                    <a:pt x="66" y="23"/>
                  </a:lnTo>
                  <a:lnTo>
                    <a:pt x="63" y="20"/>
                  </a:lnTo>
                  <a:lnTo>
                    <a:pt x="57" y="20"/>
                  </a:lnTo>
                  <a:lnTo>
                    <a:pt x="57" y="17"/>
                  </a:lnTo>
                  <a:lnTo>
                    <a:pt x="54" y="20"/>
                  </a:lnTo>
                  <a:lnTo>
                    <a:pt x="45" y="23"/>
                  </a:lnTo>
                  <a:lnTo>
                    <a:pt x="40" y="20"/>
                  </a:lnTo>
                  <a:lnTo>
                    <a:pt x="40" y="17"/>
                  </a:lnTo>
                  <a:lnTo>
                    <a:pt x="40" y="14"/>
                  </a:lnTo>
                  <a:lnTo>
                    <a:pt x="43" y="8"/>
                  </a:lnTo>
                  <a:lnTo>
                    <a:pt x="48" y="5"/>
                  </a:lnTo>
                  <a:lnTo>
                    <a:pt x="48" y="0"/>
                  </a:lnTo>
                  <a:lnTo>
                    <a:pt x="40" y="0"/>
                  </a:lnTo>
                  <a:lnTo>
                    <a:pt x="37" y="2"/>
                  </a:lnTo>
                  <a:lnTo>
                    <a:pt x="31" y="8"/>
                  </a:lnTo>
                  <a:lnTo>
                    <a:pt x="34" y="11"/>
                  </a:lnTo>
                  <a:lnTo>
                    <a:pt x="34" y="14"/>
                  </a:lnTo>
                  <a:lnTo>
                    <a:pt x="34" y="17"/>
                  </a:lnTo>
                  <a:lnTo>
                    <a:pt x="28" y="17"/>
                  </a:lnTo>
                  <a:lnTo>
                    <a:pt x="20" y="17"/>
                  </a:lnTo>
                  <a:lnTo>
                    <a:pt x="14" y="17"/>
                  </a:lnTo>
                  <a:lnTo>
                    <a:pt x="11" y="20"/>
                  </a:lnTo>
                  <a:lnTo>
                    <a:pt x="11" y="23"/>
                  </a:lnTo>
                  <a:lnTo>
                    <a:pt x="11" y="28"/>
                  </a:lnTo>
                  <a:lnTo>
                    <a:pt x="14" y="34"/>
                  </a:lnTo>
                  <a:lnTo>
                    <a:pt x="20" y="37"/>
                  </a:lnTo>
                  <a:lnTo>
                    <a:pt x="22" y="37"/>
                  </a:lnTo>
                  <a:lnTo>
                    <a:pt x="17" y="43"/>
                  </a:lnTo>
                  <a:lnTo>
                    <a:pt x="11" y="46"/>
                  </a:lnTo>
                  <a:lnTo>
                    <a:pt x="20" y="46"/>
                  </a:lnTo>
                  <a:lnTo>
                    <a:pt x="14" y="51"/>
                  </a:lnTo>
                  <a:lnTo>
                    <a:pt x="8" y="4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62" name="Freeform 309"/>
            <p:cNvSpPr>
              <a:spLocks noChangeAspect="1"/>
            </p:cNvSpPr>
            <p:nvPr/>
          </p:nvSpPr>
          <p:spPr bwMode="gray">
            <a:xfrm>
              <a:off x="6711904" y="3081306"/>
              <a:ext cx="8851" cy="8823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0 h 3"/>
                <a:gd name="T4" fmla="*/ 0 w 3"/>
                <a:gd name="T5" fmla="*/ 2147483647 h 3"/>
                <a:gd name="T6" fmla="*/ 0 w 3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3"/>
                  </a:move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63" name="Freeform 246"/>
            <p:cNvSpPr>
              <a:spLocks noChangeAspect="1"/>
            </p:cNvSpPr>
            <p:nvPr/>
          </p:nvSpPr>
          <p:spPr bwMode="gray">
            <a:xfrm>
              <a:off x="6956760" y="3869880"/>
              <a:ext cx="22617" cy="16544"/>
            </a:xfrm>
            <a:custGeom>
              <a:avLst/>
              <a:gdLst>
                <a:gd name="T0" fmla="*/ 2147483647 w 9"/>
                <a:gd name="T1" fmla="*/ 2147483647 h 6"/>
                <a:gd name="T2" fmla="*/ 2147483647 w 9"/>
                <a:gd name="T3" fmla="*/ 2147483647 h 6"/>
                <a:gd name="T4" fmla="*/ 2147483647 w 9"/>
                <a:gd name="T5" fmla="*/ 0 h 6"/>
                <a:gd name="T6" fmla="*/ 0 w 9"/>
                <a:gd name="T7" fmla="*/ 0 h 6"/>
                <a:gd name="T8" fmla="*/ 0 w 9"/>
                <a:gd name="T9" fmla="*/ 0 h 6"/>
                <a:gd name="T10" fmla="*/ 2147483647 w 9"/>
                <a:gd name="T11" fmla="*/ 2147483647 h 6"/>
                <a:gd name="T12" fmla="*/ 2147483647 w 9"/>
                <a:gd name="T13" fmla="*/ 2147483647 h 6"/>
                <a:gd name="T14" fmla="*/ 2147483647 w 9"/>
                <a:gd name="T15" fmla="*/ 2147483647 h 6"/>
                <a:gd name="T16" fmla="*/ 2147483647 w 9"/>
                <a:gd name="T17" fmla="*/ 2147483647 h 6"/>
                <a:gd name="T18" fmla="*/ 2147483647 w 9"/>
                <a:gd name="T19" fmla="*/ 2147483647 h 6"/>
                <a:gd name="T20" fmla="*/ 2147483647 w 9"/>
                <a:gd name="T21" fmla="*/ 2147483647 h 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9"/>
                <a:gd name="T34" fmla="*/ 0 h 6"/>
                <a:gd name="T35" fmla="*/ 9 w 9"/>
                <a:gd name="T36" fmla="*/ 6 h 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9" h="6">
                  <a:moveTo>
                    <a:pt x="3" y="6"/>
                  </a:moveTo>
                  <a:lnTo>
                    <a:pt x="9" y="3"/>
                  </a:lnTo>
                  <a:lnTo>
                    <a:pt x="6" y="0"/>
                  </a:lnTo>
                  <a:lnTo>
                    <a:pt x="0" y="0"/>
                  </a:lnTo>
                  <a:lnTo>
                    <a:pt x="3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64" name="Freeform 248"/>
            <p:cNvSpPr>
              <a:spLocks noChangeAspect="1"/>
            </p:cNvSpPr>
            <p:nvPr/>
          </p:nvSpPr>
          <p:spPr bwMode="gray">
            <a:xfrm>
              <a:off x="7150482" y="3586434"/>
              <a:ext cx="182904" cy="100364"/>
            </a:xfrm>
            <a:custGeom>
              <a:avLst/>
              <a:gdLst>
                <a:gd name="T0" fmla="*/ 2147483647 w 71"/>
                <a:gd name="T1" fmla="*/ 2147483647 h 35"/>
                <a:gd name="T2" fmla="*/ 2147483647 w 71"/>
                <a:gd name="T3" fmla="*/ 2147483647 h 35"/>
                <a:gd name="T4" fmla="*/ 2147483647 w 71"/>
                <a:gd name="T5" fmla="*/ 2147483647 h 35"/>
                <a:gd name="T6" fmla="*/ 2147483647 w 71"/>
                <a:gd name="T7" fmla="*/ 2147483647 h 35"/>
                <a:gd name="T8" fmla="*/ 2147483647 w 71"/>
                <a:gd name="T9" fmla="*/ 2147483647 h 35"/>
                <a:gd name="T10" fmla="*/ 0 w 71"/>
                <a:gd name="T11" fmla="*/ 2147483647 h 35"/>
                <a:gd name="T12" fmla="*/ 2147483647 w 71"/>
                <a:gd name="T13" fmla="*/ 2147483647 h 35"/>
                <a:gd name="T14" fmla="*/ 2147483647 w 71"/>
                <a:gd name="T15" fmla="*/ 2147483647 h 35"/>
                <a:gd name="T16" fmla="*/ 2147483647 w 71"/>
                <a:gd name="T17" fmla="*/ 2147483647 h 35"/>
                <a:gd name="T18" fmla="*/ 2147483647 w 71"/>
                <a:gd name="T19" fmla="*/ 2147483647 h 35"/>
                <a:gd name="T20" fmla="*/ 2147483647 w 71"/>
                <a:gd name="T21" fmla="*/ 2147483647 h 35"/>
                <a:gd name="T22" fmla="*/ 2147483647 w 71"/>
                <a:gd name="T23" fmla="*/ 2147483647 h 35"/>
                <a:gd name="T24" fmla="*/ 2147483647 w 71"/>
                <a:gd name="T25" fmla="*/ 2147483647 h 35"/>
                <a:gd name="T26" fmla="*/ 2147483647 w 71"/>
                <a:gd name="T27" fmla="*/ 2147483647 h 35"/>
                <a:gd name="T28" fmla="*/ 2147483647 w 71"/>
                <a:gd name="T29" fmla="*/ 2147483647 h 35"/>
                <a:gd name="T30" fmla="*/ 2147483647 w 71"/>
                <a:gd name="T31" fmla="*/ 2147483647 h 35"/>
                <a:gd name="T32" fmla="*/ 2147483647 w 71"/>
                <a:gd name="T33" fmla="*/ 2147483647 h 35"/>
                <a:gd name="T34" fmla="*/ 2147483647 w 71"/>
                <a:gd name="T35" fmla="*/ 2147483647 h 35"/>
                <a:gd name="T36" fmla="*/ 2147483647 w 71"/>
                <a:gd name="T37" fmla="*/ 2147483647 h 35"/>
                <a:gd name="T38" fmla="*/ 2147483647 w 71"/>
                <a:gd name="T39" fmla="*/ 2147483647 h 35"/>
                <a:gd name="T40" fmla="*/ 2147483647 w 71"/>
                <a:gd name="T41" fmla="*/ 2147483647 h 35"/>
                <a:gd name="T42" fmla="*/ 2147483647 w 71"/>
                <a:gd name="T43" fmla="*/ 2147483647 h 35"/>
                <a:gd name="T44" fmla="*/ 2147483647 w 71"/>
                <a:gd name="T45" fmla="*/ 2147483647 h 35"/>
                <a:gd name="T46" fmla="*/ 2147483647 w 71"/>
                <a:gd name="T47" fmla="*/ 2147483647 h 35"/>
                <a:gd name="T48" fmla="*/ 2147483647 w 71"/>
                <a:gd name="T49" fmla="*/ 2147483647 h 35"/>
                <a:gd name="T50" fmla="*/ 2147483647 w 71"/>
                <a:gd name="T51" fmla="*/ 2147483647 h 35"/>
                <a:gd name="T52" fmla="*/ 2147483647 w 71"/>
                <a:gd name="T53" fmla="*/ 2147483647 h 35"/>
                <a:gd name="T54" fmla="*/ 2147483647 w 71"/>
                <a:gd name="T55" fmla="*/ 2147483647 h 35"/>
                <a:gd name="T56" fmla="*/ 2147483647 w 71"/>
                <a:gd name="T57" fmla="*/ 2147483647 h 35"/>
                <a:gd name="T58" fmla="*/ 2147483647 w 71"/>
                <a:gd name="T59" fmla="*/ 2147483647 h 35"/>
                <a:gd name="T60" fmla="*/ 2147483647 w 71"/>
                <a:gd name="T61" fmla="*/ 2147483647 h 35"/>
                <a:gd name="T62" fmla="*/ 2147483647 w 71"/>
                <a:gd name="T63" fmla="*/ 2147483647 h 35"/>
                <a:gd name="T64" fmla="*/ 2147483647 w 71"/>
                <a:gd name="T65" fmla="*/ 2147483647 h 35"/>
                <a:gd name="T66" fmla="*/ 2147483647 w 71"/>
                <a:gd name="T67" fmla="*/ 2147483647 h 35"/>
                <a:gd name="T68" fmla="*/ 2147483647 w 71"/>
                <a:gd name="T69" fmla="*/ 2147483647 h 35"/>
                <a:gd name="T70" fmla="*/ 2147483647 w 71"/>
                <a:gd name="T71" fmla="*/ 2147483647 h 35"/>
                <a:gd name="T72" fmla="*/ 2147483647 w 71"/>
                <a:gd name="T73" fmla="*/ 2147483647 h 35"/>
                <a:gd name="T74" fmla="*/ 2147483647 w 71"/>
                <a:gd name="T75" fmla="*/ 0 h 35"/>
                <a:gd name="T76" fmla="*/ 2147483647 w 71"/>
                <a:gd name="T77" fmla="*/ 2147483647 h 35"/>
                <a:gd name="T78" fmla="*/ 2147483647 w 71"/>
                <a:gd name="T79" fmla="*/ 2147483647 h 35"/>
                <a:gd name="T80" fmla="*/ 2147483647 w 71"/>
                <a:gd name="T81" fmla="*/ 2147483647 h 3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1"/>
                <a:gd name="T124" fmla="*/ 0 h 35"/>
                <a:gd name="T125" fmla="*/ 71 w 71"/>
                <a:gd name="T126" fmla="*/ 35 h 3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1" h="35">
                  <a:moveTo>
                    <a:pt x="20" y="9"/>
                  </a:moveTo>
                  <a:lnTo>
                    <a:pt x="20" y="9"/>
                  </a:lnTo>
                  <a:lnTo>
                    <a:pt x="17" y="9"/>
                  </a:lnTo>
                  <a:lnTo>
                    <a:pt x="14" y="12"/>
                  </a:lnTo>
                  <a:lnTo>
                    <a:pt x="5" y="23"/>
                  </a:lnTo>
                  <a:lnTo>
                    <a:pt x="0" y="29"/>
                  </a:lnTo>
                  <a:lnTo>
                    <a:pt x="3" y="32"/>
                  </a:lnTo>
                  <a:lnTo>
                    <a:pt x="8" y="21"/>
                  </a:lnTo>
                  <a:lnTo>
                    <a:pt x="14" y="32"/>
                  </a:lnTo>
                  <a:lnTo>
                    <a:pt x="17" y="35"/>
                  </a:lnTo>
                  <a:lnTo>
                    <a:pt x="23" y="32"/>
                  </a:lnTo>
                  <a:lnTo>
                    <a:pt x="28" y="35"/>
                  </a:lnTo>
                  <a:lnTo>
                    <a:pt x="28" y="26"/>
                  </a:lnTo>
                  <a:lnTo>
                    <a:pt x="31" y="26"/>
                  </a:lnTo>
                  <a:lnTo>
                    <a:pt x="37" y="26"/>
                  </a:lnTo>
                  <a:lnTo>
                    <a:pt x="46" y="35"/>
                  </a:lnTo>
                  <a:lnTo>
                    <a:pt x="51" y="23"/>
                  </a:lnTo>
                  <a:lnTo>
                    <a:pt x="51" y="26"/>
                  </a:lnTo>
                  <a:lnTo>
                    <a:pt x="54" y="29"/>
                  </a:lnTo>
                  <a:lnTo>
                    <a:pt x="60" y="23"/>
                  </a:lnTo>
                  <a:lnTo>
                    <a:pt x="60" y="26"/>
                  </a:lnTo>
                  <a:lnTo>
                    <a:pt x="63" y="21"/>
                  </a:lnTo>
                  <a:lnTo>
                    <a:pt x="66" y="23"/>
                  </a:lnTo>
                  <a:lnTo>
                    <a:pt x="69" y="15"/>
                  </a:lnTo>
                  <a:lnTo>
                    <a:pt x="71" y="15"/>
                  </a:lnTo>
                  <a:lnTo>
                    <a:pt x="71" y="6"/>
                  </a:lnTo>
                  <a:lnTo>
                    <a:pt x="69" y="6"/>
                  </a:lnTo>
                  <a:lnTo>
                    <a:pt x="66" y="9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6" y="3"/>
                  </a:lnTo>
                  <a:lnTo>
                    <a:pt x="40" y="0"/>
                  </a:lnTo>
                  <a:lnTo>
                    <a:pt x="34" y="6"/>
                  </a:lnTo>
                  <a:lnTo>
                    <a:pt x="23" y="6"/>
                  </a:lnTo>
                  <a:lnTo>
                    <a:pt x="20" y="9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65" name="Freeform 287"/>
            <p:cNvSpPr>
              <a:spLocks noChangeAspect="1"/>
            </p:cNvSpPr>
            <p:nvPr/>
          </p:nvSpPr>
          <p:spPr bwMode="gray">
            <a:xfrm>
              <a:off x="6816140" y="3638270"/>
              <a:ext cx="8851" cy="14339"/>
            </a:xfrm>
            <a:custGeom>
              <a:avLst/>
              <a:gdLst>
                <a:gd name="T0" fmla="*/ 0 w 3"/>
                <a:gd name="T1" fmla="*/ 0 h 5"/>
                <a:gd name="T2" fmla="*/ 0 w 3"/>
                <a:gd name="T3" fmla="*/ 2147483647 h 5"/>
                <a:gd name="T4" fmla="*/ 2147483647 w 3"/>
                <a:gd name="T5" fmla="*/ 2147483647 h 5"/>
                <a:gd name="T6" fmla="*/ 0 w 3"/>
                <a:gd name="T7" fmla="*/ 0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5"/>
                <a:gd name="T14" fmla="*/ 3 w 3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5">
                  <a:moveTo>
                    <a:pt x="0" y="0"/>
                  </a:moveTo>
                  <a:lnTo>
                    <a:pt x="0" y="5"/>
                  </a:lnTo>
                  <a:lnTo>
                    <a:pt x="3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66" name="Freeform 303"/>
            <p:cNvSpPr>
              <a:spLocks noChangeAspect="1"/>
            </p:cNvSpPr>
            <p:nvPr/>
          </p:nvSpPr>
          <p:spPr bwMode="gray">
            <a:xfrm>
              <a:off x="6699120" y="3068070"/>
              <a:ext cx="5900" cy="13234"/>
            </a:xfrm>
            <a:custGeom>
              <a:avLst/>
              <a:gdLst>
                <a:gd name="T0" fmla="*/ 2147483647 w 2"/>
                <a:gd name="T1" fmla="*/ 0 h 5"/>
                <a:gd name="T2" fmla="*/ 0 w 2"/>
                <a:gd name="T3" fmla="*/ 2147483647 h 5"/>
                <a:gd name="T4" fmla="*/ 0 w 2"/>
                <a:gd name="T5" fmla="*/ 2147483647 h 5"/>
                <a:gd name="T6" fmla="*/ 2147483647 w 2"/>
                <a:gd name="T7" fmla="*/ 2147483647 h 5"/>
                <a:gd name="T8" fmla="*/ 2147483647 w 2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5"/>
                <a:gd name="T17" fmla="*/ 2 w 2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5">
                  <a:moveTo>
                    <a:pt x="2" y="0"/>
                  </a:moveTo>
                  <a:lnTo>
                    <a:pt x="0" y="2"/>
                  </a:lnTo>
                  <a:lnTo>
                    <a:pt x="0" y="5"/>
                  </a:lnTo>
                  <a:lnTo>
                    <a:pt x="2" y="5"/>
                  </a:lnTo>
                  <a:lnTo>
                    <a:pt x="2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67" name="Freeform 308"/>
            <p:cNvSpPr>
              <a:spLocks noChangeAspect="1"/>
            </p:cNvSpPr>
            <p:nvPr/>
          </p:nvSpPr>
          <p:spPr bwMode="gray">
            <a:xfrm>
              <a:off x="6720755" y="3564376"/>
              <a:ext cx="14751" cy="17646"/>
            </a:xfrm>
            <a:custGeom>
              <a:avLst/>
              <a:gdLst>
                <a:gd name="T0" fmla="*/ 2147483647 w 6"/>
                <a:gd name="T1" fmla="*/ 0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6" y="0"/>
                  </a:moveTo>
                  <a:lnTo>
                    <a:pt x="0" y="3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68" name="Freeform 312"/>
            <p:cNvSpPr>
              <a:spLocks noChangeAspect="1"/>
            </p:cNvSpPr>
            <p:nvPr/>
          </p:nvSpPr>
          <p:spPr bwMode="gray">
            <a:xfrm>
              <a:off x="6780739" y="3604080"/>
              <a:ext cx="15733" cy="16543"/>
            </a:xfrm>
            <a:custGeom>
              <a:avLst/>
              <a:gdLst>
                <a:gd name="T0" fmla="*/ 2147483647 w 6"/>
                <a:gd name="T1" fmla="*/ 0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69" name="Rectangle 316"/>
            <p:cNvSpPr>
              <a:spLocks noChangeAspect="1" noChangeArrowheads="1"/>
            </p:cNvSpPr>
            <p:nvPr/>
          </p:nvSpPr>
          <p:spPr bwMode="gray">
            <a:xfrm>
              <a:off x="6705021" y="3090129"/>
              <a:ext cx="6884" cy="8823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</a:pPr>
              <a:endParaRPr lang="de-DE"/>
            </a:p>
          </p:txBody>
        </p:sp>
        <p:sp>
          <p:nvSpPr>
            <p:cNvPr id="70" name="Rectangle 317"/>
            <p:cNvSpPr>
              <a:spLocks noChangeAspect="1" noChangeArrowheads="1"/>
            </p:cNvSpPr>
            <p:nvPr/>
          </p:nvSpPr>
          <p:spPr bwMode="gray">
            <a:xfrm>
              <a:off x="6720755" y="3068070"/>
              <a:ext cx="6884" cy="13234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</a:pPr>
              <a:endParaRPr lang="de-DE"/>
            </a:p>
          </p:txBody>
        </p:sp>
        <p:sp>
          <p:nvSpPr>
            <p:cNvPr id="71" name="Freeform 216"/>
            <p:cNvSpPr>
              <a:spLocks noChangeAspect="1"/>
            </p:cNvSpPr>
            <p:nvPr/>
          </p:nvSpPr>
          <p:spPr bwMode="gray">
            <a:xfrm>
              <a:off x="7437621" y="3662533"/>
              <a:ext cx="234039" cy="157716"/>
            </a:xfrm>
            <a:custGeom>
              <a:avLst/>
              <a:gdLst>
                <a:gd name="T0" fmla="*/ 2147483647 w 345"/>
                <a:gd name="T1" fmla="*/ 2147483647 h 208"/>
                <a:gd name="T2" fmla="*/ 2147483647 w 345"/>
                <a:gd name="T3" fmla="*/ 2147483647 h 208"/>
                <a:gd name="T4" fmla="*/ 2147483647 w 345"/>
                <a:gd name="T5" fmla="*/ 2147483647 h 208"/>
                <a:gd name="T6" fmla="*/ 2147483647 w 345"/>
                <a:gd name="T7" fmla="*/ 2147483647 h 208"/>
                <a:gd name="T8" fmla="*/ 2147483647 w 345"/>
                <a:gd name="T9" fmla="*/ 2147483647 h 208"/>
                <a:gd name="T10" fmla="*/ 2147483647 w 345"/>
                <a:gd name="T11" fmla="*/ 2147483647 h 208"/>
                <a:gd name="T12" fmla="*/ 2147483647 w 345"/>
                <a:gd name="T13" fmla="*/ 2147483647 h 208"/>
                <a:gd name="T14" fmla="*/ 2147483647 w 345"/>
                <a:gd name="T15" fmla="*/ 2147483647 h 208"/>
                <a:gd name="T16" fmla="*/ 2147483647 w 345"/>
                <a:gd name="T17" fmla="*/ 2147483647 h 208"/>
                <a:gd name="T18" fmla="*/ 2147483647 w 345"/>
                <a:gd name="T19" fmla="*/ 2147483647 h 208"/>
                <a:gd name="T20" fmla="*/ 2147483647 w 345"/>
                <a:gd name="T21" fmla="*/ 2147483647 h 208"/>
                <a:gd name="T22" fmla="*/ 2147483647 w 345"/>
                <a:gd name="T23" fmla="*/ 2147483647 h 208"/>
                <a:gd name="T24" fmla="*/ 2147483647 w 345"/>
                <a:gd name="T25" fmla="*/ 2147483647 h 208"/>
                <a:gd name="T26" fmla="*/ 2147483647 w 345"/>
                <a:gd name="T27" fmla="*/ 2147483647 h 208"/>
                <a:gd name="T28" fmla="*/ 2147483647 w 345"/>
                <a:gd name="T29" fmla="*/ 2147483647 h 208"/>
                <a:gd name="T30" fmla="*/ 2147483647 w 345"/>
                <a:gd name="T31" fmla="*/ 2147483647 h 208"/>
                <a:gd name="T32" fmla="*/ 2147483647 w 345"/>
                <a:gd name="T33" fmla="*/ 2147483647 h 208"/>
                <a:gd name="T34" fmla="*/ 2147483647 w 345"/>
                <a:gd name="T35" fmla="*/ 2147483647 h 208"/>
                <a:gd name="T36" fmla="*/ 2147483647 w 345"/>
                <a:gd name="T37" fmla="*/ 2147483647 h 208"/>
                <a:gd name="T38" fmla="*/ 2147483647 w 345"/>
                <a:gd name="T39" fmla="*/ 2147483647 h 208"/>
                <a:gd name="T40" fmla="*/ 2147483647 w 345"/>
                <a:gd name="T41" fmla="*/ 2147483647 h 208"/>
                <a:gd name="T42" fmla="*/ 2147483647 w 345"/>
                <a:gd name="T43" fmla="*/ 2147483647 h 208"/>
                <a:gd name="T44" fmla="*/ 2147483647 w 345"/>
                <a:gd name="T45" fmla="*/ 2147483647 h 208"/>
                <a:gd name="T46" fmla="*/ 2147483647 w 345"/>
                <a:gd name="T47" fmla="*/ 2147483647 h 208"/>
                <a:gd name="T48" fmla="*/ 2147483647 w 345"/>
                <a:gd name="T49" fmla="*/ 2147483647 h 208"/>
                <a:gd name="T50" fmla="*/ 2147483647 w 345"/>
                <a:gd name="T51" fmla="*/ 2147483647 h 208"/>
                <a:gd name="T52" fmla="*/ 2147483647 w 345"/>
                <a:gd name="T53" fmla="*/ 2147483647 h 208"/>
                <a:gd name="T54" fmla="*/ 2147483647 w 345"/>
                <a:gd name="T55" fmla="*/ 2147483647 h 208"/>
                <a:gd name="T56" fmla="*/ 2147483647 w 345"/>
                <a:gd name="T57" fmla="*/ 2147483647 h 208"/>
                <a:gd name="T58" fmla="*/ 2147483647 w 345"/>
                <a:gd name="T59" fmla="*/ 2147483647 h 208"/>
                <a:gd name="T60" fmla="*/ 2147483647 w 345"/>
                <a:gd name="T61" fmla="*/ 2147483647 h 208"/>
                <a:gd name="T62" fmla="*/ 2147483647 w 345"/>
                <a:gd name="T63" fmla="*/ 2147483647 h 208"/>
                <a:gd name="T64" fmla="*/ 2147483647 w 345"/>
                <a:gd name="T65" fmla="*/ 2147483647 h 208"/>
                <a:gd name="T66" fmla="*/ 2147483647 w 345"/>
                <a:gd name="T67" fmla="*/ 2147483647 h 208"/>
                <a:gd name="T68" fmla="*/ 2147483647 w 345"/>
                <a:gd name="T69" fmla="*/ 2147483647 h 208"/>
                <a:gd name="T70" fmla="*/ 2147483647 w 345"/>
                <a:gd name="T71" fmla="*/ 2147483647 h 208"/>
                <a:gd name="T72" fmla="*/ 2147483647 w 345"/>
                <a:gd name="T73" fmla="*/ 2147483647 h 208"/>
                <a:gd name="T74" fmla="*/ 2147483647 w 345"/>
                <a:gd name="T75" fmla="*/ 2147483647 h 208"/>
                <a:gd name="T76" fmla="*/ 2147483647 w 345"/>
                <a:gd name="T77" fmla="*/ 2147483647 h 208"/>
                <a:gd name="T78" fmla="*/ 2147483647 w 345"/>
                <a:gd name="T79" fmla="*/ 2147483647 h 208"/>
                <a:gd name="T80" fmla="*/ 2147483647 w 345"/>
                <a:gd name="T81" fmla="*/ 2147483647 h 208"/>
                <a:gd name="T82" fmla="*/ 2147483647 w 345"/>
                <a:gd name="T83" fmla="*/ 2147483647 h 208"/>
                <a:gd name="T84" fmla="*/ 2147483647 w 345"/>
                <a:gd name="T85" fmla="*/ 2147483647 h 208"/>
                <a:gd name="T86" fmla="*/ 2147483647 w 345"/>
                <a:gd name="T87" fmla="*/ 2147483647 h 208"/>
                <a:gd name="T88" fmla="*/ 2147483647 w 345"/>
                <a:gd name="T89" fmla="*/ 2147483647 h 208"/>
                <a:gd name="T90" fmla="*/ 2147483647 w 345"/>
                <a:gd name="T91" fmla="*/ 2147483647 h 208"/>
                <a:gd name="T92" fmla="*/ 2147483647 w 345"/>
                <a:gd name="T93" fmla="*/ 2147483647 h 208"/>
                <a:gd name="T94" fmla="*/ 2147483647 w 345"/>
                <a:gd name="T95" fmla="*/ 2147483647 h 208"/>
                <a:gd name="T96" fmla="*/ 2147483647 w 345"/>
                <a:gd name="T97" fmla="*/ 2147483647 h 208"/>
                <a:gd name="T98" fmla="*/ 2147483647 w 345"/>
                <a:gd name="T99" fmla="*/ 2147483647 h 208"/>
                <a:gd name="T100" fmla="*/ 2147483647 w 345"/>
                <a:gd name="T101" fmla="*/ 2147483647 h 208"/>
                <a:gd name="T102" fmla="*/ 2147483647 w 345"/>
                <a:gd name="T103" fmla="*/ 2147483647 h 208"/>
                <a:gd name="T104" fmla="*/ 2147483647 w 345"/>
                <a:gd name="T105" fmla="*/ 2147483647 h 208"/>
                <a:gd name="T106" fmla="*/ 2147483647 w 345"/>
                <a:gd name="T107" fmla="*/ 2147483647 h 208"/>
                <a:gd name="T108" fmla="*/ 2147483647 w 345"/>
                <a:gd name="T109" fmla="*/ 2147483647 h 208"/>
                <a:gd name="T110" fmla="*/ 0 w 345"/>
                <a:gd name="T111" fmla="*/ 2147483647 h 208"/>
                <a:gd name="T112" fmla="*/ 2147483647 w 345"/>
                <a:gd name="T113" fmla="*/ 2147483647 h 20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45"/>
                <a:gd name="T172" fmla="*/ 0 h 208"/>
                <a:gd name="T173" fmla="*/ 192 w 345"/>
                <a:gd name="T174" fmla="*/ 175 h 20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45" h="208">
                  <a:moveTo>
                    <a:pt x="0" y="57"/>
                  </a:moveTo>
                  <a:lnTo>
                    <a:pt x="0" y="75"/>
                  </a:lnTo>
                  <a:lnTo>
                    <a:pt x="19" y="87"/>
                  </a:lnTo>
                  <a:lnTo>
                    <a:pt x="19" y="110"/>
                  </a:lnTo>
                  <a:lnTo>
                    <a:pt x="30" y="121"/>
                  </a:lnTo>
                  <a:lnTo>
                    <a:pt x="53" y="98"/>
                  </a:lnTo>
                  <a:lnTo>
                    <a:pt x="53" y="110"/>
                  </a:lnTo>
                  <a:lnTo>
                    <a:pt x="42" y="121"/>
                  </a:lnTo>
                  <a:lnTo>
                    <a:pt x="64" y="132"/>
                  </a:lnTo>
                  <a:lnTo>
                    <a:pt x="76" y="121"/>
                  </a:lnTo>
                  <a:lnTo>
                    <a:pt x="64" y="98"/>
                  </a:lnTo>
                  <a:lnTo>
                    <a:pt x="76" y="87"/>
                  </a:lnTo>
                  <a:lnTo>
                    <a:pt x="87" y="98"/>
                  </a:lnTo>
                  <a:lnTo>
                    <a:pt x="87" y="121"/>
                  </a:lnTo>
                  <a:lnTo>
                    <a:pt x="95" y="144"/>
                  </a:lnTo>
                  <a:lnTo>
                    <a:pt x="118" y="151"/>
                  </a:lnTo>
                  <a:lnTo>
                    <a:pt x="106" y="151"/>
                  </a:lnTo>
                  <a:lnTo>
                    <a:pt x="95" y="151"/>
                  </a:lnTo>
                  <a:lnTo>
                    <a:pt x="129" y="185"/>
                  </a:lnTo>
                  <a:lnTo>
                    <a:pt x="163" y="208"/>
                  </a:lnTo>
                  <a:lnTo>
                    <a:pt x="174" y="208"/>
                  </a:lnTo>
                  <a:lnTo>
                    <a:pt x="193" y="208"/>
                  </a:lnTo>
                  <a:lnTo>
                    <a:pt x="182" y="174"/>
                  </a:lnTo>
                  <a:lnTo>
                    <a:pt x="163" y="163"/>
                  </a:lnTo>
                  <a:lnTo>
                    <a:pt x="152" y="132"/>
                  </a:lnTo>
                  <a:lnTo>
                    <a:pt x="129" y="121"/>
                  </a:lnTo>
                  <a:lnTo>
                    <a:pt x="152" y="87"/>
                  </a:lnTo>
                  <a:lnTo>
                    <a:pt x="174" y="98"/>
                  </a:lnTo>
                  <a:lnTo>
                    <a:pt x="193" y="87"/>
                  </a:lnTo>
                  <a:lnTo>
                    <a:pt x="205" y="75"/>
                  </a:lnTo>
                  <a:lnTo>
                    <a:pt x="227" y="87"/>
                  </a:lnTo>
                  <a:lnTo>
                    <a:pt x="250" y="87"/>
                  </a:lnTo>
                  <a:lnTo>
                    <a:pt x="269" y="98"/>
                  </a:lnTo>
                  <a:lnTo>
                    <a:pt x="292" y="98"/>
                  </a:lnTo>
                  <a:lnTo>
                    <a:pt x="315" y="98"/>
                  </a:lnTo>
                  <a:lnTo>
                    <a:pt x="337" y="110"/>
                  </a:lnTo>
                  <a:lnTo>
                    <a:pt x="345" y="110"/>
                  </a:lnTo>
                  <a:lnTo>
                    <a:pt x="345" y="87"/>
                  </a:lnTo>
                  <a:lnTo>
                    <a:pt x="326" y="75"/>
                  </a:lnTo>
                  <a:lnTo>
                    <a:pt x="315" y="64"/>
                  </a:lnTo>
                  <a:lnTo>
                    <a:pt x="315" y="45"/>
                  </a:lnTo>
                  <a:lnTo>
                    <a:pt x="303" y="57"/>
                  </a:lnTo>
                  <a:lnTo>
                    <a:pt x="281" y="57"/>
                  </a:lnTo>
                  <a:lnTo>
                    <a:pt x="250" y="57"/>
                  </a:lnTo>
                  <a:lnTo>
                    <a:pt x="227" y="34"/>
                  </a:lnTo>
                  <a:lnTo>
                    <a:pt x="205" y="22"/>
                  </a:lnTo>
                  <a:lnTo>
                    <a:pt x="174" y="0"/>
                  </a:lnTo>
                  <a:lnTo>
                    <a:pt x="140" y="22"/>
                  </a:lnTo>
                  <a:lnTo>
                    <a:pt x="140" y="45"/>
                  </a:lnTo>
                  <a:lnTo>
                    <a:pt x="118" y="57"/>
                  </a:lnTo>
                  <a:lnTo>
                    <a:pt x="118" y="75"/>
                  </a:lnTo>
                  <a:lnTo>
                    <a:pt x="64" y="75"/>
                  </a:lnTo>
                  <a:lnTo>
                    <a:pt x="53" y="64"/>
                  </a:lnTo>
                  <a:lnTo>
                    <a:pt x="19" y="64"/>
                  </a:lnTo>
                  <a:lnTo>
                    <a:pt x="0" y="22"/>
                  </a:lnTo>
                  <a:lnTo>
                    <a:pt x="0" y="38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72" name="Freeform 212"/>
            <p:cNvSpPr>
              <a:spLocks noChangeAspect="1"/>
            </p:cNvSpPr>
            <p:nvPr/>
          </p:nvSpPr>
          <p:spPr bwMode="gray">
            <a:xfrm>
              <a:off x="7436638" y="3653711"/>
              <a:ext cx="118987" cy="57352"/>
            </a:xfrm>
            <a:custGeom>
              <a:avLst/>
              <a:gdLst>
                <a:gd name="T0" fmla="*/ 2147483647 w 10000"/>
                <a:gd name="T1" fmla="*/ 0 h 10000"/>
                <a:gd name="T2" fmla="*/ 2147483647 w 10000"/>
                <a:gd name="T3" fmla="*/ 2147483647 h 10000"/>
                <a:gd name="T4" fmla="*/ 0 w 10000"/>
                <a:gd name="T5" fmla="*/ 2147483647 h 10000"/>
                <a:gd name="T6" fmla="*/ 2147483647 w 10000"/>
                <a:gd name="T7" fmla="*/ 2147483647 h 10000"/>
                <a:gd name="T8" fmla="*/ 2147483647 w 10000"/>
                <a:gd name="T9" fmla="*/ 2147483647 h 10000"/>
                <a:gd name="T10" fmla="*/ 2147483647 w 10000"/>
                <a:gd name="T11" fmla="*/ 2147483647 h 10000"/>
                <a:gd name="T12" fmla="*/ 2147483647 w 10000"/>
                <a:gd name="T13" fmla="*/ 2147483647 h 10000"/>
                <a:gd name="T14" fmla="*/ 2147483647 w 10000"/>
                <a:gd name="T15" fmla="*/ 2147483647 h 10000"/>
                <a:gd name="T16" fmla="*/ 2147483647 w 10000"/>
                <a:gd name="T17" fmla="*/ 2147483647 h 10000"/>
                <a:gd name="T18" fmla="*/ 2147483647 w 10000"/>
                <a:gd name="T19" fmla="*/ 2147483647 h 10000"/>
                <a:gd name="T20" fmla="*/ 2147483647 w 10000"/>
                <a:gd name="T21" fmla="*/ 2147483647 h 10000"/>
                <a:gd name="T22" fmla="*/ 2147483647 w 10000"/>
                <a:gd name="T23" fmla="*/ 2147483647 h 10000"/>
                <a:gd name="T24" fmla="*/ 2147483647 w 10000"/>
                <a:gd name="T25" fmla="*/ 0 h 100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0000"/>
                <a:gd name="T40" fmla="*/ 0 h 10000"/>
                <a:gd name="T41" fmla="*/ 10000 w 10000"/>
                <a:gd name="T42" fmla="*/ 10000 h 1000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0000" h="10000">
                  <a:moveTo>
                    <a:pt x="10000" y="0"/>
                  </a:moveTo>
                  <a:lnTo>
                    <a:pt x="3922" y="3048"/>
                  </a:lnTo>
                  <a:lnTo>
                    <a:pt x="0" y="2329"/>
                  </a:lnTo>
                  <a:cubicBezTo>
                    <a:pt x="142" y="3529"/>
                    <a:pt x="1059" y="7470"/>
                    <a:pt x="1212" y="8134"/>
                  </a:cubicBezTo>
                  <a:lnTo>
                    <a:pt x="1782" y="8932"/>
                  </a:lnTo>
                  <a:lnTo>
                    <a:pt x="2410" y="8932"/>
                  </a:lnTo>
                  <a:lnTo>
                    <a:pt x="3093" y="8932"/>
                  </a:lnTo>
                  <a:lnTo>
                    <a:pt x="4349" y="10000"/>
                  </a:lnTo>
                  <a:lnTo>
                    <a:pt x="6118" y="10000"/>
                  </a:lnTo>
                  <a:lnTo>
                    <a:pt x="6743" y="7465"/>
                  </a:lnTo>
                  <a:lnTo>
                    <a:pt x="7373" y="6000"/>
                  </a:lnTo>
                  <a:lnTo>
                    <a:pt x="7373" y="2936"/>
                  </a:lnTo>
                  <a:lnTo>
                    <a:pt x="10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73" name="Freeform 302"/>
            <p:cNvSpPr>
              <a:spLocks noChangeAspect="1"/>
            </p:cNvSpPr>
            <p:nvPr/>
          </p:nvSpPr>
          <p:spPr bwMode="gray">
            <a:xfrm>
              <a:off x="6711904" y="3107776"/>
              <a:ext cx="8851" cy="772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2147483647 h 3"/>
                <a:gd name="T4" fmla="*/ 2147483647 w 3"/>
                <a:gd name="T5" fmla="*/ 0 h 3"/>
                <a:gd name="T6" fmla="*/ 0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74" name="Freeform 301"/>
            <p:cNvSpPr>
              <a:spLocks noChangeAspect="1"/>
            </p:cNvSpPr>
            <p:nvPr/>
          </p:nvSpPr>
          <p:spPr bwMode="gray">
            <a:xfrm>
              <a:off x="6705021" y="3115495"/>
              <a:ext cx="6884" cy="8823"/>
            </a:xfrm>
            <a:custGeom>
              <a:avLst/>
              <a:gdLst>
                <a:gd name="T0" fmla="*/ 2147483647 w 3"/>
                <a:gd name="T1" fmla="*/ 0 h 3"/>
                <a:gd name="T2" fmla="*/ 2147483647 w 3"/>
                <a:gd name="T3" fmla="*/ 0 h 3"/>
                <a:gd name="T4" fmla="*/ 0 w 3"/>
                <a:gd name="T5" fmla="*/ 2147483647 h 3"/>
                <a:gd name="T6" fmla="*/ 2147483647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75" name="Freeform 314"/>
            <p:cNvSpPr>
              <a:spLocks noChangeAspect="1"/>
            </p:cNvSpPr>
            <p:nvPr/>
          </p:nvSpPr>
          <p:spPr bwMode="gray">
            <a:xfrm>
              <a:off x="6711904" y="3059247"/>
              <a:ext cx="8851" cy="8823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0 h 3"/>
                <a:gd name="T4" fmla="*/ 0 w 3"/>
                <a:gd name="T5" fmla="*/ 2147483647 h 3"/>
                <a:gd name="T6" fmla="*/ 2147483647 w 3"/>
                <a:gd name="T7" fmla="*/ 0 h 3"/>
                <a:gd name="T8" fmla="*/ 0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76" name="Freeform 139"/>
            <p:cNvSpPr>
              <a:spLocks noChangeAspect="1"/>
            </p:cNvSpPr>
            <p:nvPr/>
          </p:nvSpPr>
          <p:spPr bwMode="gray">
            <a:xfrm>
              <a:off x="7060995" y="3282033"/>
              <a:ext cx="131770" cy="140068"/>
            </a:xfrm>
            <a:custGeom>
              <a:avLst/>
              <a:gdLst>
                <a:gd name="T0" fmla="*/ 2147483647 w 52"/>
                <a:gd name="T1" fmla="*/ 2147483647 h 49"/>
                <a:gd name="T2" fmla="*/ 2147483647 w 52"/>
                <a:gd name="T3" fmla="*/ 2147483647 h 49"/>
                <a:gd name="T4" fmla="*/ 2147483647 w 52"/>
                <a:gd name="T5" fmla="*/ 2147483647 h 49"/>
                <a:gd name="T6" fmla="*/ 2147483647 w 52"/>
                <a:gd name="T7" fmla="*/ 2147483647 h 49"/>
                <a:gd name="T8" fmla="*/ 2147483647 w 52"/>
                <a:gd name="T9" fmla="*/ 2147483647 h 49"/>
                <a:gd name="T10" fmla="*/ 2147483647 w 52"/>
                <a:gd name="T11" fmla="*/ 2147483647 h 49"/>
                <a:gd name="T12" fmla="*/ 2147483647 w 52"/>
                <a:gd name="T13" fmla="*/ 2147483647 h 49"/>
                <a:gd name="T14" fmla="*/ 2147483647 w 52"/>
                <a:gd name="T15" fmla="*/ 2147483647 h 49"/>
                <a:gd name="T16" fmla="*/ 2147483647 w 52"/>
                <a:gd name="T17" fmla="*/ 2147483647 h 49"/>
                <a:gd name="T18" fmla="*/ 2147483647 w 52"/>
                <a:gd name="T19" fmla="*/ 2147483647 h 49"/>
                <a:gd name="T20" fmla="*/ 2147483647 w 52"/>
                <a:gd name="T21" fmla="*/ 2147483647 h 49"/>
                <a:gd name="T22" fmla="*/ 2147483647 w 52"/>
                <a:gd name="T23" fmla="*/ 2147483647 h 49"/>
                <a:gd name="T24" fmla="*/ 2147483647 w 52"/>
                <a:gd name="T25" fmla="*/ 2147483647 h 49"/>
                <a:gd name="T26" fmla="*/ 2147483647 w 52"/>
                <a:gd name="T27" fmla="*/ 2147483647 h 49"/>
                <a:gd name="T28" fmla="*/ 2147483647 w 52"/>
                <a:gd name="T29" fmla="*/ 2147483647 h 49"/>
                <a:gd name="T30" fmla="*/ 2147483647 w 52"/>
                <a:gd name="T31" fmla="*/ 2147483647 h 49"/>
                <a:gd name="T32" fmla="*/ 2147483647 w 52"/>
                <a:gd name="T33" fmla="*/ 2147483647 h 49"/>
                <a:gd name="T34" fmla="*/ 2147483647 w 52"/>
                <a:gd name="T35" fmla="*/ 2147483647 h 49"/>
                <a:gd name="T36" fmla="*/ 2147483647 w 52"/>
                <a:gd name="T37" fmla="*/ 2147483647 h 49"/>
                <a:gd name="T38" fmla="*/ 2147483647 w 52"/>
                <a:gd name="T39" fmla="*/ 2147483647 h 49"/>
                <a:gd name="T40" fmla="*/ 2147483647 w 52"/>
                <a:gd name="T41" fmla="*/ 2147483647 h 49"/>
                <a:gd name="T42" fmla="*/ 2147483647 w 52"/>
                <a:gd name="T43" fmla="*/ 2147483647 h 49"/>
                <a:gd name="T44" fmla="*/ 2147483647 w 52"/>
                <a:gd name="T45" fmla="*/ 2147483647 h 49"/>
                <a:gd name="T46" fmla="*/ 2147483647 w 52"/>
                <a:gd name="T47" fmla="*/ 2147483647 h 49"/>
                <a:gd name="T48" fmla="*/ 2147483647 w 52"/>
                <a:gd name="T49" fmla="*/ 0 h 49"/>
                <a:gd name="T50" fmla="*/ 2147483647 w 52"/>
                <a:gd name="T51" fmla="*/ 0 h 49"/>
                <a:gd name="T52" fmla="*/ 2147483647 w 52"/>
                <a:gd name="T53" fmla="*/ 0 h 49"/>
                <a:gd name="T54" fmla="*/ 2147483647 w 52"/>
                <a:gd name="T55" fmla="*/ 0 h 49"/>
                <a:gd name="T56" fmla="*/ 2147483647 w 52"/>
                <a:gd name="T57" fmla="*/ 0 h 49"/>
                <a:gd name="T58" fmla="*/ 2147483647 w 52"/>
                <a:gd name="T59" fmla="*/ 0 h 49"/>
                <a:gd name="T60" fmla="*/ 2147483647 w 52"/>
                <a:gd name="T61" fmla="*/ 0 h 49"/>
                <a:gd name="T62" fmla="*/ 2147483647 w 52"/>
                <a:gd name="T63" fmla="*/ 2147483647 h 49"/>
                <a:gd name="T64" fmla="*/ 2147483647 w 52"/>
                <a:gd name="T65" fmla="*/ 2147483647 h 49"/>
                <a:gd name="T66" fmla="*/ 2147483647 w 52"/>
                <a:gd name="T67" fmla="*/ 2147483647 h 49"/>
                <a:gd name="T68" fmla="*/ 2147483647 w 52"/>
                <a:gd name="T69" fmla="*/ 2147483647 h 49"/>
                <a:gd name="T70" fmla="*/ 2147483647 w 52"/>
                <a:gd name="T71" fmla="*/ 2147483647 h 49"/>
                <a:gd name="T72" fmla="*/ 2147483647 w 52"/>
                <a:gd name="T73" fmla="*/ 2147483647 h 49"/>
                <a:gd name="T74" fmla="*/ 2147483647 w 52"/>
                <a:gd name="T75" fmla="*/ 2147483647 h 49"/>
                <a:gd name="T76" fmla="*/ 2147483647 w 52"/>
                <a:gd name="T77" fmla="*/ 2147483647 h 49"/>
                <a:gd name="T78" fmla="*/ 2147483647 w 52"/>
                <a:gd name="T79" fmla="*/ 2147483647 h 49"/>
                <a:gd name="T80" fmla="*/ 2147483647 w 52"/>
                <a:gd name="T81" fmla="*/ 2147483647 h 49"/>
                <a:gd name="T82" fmla="*/ 2147483647 w 52"/>
                <a:gd name="T83" fmla="*/ 2147483647 h 49"/>
                <a:gd name="T84" fmla="*/ 2147483647 w 52"/>
                <a:gd name="T85" fmla="*/ 2147483647 h 49"/>
                <a:gd name="T86" fmla="*/ 2147483647 w 52"/>
                <a:gd name="T87" fmla="*/ 2147483647 h 49"/>
                <a:gd name="T88" fmla="*/ 2147483647 w 52"/>
                <a:gd name="T89" fmla="*/ 2147483647 h 49"/>
                <a:gd name="T90" fmla="*/ 2147483647 w 52"/>
                <a:gd name="T91" fmla="*/ 2147483647 h 49"/>
                <a:gd name="T92" fmla="*/ 2147483647 w 52"/>
                <a:gd name="T93" fmla="*/ 2147483647 h 49"/>
                <a:gd name="T94" fmla="*/ 2147483647 w 52"/>
                <a:gd name="T95" fmla="*/ 2147483647 h 49"/>
                <a:gd name="T96" fmla="*/ 2147483647 w 52"/>
                <a:gd name="T97" fmla="*/ 2147483647 h 49"/>
                <a:gd name="T98" fmla="*/ 2147483647 w 52"/>
                <a:gd name="T99" fmla="*/ 2147483647 h 49"/>
                <a:gd name="T100" fmla="*/ 2147483647 w 52"/>
                <a:gd name="T101" fmla="*/ 2147483647 h 49"/>
                <a:gd name="T102" fmla="*/ 0 w 52"/>
                <a:gd name="T103" fmla="*/ 2147483647 h 49"/>
                <a:gd name="T104" fmla="*/ 2147483647 w 52"/>
                <a:gd name="T105" fmla="*/ 2147483647 h 49"/>
                <a:gd name="T106" fmla="*/ 2147483647 w 52"/>
                <a:gd name="T107" fmla="*/ 2147483647 h 49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2"/>
                <a:gd name="T163" fmla="*/ 0 h 49"/>
                <a:gd name="T164" fmla="*/ 52 w 52"/>
                <a:gd name="T165" fmla="*/ 49 h 49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2" h="49">
                  <a:moveTo>
                    <a:pt x="15" y="38"/>
                  </a:moveTo>
                  <a:lnTo>
                    <a:pt x="26" y="35"/>
                  </a:lnTo>
                  <a:lnTo>
                    <a:pt x="26" y="38"/>
                  </a:lnTo>
                  <a:lnTo>
                    <a:pt x="26" y="40"/>
                  </a:lnTo>
                  <a:lnTo>
                    <a:pt x="29" y="40"/>
                  </a:lnTo>
                  <a:lnTo>
                    <a:pt x="35" y="43"/>
                  </a:lnTo>
                  <a:lnTo>
                    <a:pt x="32" y="49"/>
                  </a:lnTo>
                  <a:lnTo>
                    <a:pt x="38" y="49"/>
                  </a:lnTo>
                  <a:lnTo>
                    <a:pt x="35" y="46"/>
                  </a:lnTo>
                  <a:lnTo>
                    <a:pt x="38" y="38"/>
                  </a:lnTo>
                  <a:lnTo>
                    <a:pt x="35" y="32"/>
                  </a:lnTo>
                  <a:lnTo>
                    <a:pt x="35" y="29"/>
                  </a:lnTo>
                  <a:lnTo>
                    <a:pt x="38" y="26"/>
                  </a:lnTo>
                  <a:lnTo>
                    <a:pt x="46" y="29"/>
                  </a:lnTo>
                  <a:lnTo>
                    <a:pt x="46" y="26"/>
                  </a:lnTo>
                  <a:lnTo>
                    <a:pt x="46" y="23"/>
                  </a:lnTo>
                  <a:lnTo>
                    <a:pt x="49" y="20"/>
                  </a:lnTo>
                  <a:lnTo>
                    <a:pt x="43" y="15"/>
                  </a:lnTo>
                  <a:lnTo>
                    <a:pt x="46" y="15"/>
                  </a:lnTo>
                  <a:lnTo>
                    <a:pt x="52" y="12"/>
                  </a:lnTo>
                  <a:lnTo>
                    <a:pt x="52" y="9"/>
                  </a:lnTo>
                  <a:lnTo>
                    <a:pt x="52" y="0"/>
                  </a:lnTo>
                  <a:lnTo>
                    <a:pt x="43" y="0"/>
                  </a:lnTo>
                  <a:lnTo>
                    <a:pt x="38" y="0"/>
                  </a:lnTo>
                  <a:lnTo>
                    <a:pt x="29" y="6"/>
                  </a:lnTo>
                  <a:lnTo>
                    <a:pt x="29" y="15"/>
                  </a:lnTo>
                  <a:lnTo>
                    <a:pt x="35" y="17"/>
                  </a:lnTo>
                  <a:lnTo>
                    <a:pt x="26" y="20"/>
                  </a:lnTo>
                  <a:lnTo>
                    <a:pt x="23" y="17"/>
                  </a:lnTo>
                  <a:lnTo>
                    <a:pt x="23" y="12"/>
                  </a:lnTo>
                  <a:lnTo>
                    <a:pt x="23" y="9"/>
                  </a:lnTo>
                  <a:lnTo>
                    <a:pt x="23" y="3"/>
                  </a:lnTo>
                  <a:lnTo>
                    <a:pt x="20" y="3"/>
                  </a:lnTo>
                  <a:lnTo>
                    <a:pt x="20" y="6"/>
                  </a:lnTo>
                  <a:lnTo>
                    <a:pt x="17" y="15"/>
                  </a:lnTo>
                  <a:lnTo>
                    <a:pt x="12" y="23"/>
                  </a:lnTo>
                  <a:lnTo>
                    <a:pt x="3" y="32"/>
                  </a:lnTo>
                  <a:lnTo>
                    <a:pt x="0" y="38"/>
                  </a:lnTo>
                  <a:lnTo>
                    <a:pt x="6" y="40"/>
                  </a:lnTo>
                  <a:lnTo>
                    <a:pt x="15" y="3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77" name="Freeform 140"/>
            <p:cNvSpPr>
              <a:spLocks noChangeAspect="1"/>
            </p:cNvSpPr>
            <p:nvPr/>
          </p:nvSpPr>
          <p:spPr bwMode="gray">
            <a:xfrm>
              <a:off x="7022646" y="3390118"/>
              <a:ext cx="134719" cy="105879"/>
            </a:xfrm>
            <a:custGeom>
              <a:avLst/>
              <a:gdLst>
                <a:gd name="T0" fmla="*/ 0 w 52"/>
                <a:gd name="T1" fmla="*/ 2147483647 h 37"/>
                <a:gd name="T2" fmla="*/ 0 w 52"/>
                <a:gd name="T3" fmla="*/ 2147483647 h 37"/>
                <a:gd name="T4" fmla="*/ 2147483647 w 52"/>
                <a:gd name="T5" fmla="*/ 2147483647 h 37"/>
                <a:gd name="T6" fmla="*/ 2147483647 w 52"/>
                <a:gd name="T7" fmla="*/ 2147483647 h 37"/>
                <a:gd name="T8" fmla="*/ 2147483647 w 52"/>
                <a:gd name="T9" fmla="*/ 2147483647 h 37"/>
                <a:gd name="T10" fmla="*/ 2147483647 w 52"/>
                <a:gd name="T11" fmla="*/ 2147483647 h 37"/>
                <a:gd name="T12" fmla="*/ 2147483647 w 52"/>
                <a:gd name="T13" fmla="*/ 2147483647 h 37"/>
                <a:gd name="T14" fmla="*/ 2147483647 w 52"/>
                <a:gd name="T15" fmla="*/ 2147483647 h 37"/>
                <a:gd name="T16" fmla="*/ 2147483647 w 52"/>
                <a:gd name="T17" fmla="*/ 2147483647 h 37"/>
                <a:gd name="T18" fmla="*/ 2147483647 w 52"/>
                <a:gd name="T19" fmla="*/ 2147483647 h 37"/>
                <a:gd name="T20" fmla="*/ 2147483647 w 52"/>
                <a:gd name="T21" fmla="*/ 2147483647 h 37"/>
                <a:gd name="T22" fmla="*/ 2147483647 w 52"/>
                <a:gd name="T23" fmla="*/ 2147483647 h 37"/>
                <a:gd name="T24" fmla="*/ 2147483647 w 52"/>
                <a:gd name="T25" fmla="*/ 2147483647 h 37"/>
                <a:gd name="T26" fmla="*/ 2147483647 w 52"/>
                <a:gd name="T27" fmla="*/ 2147483647 h 37"/>
                <a:gd name="T28" fmla="*/ 2147483647 w 52"/>
                <a:gd name="T29" fmla="*/ 2147483647 h 37"/>
                <a:gd name="T30" fmla="*/ 2147483647 w 52"/>
                <a:gd name="T31" fmla="*/ 2147483647 h 37"/>
                <a:gd name="T32" fmla="*/ 2147483647 w 52"/>
                <a:gd name="T33" fmla="*/ 2147483647 h 37"/>
                <a:gd name="T34" fmla="*/ 2147483647 w 52"/>
                <a:gd name="T35" fmla="*/ 2147483647 h 37"/>
                <a:gd name="T36" fmla="*/ 2147483647 w 52"/>
                <a:gd name="T37" fmla="*/ 2147483647 h 37"/>
                <a:gd name="T38" fmla="*/ 2147483647 w 52"/>
                <a:gd name="T39" fmla="*/ 2147483647 h 37"/>
                <a:gd name="T40" fmla="*/ 2147483647 w 52"/>
                <a:gd name="T41" fmla="*/ 2147483647 h 37"/>
                <a:gd name="T42" fmla="*/ 2147483647 w 52"/>
                <a:gd name="T43" fmla="*/ 2147483647 h 37"/>
                <a:gd name="T44" fmla="*/ 2147483647 w 52"/>
                <a:gd name="T45" fmla="*/ 2147483647 h 37"/>
                <a:gd name="T46" fmla="*/ 2147483647 w 52"/>
                <a:gd name="T47" fmla="*/ 2147483647 h 37"/>
                <a:gd name="T48" fmla="*/ 2147483647 w 52"/>
                <a:gd name="T49" fmla="*/ 2147483647 h 37"/>
                <a:gd name="T50" fmla="*/ 2147483647 w 52"/>
                <a:gd name="T51" fmla="*/ 2147483647 h 37"/>
                <a:gd name="T52" fmla="*/ 2147483647 w 52"/>
                <a:gd name="T53" fmla="*/ 2147483647 h 37"/>
                <a:gd name="T54" fmla="*/ 2147483647 w 52"/>
                <a:gd name="T55" fmla="*/ 0 h 37"/>
                <a:gd name="T56" fmla="*/ 2147483647 w 52"/>
                <a:gd name="T57" fmla="*/ 2147483647 h 37"/>
                <a:gd name="T58" fmla="*/ 2147483647 w 52"/>
                <a:gd name="T59" fmla="*/ 2147483647 h 37"/>
                <a:gd name="T60" fmla="*/ 2147483647 w 52"/>
                <a:gd name="T61" fmla="*/ 2147483647 h 37"/>
                <a:gd name="T62" fmla="*/ 2147483647 w 52"/>
                <a:gd name="T63" fmla="*/ 2147483647 h 37"/>
                <a:gd name="T64" fmla="*/ 2147483647 w 52"/>
                <a:gd name="T65" fmla="*/ 2147483647 h 37"/>
                <a:gd name="T66" fmla="*/ 2147483647 w 52"/>
                <a:gd name="T67" fmla="*/ 2147483647 h 37"/>
                <a:gd name="T68" fmla="*/ 2147483647 w 52"/>
                <a:gd name="T69" fmla="*/ 2147483647 h 37"/>
                <a:gd name="T70" fmla="*/ 0 w 52"/>
                <a:gd name="T71" fmla="*/ 2147483647 h 37"/>
                <a:gd name="T72" fmla="*/ 0 w 52"/>
                <a:gd name="T73" fmla="*/ 2147483647 h 37"/>
                <a:gd name="T74" fmla="*/ 0 w 52"/>
                <a:gd name="T75" fmla="*/ 2147483647 h 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52"/>
                <a:gd name="T115" fmla="*/ 0 h 37"/>
                <a:gd name="T116" fmla="*/ 52 w 52"/>
                <a:gd name="T117" fmla="*/ 37 h 37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52" h="37">
                  <a:moveTo>
                    <a:pt x="0" y="14"/>
                  </a:moveTo>
                  <a:lnTo>
                    <a:pt x="0" y="14"/>
                  </a:lnTo>
                  <a:lnTo>
                    <a:pt x="3" y="14"/>
                  </a:lnTo>
                  <a:lnTo>
                    <a:pt x="14" y="14"/>
                  </a:lnTo>
                  <a:lnTo>
                    <a:pt x="17" y="20"/>
                  </a:lnTo>
                  <a:lnTo>
                    <a:pt x="23" y="20"/>
                  </a:lnTo>
                  <a:lnTo>
                    <a:pt x="26" y="25"/>
                  </a:lnTo>
                  <a:lnTo>
                    <a:pt x="26" y="28"/>
                  </a:lnTo>
                  <a:lnTo>
                    <a:pt x="34" y="17"/>
                  </a:lnTo>
                  <a:lnTo>
                    <a:pt x="37" y="28"/>
                  </a:lnTo>
                  <a:lnTo>
                    <a:pt x="43" y="34"/>
                  </a:lnTo>
                  <a:lnTo>
                    <a:pt x="46" y="37"/>
                  </a:lnTo>
                  <a:lnTo>
                    <a:pt x="43" y="28"/>
                  </a:lnTo>
                  <a:lnTo>
                    <a:pt x="49" y="22"/>
                  </a:lnTo>
                  <a:lnTo>
                    <a:pt x="52" y="20"/>
                  </a:lnTo>
                  <a:lnTo>
                    <a:pt x="52" y="17"/>
                  </a:lnTo>
                  <a:lnTo>
                    <a:pt x="43" y="14"/>
                  </a:lnTo>
                  <a:lnTo>
                    <a:pt x="43" y="11"/>
                  </a:lnTo>
                  <a:lnTo>
                    <a:pt x="46" y="5"/>
                  </a:lnTo>
                  <a:lnTo>
                    <a:pt x="43" y="5"/>
                  </a:lnTo>
                  <a:lnTo>
                    <a:pt x="37" y="5"/>
                  </a:lnTo>
                  <a:lnTo>
                    <a:pt x="37" y="2"/>
                  </a:lnTo>
                  <a:lnTo>
                    <a:pt x="34" y="0"/>
                  </a:lnTo>
                  <a:lnTo>
                    <a:pt x="29" y="2"/>
                  </a:lnTo>
                  <a:lnTo>
                    <a:pt x="20" y="5"/>
                  </a:lnTo>
                  <a:lnTo>
                    <a:pt x="11" y="2"/>
                  </a:lnTo>
                  <a:lnTo>
                    <a:pt x="8" y="2"/>
                  </a:lnTo>
                  <a:lnTo>
                    <a:pt x="0" y="5"/>
                  </a:lnTo>
                  <a:lnTo>
                    <a:pt x="0" y="11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78" name="Freeform 142"/>
            <p:cNvSpPr>
              <a:spLocks noChangeAspect="1"/>
            </p:cNvSpPr>
            <p:nvPr/>
          </p:nvSpPr>
          <p:spPr bwMode="gray">
            <a:xfrm>
              <a:off x="6750255" y="3233506"/>
              <a:ext cx="20651" cy="16543"/>
            </a:xfrm>
            <a:custGeom>
              <a:avLst/>
              <a:gdLst>
                <a:gd name="T0" fmla="*/ 2147483647 w 8"/>
                <a:gd name="T1" fmla="*/ 0 h 6"/>
                <a:gd name="T2" fmla="*/ 0 w 8"/>
                <a:gd name="T3" fmla="*/ 2147483647 h 6"/>
                <a:gd name="T4" fmla="*/ 2147483647 w 8"/>
                <a:gd name="T5" fmla="*/ 2147483647 h 6"/>
                <a:gd name="T6" fmla="*/ 2147483647 w 8"/>
                <a:gd name="T7" fmla="*/ 2147483647 h 6"/>
                <a:gd name="T8" fmla="*/ 2147483647 w 8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6"/>
                <a:gd name="T17" fmla="*/ 8 w 8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6">
                  <a:moveTo>
                    <a:pt x="5" y="0"/>
                  </a:moveTo>
                  <a:lnTo>
                    <a:pt x="0" y="6"/>
                  </a:lnTo>
                  <a:lnTo>
                    <a:pt x="5" y="6"/>
                  </a:lnTo>
                  <a:lnTo>
                    <a:pt x="8" y="3"/>
                  </a:lnTo>
                  <a:lnTo>
                    <a:pt x="5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79" name="Freeform 145"/>
            <p:cNvSpPr>
              <a:spLocks noChangeAspect="1"/>
            </p:cNvSpPr>
            <p:nvPr/>
          </p:nvSpPr>
          <p:spPr bwMode="gray">
            <a:xfrm>
              <a:off x="6705021" y="3015132"/>
              <a:ext cx="286158" cy="445571"/>
            </a:xfrm>
            <a:custGeom>
              <a:avLst/>
              <a:gdLst>
                <a:gd name="T0" fmla="*/ 2147483647 w 112"/>
                <a:gd name="T1" fmla="*/ 2147483647 h 155"/>
                <a:gd name="T2" fmla="*/ 2147483647 w 112"/>
                <a:gd name="T3" fmla="*/ 2147483647 h 155"/>
                <a:gd name="T4" fmla="*/ 2147483647 w 112"/>
                <a:gd name="T5" fmla="*/ 2147483647 h 155"/>
                <a:gd name="T6" fmla="*/ 2147483647 w 112"/>
                <a:gd name="T7" fmla="*/ 2147483647 h 155"/>
                <a:gd name="T8" fmla="*/ 0 w 112"/>
                <a:gd name="T9" fmla="*/ 2147483647 h 155"/>
                <a:gd name="T10" fmla="*/ 2147483647 w 112"/>
                <a:gd name="T11" fmla="*/ 2147483647 h 155"/>
                <a:gd name="T12" fmla="*/ 2147483647 w 112"/>
                <a:gd name="T13" fmla="*/ 2147483647 h 155"/>
                <a:gd name="T14" fmla="*/ 2147483647 w 112"/>
                <a:gd name="T15" fmla="*/ 2147483647 h 155"/>
                <a:gd name="T16" fmla="*/ 2147483647 w 112"/>
                <a:gd name="T17" fmla="*/ 2147483647 h 155"/>
                <a:gd name="T18" fmla="*/ 2147483647 w 112"/>
                <a:gd name="T19" fmla="*/ 2147483647 h 155"/>
                <a:gd name="T20" fmla="*/ 2147483647 w 112"/>
                <a:gd name="T21" fmla="*/ 2147483647 h 155"/>
                <a:gd name="T22" fmla="*/ 2147483647 w 112"/>
                <a:gd name="T23" fmla="*/ 2147483647 h 155"/>
                <a:gd name="T24" fmla="*/ 2147483647 w 112"/>
                <a:gd name="T25" fmla="*/ 2147483647 h 155"/>
                <a:gd name="T26" fmla="*/ 2147483647 w 112"/>
                <a:gd name="T27" fmla="*/ 2147483647 h 155"/>
                <a:gd name="T28" fmla="*/ 2147483647 w 112"/>
                <a:gd name="T29" fmla="*/ 2147483647 h 155"/>
                <a:gd name="T30" fmla="*/ 2147483647 w 112"/>
                <a:gd name="T31" fmla="*/ 2147483647 h 155"/>
                <a:gd name="T32" fmla="*/ 2147483647 w 112"/>
                <a:gd name="T33" fmla="*/ 2147483647 h 155"/>
                <a:gd name="T34" fmla="*/ 2147483647 w 112"/>
                <a:gd name="T35" fmla="*/ 2147483647 h 155"/>
                <a:gd name="T36" fmla="*/ 2147483647 w 112"/>
                <a:gd name="T37" fmla="*/ 2147483647 h 155"/>
                <a:gd name="T38" fmla="*/ 2147483647 w 112"/>
                <a:gd name="T39" fmla="*/ 2147483647 h 155"/>
                <a:gd name="T40" fmla="*/ 2147483647 w 112"/>
                <a:gd name="T41" fmla="*/ 2147483647 h 155"/>
                <a:gd name="T42" fmla="*/ 2147483647 w 112"/>
                <a:gd name="T43" fmla="*/ 2147483647 h 155"/>
                <a:gd name="T44" fmla="*/ 2147483647 w 112"/>
                <a:gd name="T45" fmla="*/ 2147483647 h 155"/>
                <a:gd name="T46" fmla="*/ 2147483647 w 112"/>
                <a:gd name="T47" fmla="*/ 2147483647 h 155"/>
                <a:gd name="T48" fmla="*/ 2147483647 w 112"/>
                <a:gd name="T49" fmla="*/ 2147483647 h 155"/>
                <a:gd name="T50" fmla="*/ 2147483647 w 112"/>
                <a:gd name="T51" fmla="*/ 2147483647 h 155"/>
                <a:gd name="T52" fmla="*/ 2147483647 w 112"/>
                <a:gd name="T53" fmla="*/ 2147483647 h 155"/>
                <a:gd name="T54" fmla="*/ 0 w 112"/>
                <a:gd name="T55" fmla="*/ 2147483647 h 155"/>
                <a:gd name="T56" fmla="*/ 2147483647 w 112"/>
                <a:gd name="T57" fmla="*/ 2147483647 h 155"/>
                <a:gd name="T58" fmla="*/ 2147483647 w 112"/>
                <a:gd name="T59" fmla="*/ 2147483647 h 155"/>
                <a:gd name="T60" fmla="*/ 2147483647 w 112"/>
                <a:gd name="T61" fmla="*/ 2147483647 h 155"/>
                <a:gd name="T62" fmla="*/ 2147483647 w 112"/>
                <a:gd name="T63" fmla="*/ 2147483647 h 155"/>
                <a:gd name="T64" fmla="*/ 2147483647 w 112"/>
                <a:gd name="T65" fmla="*/ 2147483647 h 155"/>
                <a:gd name="T66" fmla="*/ 2147483647 w 112"/>
                <a:gd name="T67" fmla="*/ 2147483647 h 155"/>
                <a:gd name="T68" fmla="*/ 2147483647 w 112"/>
                <a:gd name="T69" fmla="*/ 2147483647 h 155"/>
                <a:gd name="T70" fmla="*/ 2147483647 w 112"/>
                <a:gd name="T71" fmla="*/ 2147483647 h 155"/>
                <a:gd name="T72" fmla="*/ 2147483647 w 112"/>
                <a:gd name="T73" fmla="*/ 2147483647 h 155"/>
                <a:gd name="T74" fmla="*/ 2147483647 w 112"/>
                <a:gd name="T75" fmla="*/ 2147483647 h 155"/>
                <a:gd name="T76" fmla="*/ 2147483647 w 112"/>
                <a:gd name="T77" fmla="*/ 2147483647 h 155"/>
                <a:gd name="T78" fmla="*/ 2147483647 w 112"/>
                <a:gd name="T79" fmla="*/ 2147483647 h 155"/>
                <a:gd name="T80" fmla="*/ 2147483647 w 112"/>
                <a:gd name="T81" fmla="*/ 2147483647 h 155"/>
                <a:gd name="T82" fmla="*/ 2147483647 w 112"/>
                <a:gd name="T83" fmla="*/ 2147483647 h 155"/>
                <a:gd name="T84" fmla="*/ 2147483647 w 112"/>
                <a:gd name="T85" fmla="*/ 2147483647 h 155"/>
                <a:gd name="T86" fmla="*/ 2147483647 w 112"/>
                <a:gd name="T87" fmla="*/ 2147483647 h 155"/>
                <a:gd name="T88" fmla="*/ 2147483647 w 112"/>
                <a:gd name="T89" fmla="*/ 2147483647 h 155"/>
                <a:gd name="T90" fmla="*/ 2147483647 w 112"/>
                <a:gd name="T91" fmla="*/ 2147483647 h 155"/>
                <a:gd name="T92" fmla="*/ 2147483647 w 112"/>
                <a:gd name="T93" fmla="*/ 2147483647 h 155"/>
                <a:gd name="T94" fmla="*/ 2147483647 w 112"/>
                <a:gd name="T95" fmla="*/ 2147483647 h 155"/>
                <a:gd name="T96" fmla="*/ 2147483647 w 112"/>
                <a:gd name="T97" fmla="*/ 2147483647 h 155"/>
                <a:gd name="T98" fmla="*/ 2147483647 w 112"/>
                <a:gd name="T99" fmla="*/ 2147483647 h 155"/>
                <a:gd name="T100" fmla="*/ 2147483647 w 112"/>
                <a:gd name="T101" fmla="*/ 2147483647 h 155"/>
                <a:gd name="T102" fmla="*/ 2147483647 w 112"/>
                <a:gd name="T103" fmla="*/ 2147483647 h 155"/>
                <a:gd name="T104" fmla="*/ 2147483647 w 112"/>
                <a:gd name="T105" fmla="*/ 2147483647 h 155"/>
                <a:gd name="T106" fmla="*/ 2147483647 w 112"/>
                <a:gd name="T107" fmla="*/ 2147483647 h 155"/>
                <a:gd name="T108" fmla="*/ 2147483647 w 112"/>
                <a:gd name="T109" fmla="*/ 2147483647 h 155"/>
                <a:gd name="T110" fmla="*/ 2147483647 w 112"/>
                <a:gd name="T111" fmla="*/ 2147483647 h 155"/>
                <a:gd name="T112" fmla="*/ 2147483647 w 112"/>
                <a:gd name="T113" fmla="*/ 2147483647 h 155"/>
                <a:gd name="T114" fmla="*/ 2147483647 w 112"/>
                <a:gd name="T115" fmla="*/ 2147483647 h 155"/>
                <a:gd name="T116" fmla="*/ 2147483647 w 112"/>
                <a:gd name="T117" fmla="*/ 0 h 155"/>
                <a:gd name="T118" fmla="*/ 2147483647 w 112"/>
                <a:gd name="T119" fmla="*/ 0 h 155"/>
                <a:gd name="T120" fmla="*/ 2147483647 w 112"/>
                <a:gd name="T121" fmla="*/ 2147483647 h 155"/>
                <a:gd name="T122" fmla="*/ 2147483647 w 112"/>
                <a:gd name="T123" fmla="*/ 2147483647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2"/>
                <a:gd name="T187" fmla="*/ 0 h 155"/>
                <a:gd name="T188" fmla="*/ 112 w 112"/>
                <a:gd name="T189" fmla="*/ 155 h 15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2" h="155">
                  <a:moveTo>
                    <a:pt x="12" y="15"/>
                  </a:moveTo>
                  <a:lnTo>
                    <a:pt x="12" y="20"/>
                  </a:lnTo>
                  <a:lnTo>
                    <a:pt x="9" y="23"/>
                  </a:lnTo>
                  <a:lnTo>
                    <a:pt x="9" y="29"/>
                  </a:lnTo>
                  <a:lnTo>
                    <a:pt x="6" y="35"/>
                  </a:lnTo>
                  <a:lnTo>
                    <a:pt x="3" y="35"/>
                  </a:lnTo>
                  <a:lnTo>
                    <a:pt x="3" y="41"/>
                  </a:lnTo>
                  <a:lnTo>
                    <a:pt x="9" y="38"/>
                  </a:lnTo>
                  <a:lnTo>
                    <a:pt x="18" y="38"/>
                  </a:lnTo>
                  <a:lnTo>
                    <a:pt x="15" y="41"/>
                  </a:lnTo>
                  <a:lnTo>
                    <a:pt x="12" y="43"/>
                  </a:lnTo>
                  <a:lnTo>
                    <a:pt x="6" y="43"/>
                  </a:lnTo>
                  <a:lnTo>
                    <a:pt x="0" y="49"/>
                  </a:lnTo>
                  <a:lnTo>
                    <a:pt x="0" y="52"/>
                  </a:lnTo>
                  <a:lnTo>
                    <a:pt x="6" y="49"/>
                  </a:lnTo>
                  <a:lnTo>
                    <a:pt x="9" y="52"/>
                  </a:lnTo>
                  <a:lnTo>
                    <a:pt x="9" y="55"/>
                  </a:lnTo>
                  <a:lnTo>
                    <a:pt x="6" y="61"/>
                  </a:lnTo>
                  <a:lnTo>
                    <a:pt x="15" y="55"/>
                  </a:lnTo>
                  <a:lnTo>
                    <a:pt x="15" y="58"/>
                  </a:lnTo>
                  <a:lnTo>
                    <a:pt x="18" y="55"/>
                  </a:lnTo>
                  <a:lnTo>
                    <a:pt x="23" y="49"/>
                  </a:lnTo>
                  <a:lnTo>
                    <a:pt x="21" y="58"/>
                  </a:lnTo>
                  <a:lnTo>
                    <a:pt x="21" y="61"/>
                  </a:lnTo>
                  <a:lnTo>
                    <a:pt x="18" y="63"/>
                  </a:lnTo>
                  <a:lnTo>
                    <a:pt x="15" y="66"/>
                  </a:lnTo>
                  <a:lnTo>
                    <a:pt x="18" y="69"/>
                  </a:lnTo>
                  <a:lnTo>
                    <a:pt x="21" y="66"/>
                  </a:lnTo>
                  <a:lnTo>
                    <a:pt x="23" y="69"/>
                  </a:lnTo>
                  <a:lnTo>
                    <a:pt x="26" y="66"/>
                  </a:lnTo>
                  <a:lnTo>
                    <a:pt x="32" y="66"/>
                  </a:lnTo>
                  <a:lnTo>
                    <a:pt x="35" y="66"/>
                  </a:lnTo>
                  <a:lnTo>
                    <a:pt x="41" y="63"/>
                  </a:lnTo>
                  <a:lnTo>
                    <a:pt x="38" y="69"/>
                  </a:lnTo>
                  <a:lnTo>
                    <a:pt x="38" y="78"/>
                  </a:lnTo>
                  <a:lnTo>
                    <a:pt x="43" y="78"/>
                  </a:lnTo>
                  <a:lnTo>
                    <a:pt x="43" y="84"/>
                  </a:lnTo>
                  <a:lnTo>
                    <a:pt x="43" y="92"/>
                  </a:lnTo>
                  <a:lnTo>
                    <a:pt x="41" y="95"/>
                  </a:lnTo>
                  <a:lnTo>
                    <a:pt x="35" y="95"/>
                  </a:lnTo>
                  <a:lnTo>
                    <a:pt x="23" y="95"/>
                  </a:lnTo>
                  <a:lnTo>
                    <a:pt x="18" y="95"/>
                  </a:lnTo>
                  <a:lnTo>
                    <a:pt x="12" y="98"/>
                  </a:lnTo>
                  <a:lnTo>
                    <a:pt x="21" y="98"/>
                  </a:lnTo>
                  <a:lnTo>
                    <a:pt x="26" y="98"/>
                  </a:lnTo>
                  <a:lnTo>
                    <a:pt x="29" y="101"/>
                  </a:lnTo>
                  <a:lnTo>
                    <a:pt x="23" y="101"/>
                  </a:lnTo>
                  <a:lnTo>
                    <a:pt x="21" y="104"/>
                  </a:lnTo>
                  <a:lnTo>
                    <a:pt x="26" y="104"/>
                  </a:lnTo>
                  <a:lnTo>
                    <a:pt x="26" y="109"/>
                  </a:lnTo>
                  <a:lnTo>
                    <a:pt x="26" y="115"/>
                  </a:lnTo>
                  <a:lnTo>
                    <a:pt x="21" y="118"/>
                  </a:lnTo>
                  <a:lnTo>
                    <a:pt x="12" y="118"/>
                  </a:lnTo>
                  <a:lnTo>
                    <a:pt x="12" y="127"/>
                  </a:lnTo>
                  <a:lnTo>
                    <a:pt x="21" y="127"/>
                  </a:lnTo>
                  <a:lnTo>
                    <a:pt x="26" y="127"/>
                  </a:lnTo>
                  <a:lnTo>
                    <a:pt x="32" y="130"/>
                  </a:lnTo>
                  <a:lnTo>
                    <a:pt x="35" y="130"/>
                  </a:lnTo>
                  <a:lnTo>
                    <a:pt x="41" y="132"/>
                  </a:lnTo>
                  <a:lnTo>
                    <a:pt x="43" y="130"/>
                  </a:lnTo>
                  <a:lnTo>
                    <a:pt x="46" y="127"/>
                  </a:lnTo>
                  <a:lnTo>
                    <a:pt x="41" y="132"/>
                  </a:lnTo>
                  <a:lnTo>
                    <a:pt x="35" y="135"/>
                  </a:lnTo>
                  <a:lnTo>
                    <a:pt x="29" y="132"/>
                  </a:lnTo>
                  <a:lnTo>
                    <a:pt x="21" y="141"/>
                  </a:lnTo>
                  <a:lnTo>
                    <a:pt x="15" y="147"/>
                  </a:lnTo>
                  <a:lnTo>
                    <a:pt x="6" y="152"/>
                  </a:lnTo>
                  <a:lnTo>
                    <a:pt x="0" y="155"/>
                  </a:lnTo>
                  <a:lnTo>
                    <a:pt x="6" y="155"/>
                  </a:lnTo>
                  <a:lnTo>
                    <a:pt x="15" y="150"/>
                  </a:lnTo>
                  <a:lnTo>
                    <a:pt x="21" y="150"/>
                  </a:lnTo>
                  <a:lnTo>
                    <a:pt x="26" y="152"/>
                  </a:lnTo>
                  <a:lnTo>
                    <a:pt x="32" y="147"/>
                  </a:lnTo>
                  <a:lnTo>
                    <a:pt x="43" y="144"/>
                  </a:lnTo>
                  <a:lnTo>
                    <a:pt x="52" y="144"/>
                  </a:lnTo>
                  <a:lnTo>
                    <a:pt x="58" y="144"/>
                  </a:lnTo>
                  <a:lnTo>
                    <a:pt x="61" y="144"/>
                  </a:lnTo>
                  <a:lnTo>
                    <a:pt x="66" y="147"/>
                  </a:lnTo>
                  <a:lnTo>
                    <a:pt x="72" y="144"/>
                  </a:lnTo>
                  <a:lnTo>
                    <a:pt x="87" y="144"/>
                  </a:lnTo>
                  <a:lnTo>
                    <a:pt x="89" y="144"/>
                  </a:lnTo>
                  <a:lnTo>
                    <a:pt x="95" y="141"/>
                  </a:lnTo>
                  <a:lnTo>
                    <a:pt x="107" y="135"/>
                  </a:lnTo>
                  <a:lnTo>
                    <a:pt x="110" y="132"/>
                  </a:lnTo>
                  <a:lnTo>
                    <a:pt x="110" y="130"/>
                  </a:lnTo>
                  <a:lnTo>
                    <a:pt x="107" y="130"/>
                  </a:lnTo>
                  <a:lnTo>
                    <a:pt x="95" y="130"/>
                  </a:lnTo>
                  <a:lnTo>
                    <a:pt x="104" y="124"/>
                  </a:lnTo>
                  <a:lnTo>
                    <a:pt x="112" y="115"/>
                  </a:lnTo>
                  <a:lnTo>
                    <a:pt x="112" y="109"/>
                  </a:lnTo>
                  <a:lnTo>
                    <a:pt x="110" y="101"/>
                  </a:lnTo>
                  <a:lnTo>
                    <a:pt x="107" y="101"/>
                  </a:lnTo>
                  <a:lnTo>
                    <a:pt x="98" y="101"/>
                  </a:lnTo>
                  <a:lnTo>
                    <a:pt x="92" y="104"/>
                  </a:lnTo>
                  <a:lnTo>
                    <a:pt x="89" y="104"/>
                  </a:lnTo>
                  <a:lnTo>
                    <a:pt x="87" y="104"/>
                  </a:lnTo>
                  <a:lnTo>
                    <a:pt x="89" y="101"/>
                  </a:lnTo>
                  <a:lnTo>
                    <a:pt x="92" y="101"/>
                  </a:lnTo>
                  <a:lnTo>
                    <a:pt x="92" y="98"/>
                  </a:lnTo>
                  <a:lnTo>
                    <a:pt x="92" y="92"/>
                  </a:lnTo>
                  <a:lnTo>
                    <a:pt x="89" y="89"/>
                  </a:lnTo>
                  <a:lnTo>
                    <a:pt x="87" y="86"/>
                  </a:lnTo>
                  <a:lnTo>
                    <a:pt x="87" y="81"/>
                  </a:lnTo>
                  <a:lnTo>
                    <a:pt x="84" y="78"/>
                  </a:lnTo>
                  <a:lnTo>
                    <a:pt x="84" y="75"/>
                  </a:lnTo>
                  <a:lnTo>
                    <a:pt x="81" y="72"/>
                  </a:lnTo>
                  <a:lnTo>
                    <a:pt x="72" y="72"/>
                  </a:lnTo>
                  <a:lnTo>
                    <a:pt x="69" y="66"/>
                  </a:lnTo>
                  <a:lnTo>
                    <a:pt x="69" y="58"/>
                  </a:lnTo>
                  <a:lnTo>
                    <a:pt x="66" y="52"/>
                  </a:lnTo>
                  <a:lnTo>
                    <a:pt x="55" y="43"/>
                  </a:lnTo>
                  <a:lnTo>
                    <a:pt x="46" y="46"/>
                  </a:lnTo>
                  <a:lnTo>
                    <a:pt x="41" y="43"/>
                  </a:lnTo>
                  <a:lnTo>
                    <a:pt x="43" y="43"/>
                  </a:lnTo>
                  <a:lnTo>
                    <a:pt x="46" y="41"/>
                  </a:lnTo>
                  <a:lnTo>
                    <a:pt x="52" y="41"/>
                  </a:lnTo>
                  <a:lnTo>
                    <a:pt x="46" y="38"/>
                  </a:lnTo>
                  <a:lnTo>
                    <a:pt x="55" y="35"/>
                  </a:lnTo>
                  <a:lnTo>
                    <a:pt x="58" y="29"/>
                  </a:lnTo>
                  <a:lnTo>
                    <a:pt x="61" y="29"/>
                  </a:lnTo>
                  <a:lnTo>
                    <a:pt x="64" y="26"/>
                  </a:lnTo>
                  <a:lnTo>
                    <a:pt x="66" y="23"/>
                  </a:lnTo>
                  <a:lnTo>
                    <a:pt x="66" y="20"/>
                  </a:lnTo>
                  <a:lnTo>
                    <a:pt x="69" y="18"/>
                  </a:lnTo>
                  <a:lnTo>
                    <a:pt x="66" y="15"/>
                  </a:lnTo>
                  <a:lnTo>
                    <a:pt x="61" y="15"/>
                  </a:lnTo>
                  <a:lnTo>
                    <a:pt x="52" y="15"/>
                  </a:lnTo>
                  <a:lnTo>
                    <a:pt x="46" y="15"/>
                  </a:lnTo>
                  <a:lnTo>
                    <a:pt x="41" y="18"/>
                  </a:lnTo>
                  <a:lnTo>
                    <a:pt x="38" y="18"/>
                  </a:lnTo>
                  <a:lnTo>
                    <a:pt x="32" y="20"/>
                  </a:lnTo>
                  <a:lnTo>
                    <a:pt x="32" y="12"/>
                  </a:lnTo>
                  <a:lnTo>
                    <a:pt x="41" y="6"/>
                  </a:lnTo>
                  <a:lnTo>
                    <a:pt x="49" y="3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26" y="0"/>
                  </a:lnTo>
                  <a:lnTo>
                    <a:pt x="23" y="3"/>
                  </a:lnTo>
                  <a:lnTo>
                    <a:pt x="21" y="9"/>
                  </a:lnTo>
                  <a:lnTo>
                    <a:pt x="21" y="12"/>
                  </a:lnTo>
                  <a:lnTo>
                    <a:pt x="15" y="12"/>
                  </a:lnTo>
                  <a:lnTo>
                    <a:pt x="12" y="1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80" name="Freeform 146"/>
            <p:cNvSpPr>
              <a:spLocks noChangeAspect="1"/>
            </p:cNvSpPr>
            <p:nvPr/>
          </p:nvSpPr>
          <p:spPr bwMode="gray">
            <a:xfrm>
              <a:off x="6735504" y="3412175"/>
              <a:ext cx="493646" cy="474247"/>
            </a:xfrm>
            <a:custGeom>
              <a:avLst/>
              <a:gdLst>
                <a:gd name="T0" fmla="*/ 2147483647 w 192"/>
                <a:gd name="T1" fmla="*/ 2147483647 h 164"/>
                <a:gd name="T2" fmla="*/ 2147483647 w 192"/>
                <a:gd name="T3" fmla="*/ 2147483647 h 164"/>
                <a:gd name="T4" fmla="*/ 2147483647 w 192"/>
                <a:gd name="T5" fmla="*/ 2147483647 h 164"/>
                <a:gd name="T6" fmla="*/ 2147483647 w 192"/>
                <a:gd name="T7" fmla="*/ 2147483647 h 164"/>
                <a:gd name="T8" fmla="*/ 2147483647 w 192"/>
                <a:gd name="T9" fmla="*/ 2147483647 h 164"/>
                <a:gd name="T10" fmla="*/ 2147483647 w 192"/>
                <a:gd name="T11" fmla="*/ 2147483647 h 164"/>
                <a:gd name="T12" fmla="*/ 2147483647 w 192"/>
                <a:gd name="T13" fmla="*/ 2147483647 h 164"/>
                <a:gd name="T14" fmla="*/ 2147483647 w 192"/>
                <a:gd name="T15" fmla="*/ 2147483647 h 164"/>
                <a:gd name="T16" fmla="*/ 2147483647 w 192"/>
                <a:gd name="T17" fmla="*/ 2147483647 h 164"/>
                <a:gd name="T18" fmla="*/ 2147483647 w 192"/>
                <a:gd name="T19" fmla="*/ 2147483647 h 164"/>
                <a:gd name="T20" fmla="*/ 2147483647 w 192"/>
                <a:gd name="T21" fmla="*/ 2147483647 h 164"/>
                <a:gd name="T22" fmla="*/ 0 w 192"/>
                <a:gd name="T23" fmla="*/ 2147483647 h 164"/>
                <a:gd name="T24" fmla="*/ 2147483647 w 192"/>
                <a:gd name="T25" fmla="*/ 2147483647 h 164"/>
                <a:gd name="T26" fmla="*/ 2147483647 w 192"/>
                <a:gd name="T27" fmla="*/ 2147483647 h 164"/>
                <a:gd name="T28" fmla="*/ 2147483647 w 192"/>
                <a:gd name="T29" fmla="*/ 2147483647 h 164"/>
                <a:gd name="T30" fmla="*/ 2147483647 w 192"/>
                <a:gd name="T31" fmla="*/ 2147483647 h 164"/>
                <a:gd name="T32" fmla="*/ 2147483647 w 192"/>
                <a:gd name="T33" fmla="*/ 2147483647 h 164"/>
                <a:gd name="T34" fmla="*/ 2147483647 w 192"/>
                <a:gd name="T35" fmla="*/ 2147483647 h 164"/>
                <a:gd name="T36" fmla="*/ 2147483647 w 192"/>
                <a:gd name="T37" fmla="*/ 2147483647 h 164"/>
                <a:gd name="T38" fmla="*/ 2147483647 w 192"/>
                <a:gd name="T39" fmla="*/ 2147483647 h 164"/>
                <a:gd name="T40" fmla="*/ 2147483647 w 192"/>
                <a:gd name="T41" fmla="*/ 2147483647 h 164"/>
                <a:gd name="T42" fmla="*/ 2147483647 w 192"/>
                <a:gd name="T43" fmla="*/ 2147483647 h 164"/>
                <a:gd name="T44" fmla="*/ 2147483647 w 192"/>
                <a:gd name="T45" fmla="*/ 2147483647 h 164"/>
                <a:gd name="T46" fmla="*/ 2147483647 w 192"/>
                <a:gd name="T47" fmla="*/ 2147483647 h 164"/>
                <a:gd name="T48" fmla="*/ 2147483647 w 192"/>
                <a:gd name="T49" fmla="*/ 2147483647 h 164"/>
                <a:gd name="T50" fmla="*/ 2147483647 w 192"/>
                <a:gd name="T51" fmla="*/ 2147483647 h 164"/>
                <a:gd name="T52" fmla="*/ 2147483647 w 192"/>
                <a:gd name="T53" fmla="*/ 2147483647 h 164"/>
                <a:gd name="T54" fmla="*/ 2147483647 w 192"/>
                <a:gd name="T55" fmla="*/ 2147483647 h 164"/>
                <a:gd name="T56" fmla="*/ 2147483647 w 192"/>
                <a:gd name="T57" fmla="*/ 2147483647 h 164"/>
                <a:gd name="T58" fmla="*/ 2147483647 w 192"/>
                <a:gd name="T59" fmla="*/ 2147483647 h 164"/>
                <a:gd name="T60" fmla="*/ 2147483647 w 192"/>
                <a:gd name="T61" fmla="*/ 2147483647 h 164"/>
                <a:gd name="T62" fmla="*/ 2147483647 w 192"/>
                <a:gd name="T63" fmla="*/ 2147483647 h 164"/>
                <a:gd name="T64" fmla="*/ 2147483647 w 192"/>
                <a:gd name="T65" fmla="*/ 2147483647 h 164"/>
                <a:gd name="T66" fmla="*/ 2147483647 w 192"/>
                <a:gd name="T67" fmla="*/ 2147483647 h 164"/>
                <a:gd name="T68" fmla="*/ 2147483647 w 192"/>
                <a:gd name="T69" fmla="*/ 2147483647 h 164"/>
                <a:gd name="T70" fmla="*/ 2147483647 w 192"/>
                <a:gd name="T71" fmla="*/ 2147483647 h 164"/>
                <a:gd name="T72" fmla="*/ 2147483647 w 192"/>
                <a:gd name="T73" fmla="*/ 2147483647 h 164"/>
                <a:gd name="T74" fmla="*/ 2147483647 w 192"/>
                <a:gd name="T75" fmla="*/ 2147483647 h 164"/>
                <a:gd name="T76" fmla="*/ 2147483647 w 192"/>
                <a:gd name="T77" fmla="*/ 2147483647 h 164"/>
                <a:gd name="T78" fmla="*/ 2147483647 w 192"/>
                <a:gd name="T79" fmla="*/ 2147483647 h 164"/>
                <a:gd name="T80" fmla="*/ 2147483647 w 192"/>
                <a:gd name="T81" fmla="*/ 2147483647 h 164"/>
                <a:gd name="T82" fmla="*/ 2147483647 w 192"/>
                <a:gd name="T83" fmla="*/ 2147483647 h 164"/>
                <a:gd name="T84" fmla="*/ 2147483647 w 192"/>
                <a:gd name="T85" fmla="*/ 2147483647 h 164"/>
                <a:gd name="T86" fmla="*/ 2147483647 w 192"/>
                <a:gd name="T87" fmla="*/ 2147483647 h 164"/>
                <a:gd name="T88" fmla="*/ 2147483647 w 192"/>
                <a:gd name="T89" fmla="*/ 2147483647 h 164"/>
                <a:gd name="T90" fmla="*/ 2147483647 w 192"/>
                <a:gd name="T91" fmla="*/ 2147483647 h 164"/>
                <a:gd name="T92" fmla="*/ 2147483647 w 192"/>
                <a:gd name="T93" fmla="*/ 2147483647 h 164"/>
                <a:gd name="T94" fmla="*/ 2147483647 w 192"/>
                <a:gd name="T95" fmla="*/ 2147483647 h 164"/>
                <a:gd name="T96" fmla="*/ 2147483647 w 192"/>
                <a:gd name="T97" fmla="*/ 2147483647 h 164"/>
                <a:gd name="T98" fmla="*/ 2147483647 w 192"/>
                <a:gd name="T99" fmla="*/ 2147483647 h 164"/>
                <a:gd name="T100" fmla="*/ 2147483647 w 192"/>
                <a:gd name="T101" fmla="*/ 2147483647 h 164"/>
                <a:gd name="T102" fmla="*/ 2147483647 w 192"/>
                <a:gd name="T103" fmla="*/ 2147483647 h 164"/>
                <a:gd name="T104" fmla="*/ 2147483647 w 192"/>
                <a:gd name="T105" fmla="*/ 2147483647 h 164"/>
                <a:gd name="T106" fmla="*/ 2147483647 w 192"/>
                <a:gd name="T107" fmla="*/ 0 h 164"/>
                <a:gd name="T108" fmla="*/ 2147483647 w 192"/>
                <a:gd name="T109" fmla="*/ 0 h 164"/>
                <a:gd name="T110" fmla="*/ 2147483647 w 192"/>
                <a:gd name="T111" fmla="*/ 2147483647 h 164"/>
                <a:gd name="T112" fmla="*/ 2147483647 w 192"/>
                <a:gd name="T113" fmla="*/ 2147483647 h 1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2"/>
                <a:gd name="T172" fmla="*/ 0 h 164"/>
                <a:gd name="T173" fmla="*/ 192 w 192"/>
                <a:gd name="T174" fmla="*/ 164 h 1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2" h="164">
                  <a:moveTo>
                    <a:pt x="77" y="23"/>
                  </a:moveTo>
                  <a:lnTo>
                    <a:pt x="77" y="23"/>
                  </a:lnTo>
                  <a:lnTo>
                    <a:pt x="75" y="26"/>
                  </a:lnTo>
                  <a:lnTo>
                    <a:pt x="72" y="29"/>
                  </a:lnTo>
                  <a:lnTo>
                    <a:pt x="69" y="32"/>
                  </a:lnTo>
                  <a:lnTo>
                    <a:pt x="63" y="32"/>
                  </a:lnTo>
                  <a:lnTo>
                    <a:pt x="54" y="32"/>
                  </a:lnTo>
                  <a:lnTo>
                    <a:pt x="54" y="29"/>
                  </a:lnTo>
                  <a:lnTo>
                    <a:pt x="52" y="23"/>
                  </a:lnTo>
                  <a:lnTo>
                    <a:pt x="49" y="23"/>
                  </a:lnTo>
                  <a:lnTo>
                    <a:pt x="43" y="23"/>
                  </a:lnTo>
                  <a:lnTo>
                    <a:pt x="46" y="32"/>
                  </a:lnTo>
                  <a:lnTo>
                    <a:pt x="46" y="40"/>
                  </a:lnTo>
                  <a:lnTo>
                    <a:pt x="46" y="43"/>
                  </a:lnTo>
                  <a:lnTo>
                    <a:pt x="40" y="43"/>
                  </a:lnTo>
                  <a:lnTo>
                    <a:pt x="34" y="46"/>
                  </a:lnTo>
                  <a:lnTo>
                    <a:pt x="29" y="46"/>
                  </a:lnTo>
                  <a:lnTo>
                    <a:pt x="26" y="43"/>
                  </a:lnTo>
                  <a:lnTo>
                    <a:pt x="26" y="40"/>
                  </a:lnTo>
                  <a:lnTo>
                    <a:pt x="20" y="43"/>
                  </a:lnTo>
                  <a:lnTo>
                    <a:pt x="14" y="43"/>
                  </a:lnTo>
                  <a:lnTo>
                    <a:pt x="6" y="43"/>
                  </a:lnTo>
                  <a:lnTo>
                    <a:pt x="0" y="46"/>
                  </a:lnTo>
                  <a:lnTo>
                    <a:pt x="0" y="49"/>
                  </a:lnTo>
                  <a:lnTo>
                    <a:pt x="0" y="52"/>
                  </a:lnTo>
                  <a:lnTo>
                    <a:pt x="3" y="49"/>
                  </a:lnTo>
                  <a:lnTo>
                    <a:pt x="3" y="52"/>
                  </a:lnTo>
                  <a:lnTo>
                    <a:pt x="3" y="55"/>
                  </a:lnTo>
                  <a:lnTo>
                    <a:pt x="3" y="58"/>
                  </a:lnTo>
                  <a:lnTo>
                    <a:pt x="3" y="60"/>
                  </a:lnTo>
                  <a:lnTo>
                    <a:pt x="9" y="60"/>
                  </a:lnTo>
                  <a:lnTo>
                    <a:pt x="14" y="60"/>
                  </a:lnTo>
                  <a:lnTo>
                    <a:pt x="20" y="63"/>
                  </a:lnTo>
                  <a:lnTo>
                    <a:pt x="23" y="66"/>
                  </a:lnTo>
                  <a:lnTo>
                    <a:pt x="26" y="66"/>
                  </a:lnTo>
                  <a:lnTo>
                    <a:pt x="31" y="66"/>
                  </a:lnTo>
                  <a:lnTo>
                    <a:pt x="31" y="69"/>
                  </a:lnTo>
                  <a:lnTo>
                    <a:pt x="37" y="69"/>
                  </a:lnTo>
                  <a:lnTo>
                    <a:pt x="34" y="72"/>
                  </a:lnTo>
                  <a:lnTo>
                    <a:pt x="40" y="75"/>
                  </a:lnTo>
                  <a:lnTo>
                    <a:pt x="34" y="78"/>
                  </a:lnTo>
                  <a:lnTo>
                    <a:pt x="40" y="83"/>
                  </a:lnTo>
                  <a:lnTo>
                    <a:pt x="49" y="89"/>
                  </a:lnTo>
                  <a:lnTo>
                    <a:pt x="49" y="92"/>
                  </a:lnTo>
                  <a:lnTo>
                    <a:pt x="49" y="98"/>
                  </a:lnTo>
                  <a:lnTo>
                    <a:pt x="49" y="103"/>
                  </a:lnTo>
                  <a:lnTo>
                    <a:pt x="52" y="103"/>
                  </a:lnTo>
                  <a:lnTo>
                    <a:pt x="49" y="106"/>
                  </a:lnTo>
                  <a:lnTo>
                    <a:pt x="49" y="118"/>
                  </a:lnTo>
                  <a:lnTo>
                    <a:pt x="46" y="129"/>
                  </a:lnTo>
                  <a:lnTo>
                    <a:pt x="43" y="138"/>
                  </a:lnTo>
                  <a:lnTo>
                    <a:pt x="40" y="144"/>
                  </a:lnTo>
                  <a:lnTo>
                    <a:pt x="43" y="147"/>
                  </a:lnTo>
                  <a:lnTo>
                    <a:pt x="49" y="152"/>
                  </a:lnTo>
                  <a:lnTo>
                    <a:pt x="57" y="152"/>
                  </a:lnTo>
                  <a:lnTo>
                    <a:pt x="63" y="152"/>
                  </a:lnTo>
                  <a:lnTo>
                    <a:pt x="66" y="155"/>
                  </a:lnTo>
                  <a:lnTo>
                    <a:pt x="75" y="155"/>
                  </a:lnTo>
                  <a:lnTo>
                    <a:pt x="77" y="147"/>
                  </a:lnTo>
                  <a:lnTo>
                    <a:pt x="86" y="155"/>
                  </a:lnTo>
                  <a:lnTo>
                    <a:pt x="92" y="155"/>
                  </a:lnTo>
                  <a:lnTo>
                    <a:pt x="98" y="161"/>
                  </a:lnTo>
                  <a:lnTo>
                    <a:pt x="103" y="158"/>
                  </a:lnTo>
                  <a:lnTo>
                    <a:pt x="103" y="161"/>
                  </a:lnTo>
                  <a:lnTo>
                    <a:pt x="106" y="164"/>
                  </a:lnTo>
                  <a:lnTo>
                    <a:pt x="112" y="161"/>
                  </a:lnTo>
                  <a:lnTo>
                    <a:pt x="115" y="164"/>
                  </a:lnTo>
                  <a:lnTo>
                    <a:pt x="115" y="155"/>
                  </a:lnTo>
                  <a:lnTo>
                    <a:pt x="118" y="149"/>
                  </a:lnTo>
                  <a:lnTo>
                    <a:pt x="129" y="144"/>
                  </a:lnTo>
                  <a:lnTo>
                    <a:pt x="143" y="147"/>
                  </a:lnTo>
                  <a:lnTo>
                    <a:pt x="164" y="149"/>
                  </a:lnTo>
                  <a:lnTo>
                    <a:pt x="172" y="147"/>
                  </a:lnTo>
                  <a:lnTo>
                    <a:pt x="175" y="147"/>
                  </a:lnTo>
                  <a:lnTo>
                    <a:pt x="181" y="147"/>
                  </a:lnTo>
                  <a:lnTo>
                    <a:pt x="184" y="141"/>
                  </a:lnTo>
                  <a:lnTo>
                    <a:pt x="181" y="135"/>
                  </a:lnTo>
                  <a:lnTo>
                    <a:pt x="184" y="135"/>
                  </a:lnTo>
                  <a:lnTo>
                    <a:pt x="184" y="132"/>
                  </a:lnTo>
                  <a:lnTo>
                    <a:pt x="175" y="129"/>
                  </a:lnTo>
                  <a:lnTo>
                    <a:pt x="169" y="129"/>
                  </a:lnTo>
                  <a:lnTo>
                    <a:pt x="172" y="118"/>
                  </a:lnTo>
                  <a:lnTo>
                    <a:pt x="169" y="109"/>
                  </a:lnTo>
                  <a:lnTo>
                    <a:pt x="172" y="106"/>
                  </a:lnTo>
                  <a:lnTo>
                    <a:pt x="175" y="106"/>
                  </a:lnTo>
                  <a:lnTo>
                    <a:pt x="169" y="101"/>
                  </a:lnTo>
                  <a:lnTo>
                    <a:pt x="175" y="95"/>
                  </a:lnTo>
                  <a:lnTo>
                    <a:pt x="172" y="92"/>
                  </a:lnTo>
                  <a:lnTo>
                    <a:pt x="169" y="89"/>
                  </a:lnTo>
                  <a:lnTo>
                    <a:pt x="166" y="95"/>
                  </a:lnTo>
                  <a:lnTo>
                    <a:pt x="155" y="92"/>
                  </a:lnTo>
                  <a:lnTo>
                    <a:pt x="164" y="81"/>
                  </a:lnTo>
                  <a:lnTo>
                    <a:pt x="172" y="69"/>
                  </a:lnTo>
                  <a:lnTo>
                    <a:pt x="175" y="63"/>
                  </a:lnTo>
                  <a:lnTo>
                    <a:pt x="181" y="66"/>
                  </a:lnTo>
                  <a:lnTo>
                    <a:pt x="184" y="60"/>
                  </a:lnTo>
                  <a:lnTo>
                    <a:pt x="184" y="63"/>
                  </a:lnTo>
                  <a:lnTo>
                    <a:pt x="186" y="46"/>
                  </a:lnTo>
                  <a:lnTo>
                    <a:pt x="192" y="37"/>
                  </a:lnTo>
                  <a:lnTo>
                    <a:pt x="189" y="37"/>
                  </a:lnTo>
                  <a:lnTo>
                    <a:pt x="184" y="35"/>
                  </a:lnTo>
                  <a:lnTo>
                    <a:pt x="181" y="37"/>
                  </a:lnTo>
                  <a:lnTo>
                    <a:pt x="178" y="35"/>
                  </a:lnTo>
                  <a:lnTo>
                    <a:pt x="172" y="35"/>
                  </a:lnTo>
                  <a:lnTo>
                    <a:pt x="166" y="32"/>
                  </a:lnTo>
                  <a:lnTo>
                    <a:pt x="158" y="32"/>
                  </a:lnTo>
                  <a:lnTo>
                    <a:pt x="152" y="29"/>
                  </a:lnTo>
                  <a:lnTo>
                    <a:pt x="143" y="23"/>
                  </a:lnTo>
                  <a:lnTo>
                    <a:pt x="143" y="17"/>
                  </a:lnTo>
                  <a:lnTo>
                    <a:pt x="141" y="23"/>
                  </a:lnTo>
                  <a:lnTo>
                    <a:pt x="138" y="23"/>
                  </a:lnTo>
                  <a:lnTo>
                    <a:pt x="135" y="20"/>
                  </a:lnTo>
                  <a:lnTo>
                    <a:pt x="132" y="14"/>
                  </a:lnTo>
                  <a:lnTo>
                    <a:pt x="126" y="14"/>
                  </a:lnTo>
                  <a:lnTo>
                    <a:pt x="126" y="12"/>
                  </a:lnTo>
                  <a:lnTo>
                    <a:pt x="123" y="9"/>
                  </a:lnTo>
                  <a:lnTo>
                    <a:pt x="115" y="12"/>
                  </a:lnTo>
                  <a:lnTo>
                    <a:pt x="103" y="3"/>
                  </a:lnTo>
                  <a:lnTo>
                    <a:pt x="106" y="3"/>
                  </a:lnTo>
                  <a:lnTo>
                    <a:pt x="109" y="3"/>
                  </a:lnTo>
                  <a:lnTo>
                    <a:pt x="109" y="0"/>
                  </a:lnTo>
                  <a:lnTo>
                    <a:pt x="103" y="0"/>
                  </a:lnTo>
                  <a:lnTo>
                    <a:pt x="100" y="3"/>
                  </a:lnTo>
                  <a:lnTo>
                    <a:pt x="98" y="9"/>
                  </a:lnTo>
                  <a:lnTo>
                    <a:pt x="95" y="14"/>
                  </a:lnTo>
                  <a:lnTo>
                    <a:pt x="89" y="17"/>
                  </a:lnTo>
                  <a:lnTo>
                    <a:pt x="77" y="2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81" name="Freeform 199"/>
            <p:cNvSpPr>
              <a:spLocks noChangeAspect="1"/>
            </p:cNvSpPr>
            <p:nvPr/>
          </p:nvSpPr>
          <p:spPr bwMode="gray">
            <a:xfrm>
              <a:off x="7229150" y="3951494"/>
              <a:ext cx="67851" cy="132347"/>
            </a:xfrm>
            <a:custGeom>
              <a:avLst/>
              <a:gdLst>
                <a:gd name="T0" fmla="*/ 2147483647 w 26"/>
                <a:gd name="T1" fmla="*/ 2147483647 h 46"/>
                <a:gd name="T2" fmla="*/ 2147483647 w 26"/>
                <a:gd name="T3" fmla="*/ 2147483647 h 46"/>
                <a:gd name="T4" fmla="*/ 2147483647 w 26"/>
                <a:gd name="T5" fmla="*/ 2147483647 h 46"/>
                <a:gd name="T6" fmla="*/ 2147483647 w 26"/>
                <a:gd name="T7" fmla="*/ 2147483647 h 46"/>
                <a:gd name="T8" fmla="*/ 2147483647 w 26"/>
                <a:gd name="T9" fmla="*/ 2147483647 h 46"/>
                <a:gd name="T10" fmla="*/ 2147483647 w 26"/>
                <a:gd name="T11" fmla="*/ 2147483647 h 46"/>
                <a:gd name="T12" fmla="*/ 2147483647 w 26"/>
                <a:gd name="T13" fmla="*/ 2147483647 h 46"/>
                <a:gd name="T14" fmla="*/ 2147483647 w 26"/>
                <a:gd name="T15" fmla="*/ 2147483647 h 46"/>
                <a:gd name="T16" fmla="*/ 2147483647 w 26"/>
                <a:gd name="T17" fmla="*/ 2147483647 h 46"/>
                <a:gd name="T18" fmla="*/ 2147483647 w 26"/>
                <a:gd name="T19" fmla="*/ 2147483647 h 46"/>
                <a:gd name="T20" fmla="*/ 2147483647 w 26"/>
                <a:gd name="T21" fmla="*/ 2147483647 h 46"/>
                <a:gd name="T22" fmla="*/ 2147483647 w 26"/>
                <a:gd name="T23" fmla="*/ 2147483647 h 46"/>
                <a:gd name="T24" fmla="*/ 2147483647 w 26"/>
                <a:gd name="T25" fmla="*/ 2147483647 h 46"/>
                <a:gd name="T26" fmla="*/ 2147483647 w 26"/>
                <a:gd name="T27" fmla="*/ 2147483647 h 46"/>
                <a:gd name="T28" fmla="*/ 2147483647 w 26"/>
                <a:gd name="T29" fmla="*/ 2147483647 h 46"/>
                <a:gd name="T30" fmla="*/ 2147483647 w 26"/>
                <a:gd name="T31" fmla="*/ 2147483647 h 46"/>
                <a:gd name="T32" fmla="*/ 2147483647 w 26"/>
                <a:gd name="T33" fmla="*/ 2147483647 h 46"/>
                <a:gd name="T34" fmla="*/ 2147483647 w 26"/>
                <a:gd name="T35" fmla="*/ 2147483647 h 46"/>
                <a:gd name="T36" fmla="*/ 2147483647 w 26"/>
                <a:gd name="T37" fmla="*/ 2147483647 h 46"/>
                <a:gd name="T38" fmla="*/ 2147483647 w 26"/>
                <a:gd name="T39" fmla="*/ 2147483647 h 46"/>
                <a:gd name="T40" fmla="*/ 2147483647 w 26"/>
                <a:gd name="T41" fmla="*/ 0 h 46"/>
                <a:gd name="T42" fmla="*/ 2147483647 w 26"/>
                <a:gd name="T43" fmla="*/ 0 h 46"/>
                <a:gd name="T44" fmla="*/ 2147483647 w 26"/>
                <a:gd name="T45" fmla="*/ 0 h 46"/>
                <a:gd name="T46" fmla="*/ 2147483647 w 26"/>
                <a:gd name="T47" fmla="*/ 0 h 46"/>
                <a:gd name="T48" fmla="*/ 2147483647 w 26"/>
                <a:gd name="T49" fmla="*/ 2147483647 h 46"/>
                <a:gd name="T50" fmla="*/ 2147483647 w 26"/>
                <a:gd name="T51" fmla="*/ 2147483647 h 46"/>
                <a:gd name="T52" fmla="*/ 2147483647 w 26"/>
                <a:gd name="T53" fmla="*/ 2147483647 h 46"/>
                <a:gd name="T54" fmla="*/ 2147483647 w 26"/>
                <a:gd name="T55" fmla="*/ 2147483647 h 46"/>
                <a:gd name="T56" fmla="*/ 0 w 26"/>
                <a:gd name="T57" fmla="*/ 2147483647 h 46"/>
                <a:gd name="T58" fmla="*/ 0 w 26"/>
                <a:gd name="T59" fmla="*/ 2147483647 h 46"/>
                <a:gd name="T60" fmla="*/ 0 w 26"/>
                <a:gd name="T61" fmla="*/ 2147483647 h 46"/>
                <a:gd name="T62" fmla="*/ 2147483647 w 26"/>
                <a:gd name="T63" fmla="*/ 2147483647 h 46"/>
                <a:gd name="T64" fmla="*/ 2147483647 w 26"/>
                <a:gd name="T65" fmla="*/ 2147483647 h 46"/>
                <a:gd name="T66" fmla="*/ 2147483647 w 26"/>
                <a:gd name="T67" fmla="*/ 2147483647 h 46"/>
                <a:gd name="T68" fmla="*/ 2147483647 w 26"/>
                <a:gd name="T69" fmla="*/ 2147483647 h 46"/>
                <a:gd name="T70" fmla="*/ 2147483647 w 26"/>
                <a:gd name="T71" fmla="*/ 2147483647 h 46"/>
                <a:gd name="T72" fmla="*/ 2147483647 w 26"/>
                <a:gd name="T73" fmla="*/ 2147483647 h 46"/>
                <a:gd name="T74" fmla="*/ 2147483647 w 26"/>
                <a:gd name="T75" fmla="*/ 2147483647 h 4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6"/>
                <a:gd name="T115" fmla="*/ 0 h 46"/>
                <a:gd name="T116" fmla="*/ 26 w 26"/>
                <a:gd name="T117" fmla="*/ 46 h 4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6" h="46">
                  <a:moveTo>
                    <a:pt x="3" y="40"/>
                  </a:moveTo>
                  <a:lnTo>
                    <a:pt x="3" y="40"/>
                  </a:lnTo>
                  <a:lnTo>
                    <a:pt x="9" y="46"/>
                  </a:lnTo>
                  <a:lnTo>
                    <a:pt x="12" y="46"/>
                  </a:lnTo>
                  <a:lnTo>
                    <a:pt x="12" y="40"/>
                  </a:lnTo>
                  <a:lnTo>
                    <a:pt x="15" y="37"/>
                  </a:lnTo>
                  <a:lnTo>
                    <a:pt x="20" y="40"/>
                  </a:lnTo>
                  <a:lnTo>
                    <a:pt x="23" y="37"/>
                  </a:lnTo>
                  <a:lnTo>
                    <a:pt x="23" y="31"/>
                  </a:lnTo>
                  <a:lnTo>
                    <a:pt x="23" y="17"/>
                  </a:lnTo>
                  <a:lnTo>
                    <a:pt x="26" y="8"/>
                  </a:lnTo>
                  <a:lnTo>
                    <a:pt x="23" y="5"/>
                  </a:lnTo>
                  <a:lnTo>
                    <a:pt x="20" y="0"/>
                  </a:lnTo>
                  <a:lnTo>
                    <a:pt x="17" y="0"/>
                  </a:lnTo>
                  <a:lnTo>
                    <a:pt x="9" y="5"/>
                  </a:lnTo>
                  <a:lnTo>
                    <a:pt x="3" y="5"/>
                  </a:lnTo>
                  <a:lnTo>
                    <a:pt x="0" y="8"/>
                  </a:lnTo>
                  <a:lnTo>
                    <a:pt x="0" y="11"/>
                  </a:lnTo>
                  <a:lnTo>
                    <a:pt x="3" y="17"/>
                  </a:lnTo>
                  <a:lnTo>
                    <a:pt x="6" y="20"/>
                  </a:lnTo>
                  <a:lnTo>
                    <a:pt x="6" y="23"/>
                  </a:lnTo>
                  <a:lnTo>
                    <a:pt x="3" y="34"/>
                  </a:lnTo>
                  <a:lnTo>
                    <a:pt x="3" y="4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82" name="Freeform 206"/>
            <p:cNvSpPr>
              <a:spLocks noChangeAspect="1"/>
            </p:cNvSpPr>
            <p:nvPr/>
          </p:nvSpPr>
          <p:spPr bwMode="gray">
            <a:xfrm>
              <a:off x="7304868" y="3853336"/>
              <a:ext cx="14751" cy="16543"/>
            </a:xfrm>
            <a:custGeom>
              <a:avLst/>
              <a:gdLst>
                <a:gd name="T0" fmla="*/ 2147483647 w 6"/>
                <a:gd name="T1" fmla="*/ 0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83" name="Freeform 210"/>
            <p:cNvSpPr>
              <a:spLocks noChangeAspect="1"/>
            </p:cNvSpPr>
            <p:nvPr/>
          </p:nvSpPr>
          <p:spPr bwMode="gray">
            <a:xfrm>
              <a:off x="7243900" y="3853336"/>
              <a:ext cx="45235" cy="81614"/>
            </a:xfrm>
            <a:custGeom>
              <a:avLst/>
              <a:gdLst>
                <a:gd name="T0" fmla="*/ 2147483647 w 17"/>
                <a:gd name="T1" fmla="*/ 0 h 29"/>
                <a:gd name="T2" fmla="*/ 2147483647 w 17"/>
                <a:gd name="T3" fmla="*/ 0 h 29"/>
                <a:gd name="T4" fmla="*/ 2147483647 w 17"/>
                <a:gd name="T5" fmla="*/ 2147483647 h 29"/>
                <a:gd name="T6" fmla="*/ 2147483647 w 17"/>
                <a:gd name="T7" fmla="*/ 2147483647 h 29"/>
                <a:gd name="T8" fmla="*/ 2147483647 w 17"/>
                <a:gd name="T9" fmla="*/ 2147483647 h 29"/>
                <a:gd name="T10" fmla="*/ 2147483647 w 17"/>
                <a:gd name="T11" fmla="*/ 2147483647 h 29"/>
                <a:gd name="T12" fmla="*/ 0 w 17"/>
                <a:gd name="T13" fmla="*/ 2147483647 h 29"/>
                <a:gd name="T14" fmla="*/ 0 w 17"/>
                <a:gd name="T15" fmla="*/ 2147483647 h 29"/>
                <a:gd name="T16" fmla="*/ 0 w 17"/>
                <a:gd name="T17" fmla="*/ 2147483647 h 29"/>
                <a:gd name="T18" fmla="*/ 2147483647 w 17"/>
                <a:gd name="T19" fmla="*/ 2147483647 h 29"/>
                <a:gd name="T20" fmla="*/ 2147483647 w 17"/>
                <a:gd name="T21" fmla="*/ 2147483647 h 29"/>
                <a:gd name="T22" fmla="*/ 2147483647 w 17"/>
                <a:gd name="T23" fmla="*/ 2147483647 h 29"/>
                <a:gd name="T24" fmla="*/ 2147483647 w 17"/>
                <a:gd name="T25" fmla="*/ 2147483647 h 29"/>
                <a:gd name="T26" fmla="*/ 2147483647 w 17"/>
                <a:gd name="T27" fmla="*/ 2147483647 h 29"/>
                <a:gd name="T28" fmla="*/ 2147483647 w 17"/>
                <a:gd name="T29" fmla="*/ 2147483647 h 29"/>
                <a:gd name="T30" fmla="*/ 2147483647 w 17"/>
                <a:gd name="T31" fmla="*/ 2147483647 h 29"/>
                <a:gd name="T32" fmla="*/ 2147483647 w 17"/>
                <a:gd name="T33" fmla="*/ 2147483647 h 29"/>
                <a:gd name="T34" fmla="*/ 2147483647 w 17"/>
                <a:gd name="T35" fmla="*/ 2147483647 h 29"/>
                <a:gd name="T36" fmla="*/ 2147483647 w 17"/>
                <a:gd name="T37" fmla="*/ 0 h 2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7"/>
                <a:gd name="T58" fmla="*/ 0 h 29"/>
                <a:gd name="T59" fmla="*/ 17 w 17"/>
                <a:gd name="T60" fmla="*/ 29 h 2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7" h="29">
                  <a:moveTo>
                    <a:pt x="14" y="0"/>
                  </a:moveTo>
                  <a:lnTo>
                    <a:pt x="14" y="0"/>
                  </a:lnTo>
                  <a:lnTo>
                    <a:pt x="11" y="3"/>
                  </a:lnTo>
                  <a:lnTo>
                    <a:pt x="9" y="6"/>
                  </a:lnTo>
                  <a:lnTo>
                    <a:pt x="3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6" y="29"/>
                  </a:lnTo>
                  <a:lnTo>
                    <a:pt x="11" y="29"/>
                  </a:lnTo>
                  <a:lnTo>
                    <a:pt x="14" y="26"/>
                  </a:lnTo>
                  <a:lnTo>
                    <a:pt x="14" y="18"/>
                  </a:lnTo>
                  <a:lnTo>
                    <a:pt x="17" y="12"/>
                  </a:lnTo>
                  <a:lnTo>
                    <a:pt x="17" y="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84" name="Freeform 211"/>
            <p:cNvSpPr>
              <a:spLocks noChangeAspect="1"/>
            </p:cNvSpPr>
            <p:nvPr/>
          </p:nvSpPr>
          <p:spPr bwMode="gray">
            <a:xfrm>
              <a:off x="7398288" y="3422101"/>
              <a:ext cx="237972" cy="116908"/>
            </a:xfrm>
            <a:custGeom>
              <a:avLst/>
              <a:gdLst>
                <a:gd name="T0" fmla="*/ 2147483647 w 92"/>
                <a:gd name="T1" fmla="*/ 2147483647 h 40"/>
                <a:gd name="T2" fmla="*/ 2147483647 w 92"/>
                <a:gd name="T3" fmla="*/ 2147483647 h 40"/>
                <a:gd name="T4" fmla="*/ 2147483647 w 92"/>
                <a:gd name="T5" fmla="*/ 2147483647 h 40"/>
                <a:gd name="T6" fmla="*/ 2147483647 w 92"/>
                <a:gd name="T7" fmla="*/ 2147483647 h 40"/>
                <a:gd name="T8" fmla="*/ 2147483647 w 92"/>
                <a:gd name="T9" fmla="*/ 2147483647 h 40"/>
                <a:gd name="T10" fmla="*/ 2147483647 w 92"/>
                <a:gd name="T11" fmla="*/ 2147483647 h 40"/>
                <a:gd name="T12" fmla="*/ 2147483647 w 92"/>
                <a:gd name="T13" fmla="*/ 2147483647 h 40"/>
                <a:gd name="T14" fmla="*/ 2147483647 w 92"/>
                <a:gd name="T15" fmla="*/ 2147483647 h 40"/>
                <a:gd name="T16" fmla="*/ 2147483647 w 92"/>
                <a:gd name="T17" fmla="*/ 2147483647 h 40"/>
                <a:gd name="T18" fmla="*/ 2147483647 w 92"/>
                <a:gd name="T19" fmla="*/ 2147483647 h 40"/>
                <a:gd name="T20" fmla="*/ 2147483647 w 92"/>
                <a:gd name="T21" fmla="*/ 2147483647 h 40"/>
                <a:gd name="T22" fmla="*/ 2147483647 w 92"/>
                <a:gd name="T23" fmla="*/ 2147483647 h 40"/>
                <a:gd name="T24" fmla="*/ 2147483647 w 92"/>
                <a:gd name="T25" fmla="*/ 2147483647 h 40"/>
                <a:gd name="T26" fmla="*/ 2147483647 w 92"/>
                <a:gd name="T27" fmla="*/ 2147483647 h 40"/>
                <a:gd name="T28" fmla="*/ 2147483647 w 92"/>
                <a:gd name="T29" fmla="*/ 2147483647 h 40"/>
                <a:gd name="T30" fmla="*/ 2147483647 w 92"/>
                <a:gd name="T31" fmla="*/ 2147483647 h 40"/>
                <a:gd name="T32" fmla="*/ 2147483647 w 92"/>
                <a:gd name="T33" fmla="*/ 2147483647 h 40"/>
                <a:gd name="T34" fmla="*/ 2147483647 w 92"/>
                <a:gd name="T35" fmla="*/ 2147483647 h 40"/>
                <a:gd name="T36" fmla="*/ 2147483647 w 92"/>
                <a:gd name="T37" fmla="*/ 2147483647 h 40"/>
                <a:gd name="T38" fmla="*/ 2147483647 w 92"/>
                <a:gd name="T39" fmla="*/ 2147483647 h 40"/>
                <a:gd name="T40" fmla="*/ 2147483647 w 92"/>
                <a:gd name="T41" fmla="*/ 2147483647 h 40"/>
                <a:gd name="T42" fmla="*/ 2147483647 w 92"/>
                <a:gd name="T43" fmla="*/ 2147483647 h 40"/>
                <a:gd name="T44" fmla="*/ 2147483647 w 92"/>
                <a:gd name="T45" fmla="*/ 2147483647 h 40"/>
                <a:gd name="T46" fmla="*/ 2147483647 w 92"/>
                <a:gd name="T47" fmla="*/ 2147483647 h 40"/>
                <a:gd name="T48" fmla="*/ 2147483647 w 92"/>
                <a:gd name="T49" fmla="*/ 2147483647 h 40"/>
                <a:gd name="T50" fmla="*/ 2147483647 w 92"/>
                <a:gd name="T51" fmla="*/ 2147483647 h 40"/>
                <a:gd name="T52" fmla="*/ 2147483647 w 92"/>
                <a:gd name="T53" fmla="*/ 2147483647 h 40"/>
                <a:gd name="T54" fmla="*/ 2147483647 w 92"/>
                <a:gd name="T55" fmla="*/ 2147483647 h 40"/>
                <a:gd name="T56" fmla="*/ 2147483647 w 92"/>
                <a:gd name="T57" fmla="*/ 2147483647 h 40"/>
                <a:gd name="T58" fmla="*/ 2147483647 w 92"/>
                <a:gd name="T59" fmla="*/ 0 h 40"/>
                <a:gd name="T60" fmla="*/ 2147483647 w 92"/>
                <a:gd name="T61" fmla="*/ 2147483647 h 40"/>
                <a:gd name="T62" fmla="*/ 2147483647 w 92"/>
                <a:gd name="T63" fmla="*/ 2147483647 h 40"/>
                <a:gd name="T64" fmla="*/ 2147483647 w 92"/>
                <a:gd name="T65" fmla="*/ 0 h 40"/>
                <a:gd name="T66" fmla="*/ 2147483647 w 92"/>
                <a:gd name="T67" fmla="*/ 0 h 40"/>
                <a:gd name="T68" fmla="*/ 2147483647 w 92"/>
                <a:gd name="T69" fmla="*/ 2147483647 h 40"/>
                <a:gd name="T70" fmla="*/ 2147483647 w 92"/>
                <a:gd name="T71" fmla="*/ 2147483647 h 40"/>
                <a:gd name="T72" fmla="*/ 2147483647 w 92"/>
                <a:gd name="T73" fmla="*/ 2147483647 h 40"/>
                <a:gd name="T74" fmla="*/ 2147483647 w 92"/>
                <a:gd name="T75" fmla="*/ 2147483647 h 40"/>
                <a:gd name="T76" fmla="*/ 0 w 92"/>
                <a:gd name="T77" fmla="*/ 2147483647 h 40"/>
                <a:gd name="T78" fmla="*/ 0 w 92"/>
                <a:gd name="T79" fmla="*/ 2147483647 h 40"/>
                <a:gd name="T80" fmla="*/ 2147483647 w 92"/>
                <a:gd name="T81" fmla="*/ 2147483647 h 40"/>
                <a:gd name="T82" fmla="*/ 2147483647 w 92"/>
                <a:gd name="T83" fmla="*/ 2147483647 h 40"/>
                <a:gd name="T84" fmla="*/ 2147483647 w 92"/>
                <a:gd name="T85" fmla="*/ 2147483647 h 4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92"/>
                <a:gd name="T130" fmla="*/ 0 h 40"/>
                <a:gd name="T131" fmla="*/ 92 w 92"/>
                <a:gd name="T132" fmla="*/ 40 h 4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92" h="40">
                  <a:moveTo>
                    <a:pt x="12" y="29"/>
                  </a:moveTo>
                  <a:lnTo>
                    <a:pt x="23" y="40"/>
                  </a:lnTo>
                  <a:lnTo>
                    <a:pt x="32" y="40"/>
                  </a:lnTo>
                  <a:lnTo>
                    <a:pt x="35" y="37"/>
                  </a:lnTo>
                  <a:lnTo>
                    <a:pt x="38" y="32"/>
                  </a:lnTo>
                  <a:lnTo>
                    <a:pt x="46" y="34"/>
                  </a:lnTo>
                  <a:lnTo>
                    <a:pt x="49" y="34"/>
                  </a:lnTo>
                  <a:lnTo>
                    <a:pt x="55" y="37"/>
                  </a:lnTo>
                  <a:lnTo>
                    <a:pt x="61" y="37"/>
                  </a:lnTo>
                  <a:lnTo>
                    <a:pt x="61" y="34"/>
                  </a:lnTo>
                  <a:lnTo>
                    <a:pt x="69" y="40"/>
                  </a:lnTo>
                  <a:lnTo>
                    <a:pt x="72" y="34"/>
                  </a:lnTo>
                  <a:lnTo>
                    <a:pt x="78" y="34"/>
                  </a:lnTo>
                  <a:lnTo>
                    <a:pt x="86" y="26"/>
                  </a:lnTo>
                  <a:lnTo>
                    <a:pt x="92" y="23"/>
                  </a:lnTo>
                  <a:lnTo>
                    <a:pt x="89" y="17"/>
                  </a:lnTo>
                  <a:lnTo>
                    <a:pt x="84" y="17"/>
                  </a:lnTo>
                  <a:lnTo>
                    <a:pt x="81" y="20"/>
                  </a:lnTo>
                  <a:lnTo>
                    <a:pt x="78" y="17"/>
                  </a:lnTo>
                  <a:lnTo>
                    <a:pt x="75" y="14"/>
                  </a:lnTo>
                  <a:lnTo>
                    <a:pt x="75" y="11"/>
                  </a:lnTo>
                  <a:lnTo>
                    <a:pt x="69" y="11"/>
                  </a:lnTo>
                  <a:lnTo>
                    <a:pt x="58" y="6"/>
                  </a:lnTo>
                  <a:lnTo>
                    <a:pt x="49" y="6"/>
                  </a:lnTo>
                  <a:lnTo>
                    <a:pt x="38" y="0"/>
                  </a:lnTo>
                  <a:lnTo>
                    <a:pt x="32" y="3"/>
                  </a:lnTo>
                  <a:lnTo>
                    <a:pt x="29" y="0"/>
                  </a:lnTo>
                  <a:lnTo>
                    <a:pt x="26" y="0"/>
                  </a:lnTo>
                  <a:lnTo>
                    <a:pt x="20" y="3"/>
                  </a:lnTo>
                  <a:lnTo>
                    <a:pt x="12" y="6"/>
                  </a:lnTo>
                  <a:lnTo>
                    <a:pt x="9" y="11"/>
                  </a:lnTo>
                  <a:lnTo>
                    <a:pt x="0" y="9"/>
                  </a:lnTo>
                  <a:lnTo>
                    <a:pt x="0" y="11"/>
                  </a:lnTo>
                  <a:lnTo>
                    <a:pt x="3" y="14"/>
                  </a:lnTo>
                  <a:lnTo>
                    <a:pt x="3" y="23"/>
                  </a:lnTo>
                  <a:lnTo>
                    <a:pt x="12" y="29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85" name="Freeform 216"/>
            <p:cNvSpPr>
              <a:spLocks noChangeAspect="1"/>
            </p:cNvSpPr>
            <p:nvPr/>
          </p:nvSpPr>
          <p:spPr bwMode="gray">
            <a:xfrm>
              <a:off x="7178016" y="3630550"/>
              <a:ext cx="493646" cy="504025"/>
            </a:xfrm>
            <a:custGeom>
              <a:avLst/>
              <a:gdLst>
                <a:gd name="T0" fmla="*/ 2147483647 w 192"/>
                <a:gd name="T1" fmla="*/ 2147483647 h 175"/>
                <a:gd name="T2" fmla="*/ 2147483647 w 192"/>
                <a:gd name="T3" fmla="*/ 2147483647 h 175"/>
                <a:gd name="T4" fmla="*/ 2147483647 w 192"/>
                <a:gd name="T5" fmla="*/ 2147483647 h 175"/>
                <a:gd name="T6" fmla="*/ 2147483647 w 192"/>
                <a:gd name="T7" fmla="*/ 2147483647 h 175"/>
                <a:gd name="T8" fmla="*/ 2147483647 w 192"/>
                <a:gd name="T9" fmla="*/ 2147483647 h 175"/>
                <a:gd name="T10" fmla="*/ 2147483647 w 192"/>
                <a:gd name="T11" fmla="*/ 2147483647 h 175"/>
                <a:gd name="T12" fmla="*/ 2147483647 w 192"/>
                <a:gd name="T13" fmla="*/ 2147483647 h 175"/>
                <a:gd name="T14" fmla="*/ 2147483647 w 192"/>
                <a:gd name="T15" fmla="*/ 2147483647 h 175"/>
                <a:gd name="T16" fmla="*/ 2147483647 w 192"/>
                <a:gd name="T17" fmla="*/ 2147483647 h 175"/>
                <a:gd name="T18" fmla="*/ 2147483647 w 192"/>
                <a:gd name="T19" fmla="*/ 2147483647 h 175"/>
                <a:gd name="T20" fmla="*/ 2147483647 w 192"/>
                <a:gd name="T21" fmla="*/ 2147483647 h 175"/>
                <a:gd name="T22" fmla="*/ 2147483647 w 192"/>
                <a:gd name="T23" fmla="*/ 2147483647 h 175"/>
                <a:gd name="T24" fmla="*/ 2147483647 w 192"/>
                <a:gd name="T25" fmla="*/ 2147483647 h 175"/>
                <a:gd name="T26" fmla="*/ 2147483647 w 192"/>
                <a:gd name="T27" fmla="*/ 2147483647 h 175"/>
                <a:gd name="T28" fmla="*/ 2147483647 w 192"/>
                <a:gd name="T29" fmla="*/ 2147483647 h 175"/>
                <a:gd name="T30" fmla="*/ 2147483647 w 192"/>
                <a:gd name="T31" fmla="*/ 2147483647 h 175"/>
                <a:gd name="T32" fmla="*/ 2147483647 w 192"/>
                <a:gd name="T33" fmla="*/ 2147483647 h 175"/>
                <a:gd name="T34" fmla="*/ 2147483647 w 192"/>
                <a:gd name="T35" fmla="*/ 2147483647 h 175"/>
                <a:gd name="T36" fmla="*/ 2147483647 w 192"/>
                <a:gd name="T37" fmla="*/ 2147483647 h 175"/>
                <a:gd name="T38" fmla="*/ 2147483647 w 192"/>
                <a:gd name="T39" fmla="*/ 2147483647 h 175"/>
                <a:gd name="T40" fmla="*/ 2147483647 w 192"/>
                <a:gd name="T41" fmla="*/ 2147483647 h 175"/>
                <a:gd name="T42" fmla="*/ 2147483647 w 192"/>
                <a:gd name="T43" fmla="*/ 2147483647 h 175"/>
                <a:gd name="T44" fmla="*/ 2147483647 w 192"/>
                <a:gd name="T45" fmla="*/ 2147483647 h 175"/>
                <a:gd name="T46" fmla="*/ 2147483647 w 192"/>
                <a:gd name="T47" fmla="*/ 2147483647 h 175"/>
                <a:gd name="T48" fmla="*/ 2147483647 w 192"/>
                <a:gd name="T49" fmla="*/ 2147483647 h 175"/>
                <a:gd name="T50" fmla="*/ 2147483647 w 192"/>
                <a:gd name="T51" fmla="*/ 2147483647 h 175"/>
                <a:gd name="T52" fmla="*/ 2147483647 w 192"/>
                <a:gd name="T53" fmla="*/ 2147483647 h 175"/>
                <a:gd name="T54" fmla="*/ 2147483647 w 192"/>
                <a:gd name="T55" fmla="*/ 2147483647 h 175"/>
                <a:gd name="T56" fmla="*/ 2147483647 w 192"/>
                <a:gd name="T57" fmla="*/ 2147483647 h 175"/>
                <a:gd name="T58" fmla="*/ 2147483647 w 192"/>
                <a:gd name="T59" fmla="*/ 2147483647 h 175"/>
                <a:gd name="T60" fmla="*/ 2147483647 w 192"/>
                <a:gd name="T61" fmla="*/ 2147483647 h 175"/>
                <a:gd name="T62" fmla="*/ 2147483647 w 192"/>
                <a:gd name="T63" fmla="*/ 2147483647 h 175"/>
                <a:gd name="T64" fmla="*/ 2147483647 w 192"/>
                <a:gd name="T65" fmla="*/ 2147483647 h 175"/>
                <a:gd name="T66" fmla="*/ 2147483647 w 192"/>
                <a:gd name="T67" fmla="*/ 2147483647 h 175"/>
                <a:gd name="T68" fmla="*/ 2147483647 w 192"/>
                <a:gd name="T69" fmla="*/ 2147483647 h 175"/>
                <a:gd name="T70" fmla="*/ 2147483647 w 192"/>
                <a:gd name="T71" fmla="*/ 2147483647 h 175"/>
                <a:gd name="T72" fmla="*/ 2147483647 w 192"/>
                <a:gd name="T73" fmla="*/ 2147483647 h 175"/>
                <a:gd name="T74" fmla="*/ 2147483647 w 192"/>
                <a:gd name="T75" fmla="*/ 2147483647 h 175"/>
                <a:gd name="T76" fmla="*/ 2147483647 w 192"/>
                <a:gd name="T77" fmla="*/ 2147483647 h 175"/>
                <a:gd name="T78" fmla="*/ 2147483647 w 192"/>
                <a:gd name="T79" fmla="*/ 2147483647 h 175"/>
                <a:gd name="T80" fmla="*/ 2147483647 w 192"/>
                <a:gd name="T81" fmla="*/ 2147483647 h 175"/>
                <a:gd name="T82" fmla="*/ 2147483647 w 192"/>
                <a:gd name="T83" fmla="*/ 2147483647 h 175"/>
                <a:gd name="T84" fmla="*/ 2147483647 w 192"/>
                <a:gd name="T85" fmla="*/ 2147483647 h 175"/>
                <a:gd name="T86" fmla="*/ 2147483647 w 192"/>
                <a:gd name="T87" fmla="*/ 2147483647 h 175"/>
                <a:gd name="T88" fmla="*/ 2147483647 w 192"/>
                <a:gd name="T89" fmla="*/ 2147483647 h 175"/>
                <a:gd name="T90" fmla="*/ 2147483647 w 192"/>
                <a:gd name="T91" fmla="*/ 2147483647 h 175"/>
                <a:gd name="T92" fmla="*/ 2147483647 w 192"/>
                <a:gd name="T93" fmla="*/ 2147483647 h 175"/>
                <a:gd name="T94" fmla="*/ 2147483647 w 192"/>
                <a:gd name="T95" fmla="*/ 2147483647 h 175"/>
                <a:gd name="T96" fmla="*/ 2147483647 w 192"/>
                <a:gd name="T97" fmla="*/ 2147483647 h 175"/>
                <a:gd name="T98" fmla="*/ 2147483647 w 192"/>
                <a:gd name="T99" fmla="*/ 2147483647 h 175"/>
                <a:gd name="T100" fmla="*/ 2147483647 w 192"/>
                <a:gd name="T101" fmla="*/ 2147483647 h 175"/>
                <a:gd name="T102" fmla="*/ 2147483647 w 192"/>
                <a:gd name="T103" fmla="*/ 2147483647 h 175"/>
                <a:gd name="T104" fmla="*/ 2147483647 w 192"/>
                <a:gd name="T105" fmla="*/ 2147483647 h 175"/>
                <a:gd name="T106" fmla="*/ 2147483647 w 192"/>
                <a:gd name="T107" fmla="*/ 2147483647 h 175"/>
                <a:gd name="T108" fmla="*/ 2147483647 w 192"/>
                <a:gd name="T109" fmla="*/ 2147483647 h 175"/>
                <a:gd name="T110" fmla="*/ 0 w 192"/>
                <a:gd name="T111" fmla="*/ 2147483647 h 175"/>
                <a:gd name="T112" fmla="*/ 2147483647 w 192"/>
                <a:gd name="T113" fmla="*/ 2147483647 h 17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2"/>
                <a:gd name="T172" fmla="*/ 0 h 175"/>
                <a:gd name="T173" fmla="*/ 192 w 192"/>
                <a:gd name="T174" fmla="*/ 175 h 175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2" h="175">
                  <a:moveTo>
                    <a:pt x="14" y="60"/>
                  </a:moveTo>
                  <a:lnTo>
                    <a:pt x="14" y="63"/>
                  </a:lnTo>
                  <a:lnTo>
                    <a:pt x="14" y="60"/>
                  </a:lnTo>
                  <a:lnTo>
                    <a:pt x="20" y="60"/>
                  </a:lnTo>
                  <a:lnTo>
                    <a:pt x="26" y="51"/>
                  </a:lnTo>
                  <a:lnTo>
                    <a:pt x="32" y="49"/>
                  </a:lnTo>
                  <a:lnTo>
                    <a:pt x="40" y="54"/>
                  </a:lnTo>
                  <a:lnTo>
                    <a:pt x="43" y="57"/>
                  </a:lnTo>
                  <a:lnTo>
                    <a:pt x="46" y="57"/>
                  </a:lnTo>
                  <a:lnTo>
                    <a:pt x="49" y="57"/>
                  </a:lnTo>
                  <a:lnTo>
                    <a:pt x="52" y="60"/>
                  </a:lnTo>
                  <a:lnTo>
                    <a:pt x="58" y="72"/>
                  </a:lnTo>
                  <a:lnTo>
                    <a:pt x="58" y="77"/>
                  </a:lnTo>
                  <a:lnTo>
                    <a:pt x="58" y="80"/>
                  </a:lnTo>
                  <a:lnTo>
                    <a:pt x="66" y="83"/>
                  </a:lnTo>
                  <a:lnTo>
                    <a:pt x="69" y="92"/>
                  </a:lnTo>
                  <a:lnTo>
                    <a:pt x="75" y="95"/>
                  </a:lnTo>
                  <a:lnTo>
                    <a:pt x="86" y="100"/>
                  </a:lnTo>
                  <a:lnTo>
                    <a:pt x="95" y="109"/>
                  </a:lnTo>
                  <a:lnTo>
                    <a:pt x="98" y="109"/>
                  </a:lnTo>
                  <a:lnTo>
                    <a:pt x="101" y="109"/>
                  </a:lnTo>
                  <a:lnTo>
                    <a:pt x="103" y="112"/>
                  </a:lnTo>
                  <a:lnTo>
                    <a:pt x="106" y="115"/>
                  </a:lnTo>
                  <a:lnTo>
                    <a:pt x="112" y="117"/>
                  </a:lnTo>
                  <a:lnTo>
                    <a:pt x="118" y="120"/>
                  </a:lnTo>
                  <a:lnTo>
                    <a:pt x="121" y="123"/>
                  </a:lnTo>
                  <a:lnTo>
                    <a:pt x="121" y="126"/>
                  </a:lnTo>
                  <a:lnTo>
                    <a:pt x="124" y="123"/>
                  </a:lnTo>
                  <a:lnTo>
                    <a:pt x="126" y="123"/>
                  </a:lnTo>
                  <a:lnTo>
                    <a:pt x="126" y="129"/>
                  </a:lnTo>
                  <a:lnTo>
                    <a:pt x="129" y="132"/>
                  </a:lnTo>
                  <a:lnTo>
                    <a:pt x="138" y="135"/>
                  </a:lnTo>
                  <a:lnTo>
                    <a:pt x="141" y="143"/>
                  </a:lnTo>
                  <a:lnTo>
                    <a:pt x="147" y="155"/>
                  </a:lnTo>
                  <a:lnTo>
                    <a:pt x="147" y="161"/>
                  </a:lnTo>
                  <a:lnTo>
                    <a:pt x="144" y="161"/>
                  </a:lnTo>
                  <a:lnTo>
                    <a:pt x="144" y="166"/>
                  </a:lnTo>
                  <a:lnTo>
                    <a:pt x="138" y="172"/>
                  </a:lnTo>
                  <a:lnTo>
                    <a:pt x="144" y="175"/>
                  </a:lnTo>
                  <a:lnTo>
                    <a:pt x="152" y="169"/>
                  </a:lnTo>
                  <a:lnTo>
                    <a:pt x="152" y="161"/>
                  </a:lnTo>
                  <a:lnTo>
                    <a:pt x="158" y="158"/>
                  </a:lnTo>
                  <a:lnTo>
                    <a:pt x="164" y="158"/>
                  </a:lnTo>
                  <a:lnTo>
                    <a:pt x="164" y="146"/>
                  </a:lnTo>
                  <a:lnTo>
                    <a:pt x="155" y="143"/>
                  </a:lnTo>
                  <a:lnTo>
                    <a:pt x="152" y="140"/>
                  </a:lnTo>
                  <a:lnTo>
                    <a:pt x="155" y="132"/>
                  </a:lnTo>
                  <a:lnTo>
                    <a:pt x="161" y="126"/>
                  </a:lnTo>
                  <a:lnTo>
                    <a:pt x="161" y="123"/>
                  </a:lnTo>
                  <a:lnTo>
                    <a:pt x="164" y="126"/>
                  </a:lnTo>
                  <a:lnTo>
                    <a:pt x="164" y="129"/>
                  </a:lnTo>
                  <a:lnTo>
                    <a:pt x="167" y="132"/>
                  </a:lnTo>
                  <a:lnTo>
                    <a:pt x="170" y="129"/>
                  </a:lnTo>
                  <a:lnTo>
                    <a:pt x="172" y="129"/>
                  </a:lnTo>
                  <a:lnTo>
                    <a:pt x="172" y="132"/>
                  </a:lnTo>
                  <a:lnTo>
                    <a:pt x="178" y="138"/>
                  </a:lnTo>
                  <a:lnTo>
                    <a:pt x="184" y="135"/>
                  </a:lnTo>
                  <a:lnTo>
                    <a:pt x="178" y="126"/>
                  </a:lnTo>
                  <a:lnTo>
                    <a:pt x="172" y="120"/>
                  </a:lnTo>
                  <a:lnTo>
                    <a:pt x="161" y="115"/>
                  </a:lnTo>
                  <a:lnTo>
                    <a:pt x="149" y="109"/>
                  </a:lnTo>
                  <a:lnTo>
                    <a:pt x="141" y="106"/>
                  </a:lnTo>
                  <a:lnTo>
                    <a:pt x="147" y="100"/>
                  </a:lnTo>
                  <a:lnTo>
                    <a:pt x="141" y="97"/>
                  </a:lnTo>
                  <a:lnTo>
                    <a:pt x="135" y="97"/>
                  </a:lnTo>
                  <a:lnTo>
                    <a:pt x="126" y="97"/>
                  </a:lnTo>
                  <a:lnTo>
                    <a:pt x="118" y="89"/>
                  </a:lnTo>
                  <a:lnTo>
                    <a:pt x="112" y="83"/>
                  </a:lnTo>
                  <a:lnTo>
                    <a:pt x="109" y="74"/>
                  </a:lnTo>
                  <a:lnTo>
                    <a:pt x="106" y="66"/>
                  </a:lnTo>
                  <a:lnTo>
                    <a:pt x="92" y="57"/>
                  </a:lnTo>
                  <a:lnTo>
                    <a:pt x="86" y="51"/>
                  </a:lnTo>
                  <a:lnTo>
                    <a:pt x="83" y="46"/>
                  </a:lnTo>
                  <a:lnTo>
                    <a:pt x="86" y="43"/>
                  </a:lnTo>
                  <a:lnTo>
                    <a:pt x="89" y="40"/>
                  </a:lnTo>
                  <a:lnTo>
                    <a:pt x="86" y="37"/>
                  </a:lnTo>
                  <a:lnTo>
                    <a:pt x="86" y="34"/>
                  </a:lnTo>
                  <a:lnTo>
                    <a:pt x="89" y="28"/>
                  </a:lnTo>
                  <a:lnTo>
                    <a:pt x="98" y="26"/>
                  </a:lnTo>
                  <a:lnTo>
                    <a:pt x="101" y="26"/>
                  </a:lnTo>
                  <a:lnTo>
                    <a:pt x="101" y="31"/>
                  </a:lnTo>
                  <a:lnTo>
                    <a:pt x="106" y="34"/>
                  </a:lnTo>
                  <a:lnTo>
                    <a:pt x="106" y="40"/>
                  </a:lnTo>
                  <a:lnTo>
                    <a:pt x="109" y="43"/>
                  </a:lnTo>
                  <a:lnTo>
                    <a:pt x="115" y="37"/>
                  </a:lnTo>
                  <a:lnTo>
                    <a:pt x="115" y="40"/>
                  </a:lnTo>
                  <a:lnTo>
                    <a:pt x="112" y="43"/>
                  </a:lnTo>
                  <a:lnTo>
                    <a:pt x="118" y="46"/>
                  </a:lnTo>
                  <a:lnTo>
                    <a:pt x="121" y="43"/>
                  </a:lnTo>
                  <a:lnTo>
                    <a:pt x="118" y="37"/>
                  </a:lnTo>
                  <a:lnTo>
                    <a:pt x="121" y="34"/>
                  </a:lnTo>
                  <a:lnTo>
                    <a:pt x="124" y="37"/>
                  </a:lnTo>
                  <a:lnTo>
                    <a:pt x="124" y="43"/>
                  </a:lnTo>
                  <a:lnTo>
                    <a:pt x="126" y="49"/>
                  </a:lnTo>
                  <a:lnTo>
                    <a:pt x="132" y="51"/>
                  </a:lnTo>
                  <a:lnTo>
                    <a:pt x="129" y="51"/>
                  </a:lnTo>
                  <a:lnTo>
                    <a:pt x="126" y="51"/>
                  </a:lnTo>
                  <a:lnTo>
                    <a:pt x="135" y="60"/>
                  </a:lnTo>
                  <a:lnTo>
                    <a:pt x="144" y="66"/>
                  </a:lnTo>
                  <a:lnTo>
                    <a:pt x="147" y="66"/>
                  </a:lnTo>
                  <a:lnTo>
                    <a:pt x="152" y="66"/>
                  </a:lnTo>
                  <a:lnTo>
                    <a:pt x="149" y="57"/>
                  </a:lnTo>
                  <a:lnTo>
                    <a:pt x="144" y="54"/>
                  </a:lnTo>
                  <a:lnTo>
                    <a:pt x="141" y="46"/>
                  </a:lnTo>
                  <a:lnTo>
                    <a:pt x="135" y="43"/>
                  </a:lnTo>
                  <a:lnTo>
                    <a:pt x="141" y="34"/>
                  </a:lnTo>
                  <a:lnTo>
                    <a:pt x="147" y="37"/>
                  </a:lnTo>
                  <a:lnTo>
                    <a:pt x="152" y="34"/>
                  </a:lnTo>
                  <a:lnTo>
                    <a:pt x="155" y="31"/>
                  </a:lnTo>
                  <a:lnTo>
                    <a:pt x="161" y="34"/>
                  </a:lnTo>
                  <a:lnTo>
                    <a:pt x="167" y="34"/>
                  </a:lnTo>
                  <a:lnTo>
                    <a:pt x="172" y="37"/>
                  </a:lnTo>
                  <a:lnTo>
                    <a:pt x="178" y="37"/>
                  </a:lnTo>
                  <a:lnTo>
                    <a:pt x="184" y="37"/>
                  </a:lnTo>
                  <a:lnTo>
                    <a:pt x="190" y="40"/>
                  </a:lnTo>
                  <a:lnTo>
                    <a:pt x="192" y="40"/>
                  </a:lnTo>
                  <a:lnTo>
                    <a:pt x="192" y="34"/>
                  </a:lnTo>
                  <a:lnTo>
                    <a:pt x="187" y="31"/>
                  </a:lnTo>
                  <a:lnTo>
                    <a:pt x="184" y="28"/>
                  </a:lnTo>
                  <a:lnTo>
                    <a:pt x="184" y="23"/>
                  </a:lnTo>
                  <a:lnTo>
                    <a:pt x="181" y="26"/>
                  </a:lnTo>
                  <a:lnTo>
                    <a:pt x="175" y="26"/>
                  </a:lnTo>
                  <a:lnTo>
                    <a:pt x="167" y="26"/>
                  </a:lnTo>
                  <a:lnTo>
                    <a:pt x="161" y="20"/>
                  </a:lnTo>
                  <a:lnTo>
                    <a:pt x="155" y="17"/>
                  </a:lnTo>
                  <a:lnTo>
                    <a:pt x="147" y="11"/>
                  </a:lnTo>
                  <a:lnTo>
                    <a:pt x="138" y="17"/>
                  </a:lnTo>
                  <a:lnTo>
                    <a:pt x="138" y="23"/>
                  </a:lnTo>
                  <a:lnTo>
                    <a:pt x="132" y="26"/>
                  </a:lnTo>
                  <a:lnTo>
                    <a:pt x="132" y="31"/>
                  </a:lnTo>
                  <a:lnTo>
                    <a:pt x="118" y="31"/>
                  </a:lnTo>
                  <a:lnTo>
                    <a:pt x="115" y="28"/>
                  </a:lnTo>
                  <a:lnTo>
                    <a:pt x="106" y="28"/>
                  </a:lnTo>
                  <a:lnTo>
                    <a:pt x="101" y="17"/>
                  </a:lnTo>
                  <a:lnTo>
                    <a:pt x="95" y="14"/>
                  </a:lnTo>
                  <a:lnTo>
                    <a:pt x="89" y="11"/>
                  </a:lnTo>
                  <a:lnTo>
                    <a:pt x="86" y="11"/>
                  </a:lnTo>
                  <a:lnTo>
                    <a:pt x="86" y="8"/>
                  </a:lnTo>
                  <a:lnTo>
                    <a:pt x="86" y="6"/>
                  </a:lnTo>
                  <a:lnTo>
                    <a:pt x="83" y="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8" y="14"/>
                  </a:lnTo>
                  <a:lnTo>
                    <a:pt x="55" y="11"/>
                  </a:lnTo>
                  <a:lnTo>
                    <a:pt x="52" y="11"/>
                  </a:lnTo>
                  <a:lnTo>
                    <a:pt x="52" y="20"/>
                  </a:lnTo>
                  <a:lnTo>
                    <a:pt x="49" y="17"/>
                  </a:lnTo>
                  <a:lnTo>
                    <a:pt x="49" y="14"/>
                  </a:lnTo>
                  <a:lnTo>
                    <a:pt x="43" y="20"/>
                  </a:lnTo>
                  <a:lnTo>
                    <a:pt x="43" y="17"/>
                  </a:lnTo>
                  <a:lnTo>
                    <a:pt x="40" y="14"/>
                  </a:lnTo>
                  <a:lnTo>
                    <a:pt x="35" y="26"/>
                  </a:lnTo>
                  <a:lnTo>
                    <a:pt x="26" y="14"/>
                  </a:lnTo>
                  <a:lnTo>
                    <a:pt x="20" y="14"/>
                  </a:lnTo>
                  <a:lnTo>
                    <a:pt x="20" y="26"/>
                  </a:lnTo>
                  <a:lnTo>
                    <a:pt x="12" y="20"/>
                  </a:lnTo>
                  <a:lnTo>
                    <a:pt x="6" y="23"/>
                  </a:lnTo>
                  <a:lnTo>
                    <a:pt x="3" y="26"/>
                  </a:lnTo>
                  <a:lnTo>
                    <a:pt x="9" y="34"/>
                  </a:lnTo>
                  <a:lnTo>
                    <a:pt x="6" y="34"/>
                  </a:lnTo>
                  <a:lnTo>
                    <a:pt x="3" y="37"/>
                  </a:lnTo>
                  <a:lnTo>
                    <a:pt x="0" y="37"/>
                  </a:lnTo>
                  <a:lnTo>
                    <a:pt x="6" y="43"/>
                  </a:lnTo>
                  <a:lnTo>
                    <a:pt x="3" y="51"/>
                  </a:lnTo>
                  <a:lnTo>
                    <a:pt x="6" y="51"/>
                  </a:lnTo>
                  <a:lnTo>
                    <a:pt x="14" y="54"/>
                  </a:lnTo>
                  <a:lnTo>
                    <a:pt x="14" y="6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86" name="Freeform 218"/>
            <p:cNvSpPr>
              <a:spLocks noChangeAspect="1"/>
            </p:cNvSpPr>
            <p:nvPr/>
          </p:nvSpPr>
          <p:spPr bwMode="gray">
            <a:xfrm>
              <a:off x="7157365" y="3207036"/>
              <a:ext cx="338274" cy="397044"/>
            </a:xfrm>
            <a:custGeom>
              <a:avLst/>
              <a:gdLst>
                <a:gd name="T0" fmla="*/ 2147483647 w 132"/>
                <a:gd name="T1" fmla="*/ 2147483647 h 138"/>
                <a:gd name="T2" fmla="*/ 2147483647 w 132"/>
                <a:gd name="T3" fmla="*/ 2147483647 h 138"/>
                <a:gd name="T4" fmla="*/ 2147483647 w 132"/>
                <a:gd name="T5" fmla="*/ 2147483647 h 138"/>
                <a:gd name="T6" fmla="*/ 2147483647 w 132"/>
                <a:gd name="T7" fmla="*/ 2147483647 h 138"/>
                <a:gd name="T8" fmla="*/ 2147483647 w 132"/>
                <a:gd name="T9" fmla="*/ 2147483647 h 138"/>
                <a:gd name="T10" fmla="*/ 2147483647 w 132"/>
                <a:gd name="T11" fmla="*/ 2147483647 h 138"/>
                <a:gd name="T12" fmla="*/ 2147483647 w 132"/>
                <a:gd name="T13" fmla="*/ 2147483647 h 138"/>
                <a:gd name="T14" fmla="*/ 2147483647 w 132"/>
                <a:gd name="T15" fmla="*/ 2147483647 h 138"/>
                <a:gd name="T16" fmla="*/ 2147483647 w 132"/>
                <a:gd name="T17" fmla="*/ 2147483647 h 138"/>
                <a:gd name="T18" fmla="*/ 2147483647 w 132"/>
                <a:gd name="T19" fmla="*/ 2147483647 h 138"/>
                <a:gd name="T20" fmla="*/ 2147483647 w 132"/>
                <a:gd name="T21" fmla="*/ 2147483647 h 138"/>
                <a:gd name="T22" fmla="*/ 2147483647 w 132"/>
                <a:gd name="T23" fmla="*/ 2147483647 h 138"/>
                <a:gd name="T24" fmla="*/ 2147483647 w 132"/>
                <a:gd name="T25" fmla="*/ 2147483647 h 138"/>
                <a:gd name="T26" fmla="*/ 2147483647 w 132"/>
                <a:gd name="T27" fmla="*/ 2147483647 h 138"/>
                <a:gd name="T28" fmla="*/ 2147483647 w 132"/>
                <a:gd name="T29" fmla="*/ 2147483647 h 138"/>
                <a:gd name="T30" fmla="*/ 2147483647 w 132"/>
                <a:gd name="T31" fmla="*/ 2147483647 h 138"/>
                <a:gd name="T32" fmla="*/ 2147483647 w 132"/>
                <a:gd name="T33" fmla="*/ 2147483647 h 138"/>
                <a:gd name="T34" fmla="*/ 2147483647 w 132"/>
                <a:gd name="T35" fmla="*/ 2147483647 h 138"/>
                <a:gd name="T36" fmla="*/ 2147483647 w 132"/>
                <a:gd name="T37" fmla="*/ 2147483647 h 138"/>
                <a:gd name="T38" fmla="*/ 2147483647 w 132"/>
                <a:gd name="T39" fmla="*/ 2147483647 h 138"/>
                <a:gd name="T40" fmla="*/ 2147483647 w 132"/>
                <a:gd name="T41" fmla="*/ 2147483647 h 138"/>
                <a:gd name="T42" fmla="*/ 2147483647 w 132"/>
                <a:gd name="T43" fmla="*/ 2147483647 h 138"/>
                <a:gd name="T44" fmla="*/ 2147483647 w 132"/>
                <a:gd name="T45" fmla="*/ 2147483647 h 138"/>
                <a:gd name="T46" fmla="*/ 2147483647 w 132"/>
                <a:gd name="T47" fmla="*/ 2147483647 h 138"/>
                <a:gd name="T48" fmla="*/ 2147483647 w 132"/>
                <a:gd name="T49" fmla="*/ 2147483647 h 138"/>
                <a:gd name="T50" fmla="*/ 2147483647 w 132"/>
                <a:gd name="T51" fmla="*/ 2147483647 h 138"/>
                <a:gd name="T52" fmla="*/ 2147483647 w 132"/>
                <a:gd name="T53" fmla="*/ 2147483647 h 138"/>
                <a:gd name="T54" fmla="*/ 2147483647 w 132"/>
                <a:gd name="T55" fmla="*/ 2147483647 h 138"/>
                <a:gd name="T56" fmla="*/ 2147483647 w 132"/>
                <a:gd name="T57" fmla="*/ 2147483647 h 138"/>
                <a:gd name="T58" fmla="*/ 2147483647 w 132"/>
                <a:gd name="T59" fmla="*/ 2147483647 h 138"/>
                <a:gd name="T60" fmla="*/ 2147483647 w 132"/>
                <a:gd name="T61" fmla="*/ 2147483647 h 138"/>
                <a:gd name="T62" fmla="*/ 2147483647 w 132"/>
                <a:gd name="T63" fmla="*/ 2147483647 h 138"/>
                <a:gd name="T64" fmla="*/ 2147483647 w 132"/>
                <a:gd name="T65" fmla="*/ 2147483647 h 138"/>
                <a:gd name="T66" fmla="*/ 2147483647 w 132"/>
                <a:gd name="T67" fmla="*/ 0 h 138"/>
                <a:gd name="T68" fmla="*/ 2147483647 w 132"/>
                <a:gd name="T69" fmla="*/ 2147483647 h 138"/>
                <a:gd name="T70" fmla="*/ 2147483647 w 132"/>
                <a:gd name="T71" fmla="*/ 2147483647 h 138"/>
                <a:gd name="T72" fmla="*/ 2147483647 w 132"/>
                <a:gd name="T73" fmla="*/ 2147483647 h 138"/>
                <a:gd name="T74" fmla="*/ 2147483647 w 132"/>
                <a:gd name="T75" fmla="*/ 2147483647 h 138"/>
                <a:gd name="T76" fmla="*/ 2147483647 w 132"/>
                <a:gd name="T77" fmla="*/ 2147483647 h 138"/>
                <a:gd name="T78" fmla="*/ 2147483647 w 132"/>
                <a:gd name="T79" fmla="*/ 2147483647 h 138"/>
                <a:gd name="T80" fmla="*/ 0 w 132"/>
                <a:gd name="T81" fmla="*/ 2147483647 h 138"/>
                <a:gd name="T82" fmla="*/ 0 w 132"/>
                <a:gd name="T83" fmla="*/ 2147483647 h 138"/>
                <a:gd name="T84" fmla="*/ 2147483647 w 132"/>
                <a:gd name="T85" fmla="*/ 2147483647 h 138"/>
                <a:gd name="T86" fmla="*/ 2147483647 w 132"/>
                <a:gd name="T87" fmla="*/ 2147483647 h 138"/>
                <a:gd name="T88" fmla="*/ 2147483647 w 132"/>
                <a:gd name="T89" fmla="*/ 2147483647 h 13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32"/>
                <a:gd name="T136" fmla="*/ 0 h 138"/>
                <a:gd name="T137" fmla="*/ 132 w 132"/>
                <a:gd name="T138" fmla="*/ 138 h 13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32" h="138">
                  <a:moveTo>
                    <a:pt x="5" y="101"/>
                  </a:moveTo>
                  <a:lnTo>
                    <a:pt x="8" y="104"/>
                  </a:lnTo>
                  <a:lnTo>
                    <a:pt x="14" y="104"/>
                  </a:lnTo>
                  <a:lnTo>
                    <a:pt x="17" y="107"/>
                  </a:lnTo>
                  <a:lnTo>
                    <a:pt x="20" y="104"/>
                  </a:lnTo>
                  <a:lnTo>
                    <a:pt x="22" y="104"/>
                  </a:lnTo>
                  <a:lnTo>
                    <a:pt x="28" y="107"/>
                  </a:lnTo>
                  <a:lnTo>
                    <a:pt x="34" y="109"/>
                  </a:lnTo>
                  <a:lnTo>
                    <a:pt x="25" y="118"/>
                  </a:lnTo>
                  <a:lnTo>
                    <a:pt x="22" y="135"/>
                  </a:lnTo>
                  <a:lnTo>
                    <a:pt x="31" y="135"/>
                  </a:lnTo>
                  <a:lnTo>
                    <a:pt x="37" y="130"/>
                  </a:lnTo>
                  <a:lnTo>
                    <a:pt x="43" y="132"/>
                  </a:lnTo>
                  <a:lnTo>
                    <a:pt x="51" y="135"/>
                  </a:lnTo>
                  <a:lnTo>
                    <a:pt x="57" y="135"/>
                  </a:lnTo>
                  <a:lnTo>
                    <a:pt x="63" y="138"/>
                  </a:lnTo>
                  <a:lnTo>
                    <a:pt x="66" y="135"/>
                  </a:lnTo>
                  <a:lnTo>
                    <a:pt x="74" y="135"/>
                  </a:lnTo>
                  <a:lnTo>
                    <a:pt x="74" y="138"/>
                  </a:lnTo>
                  <a:lnTo>
                    <a:pt x="80" y="138"/>
                  </a:lnTo>
                  <a:lnTo>
                    <a:pt x="91" y="132"/>
                  </a:lnTo>
                  <a:lnTo>
                    <a:pt x="100" y="132"/>
                  </a:lnTo>
                  <a:lnTo>
                    <a:pt x="100" y="135"/>
                  </a:lnTo>
                  <a:lnTo>
                    <a:pt x="103" y="135"/>
                  </a:lnTo>
                  <a:lnTo>
                    <a:pt x="100" y="127"/>
                  </a:lnTo>
                  <a:lnTo>
                    <a:pt x="100" y="121"/>
                  </a:lnTo>
                  <a:lnTo>
                    <a:pt x="106" y="121"/>
                  </a:lnTo>
                  <a:lnTo>
                    <a:pt x="109" y="115"/>
                  </a:lnTo>
                  <a:lnTo>
                    <a:pt x="111" y="115"/>
                  </a:lnTo>
                  <a:lnTo>
                    <a:pt x="106" y="107"/>
                  </a:lnTo>
                  <a:lnTo>
                    <a:pt x="94" y="98"/>
                  </a:lnTo>
                  <a:lnTo>
                    <a:pt x="94" y="89"/>
                  </a:lnTo>
                  <a:lnTo>
                    <a:pt x="86" y="86"/>
                  </a:lnTo>
                  <a:lnTo>
                    <a:pt x="89" y="84"/>
                  </a:lnTo>
                  <a:lnTo>
                    <a:pt x="91" y="84"/>
                  </a:lnTo>
                  <a:lnTo>
                    <a:pt x="91" y="81"/>
                  </a:lnTo>
                  <a:lnTo>
                    <a:pt x="94" y="81"/>
                  </a:lnTo>
                  <a:lnTo>
                    <a:pt x="100" y="81"/>
                  </a:lnTo>
                  <a:lnTo>
                    <a:pt x="103" y="78"/>
                  </a:lnTo>
                  <a:lnTo>
                    <a:pt x="111" y="75"/>
                  </a:lnTo>
                  <a:lnTo>
                    <a:pt x="120" y="72"/>
                  </a:lnTo>
                  <a:lnTo>
                    <a:pt x="123" y="69"/>
                  </a:lnTo>
                  <a:lnTo>
                    <a:pt x="126" y="69"/>
                  </a:lnTo>
                  <a:lnTo>
                    <a:pt x="126" y="75"/>
                  </a:lnTo>
                  <a:lnTo>
                    <a:pt x="129" y="72"/>
                  </a:lnTo>
                  <a:lnTo>
                    <a:pt x="132" y="66"/>
                  </a:lnTo>
                  <a:lnTo>
                    <a:pt x="126" y="58"/>
                  </a:lnTo>
                  <a:lnTo>
                    <a:pt x="123" y="55"/>
                  </a:lnTo>
                  <a:lnTo>
                    <a:pt x="126" y="52"/>
                  </a:lnTo>
                  <a:lnTo>
                    <a:pt x="129" y="52"/>
                  </a:lnTo>
                  <a:lnTo>
                    <a:pt x="126" y="49"/>
                  </a:lnTo>
                  <a:lnTo>
                    <a:pt x="123" y="49"/>
                  </a:lnTo>
                  <a:lnTo>
                    <a:pt x="120" y="49"/>
                  </a:lnTo>
                  <a:lnTo>
                    <a:pt x="123" y="46"/>
                  </a:lnTo>
                  <a:lnTo>
                    <a:pt x="123" y="43"/>
                  </a:lnTo>
                  <a:lnTo>
                    <a:pt x="117" y="35"/>
                  </a:lnTo>
                  <a:lnTo>
                    <a:pt x="120" y="29"/>
                  </a:lnTo>
                  <a:lnTo>
                    <a:pt x="117" y="15"/>
                  </a:lnTo>
                  <a:lnTo>
                    <a:pt x="109" y="12"/>
                  </a:lnTo>
                  <a:lnTo>
                    <a:pt x="103" y="9"/>
                  </a:lnTo>
                  <a:lnTo>
                    <a:pt x="97" y="9"/>
                  </a:lnTo>
                  <a:lnTo>
                    <a:pt x="94" y="9"/>
                  </a:lnTo>
                  <a:lnTo>
                    <a:pt x="80" y="15"/>
                  </a:lnTo>
                  <a:lnTo>
                    <a:pt x="68" y="15"/>
                  </a:lnTo>
                  <a:lnTo>
                    <a:pt x="74" y="9"/>
                  </a:lnTo>
                  <a:lnTo>
                    <a:pt x="71" y="9"/>
                  </a:lnTo>
                  <a:lnTo>
                    <a:pt x="66" y="9"/>
                  </a:lnTo>
                  <a:lnTo>
                    <a:pt x="60" y="9"/>
                  </a:lnTo>
                  <a:lnTo>
                    <a:pt x="57" y="6"/>
                  </a:lnTo>
                  <a:lnTo>
                    <a:pt x="57" y="3"/>
                  </a:lnTo>
                  <a:lnTo>
                    <a:pt x="54" y="3"/>
                  </a:lnTo>
                  <a:lnTo>
                    <a:pt x="45" y="0"/>
                  </a:lnTo>
                  <a:lnTo>
                    <a:pt x="37" y="0"/>
                  </a:lnTo>
                  <a:lnTo>
                    <a:pt x="37" y="3"/>
                  </a:lnTo>
                  <a:lnTo>
                    <a:pt x="40" y="9"/>
                  </a:lnTo>
                  <a:lnTo>
                    <a:pt x="40" y="15"/>
                  </a:lnTo>
                  <a:lnTo>
                    <a:pt x="40" y="18"/>
                  </a:lnTo>
                  <a:lnTo>
                    <a:pt x="37" y="23"/>
                  </a:lnTo>
                  <a:lnTo>
                    <a:pt x="31" y="23"/>
                  </a:lnTo>
                  <a:lnTo>
                    <a:pt x="25" y="20"/>
                  </a:lnTo>
                  <a:lnTo>
                    <a:pt x="17" y="23"/>
                  </a:lnTo>
                  <a:lnTo>
                    <a:pt x="20" y="35"/>
                  </a:lnTo>
                  <a:lnTo>
                    <a:pt x="17" y="41"/>
                  </a:lnTo>
                  <a:lnTo>
                    <a:pt x="11" y="43"/>
                  </a:lnTo>
                  <a:lnTo>
                    <a:pt x="17" y="49"/>
                  </a:lnTo>
                  <a:lnTo>
                    <a:pt x="11" y="52"/>
                  </a:lnTo>
                  <a:lnTo>
                    <a:pt x="11" y="58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5" y="61"/>
                  </a:lnTo>
                  <a:lnTo>
                    <a:pt x="0" y="72"/>
                  </a:lnTo>
                  <a:lnTo>
                    <a:pt x="2" y="75"/>
                  </a:lnTo>
                  <a:lnTo>
                    <a:pt x="5" y="81"/>
                  </a:lnTo>
                  <a:lnTo>
                    <a:pt x="2" y="86"/>
                  </a:lnTo>
                  <a:lnTo>
                    <a:pt x="5" y="92"/>
                  </a:lnTo>
                  <a:lnTo>
                    <a:pt x="8" y="98"/>
                  </a:lnTo>
                  <a:lnTo>
                    <a:pt x="5" y="1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87" name="Freeform 223"/>
            <p:cNvSpPr>
              <a:spLocks noChangeAspect="1"/>
            </p:cNvSpPr>
            <p:nvPr/>
          </p:nvSpPr>
          <p:spPr bwMode="gray">
            <a:xfrm>
              <a:off x="7229150" y="3051528"/>
              <a:ext cx="112103" cy="146686"/>
            </a:xfrm>
            <a:custGeom>
              <a:avLst/>
              <a:gdLst>
                <a:gd name="T0" fmla="*/ 2147483647 w 43"/>
                <a:gd name="T1" fmla="*/ 2147483647 h 51"/>
                <a:gd name="T2" fmla="*/ 2147483647 w 43"/>
                <a:gd name="T3" fmla="*/ 2147483647 h 51"/>
                <a:gd name="T4" fmla="*/ 2147483647 w 43"/>
                <a:gd name="T5" fmla="*/ 2147483647 h 51"/>
                <a:gd name="T6" fmla="*/ 2147483647 w 43"/>
                <a:gd name="T7" fmla="*/ 2147483647 h 51"/>
                <a:gd name="T8" fmla="*/ 2147483647 w 43"/>
                <a:gd name="T9" fmla="*/ 2147483647 h 51"/>
                <a:gd name="T10" fmla="*/ 2147483647 w 43"/>
                <a:gd name="T11" fmla="*/ 2147483647 h 51"/>
                <a:gd name="T12" fmla="*/ 2147483647 w 43"/>
                <a:gd name="T13" fmla="*/ 2147483647 h 51"/>
                <a:gd name="T14" fmla="*/ 0 w 43"/>
                <a:gd name="T15" fmla="*/ 2147483647 h 51"/>
                <a:gd name="T16" fmla="*/ 0 w 43"/>
                <a:gd name="T17" fmla="*/ 2147483647 h 51"/>
                <a:gd name="T18" fmla="*/ 0 w 43"/>
                <a:gd name="T19" fmla="*/ 2147483647 h 51"/>
                <a:gd name="T20" fmla="*/ 2147483647 w 43"/>
                <a:gd name="T21" fmla="*/ 2147483647 h 51"/>
                <a:gd name="T22" fmla="*/ 2147483647 w 43"/>
                <a:gd name="T23" fmla="*/ 2147483647 h 51"/>
                <a:gd name="T24" fmla="*/ 2147483647 w 43"/>
                <a:gd name="T25" fmla="*/ 2147483647 h 51"/>
                <a:gd name="T26" fmla="*/ 2147483647 w 43"/>
                <a:gd name="T27" fmla="*/ 2147483647 h 51"/>
                <a:gd name="T28" fmla="*/ 2147483647 w 43"/>
                <a:gd name="T29" fmla="*/ 2147483647 h 51"/>
                <a:gd name="T30" fmla="*/ 2147483647 w 43"/>
                <a:gd name="T31" fmla="*/ 2147483647 h 51"/>
                <a:gd name="T32" fmla="*/ 2147483647 w 43"/>
                <a:gd name="T33" fmla="*/ 2147483647 h 51"/>
                <a:gd name="T34" fmla="*/ 2147483647 w 43"/>
                <a:gd name="T35" fmla="*/ 2147483647 h 51"/>
                <a:gd name="T36" fmla="*/ 2147483647 w 43"/>
                <a:gd name="T37" fmla="*/ 2147483647 h 51"/>
                <a:gd name="T38" fmla="*/ 2147483647 w 43"/>
                <a:gd name="T39" fmla="*/ 2147483647 h 51"/>
                <a:gd name="T40" fmla="*/ 2147483647 w 43"/>
                <a:gd name="T41" fmla="*/ 2147483647 h 51"/>
                <a:gd name="T42" fmla="*/ 2147483647 w 43"/>
                <a:gd name="T43" fmla="*/ 2147483647 h 51"/>
                <a:gd name="T44" fmla="*/ 2147483647 w 43"/>
                <a:gd name="T45" fmla="*/ 2147483647 h 51"/>
                <a:gd name="T46" fmla="*/ 2147483647 w 43"/>
                <a:gd name="T47" fmla="*/ 2147483647 h 51"/>
                <a:gd name="T48" fmla="*/ 2147483647 w 43"/>
                <a:gd name="T49" fmla="*/ 2147483647 h 51"/>
                <a:gd name="T50" fmla="*/ 2147483647 w 43"/>
                <a:gd name="T51" fmla="*/ 2147483647 h 51"/>
                <a:gd name="T52" fmla="*/ 2147483647 w 43"/>
                <a:gd name="T53" fmla="*/ 2147483647 h 51"/>
                <a:gd name="T54" fmla="*/ 2147483647 w 43"/>
                <a:gd name="T55" fmla="*/ 2147483647 h 51"/>
                <a:gd name="T56" fmla="*/ 2147483647 w 43"/>
                <a:gd name="T57" fmla="*/ 2147483647 h 51"/>
                <a:gd name="T58" fmla="*/ 2147483647 w 43"/>
                <a:gd name="T59" fmla="*/ 2147483647 h 51"/>
                <a:gd name="T60" fmla="*/ 2147483647 w 43"/>
                <a:gd name="T61" fmla="*/ 2147483647 h 51"/>
                <a:gd name="T62" fmla="*/ 2147483647 w 43"/>
                <a:gd name="T63" fmla="*/ 2147483647 h 51"/>
                <a:gd name="T64" fmla="*/ 2147483647 w 43"/>
                <a:gd name="T65" fmla="*/ 2147483647 h 51"/>
                <a:gd name="T66" fmla="*/ 2147483647 w 43"/>
                <a:gd name="T67" fmla="*/ 2147483647 h 51"/>
                <a:gd name="T68" fmla="*/ 2147483647 w 43"/>
                <a:gd name="T69" fmla="*/ 2147483647 h 51"/>
                <a:gd name="T70" fmla="*/ 2147483647 w 43"/>
                <a:gd name="T71" fmla="*/ 2147483647 h 51"/>
                <a:gd name="T72" fmla="*/ 2147483647 w 43"/>
                <a:gd name="T73" fmla="*/ 2147483647 h 51"/>
                <a:gd name="T74" fmla="*/ 2147483647 w 43"/>
                <a:gd name="T75" fmla="*/ 2147483647 h 51"/>
                <a:gd name="T76" fmla="*/ 2147483647 w 43"/>
                <a:gd name="T77" fmla="*/ 2147483647 h 51"/>
                <a:gd name="T78" fmla="*/ 2147483647 w 43"/>
                <a:gd name="T79" fmla="*/ 2147483647 h 51"/>
                <a:gd name="T80" fmla="*/ 2147483647 w 43"/>
                <a:gd name="T81" fmla="*/ 2147483647 h 51"/>
                <a:gd name="T82" fmla="*/ 2147483647 w 43"/>
                <a:gd name="T83" fmla="*/ 0 h 51"/>
                <a:gd name="T84" fmla="*/ 2147483647 w 43"/>
                <a:gd name="T85" fmla="*/ 2147483647 h 51"/>
                <a:gd name="T86" fmla="*/ 2147483647 w 43"/>
                <a:gd name="T87" fmla="*/ 2147483647 h 51"/>
                <a:gd name="T88" fmla="*/ 2147483647 w 43"/>
                <a:gd name="T89" fmla="*/ 2147483647 h 51"/>
                <a:gd name="T90" fmla="*/ 2147483647 w 43"/>
                <a:gd name="T91" fmla="*/ 2147483647 h 51"/>
                <a:gd name="T92" fmla="*/ 2147483647 w 43"/>
                <a:gd name="T93" fmla="*/ 2147483647 h 51"/>
                <a:gd name="T94" fmla="*/ 2147483647 w 43"/>
                <a:gd name="T95" fmla="*/ 2147483647 h 51"/>
                <a:gd name="T96" fmla="*/ 2147483647 w 43"/>
                <a:gd name="T97" fmla="*/ 2147483647 h 51"/>
                <a:gd name="T98" fmla="*/ 2147483647 w 43"/>
                <a:gd name="T99" fmla="*/ 2147483647 h 51"/>
                <a:gd name="T100" fmla="*/ 2147483647 w 43"/>
                <a:gd name="T101" fmla="*/ 2147483647 h 51"/>
                <a:gd name="T102" fmla="*/ 2147483647 w 43"/>
                <a:gd name="T103" fmla="*/ 2147483647 h 51"/>
                <a:gd name="T104" fmla="*/ 2147483647 w 43"/>
                <a:gd name="T105" fmla="*/ 2147483647 h 51"/>
                <a:gd name="T106" fmla="*/ 2147483647 w 43"/>
                <a:gd name="T107" fmla="*/ 2147483647 h 51"/>
                <a:gd name="T108" fmla="*/ 2147483647 w 43"/>
                <a:gd name="T109" fmla="*/ 2147483647 h 51"/>
                <a:gd name="T110" fmla="*/ 2147483647 w 43"/>
                <a:gd name="T111" fmla="*/ 2147483647 h 5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3"/>
                <a:gd name="T169" fmla="*/ 0 h 51"/>
                <a:gd name="T170" fmla="*/ 43 w 43"/>
                <a:gd name="T171" fmla="*/ 51 h 5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3" h="51">
                  <a:moveTo>
                    <a:pt x="17" y="11"/>
                  </a:moveTo>
                  <a:lnTo>
                    <a:pt x="17" y="11"/>
                  </a:lnTo>
                  <a:lnTo>
                    <a:pt x="15" y="11"/>
                  </a:lnTo>
                  <a:lnTo>
                    <a:pt x="12" y="14"/>
                  </a:lnTo>
                  <a:lnTo>
                    <a:pt x="3" y="23"/>
                  </a:lnTo>
                  <a:lnTo>
                    <a:pt x="0" y="26"/>
                  </a:lnTo>
                  <a:lnTo>
                    <a:pt x="0" y="31"/>
                  </a:lnTo>
                  <a:lnTo>
                    <a:pt x="3" y="37"/>
                  </a:lnTo>
                  <a:lnTo>
                    <a:pt x="3" y="40"/>
                  </a:lnTo>
                  <a:lnTo>
                    <a:pt x="6" y="43"/>
                  </a:lnTo>
                  <a:lnTo>
                    <a:pt x="9" y="46"/>
                  </a:lnTo>
                  <a:lnTo>
                    <a:pt x="6" y="51"/>
                  </a:lnTo>
                  <a:lnTo>
                    <a:pt x="9" y="51"/>
                  </a:lnTo>
                  <a:lnTo>
                    <a:pt x="17" y="51"/>
                  </a:lnTo>
                  <a:lnTo>
                    <a:pt x="26" y="51"/>
                  </a:lnTo>
                  <a:lnTo>
                    <a:pt x="23" y="49"/>
                  </a:lnTo>
                  <a:lnTo>
                    <a:pt x="23" y="46"/>
                  </a:lnTo>
                  <a:lnTo>
                    <a:pt x="23" y="43"/>
                  </a:lnTo>
                  <a:lnTo>
                    <a:pt x="26" y="37"/>
                  </a:lnTo>
                  <a:lnTo>
                    <a:pt x="35" y="31"/>
                  </a:lnTo>
                  <a:lnTo>
                    <a:pt x="38" y="29"/>
                  </a:lnTo>
                  <a:lnTo>
                    <a:pt x="43" y="23"/>
                  </a:lnTo>
                  <a:lnTo>
                    <a:pt x="38" y="23"/>
                  </a:lnTo>
                  <a:lnTo>
                    <a:pt x="35" y="20"/>
                  </a:lnTo>
                  <a:lnTo>
                    <a:pt x="35" y="17"/>
                  </a:lnTo>
                  <a:lnTo>
                    <a:pt x="38" y="14"/>
                  </a:lnTo>
                  <a:lnTo>
                    <a:pt x="38" y="11"/>
                  </a:lnTo>
                  <a:lnTo>
                    <a:pt x="38" y="0"/>
                  </a:lnTo>
                  <a:lnTo>
                    <a:pt x="29" y="3"/>
                  </a:lnTo>
                  <a:lnTo>
                    <a:pt x="29" y="6"/>
                  </a:lnTo>
                  <a:lnTo>
                    <a:pt x="26" y="8"/>
                  </a:lnTo>
                  <a:lnTo>
                    <a:pt x="20" y="11"/>
                  </a:lnTo>
                  <a:lnTo>
                    <a:pt x="17" y="14"/>
                  </a:lnTo>
                  <a:lnTo>
                    <a:pt x="17" y="17"/>
                  </a:lnTo>
                  <a:lnTo>
                    <a:pt x="15" y="17"/>
                  </a:lnTo>
                  <a:lnTo>
                    <a:pt x="17" y="1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88" name="Freeform 225"/>
            <p:cNvSpPr>
              <a:spLocks noChangeAspect="1"/>
            </p:cNvSpPr>
            <p:nvPr/>
          </p:nvSpPr>
          <p:spPr bwMode="gray">
            <a:xfrm>
              <a:off x="7053129" y="4008844"/>
              <a:ext cx="22617" cy="17646"/>
            </a:xfrm>
            <a:custGeom>
              <a:avLst/>
              <a:gdLst>
                <a:gd name="T0" fmla="*/ 2147483647 w 9"/>
                <a:gd name="T1" fmla="*/ 2147483647 h 6"/>
                <a:gd name="T2" fmla="*/ 2147483647 w 9"/>
                <a:gd name="T3" fmla="*/ 0 h 6"/>
                <a:gd name="T4" fmla="*/ 2147483647 w 9"/>
                <a:gd name="T5" fmla="*/ 0 h 6"/>
                <a:gd name="T6" fmla="*/ 2147483647 w 9"/>
                <a:gd name="T7" fmla="*/ 0 h 6"/>
                <a:gd name="T8" fmla="*/ 0 w 9"/>
                <a:gd name="T9" fmla="*/ 2147483647 h 6"/>
                <a:gd name="T10" fmla="*/ 0 w 9"/>
                <a:gd name="T11" fmla="*/ 2147483647 h 6"/>
                <a:gd name="T12" fmla="*/ 0 w 9"/>
                <a:gd name="T13" fmla="*/ 2147483647 h 6"/>
                <a:gd name="T14" fmla="*/ 2147483647 w 9"/>
                <a:gd name="T15" fmla="*/ 2147483647 h 6"/>
                <a:gd name="T16" fmla="*/ 2147483647 w 9"/>
                <a:gd name="T17" fmla="*/ 2147483647 h 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6"/>
                <a:gd name="T29" fmla="*/ 9 w 9"/>
                <a:gd name="T30" fmla="*/ 6 h 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6">
                  <a:moveTo>
                    <a:pt x="9" y="6"/>
                  </a:moveTo>
                  <a:lnTo>
                    <a:pt x="9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6" y="6"/>
                  </a:lnTo>
                  <a:lnTo>
                    <a:pt x="9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89" name="Freeform 234"/>
            <p:cNvSpPr>
              <a:spLocks noChangeAspect="1"/>
            </p:cNvSpPr>
            <p:nvPr/>
          </p:nvSpPr>
          <p:spPr bwMode="gray">
            <a:xfrm>
              <a:off x="7465156" y="3207036"/>
              <a:ext cx="377610" cy="307709"/>
            </a:xfrm>
            <a:custGeom>
              <a:avLst/>
              <a:gdLst>
                <a:gd name="T0" fmla="*/ 2147483647 w 146"/>
                <a:gd name="T1" fmla="*/ 2147483647 h 107"/>
                <a:gd name="T2" fmla="*/ 2147483647 w 146"/>
                <a:gd name="T3" fmla="*/ 2147483647 h 107"/>
                <a:gd name="T4" fmla="*/ 2147483647 w 146"/>
                <a:gd name="T5" fmla="*/ 2147483647 h 107"/>
                <a:gd name="T6" fmla="*/ 2147483647 w 146"/>
                <a:gd name="T7" fmla="*/ 2147483647 h 107"/>
                <a:gd name="T8" fmla="*/ 2147483647 w 146"/>
                <a:gd name="T9" fmla="*/ 2147483647 h 107"/>
                <a:gd name="T10" fmla="*/ 2147483647 w 146"/>
                <a:gd name="T11" fmla="*/ 2147483647 h 107"/>
                <a:gd name="T12" fmla="*/ 2147483647 w 146"/>
                <a:gd name="T13" fmla="*/ 2147483647 h 107"/>
                <a:gd name="T14" fmla="*/ 2147483647 w 146"/>
                <a:gd name="T15" fmla="*/ 2147483647 h 107"/>
                <a:gd name="T16" fmla="*/ 2147483647 w 146"/>
                <a:gd name="T17" fmla="*/ 2147483647 h 107"/>
                <a:gd name="T18" fmla="*/ 2147483647 w 146"/>
                <a:gd name="T19" fmla="*/ 2147483647 h 107"/>
                <a:gd name="T20" fmla="*/ 2147483647 w 146"/>
                <a:gd name="T21" fmla="*/ 2147483647 h 107"/>
                <a:gd name="T22" fmla="*/ 2147483647 w 146"/>
                <a:gd name="T23" fmla="*/ 2147483647 h 107"/>
                <a:gd name="T24" fmla="*/ 2147483647 w 146"/>
                <a:gd name="T25" fmla="*/ 2147483647 h 107"/>
                <a:gd name="T26" fmla="*/ 2147483647 w 146"/>
                <a:gd name="T27" fmla="*/ 2147483647 h 107"/>
                <a:gd name="T28" fmla="*/ 2147483647 w 146"/>
                <a:gd name="T29" fmla="*/ 2147483647 h 107"/>
                <a:gd name="T30" fmla="*/ 2147483647 w 146"/>
                <a:gd name="T31" fmla="*/ 2147483647 h 107"/>
                <a:gd name="T32" fmla="*/ 2147483647 w 146"/>
                <a:gd name="T33" fmla="*/ 2147483647 h 107"/>
                <a:gd name="T34" fmla="*/ 2147483647 w 146"/>
                <a:gd name="T35" fmla="*/ 2147483647 h 107"/>
                <a:gd name="T36" fmla="*/ 2147483647 w 146"/>
                <a:gd name="T37" fmla="*/ 2147483647 h 107"/>
                <a:gd name="T38" fmla="*/ 2147483647 w 146"/>
                <a:gd name="T39" fmla="*/ 2147483647 h 107"/>
                <a:gd name="T40" fmla="*/ 2147483647 w 146"/>
                <a:gd name="T41" fmla="*/ 2147483647 h 107"/>
                <a:gd name="T42" fmla="*/ 2147483647 w 146"/>
                <a:gd name="T43" fmla="*/ 2147483647 h 107"/>
                <a:gd name="T44" fmla="*/ 2147483647 w 146"/>
                <a:gd name="T45" fmla="*/ 2147483647 h 107"/>
                <a:gd name="T46" fmla="*/ 2147483647 w 146"/>
                <a:gd name="T47" fmla="*/ 2147483647 h 107"/>
                <a:gd name="T48" fmla="*/ 2147483647 w 146"/>
                <a:gd name="T49" fmla="*/ 2147483647 h 107"/>
                <a:gd name="T50" fmla="*/ 2147483647 w 146"/>
                <a:gd name="T51" fmla="*/ 2147483647 h 107"/>
                <a:gd name="T52" fmla="*/ 2147483647 w 146"/>
                <a:gd name="T53" fmla="*/ 2147483647 h 107"/>
                <a:gd name="T54" fmla="*/ 2147483647 w 146"/>
                <a:gd name="T55" fmla="*/ 2147483647 h 107"/>
                <a:gd name="T56" fmla="*/ 2147483647 w 146"/>
                <a:gd name="T57" fmla="*/ 2147483647 h 107"/>
                <a:gd name="T58" fmla="*/ 2147483647 w 146"/>
                <a:gd name="T59" fmla="*/ 2147483647 h 107"/>
                <a:gd name="T60" fmla="*/ 2147483647 w 146"/>
                <a:gd name="T61" fmla="*/ 2147483647 h 107"/>
                <a:gd name="T62" fmla="*/ 2147483647 w 146"/>
                <a:gd name="T63" fmla="*/ 2147483647 h 107"/>
                <a:gd name="T64" fmla="*/ 2147483647 w 146"/>
                <a:gd name="T65" fmla="*/ 2147483647 h 107"/>
                <a:gd name="T66" fmla="*/ 2147483647 w 146"/>
                <a:gd name="T67" fmla="*/ 0 h 107"/>
                <a:gd name="T68" fmla="*/ 2147483647 w 146"/>
                <a:gd name="T69" fmla="*/ 0 h 107"/>
                <a:gd name="T70" fmla="*/ 2147483647 w 146"/>
                <a:gd name="T71" fmla="*/ 2147483647 h 107"/>
                <a:gd name="T72" fmla="*/ 2147483647 w 146"/>
                <a:gd name="T73" fmla="*/ 2147483647 h 107"/>
                <a:gd name="T74" fmla="*/ 2147483647 w 146"/>
                <a:gd name="T75" fmla="*/ 2147483647 h 107"/>
                <a:gd name="T76" fmla="*/ 2147483647 w 146"/>
                <a:gd name="T77" fmla="*/ 2147483647 h 107"/>
                <a:gd name="T78" fmla="*/ 2147483647 w 146"/>
                <a:gd name="T79" fmla="*/ 2147483647 h 107"/>
                <a:gd name="T80" fmla="*/ 0 w 146"/>
                <a:gd name="T81" fmla="*/ 2147483647 h 107"/>
                <a:gd name="T82" fmla="*/ 2147483647 w 146"/>
                <a:gd name="T83" fmla="*/ 2147483647 h 107"/>
                <a:gd name="T84" fmla="*/ 2147483647 w 146"/>
                <a:gd name="T85" fmla="*/ 2147483647 h 107"/>
                <a:gd name="T86" fmla="*/ 2147483647 w 146"/>
                <a:gd name="T87" fmla="*/ 2147483647 h 107"/>
                <a:gd name="T88" fmla="*/ 2147483647 w 146"/>
                <a:gd name="T89" fmla="*/ 2147483647 h 107"/>
                <a:gd name="T90" fmla="*/ 2147483647 w 146"/>
                <a:gd name="T91" fmla="*/ 2147483647 h 107"/>
                <a:gd name="T92" fmla="*/ 2147483647 w 146"/>
                <a:gd name="T93" fmla="*/ 2147483647 h 107"/>
                <a:gd name="T94" fmla="*/ 2147483647 w 146"/>
                <a:gd name="T95" fmla="*/ 2147483647 h 107"/>
                <a:gd name="T96" fmla="*/ 2147483647 w 146"/>
                <a:gd name="T97" fmla="*/ 2147483647 h 107"/>
                <a:gd name="T98" fmla="*/ 2147483647 w 146"/>
                <a:gd name="T99" fmla="*/ 2147483647 h 107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46"/>
                <a:gd name="T151" fmla="*/ 0 h 107"/>
                <a:gd name="T152" fmla="*/ 146 w 146"/>
                <a:gd name="T153" fmla="*/ 107 h 107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46" h="107">
                  <a:moveTo>
                    <a:pt x="9" y="55"/>
                  </a:moveTo>
                  <a:lnTo>
                    <a:pt x="9" y="55"/>
                  </a:lnTo>
                  <a:lnTo>
                    <a:pt x="9" y="58"/>
                  </a:lnTo>
                  <a:lnTo>
                    <a:pt x="14" y="64"/>
                  </a:lnTo>
                  <a:lnTo>
                    <a:pt x="14" y="66"/>
                  </a:lnTo>
                  <a:lnTo>
                    <a:pt x="12" y="72"/>
                  </a:lnTo>
                  <a:lnTo>
                    <a:pt x="23" y="78"/>
                  </a:lnTo>
                  <a:lnTo>
                    <a:pt x="35" y="78"/>
                  </a:lnTo>
                  <a:lnTo>
                    <a:pt x="43" y="84"/>
                  </a:lnTo>
                  <a:lnTo>
                    <a:pt x="52" y="81"/>
                  </a:lnTo>
                  <a:lnTo>
                    <a:pt x="52" y="84"/>
                  </a:lnTo>
                  <a:lnTo>
                    <a:pt x="55" y="89"/>
                  </a:lnTo>
                  <a:lnTo>
                    <a:pt x="58" y="89"/>
                  </a:lnTo>
                  <a:lnTo>
                    <a:pt x="58" y="86"/>
                  </a:lnTo>
                  <a:lnTo>
                    <a:pt x="66" y="89"/>
                  </a:lnTo>
                  <a:lnTo>
                    <a:pt x="75" y="101"/>
                  </a:lnTo>
                  <a:lnTo>
                    <a:pt x="78" y="95"/>
                  </a:lnTo>
                  <a:lnTo>
                    <a:pt x="86" y="104"/>
                  </a:lnTo>
                  <a:lnTo>
                    <a:pt x="92" y="98"/>
                  </a:lnTo>
                  <a:lnTo>
                    <a:pt x="101" y="101"/>
                  </a:lnTo>
                  <a:lnTo>
                    <a:pt x="106" y="101"/>
                  </a:lnTo>
                  <a:lnTo>
                    <a:pt x="118" y="104"/>
                  </a:lnTo>
                  <a:lnTo>
                    <a:pt x="129" y="107"/>
                  </a:lnTo>
                  <a:lnTo>
                    <a:pt x="126" y="101"/>
                  </a:lnTo>
                  <a:lnTo>
                    <a:pt x="126" y="98"/>
                  </a:lnTo>
                  <a:lnTo>
                    <a:pt x="132" y="89"/>
                  </a:lnTo>
                  <a:lnTo>
                    <a:pt x="138" y="84"/>
                  </a:lnTo>
                  <a:lnTo>
                    <a:pt x="146" y="81"/>
                  </a:lnTo>
                  <a:lnTo>
                    <a:pt x="144" y="75"/>
                  </a:lnTo>
                  <a:lnTo>
                    <a:pt x="138" y="61"/>
                  </a:lnTo>
                  <a:lnTo>
                    <a:pt x="129" y="46"/>
                  </a:lnTo>
                  <a:lnTo>
                    <a:pt x="138" y="38"/>
                  </a:lnTo>
                  <a:lnTo>
                    <a:pt x="138" y="35"/>
                  </a:lnTo>
                  <a:lnTo>
                    <a:pt x="132" y="20"/>
                  </a:lnTo>
                  <a:lnTo>
                    <a:pt x="129" y="15"/>
                  </a:lnTo>
                  <a:lnTo>
                    <a:pt x="121" y="12"/>
                  </a:lnTo>
                  <a:lnTo>
                    <a:pt x="101" y="12"/>
                  </a:lnTo>
                  <a:lnTo>
                    <a:pt x="98" y="12"/>
                  </a:lnTo>
                  <a:lnTo>
                    <a:pt x="83" y="9"/>
                  </a:lnTo>
                  <a:lnTo>
                    <a:pt x="78" y="9"/>
                  </a:lnTo>
                  <a:lnTo>
                    <a:pt x="72" y="12"/>
                  </a:lnTo>
                  <a:lnTo>
                    <a:pt x="66" y="9"/>
                  </a:lnTo>
                  <a:lnTo>
                    <a:pt x="63" y="9"/>
                  </a:lnTo>
                  <a:lnTo>
                    <a:pt x="60" y="6"/>
                  </a:lnTo>
                  <a:lnTo>
                    <a:pt x="60" y="3"/>
                  </a:lnTo>
                  <a:lnTo>
                    <a:pt x="60" y="0"/>
                  </a:lnTo>
                  <a:lnTo>
                    <a:pt x="52" y="0"/>
                  </a:lnTo>
                  <a:lnTo>
                    <a:pt x="40" y="3"/>
                  </a:lnTo>
                  <a:lnTo>
                    <a:pt x="32" y="9"/>
                  </a:lnTo>
                  <a:lnTo>
                    <a:pt x="23" y="12"/>
                  </a:lnTo>
                  <a:lnTo>
                    <a:pt x="12" y="15"/>
                  </a:lnTo>
                  <a:lnTo>
                    <a:pt x="9" y="18"/>
                  </a:lnTo>
                  <a:lnTo>
                    <a:pt x="3" y="18"/>
                  </a:lnTo>
                  <a:lnTo>
                    <a:pt x="0" y="18"/>
                  </a:lnTo>
                  <a:lnTo>
                    <a:pt x="3" y="26"/>
                  </a:lnTo>
                  <a:lnTo>
                    <a:pt x="3" y="29"/>
                  </a:lnTo>
                  <a:lnTo>
                    <a:pt x="0" y="35"/>
                  </a:lnTo>
                  <a:lnTo>
                    <a:pt x="9" y="41"/>
                  </a:lnTo>
                  <a:lnTo>
                    <a:pt x="9" y="43"/>
                  </a:lnTo>
                  <a:lnTo>
                    <a:pt x="6" y="46"/>
                  </a:lnTo>
                  <a:lnTo>
                    <a:pt x="9" y="49"/>
                  </a:lnTo>
                  <a:lnTo>
                    <a:pt x="12" y="52"/>
                  </a:lnTo>
                  <a:lnTo>
                    <a:pt x="9" y="5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90" name="Freeform 243"/>
            <p:cNvSpPr>
              <a:spLocks noChangeAspect="1"/>
            </p:cNvSpPr>
            <p:nvPr/>
          </p:nvSpPr>
          <p:spPr bwMode="gray">
            <a:xfrm>
              <a:off x="6941027" y="4069504"/>
              <a:ext cx="22617" cy="16543"/>
            </a:xfrm>
            <a:custGeom>
              <a:avLst/>
              <a:gdLst>
                <a:gd name="T0" fmla="*/ 2147483647 w 9"/>
                <a:gd name="T1" fmla="*/ 0 h 6"/>
                <a:gd name="T2" fmla="*/ 2147483647 w 9"/>
                <a:gd name="T3" fmla="*/ 0 h 6"/>
                <a:gd name="T4" fmla="*/ 0 w 9"/>
                <a:gd name="T5" fmla="*/ 2147483647 h 6"/>
                <a:gd name="T6" fmla="*/ 0 w 9"/>
                <a:gd name="T7" fmla="*/ 2147483647 h 6"/>
                <a:gd name="T8" fmla="*/ 2147483647 w 9"/>
                <a:gd name="T9" fmla="*/ 2147483647 h 6"/>
                <a:gd name="T10" fmla="*/ 2147483647 w 9"/>
                <a:gd name="T11" fmla="*/ 2147483647 h 6"/>
                <a:gd name="T12" fmla="*/ 2147483647 w 9"/>
                <a:gd name="T13" fmla="*/ 2147483647 h 6"/>
                <a:gd name="T14" fmla="*/ 2147483647 w 9"/>
                <a:gd name="T15" fmla="*/ 2147483647 h 6"/>
                <a:gd name="T16" fmla="*/ 2147483647 w 9"/>
                <a:gd name="T17" fmla="*/ 0 h 6"/>
                <a:gd name="T18" fmla="*/ 2147483647 w 9"/>
                <a:gd name="T19" fmla="*/ 0 h 6"/>
                <a:gd name="T20" fmla="*/ 2147483647 w 9"/>
                <a:gd name="T21" fmla="*/ 0 h 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9"/>
                <a:gd name="T34" fmla="*/ 0 h 6"/>
                <a:gd name="T35" fmla="*/ 9 w 9"/>
                <a:gd name="T36" fmla="*/ 6 h 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9" h="6">
                  <a:moveTo>
                    <a:pt x="9" y="0"/>
                  </a:moveTo>
                  <a:lnTo>
                    <a:pt x="6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6"/>
                  </a:lnTo>
                  <a:lnTo>
                    <a:pt x="9" y="6"/>
                  </a:lnTo>
                  <a:lnTo>
                    <a:pt x="9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91" name="Freeform 253"/>
            <p:cNvSpPr>
              <a:spLocks noChangeAspect="1"/>
            </p:cNvSpPr>
            <p:nvPr/>
          </p:nvSpPr>
          <p:spPr bwMode="gray">
            <a:xfrm>
              <a:off x="7556608" y="3555552"/>
              <a:ext cx="241906" cy="138966"/>
            </a:xfrm>
            <a:custGeom>
              <a:avLst/>
              <a:gdLst>
                <a:gd name="T0" fmla="*/ 2147483647 w 94"/>
                <a:gd name="T1" fmla="*/ 2147483647 h 49"/>
                <a:gd name="T2" fmla="*/ 2147483647 w 94"/>
                <a:gd name="T3" fmla="*/ 2147483647 h 49"/>
                <a:gd name="T4" fmla="*/ 2147483647 w 94"/>
                <a:gd name="T5" fmla="*/ 2147483647 h 49"/>
                <a:gd name="T6" fmla="*/ 2147483647 w 94"/>
                <a:gd name="T7" fmla="*/ 2147483647 h 49"/>
                <a:gd name="T8" fmla="*/ 2147483647 w 94"/>
                <a:gd name="T9" fmla="*/ 2147483647 h 49"/>
                <a:gd name="T10" fmla="*/ 2147483647 w 94"/>
                <a:gd name="T11" fmla="*/ 2147483647 h 49"/>
                <a:gd name="T12" fmla="*/ 2147483647 w 94"/>
                <a:gd name="T13" fmla="*/ 2147483647 h 49"/>
                <a:gd name="T14" fmla="*/ 2147483647 w 94"/>
                <a:gd name="T15" fmla="*/ 2147483647 h 49"/>
                <a:gd name="T16" fmla="*/ 2147483647 w 94"/>
                <a:gd name="T17" fmla="*/ 2147483647 h 49"/>
                <a:gd name="T18" fmla="*/ 2147483647 w 94"/>
                <a:gd name="T19" fmla="*/ 2147483647 h 49"/>
                <a:gd name="T20" fmla="*/ 2147483647 w 94"/>
                <a:gd name="T21" fmla="*/ 2147483647 h 49"/>
                <a:gd name="T22" fmla="*/ 2147483647 w 94"/>
                <a:gd name="T23" fmla="*/ 2147483647 h 49"/>
                <a:gd name="T24" fmla="*/ 2147483647 w 94"/>
                <a:gd name="T25" fmla="*/ 2147483647 h 49"/>
                <a:gd name="T26" fmla="*/ 2147483647 w 94"/>
                <a:gd name="T27" fmla="*/ 2147483647 h 49"/>
                <a:gd name="T28" fmla="*/ 2147483647 w 94"/>
                <a:gd name="T29" fmla="*/ 2147483647 h 49"/>
                <a:gd name="T30" fmla="*/ 2147483647 w 94"/>
                <a:gd name="T31" fmla="*/ 2147483647 h 49"/>
                <a:gd name="T32" fmla="*/ 2147483647 w 94"/>
                <a:gd name="T33" fmla="*/ 2147483647 h 49"/>
                <a:gd name="T34" fmla="*/ 2147483647 w 94"/>
                <a:gd name="T35" fmla="*/ 2147483647 h 49"/>
                <a:gd name="T36" fmla="*/ 2147483647 w 94"/>
                <a:gd name="T37" fmla="*/ 2147483647 h 49"/>
                <a:gd name="T38" fmla="*/ 2147483647 w 94"/>
                <a:gd name="T39" fmla="*/ 2147483647 h 49"/>
                <a:gd name="T40" fmla="*/ 2147483647 w 94"/>
                <a:gd name="T41" fmla="*/ 2147483647 h 49"/>
                <a:gd name="T42" fmla="*/ 2147483647 w 94"/>
                <a:gd name="T43" fmla="*/ 2147483647 h 49"/>
                <a:gd name="T44" fmla="*/ 2147483647 w 94"/>
                <a:gd name="T45" fmla="*/ 2147483647 h 49"/>
                <a:gd name="T46" fmla="*/ 2147483647 w 94"/>
                <a:gd name="T47" fmla="*/ 2147483647 h 49"/>
                <a:gd name="T48" fmla="*/ 2147483647 w 94"/>
                <a:gd name="T49" fmla="*/ 0 h 49"/>
                <a:gd name="T50" fmla="*/ 2147483647 w 94"/>
                <a:gd name="T51" fmla="*/ 0 h 49"/>
                <a:gd name="T52" fmla="*/ 2147483647 w 94"/>
                <a:gd name="T53" fmla="*/ 0 h 49"/>
                <a:gd name="T54" fmla="*/ 2147483647 w 94"/>
                <a:gd name="T55" fmla="*/ 2147483647 h 49"/>
                <a:gd name="T56" fmla="*/ 2147483647 w 94"/>
                <a:gd name="T57" fmla="*/ 2147483647 h 49"/>
                <a:gd name="T58" fmla="*/ 2147483647 w 94"/>
                <a:gd name="T59" fmla="*/ 2147483647 h 49"/>
                <a:gd name="T60" fmla="*/ 2147483647 w 94"/>
                <a:gd name="T61" fmla="*/ 2147483647 h 49"/>
                <a:gd name="T62" fmla="*/ 2147483647 w 94"/>
                <a:gd name="T63" fmla="*/ 2147483647 h 49"/>
                <a:gd name="T64" fmla="*/ 2147483647 w 94"/>
                <a:gd name="T65" fmla="*/ 2147483647 h 49"/>
                <a:gd name="T66" fmla="*/ 2147483647 w 94"/>
                <a:gd name="T67" fmla="*/ 2147483647 h 49"/>
                <a:gd name="T68" fmla="*/ 2147483647 w 94"/>
                <a:gd name="T69" fmla="*/ 2147483647 h 49"/>
                <a:gd name="T70" fmla="*/ 2147483647 w 94"/>
                <a:gd name="T71" fmla="*/ 2147483647 h 49"/>
                <a:gd name="T72" fmla="*/ 2147483647 w 94"/>
                <a:gd name="T73" fmla="*/ 2147483647 h 49"/>
                <a:gd name="T74" fmla="*/ 2147483647 w 94"/>
                <a:gd name="T75" fmla="*/ 2147483647 h 49"/>
                <a:gd name="T76" fmla="*/ 2147483647 w 94"/>
                <a:gd name="T77" fmla="*/ 2147483647 h 49"/>
                <a:gd name="T78" fmla="*/ 2147483647 w 94"/>
                <a:gd name="T79" fmla="*/ 2147483647 h 49"/>
                <a:gd name="T80" fmla="*/ 2147483647 w 94"/>
                <a:gd name="T81" fmla="*/ 2147483647 h 49"/>
                <a:gd name="T82" fmla="*/ 0 w 94"/>
                <a:gd name="T83" fmla="*/ 2147483647 h 49"/>
                <a:gd name="T84" fmla="*/ 0 w 94"/>
                <a:gd name="T85" fmla="*/ 2147483647 h 49"/>
                <a:gd name="T86" fmla="*/ 2147483647 w 94"/>
                <a:gd name="T87" fmla="*/ 2147483647 h 49"/>
                <a:gd name="T88" fmla="*/ 2147483647 w 94"/>
                <a:gd name="T89" fmla="*/ 2147483647 h 49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94"/>
                <a:gd name="T136" fmla="*/ 0 h 49"/>
                <a:gd name="T137" fmla="*/ 94 w 94"/>
                <a:gd name="T138" fmla="*/ 49 h 49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94" h="49">
                  <a:moveTo>
                    <a:pt x="11" y="40"/>
                  </a:moveTo>
                  <a:lnTo>
                    <a:pt x="14" y="43"/>
                  </a:lnTo>
                  <a:lnTo>
                    <a:pt x="23" y="46"/>
                  </a:lnTo>
                  <a:lnTo>
                    <a:pt x="28" y="49"/>
                  </a:lnTo>
                  <a:lnTo>
                    <a:pt x="34" y="49"/>
                  </a:lnTo>
                  <a:lnTo>
                    <a:pt x="34" y="46"/>
                  </a:lnTo>
                  <a:lnTo>
                    <a:pt x="40" y="46"/>
                  </a:lnTo>
                  <a:lnTo>
                    <a:pt x="43" y="43"/>
                  </a:lnTo>
                  <a:lnTo>
                    <a:pt x="48" y="40"/>
                  </a:lnTo>
                  <a:lnTo>
                    <a:pt x="63" y="40"/>
                  </a:lnTo>
                  <a:lnTo>
                    <a:pt x="66" y="37"/>
                  </a:lnTo>
                  <a:lnTo>
                    <a:pt x="68" y="37"/>
                  </a:lnTo>
                  <a:lnTo>
                    <a:pt x="71" y="37"/>
                  </a:lnTo>
                  <a:lnTo>
                    <a:pt x="74" y="34"/>
                  </a:lnTo>
                  <a:lnTo>
                    <a:pt x="80" y="26"/>
                  </a:lnTo>
                  <a:lnTo>
                    <a:pt x="83" y="23"/>
                  </a:lnTo>
                  <a:lnTo>
                    <a:pt x="83" y="17"/>
                  </a:lnTo>
                  <a:lnTo>
                    <a:pt x="89" y="11"/>
                  </a:lnTo>
                  <a:lnTo>
                    <a:pt x="94" y="9"/>
                  </a:lnTo>
                  <a:lnTo>
                    <a:pt x="94" y="6"/>
                  </a:lnTo>
                  <a:lnTo>
                    <a:pt x="86" y="3"/>
                  </a:lnTo>
                  <a:lnTo>
                    <a:pt x="83" y="3"/>
                  </a:lnTo>
                  <a:lnTo>
                    <a:pt x="77" y="0"/>
                  </a:lnTo>
                  <a:lnTo>
                    <a:pt x="68" y="0"/>
                  </a:lnTo>
                  <a:lnTo>
                    <a:pt x="60" y="0"/>
                  </a:lnTo>
                  <a:lnTo>
                    <a:pt x="63" y="6"/>
                  </a:lnTo>
                  <a:lnTo>
                    <a:pt x="57" y="9"/>
                  </a:lnTo>
                  <a:lnTo>
                    <a:pt x="48" y="9"/>
                  </a:lnTo>
                  <a:lnTo>
                    <a:pt x="34" y="14"/>
                  </a:lnTo>
                  <a:lnTo>
                    <a:pt x="20" y="14"/>
                  </a:lnTo>
                  <a:lnTo>
                    <a:pt x="11" y="9"/>
                  </a:lnTo>
                  <a:lnTo>
                    <a:pt x="8" y="14"/>
                  </a:lnTo>
                  <a:lnTo>
                    <a:pt x="2" y="14"/>
                  </a:lnTo>
                  <a:lnTo>
                    <a:pt x="5" y="14"/>
                  </a:lnTo>
                  <a:lnTo>
                    <a:pt x="5" y="17"/>
                  </a:lnTo>
                  <a:lnTo>
                    <a:pt x="2" y="20"/>
                  </a:lnTo>
                  <a:lnTo>
                    <a:pt x="2" y="29"/>
                  </a:lnTo>
                  <a:lnTo>
                    <a:pt x="0" y="29"/>
                  </a:lnTo>
                  <a:lnTo>
                    <a:pt x="2" y="34"/>
                  </a:lnTo>
                  <a:lnTo>
                    <a:pt x="11" y="4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92" name="Freeform 254"/>
            <p:cNvSpPr>
              <a:spLocks noChangeAspect="1"/>
            </p:cNvSpPr>
            <p:nvPr/>
          </p:nvSpPr>
          <p:spPr bwMode="gray">
            <a:xfrm>
              <a:off x="7577259" y="3498201"/>
              <a:ext cx="208471" cy="88232"/>
            </a:xfrm>
            <a:custGeom>
              <a:avLst/>
              <a:gdLst>
                <a:gd name="T0" fmla="*/ 2147483647 w 81"/>
                <a:gd name="T1" fmla="*/ 2147483647 h 31"/>
                <a:gd name="T2" fmla="*/ 2147483647 w 81"/>
                <a:gd name="T3" fmla="*/ 2147483647 h 31"/>
                <a:gd name="T4" fmla="*/ 2147483647 w 81"/>
                <a:gd name="T5" fmla="*/ 2147483647 h 31"/>
                <a:gd name="T6" fmla="*/ 2147483647 w 81"/>
                <a:gd name="T7" fmla="*/ 2147483647 h 31"/>
                <a:gd name="T8" fmla="*/ 2147483647 w 81"/>
                <a:gd name="T9" fmla="*/ 2147483647 h 31"/>
                <a:gd name="T10" fmla="*/ 2147483647 w 81"/>
                <a:gd name="T11" fmla="*/ 2147483647 h 31"/>
                <a:gd name="T12" fmla="*/ 2147483647 w 81"/>
                <a:gd name="T13" fmla="*/ 0 h 31"/>
                <a:gd name="T14" fmla="*/ 2147483647 w 81"/>
                <a:gd name="T15" fmla="*/ 2147483647 h 31"/>
                <a:gd name="T16" fmla="*/ 2147483647 w 81"/>
                <a:gd name="T17" fmla="*/ 0 h 31"/>
                <a:gd name="T18" fmla="*/ 2147483647 w 81"/>
                <a:gd name="T19" fmla="*/ 2147483647 h 31"/>
                <a:gd name="T20" fmla="*/ 2147483647 w 81"/>
                <a:gd name="T21" fmla="*/ 2147483647 h 31"/>
                <a:gd name="T22" fmla="*/ 2147483647 w 81"/>
                <a:gd name="T23" fmla="*/ 2147483647 h 31"/>
                <a:gd name="T24" fmla="*/ 0 w 81"/>
                <a:gd name="T25" fmla="*/ 2147483647 h 31"/>
                <a:gd name="T26" fmla="*/ 2147483647 w 81"/>
                <a:gd name="T27" fmla="*/ 2147483647 h 31"/>
                <a:gd name="T28" fmla="*/ 2147483647 w 81"/>
                <a:gd name="T29" fmla="*/ 2147483647 h 31"/>
                <a:gd name="T30" fmla="*/ 2147483647 w 81"/>
                <a:gd name="T31" fmla="*/ 2147483647 h 31"/>
                <a:gd name="T32" fmla="*/ 2147483647 w 81"/>
                <a:gd name="T33" fmla="*/ 2147483647 h 31"/>
                <a:gd name="T34" fmla="*/ 2147483647 w 81"/>
                <a:gd name="T35" fmla="*/ 2147483647 h 31"/>
                <a:gd name="T36" fmla="*/ 2147483647 w 81"/>
                <a:gd name="T37" fmla="*/ 2147483647 h 31"/>
                <a:gd name="T38" fmla="*/ 2147483647 w 81"/>
                <a:gd name="T39" fmla="*/ 2147483647 h 31"/>
                <a:gd name="T40" fmla="*/ 2147483647 w 81"/>
                <a:gd name="T41" fmla="*/ 2147483647 h 31"/>
                <a:gd name="T42" fmla="*/ 2147483647 w 81"/>
                <a:gd name="T43" fmla="*/ 2147483647 h 31"/>
                <a:gd name="T44" fmla="*/ 2147483647 w 81"/>
                <a:gd name="T45" fmla="*/ 2147483647 h 31"/>
                <a:gd name="T46" fmla="*/ 2147483647 w 81"/>
                <a:gd name="T47" fmla="*/ 2147483647 h 31"/>
                <a:gd name="T48" fmla="*/ 2147483647 w 81"/>
                <a:gd name="T49" fmla="*/ 2147483647 h 31"/>
                <a:gd name="T50" fmla="*/ 2147483647 w 81"/>
                <a:gd name="T51" fmla="*/ 2147483647 h 31"/>
                <a:gd name="T52" fmla="*/ 2147483647 w 81"/>
                <a:gd name="T53" fmla="*/ 2147483647 h 31"/>
                <a:gd name="T54" fmla="*/ 2147483647 w 81"/>
                <a:gd name="T55" fmla="*/ 2147483647 h 31"/>
                <a:gd name="T56" fmla="*/ 2147483647 w 81"/>
                <a:gd name="T57" fmla="*/ 2147483647 h 31"/>
                <a:gd name="T58" fmla="*/ 2147483647 w 81"/>
                <a:gd name="T59" fmla="*/ 2147483647 h 31"/>
                <a:gd name="T60" fmla="*/ 2147483647 w 81"/>
                <a:gd name="T61" fmla="*/ 2147483647 h 31"/>
                <a:gd name="T62" fmla="*/ 2147483647 w 81"/>
                <a:gd name="T63" fmla="*/ 2147483647 h 3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81"/>
                <a:gd name="T97" fmla="*/ 0 h 31"/>
                <a:gd name="T98" fmla="*/ 81 w 81"/>
                <a:gd name="T99" fmla="*/ 31 h 3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81" h="31">
                  <a:moveTo>
                    <a:pt x="75" y="6"/>
                  </a:moveTo>
                  <a:lnTo>
                    <a:pt x="75" y="6"/>
                  </a:lnTo>
                  <a:lnTo>
                    <a:pt x="63" y="3"/>
                  </a:lnTo>
                  <a:lnTo>
                    <a:pt x="58" y="6"/>
                  </a:lnTo>
                  <a:lnTo>
                    <a:pt x="49" y="3"/>
                  </a:lnTo>
                  <a:lnTo>
                    <a:pt x="43" y="6"/>
                  </a:lnTo>
                  <a:lnTo>
                    <a:pt x="35" y="0"/>
                  </a:lnTo>
                  <a:lnTo>
                    <a:pt x="29" y="3"/>
                  </a:lnTo>
                  <a:lnTo>
                    <a:pt x="26" y="0"/>
                  </a:lnTo>
                  <a:lnTo>
                    <a:pt x="20" y="3"/>
                  </a:lnTo>
                  <a:lnTo>
                    <a:pt x="12" y="11"/>
                  </a:lnTo>
                  <a:lnTo>
                    <a:pt x="3" y="11"/>
                  </a:lnTo>
                  <a:lnTo>
                    <a:pt x="0" y="17"/>
                  </a:lnTo>
                  <a:lnTo>
                    <a:pt x="3" y="26"/>
                  </a:lnTo>
                  <a:lnTo>
                    <a:pt x="15" y="31"/>
                  </a:lnTo>
                  <a:lnTo>
                    <a:pt x="26" y="31"/>
                  </a:lnTo>
                  <a:lnTo>
                    <a:pt x="40" y="26"/>
                  </a:lnTo>
                  <a:lnTo>
                    <a:pt x="49" y="26"/>
                  </a:lnTo>
                  <a:lnTo>
                    <a:pt x="52" y="23"/>
                  </a:lnTo>
                  <a:lnTo>
                    <a:pt x="49" y="14"/>
                  </a:lnTo>
                  <a:lnTo>
                    <a:pt x="60" y="17"/>
                  </a:lnTo>
                  <a:lnTo>
                    <a:pt x="69" y="14"/>
                  </a:lnTo>
                  <a:lnTo>
                    <a:pt x="75" y="20"/>
                  </a:lnTo>
                  <a:lnTo>
                    <a:pt x="75" y="17"/>
                  </a:lnTo>
                  <a:lnTo>
                    <a:pt x="78" y="11"/>
                  </a:lnTo>
                  <a:lnTo>
                    <a:pt x="81" y="8"/>
                  </a:lnTo>
                  <a:lnTo>
                    <a:pt x="75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93" name="Freeform 269"/>
            <p:cNvSpPr>
              <a:spLocks noChangeAspect="1"/>
            </p:cNvSpPr>
            <p:nvPr/>
          </p:nvSpPr>
          <p:spPr bwMode="gray">
            <a:xfrm>
              <a:off x="6987245" y="4017667"/>
              <a:ext cx="52117" cy="41910"/>
            </a:xfrm>
            <a:custGeom>
              <a:avLst/>
              <a:gdLst>
                <a:gd name="T0" fmla="*/ 2147483647 w 20"/>
                <a:gd name="T1" fmla="*/ 0 h 14"/>
                <a:gd name="T2" fmla="*/ 2147483647 w 20"/>
                <a:gd name="T3" fmla="*/ 0 h 14"/>
                <a:gd name="T4" fmla="*/ 2147483647 w 20"/>
                <a:gd name="T5" fmla="*/ 2147483647 h 14"/>
                <a:gd name="T6" fmla="*/ 2147483647 w 20"/>
                <a:gd name="T7" fmla="*/ 2147483647 h 14"/>
                <a:gd name="T8" fmla="*/ 2147483647 w 20"/>
                <a:gd name="T9" fmla="*/ 2147483647 h 14"/>
                <a:gd name="T10" fmla="*/ 0 w 20"/>
                <a:gd name="T11" fmla="*/ 2147483647 h 14"/>
                <a:gd name="T12" fmla="*/ 2147483647 w 20"/>
                <a:gd name="T13" fmla="*/ 2147483647 h 14"/>
                <a:gd name="T14" fmla="*/ 2147483647 w 20"/>
                <a:gd name="T15" fmla="*/ 2147483647 h 14"/>
                <a:gd name="T16" fmla="*/ 2147483647 w 20"/>
                <a:gd name="T17" fmla="*/ 2147483647 h 14"/>
                <a:gd name="T18" fmla="*/ 2147483647 w 20"/>
                <a:gd name="T19" fmla="*/ 2147483647 h 14"/>
                <a:gd name="T20" fmla="*/ 2147483647 w 20"/>
                <a:gd name="T21" fmla="*/ 2147483647 h 14"/>
                <a:gd name="T22" fmla="*/ 2147483647 w 20"/>
                <a:gd name="T23" fmla="*/ 2147483647 h 14"/>
                <a:gd name="T24" fmla="*/ 2147483647 w 20"/>
                <a:gd name="T25" fmla="*/ 2147483647 h 14"/>
                <a:gd name="T26" fmla="*/ 2147483647 w 20"/>
                <a:gd name="T27" fmla="*/ 2147483647 h 14"/>
                <a:gd name="T28" fmla="*/ 2147483647 w 20"/>
                <a:gd name="T29" fmla="*/ 2147483647 h 14"/>
                <a:gd name="T30" fmla="*/ 2147483647 w 20"/>
                <a:gd name="T31" fmla="*/ 0 h 14"/>
                <a:gd name="T32" fmla="*/ 2147483647 w 20"/>
                <a:gd name="T33" fmla="*/ 0 h 1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0"/>
                <a:gd name="T52" fmla="*/ 0 h 14"/>
                <a:gd name="T53" fmla="*/ 20 w 20"/>
                <a:gd name="T54" fmla="*/ 14 h 1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0" h="14">
                  <a:moveTo>
                    <a:pt x="14" y="0"/>
                  </a:moveTo>
                  <a:lnTo>
                    <a:pt x="14" y="0"/>
                  </a:lnTo>
                  <a:lnTo>
                    <a:pt x="8" y="3"/>
                  </a:lnTo>
                  <a:lnTo>
                    <a:pt x="2" y="5"/>
                  </a:lnTo>
                  <a:lnTo>
                    <a:pt x="0" y="8"/>
                  </a:lnTo>
                  <a:lnTo>
                    <a:pt x="2" y="11"/>
                  </a:lnTo>
                  <a:lnTo>
                    <a:pt x="8" y="11"/>
                  </a:lnTo>
                  <a:lnTo>
                    <a:pt x="17" y="14"/>
                  </a:lnTo>
                  <a:lnTo>
                    <a:pt x="20" y="8"/>
                  </a:lnTo>
                  <a:lnTo>
                    <a:pt x="20" y="3"/>
                  </a:lnTo>
                  <a:lnTo>
                    <a:pt x="17" y="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94" name="Freeform 300"/>
            <p:cNvSpPr>
              <a:spLocks noChangeAspect="1"/>
            </p:cNvSpPr>
            <p:nvPr/>
          </p:nvSpPr>
          <p:spPr bwMode="gray">
            <a:xfrm>
              <a:off x="6653886" y="3007410"/>
              <a:ext cx="73752" cy="100364"/>
            </a:xfrm>
            <a:custGeom>
              <a:avLst/>
              <a:gdLst>
                <a:gd name="T0" fmla="*/ 2147483647 w 29"/>
                <a:gd name="T1" fmla="*/ 2147483647 h 35"/>
                <a:gd name="T2" fmla="*/ 2147483647 w 29"/>
                <a:gd name="T3" fmla="*/ 2147483647 h 35"/>
                <a:gd name="T4" fmla="*/ 2147483647 w 29"/>
                <a:gd name="T5" fmla="*/ 2147483647 h 35"/>
                <a:gd name="T6" fmla="*/ 0 w 29"/>
                <a:gd name="T7" fmla="*/ 2147483647 h 35"/>
                <a:gd name="T8" fmla="*/ 2147483647 w 29"/>
                <a:gd name="T9" fmla="*/ 2147483647 h 35"/>
                <a:gd name="T10" fmla="*/ 2147483647 w 29"/>
                <a:gd name="T11" fmla="*/ 2147483647 h 35"/>
                <a:gd name="T12" fmla="*/ 2147483647 w 29"/>
                <a:gd name="T13" fmla="*/ 2147483647 h 35"/>
                <a:gd name="T14" fmla="*/ 2147483647 w 29"/>
                <a:gd name="T15" fmla="*/ 2147483647 h 35"/>
                <a:gd name="T16" fmla="*/ 2147483647 w 29"/>
                <a:gd name="T17" fmla="*/ 2147483647 h 35"/>
                <a:gd name="T18" fmla="*/ 2147483647 w 29"/>
                <a:gd name="T19" fmla="*/ 0 h 35"/>
                <a:gd name="T20" fmla="*/ 2147483647 w 29"/>
                <a:gd name="T21" fmla="*/ 2147483647 h 35"/>
                <a:gd name="T22" fmla="*/ 2147483647 w 29"/>
                <a:gd name="T23" fmla="*/ 2147483647 h 3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9"/>
                <a:gd name="T37" fmla="*/ 0 h 35"/>
                <a:gd name="T38" fmla="*/ 29 w 29"/>
                <a:gd name="T39" fmla="*/ 35 h 3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9" h="35">
                  <a:moveTo>
                    <a:pt x="15" y="15"/>
                  </a:moveTo>
                  <a:lnTo>
                    <a:pt x="9" y="18"/>
                  </a:lnTo>
                  <a:lnTo>
                    <a:pt x="9" y="23"/>
                  </a:lnTo>
                  <a:lnTo>
                    <a:pt x="0" y="35"/>
                  </a:lnTo>
                  <a:lnTo>
                    <a:pt x="9" y="32"/>
                  </a:lnTo>
                  <a:lnTo>
                    <a:pt x="12" y="21"/>
                  </a:lnTo>
                  <a:lnTo>
                    <a:pt x="18" y="15"/>
                  </a:lnTo>
                  <a:lnTo>
                    <a:pt x="23" y="12"/>
                  </a:lnTo>
                  <a:lnTo>
                    <a:pt x="29" y="6"/>
                  </a:lnTo>
                  <a:lnTo>
                    <a:pt x="29" y="0"/>
                  </a:lnTo>
                  <a:lnTo>
                    <a:pt x="15" y="9"/>
                  </a:lnTo>
                  <a:lnTo>
                    <a:pt x="15" y="1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95" name="Freeform 307"/>
            <p:cNvSpPr>
              <a:spLocks noChangeAspect="1"/>
            </p:cNvSpPr>
            <p:nvPr/>
          </p:nvSpPr>
          <p:spPr bwMode="gray">
            <a:xfrm>
              <a:off x="6683387" y="3107776"/>
              <a:ext cx="21635" cy="16543"/>
            </a:xfrm>
            <a:custGeom>
              <a:avLst/>
              <a:gdLst>
                <a:gd name="T0" fmla="*/ 0 w 8"/>
                <a:gd name="T1" fmla="*/ 2147483647 h 6"/>
                <a:gd name="T2" fmla="*/ 2147483647 w 8"/>
                <a:gd name="T3" fmla="*/ 2147483647 h 6"/>
                <a:gd name="T4" fmla="*/ 2147483647 w 8"/>
                <a:gd name="T5" fmla="*/ 2147483647 h 6"/>
                <a:gd name="T6" fmla="*/ 2147483647 w 8"/>
                <a:gd name="T7" fmla="*/ 0 h 6"/>
                <a:gd name="T8" fmla="*/ 2147483647 w 8"/>
                <a:gd name="T9" fmla="*/ 0 h 6"/>
                <a:gd name="T10" fmla="*/ 0 w 8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0" y="6"/>
                  </a:moveTo>
                  <a:lnTo>
                    <a:pt x="3" y="6"/>
                  </a:lnTo>
                  <a:lnTo>
                    <a:pt x="6" y="3"/>
                  </a:lnTo>
                  <a:lnTo>
                    <a:pt x="8" y="0"/>
                  </a:lnTo>
                  <a:lnTo>
                    <a:pt x="6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96" name="Freeform 310"/>
            <p:cNvSpPr>
              <a:spLocks noChangeAspect="1"/>
            </p:cNvSpPr>
            <p:nvPr/>
          </p:nvSpPr>
          <p:spPr bwMode="gray">
            <a:xfrm>
              <a:off x="6641103" y="3183875"/>
              <a:ext cx="86535" cy="74997"/>
            </a:xfrm>
            <a:custGeom>
              <a:avLst/>
              <a:gdLst>
                <a:gd name="T0" fmla="*/ 0 w 34"/>
                <a:gd name="T1" fmla="*/ 2147483647 h 26"/>
                <a:gd name="T2" fmla="*/ 0 w 34"/>
                <a:gd name="T3" fmla="*/ 2147483647 h 26"/>
                <a:gd name="T4" fmla="*/ 2147483647 w 34"/>
                <a:gd name="T5" fmla="*/ 2147483647 h 26"/>
                <a:gd name="T6" fmla="*/ 2147483647 w 34"/>
                <a:gd name="T7" fmla="*/ 2147483647 h 26"/>
                <a:gd name="T8" fmla="*/ 2147483647 w 34"/>
                <a:gd name="T9" fmla="*/ 2147483647 h 26"/>
                <a:gd name="T10" fmla="*/ 2147483647 w 34"/>
                <a:gd name="T11" fmla="*/ 2147483647 h 26"/>
                <a:gd name="T12" fmla="*/ 2147483647 w 34"/>
                <a:gd name="T13" fmla="*/ 2147483647 h 26"/>
                <a:gd name="T14" fmla="*/ 2147483647 w 34"/>
                <a:gd name="T15" fmla="*/ 2147483647 h 26"/>
                <a:gd name="T16" fmla="*/ 2147483647 w 34"/>
                <a:gd name="T17" fmla="*/ 2147483647 h 26"/>
                <a:gd name="T18" fmla="*/ 2147483647 w 34"/>
                <a:gd name="T19" fmla="*/ 2147483647 h 26"/>
                <a:gd name="T20" fmla="*/ 2147483647 w 34"/>
                <a:gd name="T21" fmla="*/ 2147483647 h 26"/>
                <a:gd name="T22" fmla="*/ 2147483647 w 34"/>
                <a:gd name="T23" fmla="*/ 2147483647 h 26"/>
                <a:gd name="T24" fmla="*/ 2147483647 w 34"/>
                <a:gd name="T25" fmla="*/ 2147483647 h 26"/>
                <a:gd name="T26" fmla="*/ 2147483647 w 34"/>
                <a:gd name="T27" fmla="*/ 2147483647 h 26"/>
                <a:gd name="T28" fmla="*/ 2147483647 w 34"/>
                <a:gd name="T29" fmla="*/ 2147483647 h 26"/>
                <a:gd name="T30" fmla="*/ 2147483647 w 34"/>
                <a:gd name="T31" fmla="*/ 2147483647 h 26"/>
                <a:gd name="T32" fmla="*/ 2147483647 w 34"/>
                <a:gd name="T33" fmla="*/ 2147483647 h 26"/>
                <a:gd name="T34" fmla="*/ 2147483647 w 34"/>
                <a:gd name="T35" fmla="*/ 2147483647 h 26"/>
                <a:gd name="T36" fmla="*/ 2147483647 w 34"/>
                <a:gd name="T37" fmla="*/ 2147483647 h 26"/>
                <a:gd name="T38" fmla="*/ 2147483647 w 34"/>
                <a:gd name="T39" fmla="*/ 2147483647 h 26"/>
                <a:gd name="T40" fmla="*/ 2147483647 w 34"/>
                <a:gd name="T41" fmla="*/ 2147483647 h 26"/>
                <a:gd name="T42" fmla="*/ 2147483647 w 34"/>
                <a:gd name="T43" fmla="*/ 2147483647 h 26"/>
                <a:gd name="T44" fmla="*/ 2147483647 w 34"/>
                <a:gd name="T45" fmla="*/ 2147483647 h 26"/>
                <a:gd name="T46" fmla="*/ 2147483647 w 34"/>
                <a:gd name="T47" fmla="*/ 0 h 26"/>
                <a:gd name="T48" fmla="*/ 2147483647 w 34"/>
                <a:gd name="T49" fmla="*/ 2147483647 h 26"/>
                <a:gd name="T50" fmla="*/ 2147483647 w 34"/>
                <a:gd name="T51" fmla="*/ 0 h 26"/>
                <a:gd name="T52" fmla="*/ 2147483647 w 34"/>
                <a:gd name="T53" fmla="*/ 2147483647 h 26"/>
                <a:gd name="T54" fmla="*/ 2147483647 w 34"/>
                <a:gd name="T55" fmla="*/ 2147483647 h 26"/>
                <a:gd name="T56" fmla="*/ 2147483647 w 34"/>
                <a:gd name="T57" fmla="*/ 2147483647 h 26"/>
                <a:gd name="T58" fmla="*/ 0 w 34"/>
                <a:gd name="T59" fmla="*/ 2147483647 h 2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34"/>
                <a:gd name="T91" fmla="*/ 0 h 26"/>
                <a:gd name="T92" fmla="*/ 34 w 34"/>
                <a:gd name="T93" fmla="*/ 26 h 2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34" h="26">
                  <a:moveTo>
                    <a:pt x="0" y="17"/>
                  </a:moveTo>
                  <a:lnTo>
                    <a:pt x="0" y="17"/>
                  </a:lnTo>
                  <a:lnTo>
                    <a:pt x="2" y="23"/>
                  </a:lnTo>
                  <a:lnTo>
                    <a:pt x="8" y="20"/>
                  </a:lnTo>
                  <a:lnTo>
                    <a:pt x="14" y="14"/>
                  </a:lnTo>
                  <a:lnTo>
                    <a:pt x="17" y="20"/>
                  </a:lnTo>
                  <a:lnTo>
                    <a:pt x="20" y="20"/>
                  </a:lnTo>
                  <a:lnTo>
                    <a:pt x="23" y="20"/>
                  </a:lnTo>
                  <a:lnTo>
                    <a:pt x="23" y="23"/>
                  </a:lnTo>
                  <a:lnTo>
                    <a:pt x="25" y="26"/>
                  </a:lnTo>
                  <a:lnTo>
                    <a:pt x="31" y="20"/>
                  </a:lnTo>
                  <a:lnTo>
                    <a:pt x="34" y="20"/>
                  </a:lnTo>
                  <a:lnTo>
                    <a:pt x="34" y="17"/>
                  </a:lnTo>
                  <a:lnTo>
                    <a:pt x="34" y="8"/>
                  </a:lnTo>
                  <a:lnTo>
                    <a:pt x="25" y="0"/>
                  </a:lnTo>
                  <a:lnTo>
                    <a:pt x="17" y="3"/>
                  </a:lnTo>
                  <a:lnTo>
                    <a:pt x="11" y="0"/>
                  </a:lnTo>
                  <a:lnTo>
                    <a:pt x="8" y="3"/>
                  </a:lnTo>
                  <a:lnTo>
                    <a:pt x="8" y="8"/>
                  </a:lnTo>
                  <a:lnTo>
                    <a:pt x="2" y="14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97" name="Freeform 313"/>
            <p:cNvSpPr>
              <a:spLocks noChangeAspect="1"/>
            </p:cNvSpPr>
            <p:nvPr/>
          </p:nvSpPr>
          <p:spPr bwMode="gray">
            <a:xfrm>
              <a:off x="6536867" y="3812528"/>
              <a:ext cx="495611" cy="427925"/>
            </a:xfrm>
            <a:custGeom>
              <a:avLst/>
              <a:gdLst>
                <a:gd name="T0" fmla="*/ 2147483647 w 193"/>
                <a:gd name="T1" fmla="*/ 2147483647 h 149"/>
                <a:gd name="T2" fmla="*/ 2147483647 w 193"/>
                <a:gd name="T3" fmla="*/ 2147483647 h 149"/>
                <a:gd name="T4" fmla="*/ 2147483647 w 193"/>
                <a:gd name="T5" fmla="*/ 0 h 149"/>
                <a:gd name="T6" fmla="*/ 2147483647 w 193"/>
                <a:gd name="T7" fmla="*/ 0 h 149"/>
                <a:gd name="T8" fmla="*/ 2147483647 w 193"/>
                <a:gd name="T9" fmla="*/ 2147483647 h 149"/>
                <a:gd name="T10" fmla="*/ 2147483647 w 193"/>
                <a:gd name="T11" fmla="*/ 2147483647 h 149"/>
                <a:gd name="T12" fmla="*/ 0 w 193"/>
                <a:gd name="T13" fmla="*/ 2147483647 h 149"/>
                <a:gd name="T14" fmla="*/ 2147483647 w 193"/>
                <a:gd name="T15" fmla="*/ 2147483647 h 149"/>
                <a:gd name="T16" fmla="*/ 2147483647 w 193"/>
                <a:gd name="T17" fmla="*/ 2147483647 h 149"/>
                <a:gd name="T18" fmla="*/ 2147483647 w 193"/>
                <a:gd name="T19" fmla="*/ 2147483647 h 149"/>
                <a:gd name="T20" fmla="*/ 2147483647 w 193"/>
                <a:gd name="T21" fmla="*/ 2147483647 h 149"/>
                <a:gd name="T22" fmla="*/ 2147483647 w 193"/>
                <a:gd name="T23" fmla="*/ 2147483647 h 149"/>
                <a:gd name="T24" fmla="*/ 2147483647 w 193"/>
                <a:gd name="T25" fmla="*/ 2147483647 h 149"/>
                <a:gd name="T26" fmla="*/ 2147483647 w 193"/>
                <a:gd name="T27" fmla="*/ 2147483647 h 149"/>
                <a:gd name="T28" fmla="*/ 2147483647 w 193"/>
                <a:gd name="T29" fmla="*/ 2147483647 h 149"/>
                <a:gd name="T30" fmla="*/ 2147483647 w 193"/>
                <a:gd name="T31" fmla="*/ 2147483647 h 149"/>
                <a:gd name="T32" fmla="*/ 2147483647 w 193"/>
                <a:gd name="T33" fmla="*/ 2147483647 h 149"/>
                <a:gd name="T34" fmla="*/ 2147483647 w 193"/>
                <a:gd name="T35" fmla="*/ 2147483647 h 149"/>
                <a:gd name="T36" fmla="*/ 2147483647 w 193"/>
                <a:gd name="T37" fmla="*/ 2147483647 h 149"/>
                <a:gd name="T38" fmla="*/ 2147483647 w 193"/>
                <a:gd name="T39" fmla="*/ 2147483647 h 149"/>
                <a:gd name="T40" fmla="*/ 2147483647 w 193"/>
                <a:gd name="T41" fmla="*/ 2147483647 h 149"/>
                <a:gd name="T42" fmla="*/ 2147483647 w 193"/>
                <a:gd name="T43" fmla="*/ 2147483647 h 149"/>
                <a:gd name="T44" fmla="*/ 2147483647 w 193"/>
                <a:gd name="T45" fmla="*/ 2147483647 h 149"/>
                <a:gd name="T46" fmla="*/ 2147483647 w 193"/>
                <a:gd name="T47" fmla="*/ 2147483647 h 149"/>
                <a:gd name="T48" fmla="*/ 2147483647 w 193"/>
                <a:gd name="T49" fmla="*/ 2147483647 h 149"/>
                <a:gd name="T50" fmla="*/ 2147483647 w 193"/>
                <a:gd name="T51" fmla="*/ 2147483647 h 149"/>
                <a:gd name="T52" fmla="*/ 2147483647 w 193"/>
                <a:gd name="T53" fmla="*/ 2147483647 h 149"/>
                <a:gd name="T54" fmla="*/ 2147483647 w 193"/>
                <a:gd name="T55" fmla="*/ 2147483647 h 149"/>
                <a:gd name="T56" fmla="*/ 2147483647 w 193"/>
                <a:gd name="T57" fmla="*/ 2147483647 h 149"/>
                <a:gd name="T58" fmla="*/ 2147483647 w 193"/>
                <a:gd name="T59" fmla="*/ 2147483647 h 149"/>
                <a:gd name="T60" fmla="*/ 2147483647 w 193"/>
                <a:gd name="T61" fmla="*/ 2147483647 h 149"/>
                <a:gd name="T62" fmla="*/ 2147483647 w 193"/>
                <a:gd name="T63" fmla="*/ 2147483647 h 149"/>
                <a:gd name="T64" fmla="*/ 2147483647 w 193"/>
                <a:gd name="T65" fmla="*/ 2147483647 h 149"/>
                <a:gd name="T66" fmla="*/ 2147483647 w 193"/>
                <a:gd name="T67" fmla="*/ 2147483647 h 149"/>
                <a:gd name="T68" fmla="*/ 2147483647 w 193"/>
                <a:gd name="T69" fmla="*/ 2147483647 h 149"/>
                <a:gd name="T70" fmla="*/ 2147483647 w 193"/>
                <a:gd name="T71" fmla="*/ 2147483647 h 149"/>
                <a:gd name="T72" fmla="*/ 2147483647 w 193"/>
                <a:gd name="T73" fmla="*/ 2147483647 h 149"/>
                <a:gd name="T74" fmla="*/ 2147483647 w 193"/>
                <a:gd name="T75" fmla="*/ 2147483647 h 149"/>
                <a:gd name="T76" fmla="*/ 2147483647 w 193"/>
                <a:gd name="T77" fmla="*/ 2147483647 h 149"/>
                <a:gd name="T78" fmla="*/ 2147483647 w 193"/>
                <a:gd name="T79" fmla="*/ 2147483647 h 149"/>
                <a:gd name="T80" fmla="*/ 2147483647 w 193"/>
                <a:gd name="T81" fmla="*/ 2147483647 h 149"/>
                <a:gd name="T82" fmla="*/ 2147483647 w 193"/>
                <a:gd name="T83" fmla="*/ 2147483647 h 149"/>
                <a:gd name="T84" fmla="*/ 2147483647 w 193"/>
                <a:gd name="T85" fmla="*/ 2147483647 h 149"/>
                <a:gd name="T86" fmla="*/ 2147483647 w 193"/>
                <a:gd name="T87" fmla="*/ 2147483647 h 149"/>
                <a:gd name="T88" fmla="*/ 2147483647 w 193"/>
                <a:gd name="T89" fmla="*/ 2147483647 h 149"/>
                <a:gd name="T90" fmla="*/ 2147483647 w 193"/>
                <a:gd name="T91" fmla="*/ 2147483647 h 149"/>
                <a:gd name="T92" fmla="*/ 2147483647 w 193"/>
                <a:gd name="T93" fmla="*/ 2147483647 h 149"/>
                <a:gd name="T94" fmla="*/ 2147483647 w 193"/>
                <a:gd name="T95" fmla="*/ 2147483647 h 149"/>
                <a:gd name="T96" fmla="*/ 2147483647 w 193"/>
                <a:gd name="T97" fmla="*/ 2147483647 h 149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93"/>
                <a:gd name="T148" fmla="*/ 0 h 149"/>
                <a:gd name="T149" fmla="*/ 193 w 193"/>
                <a:gd name="T150" fmla="*/ 149 h 149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93" h="149">
                  <a:moveTo>
                    <a:pt x="58" y="3"/>
                  </a:moveTo>
                  <a:lnTo>
                    <a:pt x="58" y="3"/>
                  </a:lnTo>
                  <a:lnTo>
                    <a:pt x="52" y="3"/>
                  </a:lnTo>
                  <a:lnTo>
                    <a:pt x="49" y="3"/>
                  </a:lnTo>
                  <a:lnTo>
                    <a:pt x="38" y="3"/>
                  </a:lnTo>
                  <a:lnTo>
                    <a:pt x="32" y="3"/>
                  </a:lnTo>
                  <a:lnTo>
                    <a:pt x="29" y="0"/>
                  </a:lnTo>
                  <a:lnTo>
                    <a:pt x="26" y="0"/>
                  </a:lnTo>
                  <a:lnTo>
                    <a:pt x="23" y="0"/>
                  </a:lnTo>
                  <a:lnTo>
                    <a:pt x="20" y="0"/>
                  </a:lnTo>
                  <a:lnTo>
                    <a:pt x="15" y="6"/>
                  </a:lnTo>
                  <a:lnTo>
                    <a:pt x="12" y="9"/>
                  </a:lnTo>
                  <a:lnTo>
                    <a:pt x="3" y="9"/>
                  </a:lnTo>
                  <a:lnTo>
                    <a:pt x="0" y="11"/>
                  </a:lnTo>
                  <a:lnTo>
                    <a:pt x="0" y="14"/>
                  </a:lnTo>
                  <a:lnTo>
                    <a:pt x="0" y="20"/>
                  </a:lnTo>
                  <a:lnTo>
                    <a:pt x="6" y="26"/>
                  </a:lnTo>
                  <a:lnTo>
                    <a:pt x="6" y="29"/>
                  </a:lnTo>
                  <a:lnTo>
                    <a:pt x="3" y="29"/>
                  </a:lnTo>
                  <a:lnTo>
                    <a:pt x="3" y="32"/>
                  </a:lnTo>
                  <a:lnTo>
                    <a:pt x="3" y="34"/>
                  </a:lnTo>
                  <a:lnTo>
                    <a:pt x="15" y="29"/>
                  </a:lnTo>
                  <a:lnTo>
                    <a:pt x="15" y="32"/>
                  </a:lnTo>
                  <a:lnTo>
                    <a:pt x="18" y="37"/>
                  </a:lnTo>
                  <a:lnTo>
                    <a:pt x="20" y="34"/>
                  </a:lnTo>
                  <a:lnTo>
                    <a:pt x="23" y="34"/>
                  </a:lnTo>
                  <a:lnTo>
                    <a:pt x="26" y="37"/>
                  </a:lnTo>
                  <a:lnTo>
                    <a:pt x="29" y="34"/>
                  </a:lnTo>
                  <a:lnTo>
                    <a:pt x="41" y="34"/>
                  </a:lnTo>
                  <a:lnTo>
                    <a:pt x="46" y="43"/>
                  </a:lnTo>
                  <a:lnTo>
                    <a:pt x="38" y="52"/>
                  </a:lnTo>
                  <a:lnTo>
                    <a:pt x="35" y="63"/>
                  </a:lnTo>
                  <a:lnTo>
                    <a:pt x="32" y="69"/>
                  </a:lnTo>
                  <a:lnTo>
                    <a:pt x="32" y="75"/>
                  </a:lnTo>
                  <a:lnTo>
                    <a:pt x="23" y="80"/>
                  </a:lnTo>
                  <a:lnTo>
                    <a:pt x="29" y="92"/>
                  </a:lnTo>
                  <a:lnTo>
                    <a:pt x="26" y="100"/>
                  </a:lnTo>
                  <a:lnTo>
                    <a:pt x="29" y="109"/>
                  </a:lnTo>
                  <a:lnTo>
                    <a:pt x="20" y="118"/>
                  </a:lnTo>
                  <a:lnTo>
                    <a:pt x="20" y="121"/>
                  </a:lnTo>
                  <a:lnTo>
                    <a:pt x="23" y="126"/>
                  </a:lnTo>
                  <a:lnTo>
                    <a:pt x="26" y="126"/>
                  </a:lnTo>
                  <a:lnTo>
                    <a:pt x="32" y="129"/>
                  </a:lnTo>
                  <a:lnTo>
                    <a:pt x="35" y="135"/>
                  </a:lnTo>
                  <a:lnTo>
                    <a:pt x="38" y="141"/>
                  </a:lnTo>
                  <a:lnTo>
                    <a:pt x="41" y="146"/>
                  </a:lnTo>
                  <a:lnTo>
                    <a:pt x="46" y="149"/>
                  </a:lnTo>
                  <a:lnTo>
                    <a:pt x="55" y="146"/>
                  </a:lnTo>
                  <a:lnTo>
                    <a:pt x="66" y="138"/>
                  </a:lnTo>
                  <a:lnTo>
                    <a:pt x="72" y="138"/>
                  </a:lnTo>
                  <a:lnTo>
                    <a:pt x="84" y="135"/>
                  </a:lnTo>
                  <a:lnTo>
                    <a:pt x="95" y="138"/>
                  </a:lnTo>
                  <a:lnTo>
                    <a:pt x="101" y="135"/>
                  </a:lnTo>
                  <a:lnTo>
                    <a:pt x="104" y="135"/>
                  </a:lnTo>
                  <a:lnTo>
                    <a:pt x="109" y="132"/>
                  </a:lnTo>
                  <a:lnTo>
                    <a:pt x="112" y="126"/>
                  </a:lnTo>
                  <a:lnTo>
                    <a:pt x="118" y="121"/>
                  </a:lnTo>
                  <a:lnTo>
                    <a:pt x="127" y="121"/>
                  </a:lnTo>
                  <a:lnTo>
                    <a:pt x="130" y="112"/>
                  </a:lnTo>
                  <a:lnTo>
                    <a:pt x="130" y="109"/>
                  </a:lnTo>
                  <a:lnTo>
                    <a:pt x="135" y="103"/>
                  </a:lnTo>
                  <a:lnTo>
                    <a:pt x="144" y="98"/>
                  </a:lnTo>
                  <a:lnTo>
                    <a:pt x="141" y="92"/>
                  </a:lnTo>
                  <a:lnTo>
                    <a:pt x="138" y="89"/>
                  </a:lnTo>
                  <a:lnTo>
                    <a:pt x="135" y="86"/>
                  </a:lnTo>
                  <a:lnTo>
                    <a:pt x="138" y="77"/>
                  </a:lnTo>
                  <a:lnTo>
                    <a:pt x="144" y="69"/>
                  </a:lnTo>
                  <a:lnTo>
                    <a:pt x="153" y="63"/>
                  </a:lnTo>
                  <a:lnTo>
                    <a:pt x="155" y="60"/>
                  </a:lnTo>
                  <a:lnTo>
                    <a:pt x="155" y="57"/>
                  </a:lnTo>
                  <a:lnTo>
                    <a:pt x="155" y="54"/>
                  </a:lnTo>
                  <a:lnTo>
                    <a:pt x="167" y="49"/>
                  </a:lnTo>
                  <a:lnTo>
                    <a:pt x="181" y="43"/>
                  </a:lnTo>
                  <a:lnTo>
                    <a:pt x="193" y="37"/>
                  </a:lnTo>
                  <a:lnTo>
                    <a:pt x="190" y="29"/>
                  </a:lnTo>
                  <a:lnTo>
                    <a:pt x="193" y="29"/>
                  </a:lnTo>
                  <a:lnTo>
                    <a:pt x="190" y="26"/>
                  </a:lnTo>
                  <a:lnTo>
                    <a:pt x="181" y="29"/>
                  </a:lnTo>
                  <a:lnTo>
                    <a:pt x="178" y="26"/>
                  </a:lnTo>
                  <a:lnTo>
                    <a:pt x="176" y="29"/>
                  </a:lnTo>
                  <a:lnTo>
                    <a:pt x="173" y="26"/>
                  </a:lnTo>
                  <a:lnTo>
                    <a:pt x="170" y="29"/>
                  </a:lnTo>
                  <a:lnTo>
                    <a:pt x="167" y="29"/>
                  </a:lnTo>
                  <a:lnTo>
                    <a:pt x="164" y="29"/>
                  </a:lnTo>
                  <a:lnTo>
                    <a:pt x="161" y="20"/>
                  </a:lnTo>
                  <a:lnTo>
                    <a:pt x="158" y="14"/>
                  </a:lnTo>
                  <a:lnTo>
                    <a:pt x="155" y="20"/>
                  </a:lnTo>
                  <a:lnTo>
                    <a:pt x="141" y="20"/>
                  </a:lnTo>
                  <a:lnTo>
                    <a:pt x="138" y="17"/>
                  </a:lnTo>
                  <a:lnTo>
                    <a:pt x="135" y="17"/>
                  </a:lnTo>
                  <a:lnTo>
                    <a:pt x="124" y="17"/>
                  </a:lnTo>
                  <a:lnTo>
                    <a:pt x="118" y="11"/>
                  </a:lnTo>
                  <a:lnTo>
                    <a:pt x="112" y="9"/>
                  </a:lnTo>
                  <a:lnTo>
                    <a:pt x="104" y="9"/>
                  </a:lnTo>
                  <a:lnTo>
                    <a:pt x="98" y="9"/>
                  </a:lnTo>
                  <a:lnTo>
                    <a:pt x="92" y="6"/>
                  </a:lnTo>
                  <a:lnTo>
                    <a:pt x="87" y="6"/>
                  </a:lnTo>
                  <a:lnTo>
                    <a:pt x="84" y="6"/>
                  </a:lnTo>
                  <a:lnTo>
                    <a:pt x="75" y="6"/>
                  </a:lnTo>
                  <a:lnTo>
                    <a:pt x="69" y="3"/>
                  </a:lnTo>
                  <a:lnTo>
                    <a:pt x="61" y="3"/>
                  </a:lnTo>
                  <a:lnTo>
                    <a:pt x="58" y="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98" name="Freeform 315"/>
            <p:cNvSpPr>
              <a:spLocks noChangeAspect="1"/>
            </p:cNvSpPr>
            <p:nvPr/>
          </p:nvSpPr>
          <p:spPr bwMode="gray">
            <a:xfrm>
              <a:off x="6705021" y="3073585"/>
              <a:ext cx="15733" cy="16544"/>
            </a:xfrm>
            <a:custGeom>
              <a:avLst/>
              <a:gdLst>
                <a:gd name="T0" fmla="*/ 0 w 6"/>
                <a:gd name="T1" fmla="*/ 0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w 6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0"/>
                  </a:moveTo>
                  <a:lnTo>
                    <a:pt x="0" y="6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99" name="Freeform 220"/>
            <p:cNvSpPr>
              <a:spLocks noChangeAspect="1"/>
            </p:cNvSpPr>
            <p:nvPr/>
          </p:nvSpPr>
          <p:spPr bwMode="gray">
            <a:xfrm>
              <a:off x="7406154" y="4118031"/>
              <a:ext cx="127836" cy="91541"/>
            </a:xfrm>
            <a:custGeom>
              <a:avLst/>
              <a:gdLst>
                <a:gd name="T0" fmla="*/ 2147483647 w 49"/>
                <a:gd name="T1" fmla="*/ 2147483647 h 32"/>
                <a:gd name="T2" fmla="*/ 2147483647 w 49"/>
                <a:gd name="T3" fmla="*/ 2147483647 h 32"/>
                <a:gd name="T4" fmla="*/ 2147483647 w 49"/>
                <a:gd name="T5" fmla="*/ 2147483647 h 32"/>
                <a:gd name="T6" fmla="*/ 2147483647 w 49"/>
                <a:gd name="T7" fmla="*/ 2147483647 h 32"/>
                <a:gd name="T8" fmla="*/ 2147483647 w 49"/>
                <a:gd name="T9" fmla="*/ 2147483647 h 32"/>
                <a:gd name="T10" fmla="*/ 2147483647 w 49"/>
                <a:gd name="T11" fmla="*/ 2147483647 h 32"/>
                <a:gd name="T12" fmla="*/ 2147483647 w 49"/>
                <a:gd name="T13" fmla="*/ 0 h 32"/>
                <a:gd name="T14" fmla="*/ 2147483647 w 49"/>
                <a:gd name="T15" fmla="*/ 2147483647 h 32"/>
                <a:gd name="T16" fmla="*/ 2147483647 w 49"/>
                <a:gd name="T17" fmla="*/ 2147483647 h 32"/>
                <a:gd name="T18" fmla="*/ 2147483647 w 49"/>
                <a:gd name="T19" fmla="*/ 2147483647 h 32"/>
                <a:gd name="T20" fmla="*/ 2147483647 w 49"/>
                <a:gd name="T21" fmla="*/ 0 h 32"/>
                <a:gd name="T22" fmla="*/ 2147483647 w 49"/>
                <a:gd name="T23" fmla="*/ 0 h 32"/>
                <a:gd name="T24" fmla="*/ 0 w 49"/>
                <a:gd name="T25" fmla="*/ 2147483647 h 32"/>
                <a:gd name="T26" fmla="*/ 0 w 49"/>
                <a:gd name="T27" fmla="*/ 2147483647 h 32"/>
                <a:gd name="T28" fmla="*/ 0 w 49"/>
                <a:gd name="T29" fmla="*/ 2147483647 h 32"/>
                <a:gd name="T30" fmla="*/ 0 w 49"/>
                <a:gd name="T31" fmla="*/ 2147483647 h 32"/>
                <a:gd name="T32" fmla="*/ 2147483647 w 49"/>
                <a:gd name="T33" fmla="*/ 2147483647 h 32"/>
                <a:gd name="T34" fmla="*/ 2147483647 w 49"/>
                <a:gd name="T35" fmla="*/ 2147483647 h 32"/>
                <a:gd name="T36" fmla="*/ 2147483647 w 49"/>
                <a:gd name="T37" fmla="*/ 2147483647 h 32"/>
                <a:gd name="T38" fmla="*/ 2147483647 w 49"/>
                <a:gd name="T39" fmla="*/ 2147483647 h 32"/>
                <a:gd name="T40" fmla="*/ 2147483647 w 49"/>
                <a:gd name="T41" fmla="*/ 2147483647 h 32"/>
                <a:gd name="T42" fmla="*/ 2147483647 w 49"/>
                <a:gd name="T43" fmla="*/ 2147483647 h 32"/>
                <a:gd name="T44" fmla="*/ 2147483647 w 49"/>
                <a:gd name="T45" fmla="*/ 2147483647 h 32"/>
                <a:gd name="T46" fmla="*/ 2147483647 w 49"/>
                <a:gd name="T47" fmla="*/ 2147483647 h 32"/>
                <a:gd name="T48" fmla="*/ 2147483647 w 49"/>
                <a:gd name="T49" fmla="*/ 2147483647 h 32"/>
                <a:gd name="T50" fmla="*/ 2147483647 w 49"/>
                <a:gd name="T51" fmla="*/ 2147483647 h 32"/>
                <a:gd name="T52" fmla="*/ 2147483647 w 49"/>
                <a:gd name="T53" fmla="*/ 2147483647 h 32"/>
                <a:gd name="T54" fmla="*/ 2147483647 w 49"/>
                <a:gd name="T55" fmla="*/ 2147483647 h 32"/>
                <a:gd name="T56" fmla="*/ 2147483647 w 49"/>
                <a:gd name="T57" fmla="*/ 2147483647 h 32"/>
                <a:gd name="T58" fmla="*/ 2147483647 w 49"/>
                <a:gd name="T59" fmla="*/ 2147483647 h 32"/>
                <a:gd name="T60" fmla="*/ 2147483647 w 49"/>
                <a:gd name="T61" fmla="*/ 2147483647 h 32"/>
                <a:gd name="T62" fmla="*/ 2147483647 w 49"/>
                <a:gd name="T63" fmla="*/ 2147483647 h 32"/>
                <a:gd name="T64" fmla="*/ 2147483647 w 49"/>
                <a:gd name="T65" fmla="*/ 2147483647 h 32"/>
                <a:gd name="T66" fmla="*/ 2147483647 w 49"/>
                <a:gd name="T67" fmla="*/ 2147483647 h 32"/>
                <a:gd name="T68" fmla="*/ 2147483647 w 49"/>
                <a:gd name="T69" fmla="*/ 2147483647 h 32"/>
                <a:gd name="T70" fmla="*/ 2147483647 w 49"/>
                <a:gd name="T71" fmla="*/ 2147483647 h 32"/>
                <a:gd name="T72" fmla="*/ 2147483647 w 49"/>
                <a:gd name="T73" fmla="*/ 0 h 32"/>
                <a:gd name="T74" fmla="*/ 2147483647 w 49"/>
                <a:gd name="T75" fmla="*/ 0 h 32"/>
                <a:gd name="T76" fmla="*/ 2147483647 w 49"/>
                <a:gd name="T77" fmla="*/ 0 h 32"/>
                <a:gd name="T78" fmla="*/ 2147483647 w 49"/>
                <a:gd name="T79" fmla="*/ 2147483647 h 32"/>
                <a:gd name="T80" fmla="*/ 2147483647 w 49"/>
                <a:gd name="T81" fmla="*/ 2147483647 h 32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49"/>
                <a:gd name="T124" fmla="*/ 0 h 32"/>
                <a:gd name="T125" fmla="*/ 49 w 49"/>
                <a:gd name="T126" fmla="*/ 32 h 32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49" h="32">
                  <a:moveTo>
                    <a:pt x="37" y="3"/>
                  </a:moveTo>
                  <a:lnTo>
                    <a:pt x="37" y="3"/>
                  </a:lnTo>
                  <a:lnTo>
                    <a:pt x="35" y="6"/>
                  </a:lnTo>
                  <a:lnTo>
                    <a:pt x="29" y="6"/>
                  </a:lnTo>
                  <a:lnTo>
                    <a:pt x="17" y="3"/>
                  </a:lnTo>
                  <a:lnTo>
                    <a:pt x="12" y="0"/>
                  </a:lnTo>
                  <a:lnTo>
                    <a:pt x="9" y="6"/>
                  </a:lnTo>
                  <a:lnTo>
                    <a:pt x="6" y="3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2"/>
                  </a:lnTo>
                  <a:lnTo>
                    <a:pt x="9" y="15"/>
                  </a:lnTo>
                  <a:lnTo>
                    <a:pt x="17" y="20"/>
                  </a:lnTo>
                  <a:lnTo>
                    <a:pt x="20" y="20"/>
                  </a:lnTo>
                  <a:lnTo>
                    <a:pt x="23" y="23"/>
                  </a:lnTo>
                  <a:lnTo>
                    <a:pt x="26" y="23"/>
                  </a:lnTo>
                  <a:lnTo>
                    <a:pt x="29" y="23"/>
                  </a:lnTo>
                  <a:lnTo>
                    <a:pt x="32" y="29"/>
                  </a:lnTo>
                  <a:lnTo>
                    <a:pt x="37" y="32"/>
                  </a:lnTo>
                  <a:lnTo>
                    <a:pt x="43" y="29"/>
                  </a:lnTo>
                  <a:lnTo>
                    <a:pt x="46" y="26"/>
                  </a:lnTo>
                  <a:lnTo>
                    <a:pt x="43" y="20"/>
                  </a:lnTo>
                  <a:lnTo>
                    <a:pt x="46" y="15"/>
                  </a:lnTo>
                  <a:lnTo>
                    <a:pt x="46" y="6"/>
                  </a:lnTo>
                  <a:lnTo>
                    <a:pt x="49" y="3"/>
                  </a:lnTo>
                  <a:lnTo>
                    <a:pt x="46" y="0"/>
                  </a:lnTo>
                  <a:lnTo>
                    <a:pt x="40" y="0"/>
                  </a:lnTo>
                  <a:lnTo>
                    <a:pt x="37" y="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100" name="Freeform 212"/>
            <p:cNvSpPr>
              <a:spLocks noChangeAspect="1"/>
            </p:cNvSpPr>
            <p:nvPr/>
          </p:nvSpPr>
          <p:spPr bwMode="gray">
            <a:xfrm>
              <a:off x="7341253" y="3521363"/>
              <a:ext cx="236006" cy="141172"/>
            </a:xfrm>
            <a:custGeom>
              <a:avLst/>
              <a:gdLst>
                <a:gd name="T0" fmla="*/ 2147483647 w 348"/>
                <a:gd name="T1" fmla="*/ 2147483647 h 185"/>
                <a:gd name="T2" fmla="*/ 2147483647 w 348"/>
                <a:gd name="T3" fmla="*/ 2147483647 h 185"/>
                <a:gd name="T4" fmla="*/ 2147483647 w 348"/>
                <a:gd name="T5" fmla="*/ 2147483647 h 185"/>
                <a:gd name="T6" fmla="*/ 2147483647 w 348"/>
                <a:gd name="T7" fmla="*/ 2147483647 h 185"/>
                <a:gd name="T8" fmla="*/ 2147483647 w 348"/>
                <a:gd name="T9" fmla="*/ 2147483647 h 185"/>
                <a:gd name="T10" fmla="*/ 2147483647 w 348"/>
                <a:gd name="T11" fmla="*/ 2147483647 h 185"/>
                <a:gd name="T12" fmla="*/ 2147483647 w 348"/>
                <a:gd name="T13" fmla="*/ 2147483647 h 185"/>
                <a:gd name="T14" fmla="*/ 2147483647 w 348"/>
                <a:gd name="T15" fmla="*/ 2147483647 h 185"/>
                <a:gd name="T16" fmla="*/ 2147483647 w 348"/>
                <a:gd name="T17" fmla="*/ 2147483647 h 185"/>
                <a:gd name="T18" fmla="*/ 2147483647 w 348"/>
                <a:gd name="T19" fmla="*/ 2147483647 h 185"/>
                <a:gd name="T20" fmla="*/ 2147483647 w 348"/>
                <a:gd name="T21" fmla="*/ 2147483647 h 185"/>
                <a:gd name="T22" fmla="*/ 2147483647 w 348"/>
                <a:gd name="T23" fmla="*/ 2147483647 h 185"/>
                <a:gd name="T24" fmla="*/ 2147483647 w 348"/>
                <a:gd name="T25" fmla="*/ 2147483647 h 185"/>
                <a:gd name="T26" fmla="*/ 2147483647 w 348"/>
                <a:gd name="T27" fmla="*/ 2147483647 h 185"/>
                <a:gd name="T28" fmla="*/ 2147483647 w 348"/>
                <a:gd name="T29" fmla="*/ 2147483647 h 185"/>
                <a:gd name="T30" fmla="*/ 2147483647 w 348"/>
                <a:gd name="T31" fmla="*/ 2147483647 h 185"/>
                <a:gd name="T32" fmla="*/ 2147483647 w 348"/>
                <a:gd name="T33" fmla="*/ 2147483647 h 185"/>
                <a:gd name="T34" fmla="*/ 0 w 348"/>
                <a:gd name="T35" fmla="*/ 2147483647 h 185"/>
                <a:gd name="T36" fmla="*/ 2147483647 w 348"/>
                <a:gd name="T37" fmla="*/ 2147483647 h 185"/>
                <a:gd name="T38" fmla="*/ 2147483647 w 348"/>
                <a:gd name="T39" fmla="*/ 2147483647 h 185"/>
                <a:gd name="T40" fmla="*/ 2147483647 w 348"/>
                <a:gd name="T41" fmla="*/ 2147483647 h 185"/>
                <a:gd name="T42" fmla="*/ 2147483647 w 348"/>
                <a:gd name="T43" fmla="*/ 2147483647 h 185"/>
                <a:gd name="T44" fmla="*/ 2147483647 w 348"/>
                <a:gd name="T45" fmla="*/ 2147483647 h 185"/>
                <a:gd name="T46" fmla="*/ 2147483647 w 348"/>
                <a:gd name="T47" fmla="*/ 2147483647 h 185"/>
                <a:gd name="T48" fmla="*/ 2147483647 w 348"/>
                <a:gd name="T49" fmla="*/ 2147483647 h 185"/>
                <a:gd name="T50" fmla="*/ 2147483647 w 348"/>
                <a:gd name="T51" fmla="*/ 2147483647 h 185"/>
                <a:gd name="T52" fmla="*/ 2147483647 w 348"/>
                <a:gd name="T53" fmla="*/ 2147483647 h 185"/>
                <a:gd name="T54" fmla="*/ 2147483647 w 348"/>
                <a:gd name="T55" fmla="*/ 2147483647 h 185"/>
                <a:gd name="T56" fmla="*/ 2147483647 w 348"/>
                <a:gd name="T57" fmla="*/ 2147483647 h 185"/>
                <a:gd name="T58" fmla="*/ 2147483647 w 348"/>
                <a:gd name="T59" fmla="*/ 2147483647 h 185"/>
                <a:gd name="T60" fmla="*/ 2147483647 w 348"/>
                <a:gd name="T61" fmla="*/ 2147483647 h 185"/>
                <a:gd name="T62" fmla="*/ 2147483647 w 348"/>
                <a:gd name="T63" fmla="*/ 2147483647 h 185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48"/>
                <a:gd name="T97" fmla="*/ 0 h 185"/>
                <a:gd name="T98" fmla="*/ 92 w 348"/>
                <a:gd name="T99" fmla="*/ 66 h 185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48" h="185">
                  <a:moveTo>
                    <a:pt x="308" y="157"/>
                  </a:moveTo>
                  <a:lnTo>
                    <a:pt x="306" y="143"/>
                  </a:lnTo>
                  <a:lnTo>
                    <a:pt x="318" y="143"/>
                  </a:lnTo>
                  <a:lnTo>
                    <a:pt x="318" y="120"/>
                  </a:lnTo>
                  <a:lnTo>
                    <a:pt x="325" y="109"/>
                  </a:lnTo>
                  <a:lnTo>
                    <a:pt x="318" y="98"/>
                  </a:lnTo>
                  <a:lnTo>
                    <a:pt x="325" y="86"/>
                  </a:lnTo>
                  <a:lnTo>
                    <a:pt x="348" y="86"/>
                  </a:lnTo>
                  <a:lnTo>
                    <a:pt x="348" y="68"/>
                  </a:lnTo>
                  <a:lnTo>
                    <a:pt x="337" y="34"/>
                  </a:lnTo>
                  <a:lnTo>
                    <a:pt x="325" y="23"/>
                  </a:lnTo>
                  <a:lnTo>
                    <a:pt x="318" y="23"/>
                  </a:lnTo>
                  <a:lnTo>
                    <a:pt x="295" y="34"/>
                  </a:lnTo>
                  <a:lnTo>
                    <a:pt x="295" y="23"/>
                  </a:lnTo>
                  <a:lnTo>
                    <a:pt x="272" y="11"/>
                  </a:lnTo>
                  <a:lnTo>
                    <a:pt x="250" y="11"/>
                  </a:lnTo>
                  <a:lnTo>
                    <a:pt x="238" y="0"/>
                  </a:lnTo>
                  <a:lnTo>
                    <a:pt x="231" y="11"/>
                  </a:lnTo>
                  <a:lnTo>
                    <a:pt x="219" y="34"/>
                  </a:lnTo>
                  <a:lnTo>
                    <a:pt x="174" y="34"/>
                  </a:lnTo>
                  <a:lnTo>
                    <a:pt x="163" y="34"/>
                  </a:lnTo>
                  <a:lnTo>
                    <a:pt x="151" y="34"/>
                  </a:lnTo>
                  <a:lnTo>
                    <a:pt x="132" y="56"/>
                  </a:lnTo>
                  <a:lnTo>
                    <a:pt x="121" y="56"/>
                  </a:lnTo>
                  <a:lnTo>
                    <a:pt x="121" y="68"/>
                  </a:lnTo>
                  <a:lnTo>
                    <a:pt x="132" y="98"/>
                  </a:lnTo>
                  <a:lnTo>
                    <a:pt x="132" y="120"/>
                  </a:lnTo>
                  <a:lnTo>
                    <a:pt x="121" y="109"/>
                  </a:lnTo>
                  <a:lnTo>
                    <a:pt x="110" y="109"/>
                  </a:lnTo>
                  <a:lnTo>
                    <a:pt x="76" y="109"/>
                  </a:lnTo>
                  <a:lnTo>
                    <a:pt x="34" y="120"/>
                  </a:lnTo>
                  <a:lnTo>
                    <a:pt x="0" y="120"/>
                  </a:lnTo>
                  <a:lnTo>
                    <a:pt x="0" y="143"/>
                  </a:lnTo>
                  <a:lnTo>
                    <a:pt x="11" y="143"/>
                  </a:lnTo>
                  <a:lnTo>
                    <a:pt x="59" y="140"/>
                  </a:lnTo>
                  <a:lnTo>
                    <a:pt x="79" y="137"/>
                  </a:lnTo>
                  <a:lnTo>
                    <a:pt x="94" y="158"/>
                  </a:lnTo>
                  <a:lnTo>
                    <a:pt x="101" y="178"/>
                  </a:lnTo>
                  <a:lnTo>
                    <a:pt x="128" y="182"/>
                  </a:lnTo>
                  <a:lnTo>
                    <a:pt x="202" y="185"/>
                  </a:lnTo>
                  <a:lnTo>
                    <a:pt x="307" y="160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101" name="Freeform 215"/>
            <p:cNvSpPr>
              <a:spLocks noChangeAspect="1"/>
            </p:cNvSpPr>
            <p:nvPr/>
          </p:nvSpPr>
          <p:spPr bwMode="gray">
            <a:xfrm>
              <a:off x="7341253" y="3140862"/>
              <a:ext cx="59001" cy="83820"/>
            </a:xfrm>
            <a:custGeom>
              <a:avLst/>
              <a:gdLst>
                <a:gd name="T0" fmla="*/ 1 w 138515"/>
                <a:gd name="T1" fmla="*/ 0 h 174542"/>
                <a:gd name="T2" fmla="*/ 1 w 138515"/>
                <a:gd name="T3" fmla="*/ 1 h 174542"/>
                <a:gd name="T4" fmla="*/ 1 w 138515"/>
                <a:gd name="T5" fmla="*/ 1 h 174542"/>
                <a:gd name="T6" fmla="*/ 1 w 138515"/>
                <a:gd name="T7" fmla="*/ 1 h 174542"/>
                <a:gd name="T8" fmla="*/ 1 w 138515"/>
                <a:gd name="T9" fmla="*/ 1 h 174542"/>
                <a:gd name="T10" fmla="*/ 1 w 138515"/>
                <a:gd name="T11" fmla="*/ 1 h 174542"/>
                <a:gd name="T12" fmla="*/ 1 w 138515"/>
                <a:gd name="T13" fmla="*/ 1 h 174542"/>
                <a:gd name="T14" fmla="*/ 1 w 138515"/>
                <a:gd name="T15" fmla="*/ 1 h 174542"/>
                <a:gd name="T16" fmla="*/ 1 w 138515"/>
                <a:gd name="T17" fmla="*/ 1 h 174542"/>
                <a:gd name="T18" fmla="*/ 1 w 138515"/>
                <a:gd name="T19" fmla="*/ 1 h 174542"/>
                <a:gd name="T20" fmla="*/ 1 w 138515"/>
                <a:gd name="T21" fmla="*/ 1 h 174542"/>
                <a:gd name="T22" fmla="*/ 0 w 138515"/>
                <a:gd name="T23" fmla="*/ 1 h 174542"/>
                <a:gd name="T24" fmla="*/ 1 w 138515"/>
                <a:gd name="T25" fmla="*/ 1 h 174542"/>
                <a:gd name="T26" fmla="*/ 1 w 138515"/>
                <a:gd name="T27" fmla="*/ 1 h 174542"/>
                <a:gd name="T28" fmla="*/ 1 w 138515"/>
                <a:gd name="T29" fmla="*/ 1 h 174542"/>
                <a:gd name="T30" fmla="*/ 1 w 138515"/>
                <a:gd name="T31" fmla="*/ 0 h 174542"/>
                <a:gd name="T32" fmla="*/ 1 w 138515"/>
                <a:gd name="T33" fmla="*/ 1 h 174542"/>
                <a:gd name="T34" fmla="*/ 1 w 138515"/>
                <a:gd name="T35" fmla="*/ 0 h 17454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515"/>
                <a:gd name="T55" fmla="*/ 0 h 174542"/>
                <a:gd name="T56" fmla="*/ 138515 w 138515"/>
                <a:gd name="T57" fmla="*/ 174542 h 17454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515" h="174542">
                  <a:moveTo>
                    <a:pt x="138515" y="0"/>
                  </a:moveTo>
                  <a:lnTo>
                    <a:pt x="138515" y="36075"/>
                  </a:lnTo>
                  <a:lnTo>
                    <a:pt x="120408" y="72150"/>
                  </a:lnTo>
                  <a:lnTo>
                    <a:pt x="108438" y="108379"/>
                  </a:lnTo>
                  <a:lnTo>
                    <a:pt x="138515" y="120353"/>
                  </a:lnTo>
                  <a:lnTo>
                    <a:pt x="108438" y="156428"/>
                  </a:lnTo>
                  <a:lnTo>
                    <a:pt x="54118" y="174542"/>
                  </a:lnTo>
                  <a:lnTo>
                    <a:pt x="18006" y="138467"/>
                  </a:lnTo>
                  <a:lnTo>
                    <a:pt x="72325" y="138467"/>
                  </a:lnTo>
                  <a:lnTo>
                    <a:pt x="54118" y="108379"/>
                  </a:lnTo>
                  <a:lnTo>
                    <a:pt x="18006" y="90265"/>
                  </a:lnTo>
                  <a:cubicBezTo>
                    <a:pt x="11971" y="78291"/>
                    <a:pt x="6036" y="66163"/>
                    <a:pt x="0" y="54189"/>
                  </a:cubicBezTo>
                  <a:lnTo>
                    <a:pt x="18006" y="36075"/>
                  </a:lnTo>
                  <a:lnTo>
                    <a:pt x="54118" y="17961"/>
                  </a:lnTo>
                  <a:lnTo>
                    <a:pt x="90331" y="36075"/>
                  </a:lnTo>
                  <a:lnTo>
                    <a:pt x="120408" y="0"/>
                  </a:lnTo>
                  <a:lnTo>
                    <a:pt x="138515" y="17961"/>
                  </a:lnTo>
                  <a:lnTo>
                    <a:pt x="138515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121" name="Oval 125"/>
            <p:cNvSpPr>
              <a:spLocks noChangeArrowheads="1"/>
            </p:cNvSpPr>
            <p:nvPr/>
          </p:nvSpPr>
          <p:spPr bwMode="gray">
            <a:xfrm>
              <a:off x="7648885" y="3596081"/>
              <a:ext cx="33178" cy="3721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/>
          </p:spPr>
          <p:txBody>
            <a:bodyPr wrap="none" anchor="ctr"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de-DE">
                <a:latin typeface="Tele-GroteskFet" charset="0"/>
              </a:endParaRPr>
            </a:p>
          </p:txBody>
        </p:sp>
        <p:sp>
          <p:nvSpPr>
            <p:cNvPr id="122" name="Oval 129"/>
            <p:cNvSpPr>
              <a:spLocks noChangeArrowheads="1"/>
            </p:cNvSpPr>
            <p:nvPr/>
          </p:nvSpPr>
          <p:spPr bwMode="gray">
            <a:xfrm>
              <a:off x="7720101" y="3588760"/>
              <a:ext cx="33178" cy="3845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/>
          </p:spPr>
          <p:txBody>
            <a:bodyPr wrap="none" anchor="ctr"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de-DE">
                <a:latin typeface="Tele-GroteskFet" charset="0"/>
              </a:endParaRPr>
            </a:p>
          </p:txBody>
        </p:sp>
        <p:sp>
          <p:nvSpPr>
            <p:cNvPr id="142" name="Oval 129"/>
            <p:cNvSpPr>
              <a:spLocks noChangeArrowheads="1"/>
            </p:cNvSpPr>
            <p:nvPr/>
          </p:nvSpPr>
          <p:spPr bwMode="gray">
            <a:xfrm>
              <a:off x="7604243" y="3634481"/>
              <a:ext cx="33178" cy="3845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/>
          </p:spPr>
          <p:txBody>
            <a:bodyPr wrap="none" anchor="ctr"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de-DE">
                <a:latin typeface="Tele-GroteskFet" charset="0"/>
              </a:endParaRPr>
            </a:p>
          </p:txBody>
        </p:sp>
        <p:sp>
          <p:nvSpPr>
            <p:cNvPr id="108" name="Oval 125"/>
            <p:cNvSpPr>
              <a:spLocks noChangeArrowheads="1"/>
            </p:cNvSpPr>
            <p:nvPr/>
          </p:nvSpPr>
          <p:spPr bwMode="gray">
            <a:xfrm>
              <a:off x="7677561" y="3626857"/>
              <a:ext cx="33178" cy="3721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/>
          </p:spPr>
          <p:txBody>
            <a:bodyPr wrap="none" anchor="ctr"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de-DE">
                <a:latin typeface="Tele-GroteskFet" charset="0"/>
              </a:endParaRPr>
            </a:p>
          </p:txBody>
        </p:sp>
      </p:grpSp>
      <p:pic>
        <p:nvPicPr>
          <p:cNvPr id="109" name="Picture 2" descr="C:\Users\csatoth\Desktop\2014_08_01_16-28-09[1].jpg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575739" y="994738"/>
            <a:ext cx="1048030" cy="791297"/>
          </a:xfrm>
          <a:prstGeom prst="rect">
            <a:avLst/>
          </a:prstGeom>
          <a:noFill/>
          <a:effectLst>
            <a:outerShdw blurRad="63500" sx="102000" sy="102000" algn="ctr" rotWithShape="0">
              <a:schemeClr val="bg1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" name="Kép 7168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64561" y="1005583"/>
            <a:ext cx="1055224" cy="791297"/>
          </a:xfrm>
          <a:prstGeom prst="rect">
            <a:avLst/>
          </a:prstGeom>
        </p:spPr>
      </p:pic>
      <p:pic>
        <p:nvPicPr>
          <p:cNvPr id="111" name="Kép 7170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86979" y="1005583"/>
            <a:ext cx="1055224" cy="791297"/>
          </a:xfrm>
          <a:prstGeom prst="rect">
            <a:avLst/>
          </a:prstGeom>
        </p:spPr>
      </p:pic>
      <p:pic>
        <p:nvPicPr>
          <p:cNvPr id="113" name="Picture 2"/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471078" y="994739"/>
            <a:ext cx="1054620" cy="790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1288" y="1041381"/>
            <a:ext cx="6795126" cy="2911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572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10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892341" y="2140558"/>
            <a:ext cx="1963260" cy="21690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tIns="108000" rIns="0" bIns="46800"/>
          <a:lstStyle/>
          <a:p>
            <a:pPr marL="0" lvl="1" defTabSz="901700" eaLnBrk="0" hangingPunct="0">
              <a:lnSpc>
                <a:spcPct val="90000"/>
              </a:lnSpc>
              <a:spcAft>
                <a:spcPts val="500"/>
              </a:spcAft>
            </a:pPr>
            <a:r>
              <a:rPr lang="hu-HU" sz="3200" dirty="0" smtClean="0">
                <a:solidFill>
                  <a:schemeClr val="tx2"/>
                </a:solidFill>
                <a:latin typeface="+mj-lt"/>
              </a:rPr>
              <a:t>2015</a:t>
            </a:r>
            <a:endParaRPr lang="en-US" sz="3200" dirty="0">
              <a:solidFill>
                <a:srgbClr val="000000"/>
              </a:solidFill>
              <a:latin typeface="+mj-lt"/>
            </a:endParaRPr>
          </a:p>
          <a:p>
            <a:pPr>
              <a:lnSpc>
                <a:spcPct val="100000"/>
              </a:lnSpc>
              <a:buClr>
                <a:srgbClr val="E20074"/>
              </a:buClr>
            </a:pPr>
            <a:r>
              <a:rPr lang="en-US" sz="1400" dirty="0">
                <a:solidFill>
                  <a:schemeClr val="tx1"/>
                </a:solidFill>
                <a:latin typeface="Tele-GroteskEENor" pitchFamily="2" charset="0"/>
                <a:cs typeface="Arial" pitchFamily="34" charset="0"/>
              </a:rPr>
              <a:t>IT Services Hungary won the </a:t>
            </a:r>
            <a:r>
              <a:rPr lang="hu-HU" sz="1400" dirty="0" smtClean="0">
                <a:solidFill>
                  <a:schemeClr val="tx1"/>
                </a:solidFill>
                <a:latin typeface="Tele-GroteskEENor" pitchFamily="2" charset="0"/>
                <a:cs typeface="Arial" pitchFamily="34" charset="0"/>
              </a:rPr>
              <a:t>„</a:t>
            </a:r>
            <a:r>
              <a:rPr lang="en-US" sz="1400" dirty="0" smtClean="0">
                <a:solidFill>
                  <a:schemeClr val="tx1"/>
                </a:solidFill>
                <a:latin typeface="Tele-GroteskEENor" pitchFamily="2" charset="0"/>
                <a:cs typeface="Arial" pitchFamily="34" charset="0"/>
              </a:rPr>
              <a:t>Investor </a:t>
            </a:r>
            <a:r>
              <a:rPr lang="en-US" sz="1400" dirty="0">
                <a:solidFill>
                  <a:schemeClr val="tx1"/>
                </a:solidFill>
                <a:latin typeface="Tele-GroteskEENor" pitchFamily="2" charset="0"/>
                <a:cs typeface="Arial" pitchFamily="34" charset="0"/>
              </a:rPr>
              <a:t>of the </a:t>
            </a:r>
            <a:r>
              <a:rPr lang="en-US" sz="1400" dirty="0" smtClean="0">
                <a:solidFill>
                  <a:schemeClr val="tx1"/>
                </a:solidFill>
                <a:latin typeface="Tele-GroteskEENor" pitchFamily="2" charset="0"/>
                <a:cs typeface="Arial" pitchFamily="34" charset="0"/>
              </a:rPr>
              <a:t>Year</a:t>
            </a:r>
            <a:r>
              <a:rPr lang="hu-HU" sz="1400" dirty="0" smtClean="0">
                <a:solidFill>
                  <a:schemeClr val="tx1"/>
                </a:solidFill>
                <a:latin typeface="Tele-GroteskEENor" pitchFamily="2" charset="0"/>
                <a:cs typeface="Arial" pitchFamily="34" charset="0"/>
              </a:rPr>
              <a:t>”</a:t>
            </a:r>
            <a:r>
              <a:rPr lang="en-US" sz="1400" dirty="0" smtClean="0">
                <a:solidFill>
                  <a:schemeClr val="tx1"/>
                </a:solidFill>
                <a:latin typeface="Tele-GroteskEENor" pitchFamily="2" charset="0"/>
                <a:cs typeface="Arial" pitchFamily="34" charset="0"/>
              </a:rPr>
              <a:t> </a:t>
            </a:r>
            <a:r>
              <a:rPr lang="en-US" sz="1400" dirty="0">
                <a:solidFill>
                  <a:schemeClr val="tx1"/>
                </a:solidFill>
                <a:latin typeface="Tele-GroteskEENor" pitchFamily="2" charset="0"/>
                <a:cs typeface="Arial" pitchFamily="34" charset="0"/>
              </a:rPr>
              <a:t>Award for its regional developments associated with job </a:t>
            </a:r>
            <a:r>
              <a:rPr lang="en-US" sz="1400" dirty="0" smtClean="0">
                <a:solidFill>
                  <a:schemeClr val="tx1"/>
                </a:solidFill>
                <a:latin typeface="Tele-GroteskEENor" pitchFamily="2" charset="0"/>
                <a:cs typeface="Arial" pitchFamily="34" charset="0"/>
              </a:rPr>
              <a:t>creation</a:t>
            </a:r>
            <a:r>
              <a:rPr lang="hu-HU" sz="1400" dirty="0">
                <a:solidFill>
                  <a:schemeClr val="tx1"/>
                </a:solidFill>
                <a:latin typeface="Tele-GroteskEENor" pitchFamily="2" charset="0"/>
                <a:cs typeface="Arial" pitchFamily="34" charset="0"/>
              </a:rPr>
              <a:t>!</a:t>
            </a:r>
            <a:r>
              <a:rPr lang="en-US" sz="900" dirty="0" smtClean="0">
                <a:solidFill>
                  <a:schemeClr val="tx1"/>
                </a:solidFill>
                <a:latin typeface="Tele-GroteskEENor" pitchFamily="2" charset="0"/>
                <a:cs typeface="Arial" pitchFamily="34" charset="0"/>
              </a:rPr>
              <a:t> </a:t>
            </a:r>
            <a:endParaRPr lang="en-US" sz="900" dirty="0">
              <a:solidFill>
                <a:schemeClr val="tx1"/>
              </a:solidFill>
              <a:latin typeface="Tele-GroteskEENor" pitchFamily="2" charset="0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-4001" y="0"/>
            <a:ext cx="5665020" cy="213155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chemeClr val="tx1"/>
              </a:solidFill>
              <a:ea typeface="MS PGothic" pitchFamily="34" charset="-128"/>
            </a:endParaRPr>
          </a:p>
        </p:txBody>
      </p:sp>
      <p:sp>
        <p:nvSpPr>
          <p:cNvPr id="20484" name="Titel 1"/>
          <p:cNvSpPr txBox="1">
            <a:spLocks/>
          </p:cNvSpPr>
          <p:nvPr/>
        </p:nvSpPr>
        <p:spPr bwMode="gray">
          <a:xfrm>
            <a:off x="408074" y="315009"/>
            <a:ext cx="5252946" cy="15300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5146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9718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34290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8862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hu-HU" sz="3200" dirty="0" smtClean="0">
                <a:latin typeface="+mj-lt"/>
                <a:ea typeface="MS PGothic" pitchFamily="34" charset="-128"/>
                <a:cs typeface="TeleGrotesk Headline Ultra" pitchFamily="2" charset="0"/>
              </a:rPr>
              <a:t>EMPLOYER DEVELOPMENT</a:t>
            </a:r>
          </a:p>
          <a:p>
            <a:pPr eaLnBrk="1" hangingPunct="1">
              <a:lnSpc>
                <a:spcPct val="80000"/>
              </a:lnSpc>
            </a:pPr>
            <a:r>
              <a:rPr lang="hu-HU" sz="3200" dirty="0" smtClean="0">
                <a:latin typeface="+mj-lt"/>
                <a:cs typeface="TeleGrotesk Headline Ultra" pitchFamily="2" charset="0"/>
              </a:rPr>
              <a:t>&amp; BRANDING</a:t>
            </a:r>
          </a:p>
          <a:p>
            <a:pPr eaLnBrk="1" hangingPunct="1">
              <a:lnSpc>
                <a:spcPct val="80000"/>
              </a:lnSpc>
            </a:pPr>
            <a:endParaRPr lang="en-US" sz="3200" dirty="0">
              <a:latin typeface="+mj-lt"/>
              <a:ea typeface="MS PGothic" pitchFamily="34" charset="-128"/>
              <a:cs typeface="TeleGrotesk Headline Ultra" pitchFamily="2" charset="0"/>
            </a:endParaRPr>
          </a:p>
        </p:txBody>
      </p:sp>
      <p:sp>
        <p:nvSpPr>
          <p:cNvPr id="20485" name="Rectangle 108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7753396" y="2145059"/>
            <a:ext cx="1727780" cy="200705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tIns="108000" rIns="0" bIns="46800"/>
          <a:lstStyle/>
          <a:p>
            <a:pPr marL="0" lvl="1" defTabSz="901700" eaLnBrk="0" hangingPunct="0">
              <a:lnSpc>
                <a:spcPct val="90000"/>
              </a:lnSpc>
              <a:spcAft>
                <a:spcPts val="500"/>
              </a:spcAft>
            </a:pPr>
            <a:r>
              <a:rPr lang="hu-HU" sz="2000" dirty="0" smtClean="0">
                <a:solidFill>
                  <a:schemeClr val="tx2"/>
                </a:solidFill>
                <a:latin typeface="TeleGrotesk Headline Ultra" pitchFamily="2" charset="0"/>
              </a:rPr>
              <a:t>2016</a:t>
            </a:r>
            <a:endParaRPr lang="en-US" sz="2000" dirty="0">
              <a:solidFill>
                <a:schemeClr val="tx2"/>
              </a:solidFill>
              <a:latin typeface="TeleGrotesk Headline Ultra" pitchFamily="2" charset="0"/>
            </a:endParaRPr>
          </a:p>
          <a:p>
            <a:pPr marL="0" lvl="1" defTabSz="901700" eaLnBrk="0" hangingPunct="0">
              <a:spcAft>
                <a:spcPts val="1000"/>
              </a:spcAft>
            </a:pPr>
            <a:r>
              <a:rPr lang="en-US" sz="1200" dirty="0">
                <a:solidFill>
                  <a:srgbClr val="000000"/>
                </a:solidFill>
                <a:latin typeface="Tele-GroteskNor" pitchFamily="2" charset="0"/>
              </a:rPr>
              <a:t>IT Services Hungary is the 8th most attractive enterprise in Hungary, according to a survey conducted among local employees by </a:t>
            </a:r>
            <a:r>
              <a:rPr lang="en-US" sz="1200" dirty="0" err="1">
                <a:solidFill>
                  <a:srgbClr val="000000"/>
                </a:solidFill>
                <a:latin typeface="Tele-GroteskNor" pitchFamily="2" charset="0"/>
              </a:rPr>
              <a:t>Randstad</a:t>
            </a:r>
            <a:r>
              <a:rPr lang="en-US" sz="1200" dirty="0">
                <a:solidFill>
                  <a:srgbClr val="000000"/>
                </a:solidFill>
                <a:latin typeface="Tele-GroteskNor" pitchFamily="2" charset="0"/>
              </a:rPr>
              <a:t>.</a:t>
            </a:r>
          </a:p>
        </p:txBody>
      </p:sp>
      <p:sp>
        <p:nvSpPr>
          <p:cNvPr id="20486" name="Rectangle 108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218542" y="5257642"/>
            <a:ext cx="3322817" cy="10260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tIns="108000" rIns="0" bIns="46800"/>
          <a:lstStyle/>
          <a:p>
            <a:pPr marL="0" lvl="1" indent="-117475" algn="r" defTabSz="901700" eaLnBrk="0" hangingPunct="0">
              <a:spcAft>
                <a:spcPts val="500"/>
              </a:spcAft>
            </a:pPr>
            <a:r>
              <a:rPr lang="en-US" sz="3200" dirty="0" smtClean="0">
                <a:solidFill>
                  <a:schemeClr val="tx1"/>
                </a:solidFill>
                <a:latin typeface="Tele-GroteskNor" pitchFamily="2" charset="0"/>
              </a:rPr>
              <a:t>4</a:t>
            </a:r>
            <a:r>
              <a:rPr lang="hu-HU" sz="3200" dirty="0" smtClean="0">
                <a:solidFill>
                  <a:schemeClr val="tx1"/>
                </a:solidFill>
                <a:latin typeface="Tele-GroteskNor" pitchFamily="2" charset="0"/>
              </a:rPr>
              <a:t>5</a:t>
            </a:r>
            <a:r>
              <a:rPr lang="en-US" sz="3200" dirty="0" smtClean="0">
                <a:solidFill>
                  <a:schemeClr val="tx1"/>
                </a:solidFill>
                <a:latin typeface="Tele-GroteskNor" pitchFamily="2" charset="0"/>
              </a:rPr>
              <a:t>%</a:t>
            </a:r>
            <a:r>
              <a:rPr lang="en-US" sz="3200" dirty="0">
                <a:solidFill>
                  <a:schemeClr val="tx1"/>
                </a:solidFill>
              </a:rPr>
              <a:t/>
            </a:r>
            <a:br>
              <a:rPr lang="en-US" sz="3200" dirty="0">
                <a:solidFill>
                  <a:schemeClr val="tx1"/>
                </a:solidFill>
              </a:rPr>
            </a:br>
            <a:r>
              <a:rPr lang="hu-HU" sz="1600" dirty="0" err="1" smtClean="0">
                <a:solidFill>
                  <a:schemeClr val="tx1"/>
                </a:solidFill>
                <a:latin typeface="Tele-GroteskNor" pitchFamily="2" charset="0"/>
              </a:rPr>
              <a:t>german</a:t>
            </a:r>
            <a:r>
              <a:rPr lang="hu-HU" sz="1600" dirty="0" smtClean="0">
                <a:solidFill>
                  <a:schemeClr val="tx1"/>
                </a:solidFill>
                <a:latin typeface="Tele-GroteskNor" pitchFamily="2" charset="0"/>
              </a:rPr>
              <a:t> and </a:t>
            </a:r>
            <a:r>
              <a:rPr lang="hu-HU" sz="1600" dirty="0" err="1" smtClean="0">
                <a:solidFill>
                  <a:schemeClr val="tx1"/>
                </a:solidFill>
                <a:latin typeface="Tele-GroteskNor" pitchFamily="2" charset="0"/>
              </a:rPr>
              <a:t>english</a:t>
            </a:r>
            <a:endParaRPr lang="en-US" sz="1600" dirty="0">
              <a:solidFill>
                <a:schemeClr val="tx1"/>
              </a:solidFill>
              <a:latin typeface="Tele-GroteskNor" pitchFamily="2" charset="0"/>
            </a:endParaRPr>
          </a:p>
          <a:p>
            <a:pPr marL="0" lvl="1" indent="-117475" algn="r" defTabSz="901700" eaLnBrk="0" hangingPunct="0">
              <a:lnSpc>
                <a:spcPct val="90000"/>
              </a:lnSpc>
              <a:spcAft>
                <a:spcPts val="500"/>
              </a:spcAft>
            </a:pPr>
            <a:r>
              <a:rPr lang="hu-HU" sz="1600" dirty="0" err="1" smtClean="0">
                <a:solidFill>
                  <a:schemeClr val="tx2"/>
                </a:solidFill>
                <a:latin typeface="TeleGrotesk Headline Ultra" pitchFamily="2" charset="0"/>
              </a:rPr>
              <a:t>SPoken</a:t>
            </a:r>
            <a:r>
              <a:rPr lang="hu-HU" sz="1600" dirty="0" smtClean="0">
                <a:solidFill>
                  <a:schemeClr val="tx2"/>
                </a:solidFill>
                <a:latin typeface="TeleGrotesk Headline Ultra" pitchFamily="2" charset="0"/>
              </a:rPr>
              <a:t> BOTH LANGUAGES</a:t>
            </a:r>
            <a:endParaRPr lang="en-US" sz="1600" dirty="0">
              <a:solidFill>
                <a:schemeClr val="tx2"/>
              </a:solidFill>
              <a:latin typeface="TeleGrotesk Headline Ultra" pitchFamily="2" charset="0"/>
            </a:endParaRPr>
          </a:p>
        </p:txBody>
      </p:sp>
      <p:sp>
        <p:nvSpPr>
          <p:cNvPr id="20487" name="Rectangle 108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579568" y="246289"/>
            <a:ext cx="2068372" cy="10890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tIns="108000" rIns="0" bIns="46800"/>
          <a:lstStyle/>
          <a:p>
            <a:pPr marL="0" lvl="1" defTabSz="901700" eaLnBrk="0" hangingPunct="0">
              <a:spcAft>
                <a:spcPts val="1000"/>
              </a:spcAft>
            </a:pPr>
            <a:r>
              <a:rPr lang="hu-HU" sz="1600" dirty="0" smtClean="0">
                <a:solidFill>
                  <a:schemeClr val="tx2"/>
                </a:solidFill>
                <a:latin typeface="TeleGrotesk Headline Ultra" pitchFamily="2" charset="0"/>
              </a:rPr>
              <a:t>EDUCATION</a:t>
            </a:r>
            <a:endParaRPr lang="en-US" sz="1600" dirty="0">
              <a:solidFill>
                <a:schemeClr val="tx2"/>
              </a:solidFill>
              <a:latin typeface="TeleGrotesk Headline Ultra" pitchFamily="2" charset="0"/>
            </a:endParaRPr>
          </a:p>
          <a:p>
            <a:pPr marL="0" lvl="1" defTabSz="901700" eaLnBrk="0" hangingPunct="0">
              <a:spcAft>
                <a:spcPts val="1000"/>
              </a:spcAft>
            </a:pPr>
            <a:r>
              <a:rPr lang="hu-HU" sz="3200" dirty="0" smtClean="0">
                <a:solidFill>
                  <a:srgbClr val="000000"/>
                </a:solidFill>
                <a:latin typeface="Tele-GroteskEENor" pitchFamily="2" charset="0"/>
              </a:rPr>
              <a:t>23%</a:t>
            </a:r>
            <a:r>
              <a:rPr lang="hu-HU" sz="3200" dirty="0">
                <a:solidFill>
                  <a:srgbClr val="000000"/>
                </a:solidFill>
              </a:rPr>
              <a:t> </a:t>
            </a:r>
            <a:r>
              <a:rPr lang="hu-HU" sz="3200" dirty="0" smtClean="0">
                <a:solidFill>
                  <a:srgbClr val="000000"/>
                </a:solidFill>
              </a:rPr>
              <a:t/>
            </a:r>
            <a:br>
              <a:rPr lang="hu-HU" sz="3200" dirty="0" smtClean="0">
                <a:solidFill>
                  <a:srgbClr val="000000"/>
                </a:solidFill>
              </a:rPr>
            </a:br>
            <a:r>
              <a:rPr lang="en-US" sz="1200" dirty="0" smtClean="0">
                <a:solidFill>
                  <a:srgbClr val="000000"/>
                </a:solidFill>
                <a:latin typeface="Tele-GroteskNor" pitchFamily="2" charset="0"/>
              </a:rPr>
              <a:t>IT  Degree</a:t>
            </a:r>
            <a:r>
              <a:rPr lang="hu-HU" sz="1200" dirty="0" smtClean="0">
                <a:solidFill>
                  <a:srgbClr val="000000"/>
                </a:solidFill>
                <a:latin typeface="Tele-GroteskNor" pitchFamily="2" charset="0"/>
              </a:rPr>
              <a:t/>
            </a:r>
            <a:br>
              <a:rPr lang="hu-HU" sz="1200" dirty="0" smtClean="0">
                <a:solidFill>
                  <a:srgbClr val="000000"/>
                </a:solidFill>
                <a:latin typeface="Tele-GroteskNor" pitchFamily="2" charset="0"/>
              </a:rPr>
            </a:br>
            <a:r>
              <a:rPr lang="en-US" sz="1200" dirty="0" smtClean="0">
                <a:solidFill>
                  <a:srgbClr val="000000"/>
                </a:solidFill>
                <a:latin typeface="Tele-GroteskNor" pitchFamily="2" charset="0"/>
              </a:rPr>
              <a:t>5</a:t>
            </a:r>
            <a:r>
              <a:rPr lang="en-US" sz="1200" dirty="0">
                <a:solidFill>
                  <a:srgbClr val="000000"/>
                </a:solidFill>
                <a:latin typeface="Tele-GroteskNor" pitchFamily="2" charset="0"/>
              </a:rPr>
              <a:t>% Engineer’s </a:t>
            </a:r>
            <a:r>
              <a:rPr lang="en-US" sz="1200" dirty="0" smtClean="0">
                <a:solidFill>
                  <a:srgbClr val="000000"/>
                </a:solidFill>
                <a:latin typeface="Tele-GroteskNor" pitchFamily="2" charset="0"/>
              </a:rPr>
              <a:t>Degree</a:t>
            </a:r>
            <a:r>
              <a:rPr lang="hu-HU" sz="1200" dirty="0" smtClean="0">
                <a:solidFill>
                  <a:srgbClr val="000000"/>
                </a:solidFill>
                <a:latin typeface="Tele-GroteskNor" pitchFamily="2" charset="0"/>
              </a:rPr>
              <a:t/>
            </a:r>
            <a:br>
              <a:rPr lang="hu-HU" sz="1200" dirty="0" smtClean="0">
                <a:solidFill>
                  <a:srgbClr val="000000"/>
                </a:solidFill>
                <a:latin typeface="Tele-GroteskNor" pitchFamily="2" charset="0"/>
              </a:rPr>
            </a:br>
            <a:r>
              <a:rPr lang="en-US" sz="1200" dirty="0" smtClean="0">
                <a:solidFill>
                  <a:srgbClr val="000000"/>
                </a:solidFill>
                <a:latin typeface="Tele-GroteskNor" pitchFamily="2" charset="0"/>
              </a:rPr>
              <a:t>59</a:t>
            </a:r>
            <a:r>
              <a:rPr lang="en-US" sz="1200" dirty="0">
                <a:solidFill>
                  <a:srgbClr val="000000"/>
                </a:solidFill>
                <a:latin typeface="Tele-GroteskNor" pitchFamily="2" charset="0"/>
              </a:rPr>
              <a:t>% Other </a:t>
            </a:r>
            <a:r>
              <a:rPr lang="en-US" sz="1200" dirty="0" smtClean="0">
                <a:solidFill>
                  <a:srgbClr val="000000"/>
                </a:solidFill>
                <a:latin typeface="Tele-GroteskNor" pitchFamily="2" charset="0"/>
              </a:rPr>
              <a:t>Degree</a:t>
            </a:r>
            <a:r>
              <a:rPr lang="hu-HU" sz="1200" dirty="0" smtClean="0">
                <a:solidFill>
                  <a:srgbClr val="000000"/>
                </a:solidFill>
                <a:latin typeface="Tele-GroteskNor" pitchFamily="2" charset="0"/>
              </a:rPr>
              <a:t/>
            </a:r>
            <a:br>
              <a:rPr lang="hu-HU" sz="1200" dirty="0" smtClean="0">
                <a:solidFill>
                  <a:srgbClr val="000000"/>
                </a:solidFill>
                <a:latin typeface="Tele-GroteskNor" pitchFamily="2" charset="0"/>
              </a:rPr>
            </a:br>
            <a:r>
              <a:rPr lang="en-US" sz="1200" dirty="0" smtClean="0">
                <a:solidFill>
                  <a:srgbClr val="000000"/>
                </a:solidFill>
                <a:latin typeface="Tele-GroteskNor" pitchFamily="2" charset="0"/>
              </a:rPr>
              <a:t>14</a:t>
            </a:r>
            <a:r>
              <a:rPr lang="en-US" sz="1200" dirty="0">
                <a:solidFill>
                  <a:srgbClr val="000000"/>
                </a:solidFill>
                <a:latin typeface="Tele-GroteskNor" pitchFamily="2" charset="0"/>
              </a:rPr>
              <a:t>% Secondary </a:t>
            </a:r>
            <a:r>
              <a:rPr lang="hu-HU" sz="1200" dirty="0" smtClean="0">
                <a:solidFill>
                  <a:srgbClr val="000000"/>
                </a:solidFill>
                <a:latin typeface="Tele-GroteskNor" pitchFamily="2" charset="0"/>
              </a:rPr>
              <a:t>S</a:t>
            </a:r>
            <a:r>
              <a:rPr lang="en-US" sz="1200" dirty="0" err="1" smtClean="0">
                <a:solidFill>
                  <a:srgbClr val="000000"/>
                </a:solidFill>
                <a:latin typeface="Tele-GroteskNor" pitchFamily="2" charset="0"/>
              </a:rPr>
              <a:t>chool</a:t>
            </a:r>
            <a:endParaRPr lang="en-US" sz="1200" dirty="0">
              <a:solidFill>
                <a:srgbClr val="000000"/>
              </a:solidFill>
              <a:latin typeface="Tele-GroteskNor" pitchFamily="2" charset="0"/>
            </a:endParaRPr>
          </a:p>
          <a:p>
            <a:pPr marL="0" lvl="1" defTabSz="901700" eaLnBrk="0" hangingPunct="0">
              <a:spcAft>
                <a:spcPts val="1000"/>
              </a:spcAft>
            </a:pPr>
            <a:endParaRPr lang="en-US" sz="1600" dirty="0">
              <a:solidFill>
                <a:srgbClr val="000000"/>
              </a:solidFill>
              <a:latin typeface="Tele-GroteskNor" pitchFamily="2" charset="0"/>
            </a:endParaRPr>
          </a:p>
          <a:p>
            <a:pPr marL="0" lvl="1" defTabSz="901700" eaLnBrk="0" hangingPunct="0">
              <a:spcAft>
                <a:spcPts val="1000"/>
              </a:spcAft>
            </a:pPr>
            <a:r>
              <a:rPr lang="hu-HU" sz="1600" dirty="0" smtClean="0">
                <a:solidFill>
                  <a:srgbClr val="E20074"/>
                </a:solidFill>
                <a:latin typeface="TeleGrotesk Headline Ultra" pitchFamily="2" charset="0"/>
              </a:rPr>
              <a:t>EDUCATION</a:t>
            </a:r>
            <a:endParaRPr lang="en-US" sz="1600" dirty="0">
              <a:solidFill>
                <a:srgbClr val="E20074"/>
              </a:solidFill>
              <a:latin typeface="TeleGrotesk Headline Ultra" pitchFamily="2" charset="0"/>
            </a:endParaRPr>
          </a:p>
        </p:txBody>
      </p:sp>
      <p:pic>
        <p:nvPicPr>
          <p:cNvPr id="20488" name="Grafik 2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39394" y="-4500"/>
            <a:ext cx="3782681" cy="2136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9" name="Bild 36" descr="Bildschirmfoto 2013-03-04 um 17.23.00.png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25733" y="2131558"/>
            <a:ext cx="1896342" cy="22065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90" name="Rectangle 108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978717" y="4338117"/>
            <a:ext cx="3102558" cy="10035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tIns="108000" rIns="0" bIns="46800"/>
          <a:lstStyle/>
          <a:p>
            <a:pPr marL="0" lvl="1" defTabSz="901700" eaLnBrk="0" hangingPunct="0">
              <a:lnSpc>
                <a:spcPct val="90000"/>
              </a:lnSpc>
              <a:spcAft>
                <a:spcPts val="500"/>
              </a:spcAft>
            </a:pPr>
            <a:r>
              <a:rPr lang="hu-HU" sz="1600" dirty="0" smtClean="0">
                <a:solidFill>
                  <a:schemeClr val="tx2"/>
                </a:solidFill>
                <a:latin typeface="TeleGrotesk Headline Ultra" pitchFamily="2" charset="0"/>
              </a:rPr>
              <a:t>SPOKEN LANGUAGES</a:t>
            </a:r>
            <a:endParaRPr lang="en-US" sz="1600" dirty="0">
              <a:solidFill>
                <a:srgbClr val="000000"/>
              </a:solidFill>
              <a:latin typeface="TeleGrotesk Headline Ultra" pitchFamily="2" charset="0"/>
            </a:endParaRPr>
          </a:p>
          <a:p>
            <a:pPr marL="0" lvl="1" defTabSz="901700" eaLnBrk="0" hangingPunct="0">
              <a:spcAft>
                <a:spcPts val="1000"/>
              </a:spcAft>
            </a:pPr>
            <a:r>
              <a:rPr lang="hu-HU" sz="1600" dirty="0" smtClean="0">
                <a:solidFill>
                  <a:srgbClr val="000000"/>
                </a:solidFill>
                <a:latin typeface="Tele-GroteskNor" pitchFamily="2" charset="0"/>
              </a:rPr>
              <a:t>79% </a:t>
            </a:r>
            <a:r>
              <a:rPr lang="hu-HU" sz="1600" dirty="0" err="1" smtClean="0">
                <a:solidFill>
                  <a:srgbClr val="000000"/>
                </a:solidFill>
                <a:latin typeface="Tele-GroteskNor" pitchFamily="2" charset="0"/>
              </a:rPr>
              <a:t>english</a:t>
            </a:r>
            <a:r>
              <a:rPr lang="hu-HU" sz="1600" dirty="0" smtClean="0">
                <a:solidFill>
                  <a:srgbClr val="000000"/>
                </a:solidFill>
                <a:latin typeface="Tele-GroteskNor" pitchFamily="2" charset="0"/>
              </a:rPr>
              <a:t/>
            </a:r>
            <a:br>
              <a:rPr lang="hu-HU" sz="1600" dirty="0" smtClean="0">
                <a:solidFill>
                  <a:srgbClr val="000000"/>
                </a:solidFill>
                <a:latin typeface="Tele-GroteskNor" pitchFamily="2" charset="0"/>
              </a:rPr>
            </a:br>
            <a:r>
              <a:rPr lang="hu-HU" sz="1600" dirty="0" smtClean="0">
                <a:solidFill>
                  <a:srgbClr val="000000"/>
                </a:solidFill>
                <a:latin typeface="Tele-GroteskNor" pitchFamily="2" charset="0"/>
              </a:rPr>
              <a:t>64% </a:t>
            </a:r>
            <a:r>
              <a:rPr lang="hu-HU" sz="1600" dirty="0" err="1" smtClean="0">
                <a:solidFill>
                  <a:srgbClr val="000000"/>
                </a:solidFill>
                <a:latin typeface="Tele-GroteskNor" pitchFamily="2" charset="0"/>
              </a:rPr>
              <a:t>german</a:t>
            </a:r>
            <a:r>
              <a:rPr lang="en-US" sz="1600" dirty="0">
                <a:solidFill>
                  <a:srgbClr val="000000"/>
                </a:solidFill>
                <a:latin typeface="Tele-GroteskNor" pitchFamily="2" charset="0"/>
              </a:rPr>
              <a:t/>
            </a:r>
            <a:br>
              <a:rPr lang="en-US" sz="1600" dirty="0">
                <a:solidFill>
                  <a:srgbClr val="000000"/>
                </a:solidFill>
                <a:latin typeface="Tele-GroteskNor" pitchFamily="2" charset="0"/>
              </a:rPr>
            </a:br>
            <a:r>
              <a:rPr lang="hu-HU" sz="1600" dirty="0" smtClean="0">
                <a:solidFill>
                  <a:srgbClr val="000000"/>
                </a:solidFill>
                <a:latin typeface="Tele-GroteskNor" pitchFamily="2" charset="0"/>
              </a:rPr>
              <a:t>13% </a:t>
            </a:r>
            <a:r>
              <a:rPr lang="hu-HU" sz="1600" dirty="0" err="1" smtClean="0">
                <a:solidFill>
                  <a:srgbClr val="000000"/>
                </a:solidFill>
                <a:latin typeface="Tele-GroteskNor" pitchFamily="2" charset="0"/>
              </a:rPr>
              <a:t>other</a:t>
            </a:r>
            <a:endParaRPr lang="en-US" sz="16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pic>
        <p:nvPicPr>
          <p:cNvPr id="20491" name="Picture 2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4001" y="2131559"/>
            <a:ext cx="1896342" cy="21795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92" name="Picture 4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70716" y="2131558"/>
            <a:ext cx="3768679" cy="21855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94" name="Rectangle 108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7739394" y="4326117"/>
            <a:ext cx="3782681" cy="2170559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tIns="108000" rIns="72000" bIns="0"/>
          <a:lstStyle/>
          <a:p>
            <a:pPr lvl="0" eaLnBrk="0" hangingPunct="0">
              <a:spcBef>
                <a:spcPts val="650"/>
              </a:spcBef>
              <a:buClr>
                <a:srgbClr val="FFFFFF"/>
              </a:buClr>
              <a:buSzPct val="75000"/>
            </a:pPr>
            <a:r>
              <a:rPr lang="hu-HU" sz="3200" dirty="0" smtClean="0">
                <a:solidFill>
                  <a:schemeClr val="bg1"/>
                </a:solidFill>
                <a:latin typeface="+mj-lt"/>
              </a:rPr>
              <a:t>2018</a:t>
            </a:r>
            <a:endParaRPr lang="hu-HU" sz="3200" dirty="0">
              <a:solidFill>
                <a:schemeClr val="bg1"/>
              </a:solidFill>
              <a:latin typeface="+mj-lt"/>
            </a:endParaRPr>
          </a:p>
          <a:p>
            <a:pPr lvl="0" eaLnBrk="0" hangingPunct="0">
              <a:buClr>
                <a:srgbClr val="FFFFFF"/>
              </a:buClr>
              <a:buSzPct val="75000"/>
            </a:pPr>
            <a:endParaRPr lang="hu-HU" sz="1400" dirty="0" smtClean="0">
              <a:solidFill>
                <a:schemeClr val="bg1"/>
              </a:solidFill>
              <a:cs typeface="Arial" pitchFamily="34" charset="0"/>
            </a:endParaRPr>
          </a:p>
          <a:p>
            <a:pPr lvl="0" eaLnBrk="0" hangingPunct="0">
              <a:buClr>
                <a:srgbClr val="FFFFFF"/>
              </a:buClr>
              <a:buSzPct val="75000"/>
            </a:pPr>
            <a:r>
              <a:rPr lang="en-US" sz="1400" dirty="0" smtClean="0">
                <a:solidFill>
                  <a:schemeClr val="bg1"/>
                </a:solidFill>
                <a:cs typeface="Arial" pitchFamily="34" charset="0"/>
              </a:rPr>
              <a:t>IT </a:t>
            </a:r>
            <a:r>
              <a:rPr lang="en-US" sz="1400" dirty="0">
                <a:solidFill>
                  <a:schemeClr val="bg1"/>
                </a:solidFill>
                <a:cs typeface="Arial" pitchFamily="34" charset="0"/>
              </a:rPr>
              <a:t>Services Hungary become „The Most Successful ICT Company in Hungary 2017” </a:t>
            </a:r>
            <a:r>
              <a:rPr lang="en-US" sz="1400" dirty="0" smtClean="0">
                <a:solidFill>
                  <a:schemeClr val="bg1"/>
                </a:solidFill>
                <a:cs typeface="Arial" pitchFamily="34" charset="0"/>
              </a:rPr>
              <a:t>Award</a:t>
            </a:r>
            <a:r>
              <a:rPr lang="hu-HU" sz="1400" dirty="0" smtClean="0">
                <a:solidFill>
                  <a:schemeClr val="bg1"/>
                </a:solidFill>
                <a:cs typeface="Arial" pitchFamily="34" charset="0"/>
              </a:rPr>
              <a:t>!</a:t>
            </a:r>
            <a:endParaRPr lang="en-US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0496" name="Picture 56" descr="TSY_Logo_3c_p">
            <a:hlinkClick r:id="rId15" action="ppaction://hlinksldjump"/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0" y="5997162"/>
            <a:ext cx="5496990" cy="483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pic>
        <p:nvPicPr>
          <p:cNvPr id="17" name="Grafik 1"/>
          <p:cNvPicPr>
            <a:picLocks noChangeAspect="1"/>
          </p:cNvPicPr>
          <p:nvPr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892341" y="4319434"/>
            <a:ext cx="2078376" cy="21607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108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-1" y="4309615"/>
            <a:ext cx="1892341" cy="217056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tIns="108000" rIns="72000" bIns="0"/>
          <a:lstStyle/>
          <a:p>
            <a:pPr marL="0" lvl="1" defTabSz="901700" eaLnBrk="0" hangingPunct="0">
              <a:spcAft>
                <a:spcPts val="500"/>
              </a:spcAft>
            </a:pPr>
            <a:r>
              <a:rPr lang="hu-HU" sz="3200" dirty="0">
                <a:solidFill>
                  <a:schemeClr val="bg1"/>
                </a:solidFill>
                <a:latin typeface="Tele-GroteskEEUlt" pitchFamily="2" charset="0"/>
              </a:rPr>
              <a:t>2012</a:t>
            </a:r>
            <a:endParaRPr lang="en-US" sz="3200" dirty="0">
              <a:solidFill>
                <a:schemeClr val="bg1"/>
              </a:solidFill>
              <a:latin typeface="Tele-GroteskEEUlt" pitchFamily="2" charset="0"/>
            </a:endParaRPr>
          </a:p>
          <a:p>
            <a:pPr>
              <a:lnSpc>
                <a:spcPct val="100000"/>
              </a:lnSpc>
              <a:buClr>
                <a:srgbClr val="E20074"/>
              </a:buClr>
            </a:pPr>
            <a:r>
              <a:rPr lang="en-US" sz="1600" dirty="0">
                <a:solidFill>
                  <a:schemeClr val="bg1"/>
                </a:solidFill>
                <a:latin typeface="Tele-GroteskEENor" pitchFamily="2" charset="0"/>
                <a:cs typeface="Arial" pitchFamily="34" charset="0"/>
              </a:rPr>
              <a:t>IT Services Hungary became the largest ICT employer in </a:t>
            </a:r>
            <a:r>
              <a:rPr lang="en-US" sz="1600" dirty="0" smtClean="0">
                <a:solidFill>
                  <a:schemeClr val="bg1"/>
                </a:solidFill>
                <a:latin typeface="Tele-GroteskEENor" pitchFamily="2" charset="0"/>
                <a:cs typeface="Arial" pitchFamily="34" charset="0"/>
              </a:rPr>
              <a:t>Hungary</a:t>
            </a:r>
            <a:r>
              <a:rPr lang="hu-HU" sz="1600" dirty="0" smtClean="0">
                <a:solidFill>
                  <a:schemeClr val="bg1"/>
                </a:solidFill>
                <a:latin typeface="Tele-GroteskEENor" pitchFamily="2" charset="0"/>
                <a:cs typeface="Arial" pitchFamily="34" charset="0"/>
              </a:rPr>
              <a:t>!</a:t>
            </a:r>
            <a:endParaRPr lang="en-US" sz="1600" dirty="0">
              <a:solidFill>
                <a:schemeClr val="bg1"/>
              </a:solidFill>
              <a:latin typeface="Tele-GroteskEENor" pitchFamily="2" charset="0"/>
              <a:cs typeface="Arial" pitchFamily="34" charset="0"/>
            </a:endParaRPr>
          </a:p>
        </p:txBody>
      </p:sp>
      <p:sp>
        <p:nvSpPr>
          <p:cNvPr id="1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761939" y="6007663"/>
            <a:ext cx="364066" cy="271507"/>
          </a:xfrm>
        </p:spPr>
        <p:txBody>
          <a:bodyPr/>
          <a:lstStyle/>
          <a:p>
            <a:pPr>
              <a:defRPr/>
            </a:pPr>
            <a:fld id="{2C42E853-FB2E-4C41-9A69-35DEFC1A3513}" type="slidenum">
              <a:rPr lang="en-US" smtClean="0">
                <a:solidFill>
                  <a:schemeClr val="bg1"/>
                </a:solidFill>
              </a:rPr>
              <a:pPr>
                <a:defRPr/>
              </a:pPr>
              <a:t>19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489228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>
                <a:solidFill>
                  <a:srgbClr val="4B4B4B"/>
                </a:solidFill>
              </a:rPr>
              <a:t>ITSH Company Presentation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8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0761939" y="6007663"/>
            <a:ext cx="364066" cy="271507"/>
          </a:xfrm>
        </p:spPr>
        <p:txBody>
          <a:bodyPr/>
          <a:lstStyle/>
          <a:p>
            <a:pPr>
              <a:defRPr/>
            </a:pPr>
            <a:fld id="{ECD947EA-C75C-4BD6-A5B3-2D27ECB9666E}" type="slidenum">
              <a:rPr lang="en-US" smtClean="0">
                <a:solidFill>
                  <a:srgbClr val="4B4B4B"/>
                </a:solidFill>
              </a:rPr>
              <a:pPr>
                <a:defRPr/>
              </a:pPr>
              <a:t>2</a:t>
            </a:fld>
            <a:endParaRPr lang="en-US" dirty="0">
              <a:solidFill>
                <a:srgbClr val="4B4B4B"/>
              </a:solidFill>
            </a:endParaRPr>
          </a:p>
        </p:txBody>
      </p:sp>
      <p:pic>
        <p:nvPicPr>
          <p:cNvPr id="15" name="Bildplatzhalter 4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05448" y="-16453"/>
            <a:ext cx="5216627" cy="6496629"/>
          </a:xfrm>
          <a:prstGeom prst="rect">
            <a:avLst/>
          </a:prstGeom>
        </p:spPr>
      </p:pic>
      <p:sp>
        <p:nvSpPr>
          <p:cNvPr id="17" name="Rectangle 2"/>
          <p:cNvSpPr>
            <a:spLocks noChangeArrowheads="1"/>
          </p:cNvSpPr>
          <p:nvPr/>
        </p:nvSpPr>
        <p:spPr bwMode="gray">
          <a:xfrm>
            <a:off x="376509" y="246006"/>
            <a:ext cx="10465693" cy="6806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PROJECT MANAGEMENT 1 – details &amp; Requirements</a:t>
            </a:r>
          </a:p>
        </p:txBody>
      </p:sp>
      <p:sp>
        <p:nvSpPr>
          <p:cNvPr id="8" name="Rectangle 10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76509" y="602941"/>
            <a:ext cx="8832462" cy="5035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000" tIns="36000" rIns="0" bIns="46800"/>
          <a:lstStyle/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Subject name: Project management 1</a:t>
            </a: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endParaRPr lang="en-US" sz="800" kern="0" dirty="0" smtClean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Occasion: 2 lessons per week</a:t>
            </a: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endParaRPr lang="en-US" sz="800" kern="0" dirty="0" smtClean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Credit value: 3</a:t>
            </a: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endParaRPr lang="en-US" sz="800" kern="0" dirty="0" smtClean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Date of subject: Academic year 2018-2019, Autumn semester</a:t>
            </a: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endParaRPr lang="en-US" sz="800" kern="0" dirty="0" smtClean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Type of subject: Compulsory</a:t>
            </a: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endParaRPr lang="en-US" sz="800" kern="0" dirty="0" smtClean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Faculty: Engineering and Information Technology, University of </a:t>
            </a:r>
            <a:r>
              <a:rPr lang="en-US" sz="1600" kern="0" dirty="0" err="1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Pécs</a:t>
            </a:r>
            <a: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, </a:t>
            </a:r>
            <a:b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</a:br>
            <a: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               ITSH Office</a:t>
            </a: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endParaRPr lang="en-US" sz="800" kern="0" dirty="0" smtClean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Subject responsible: Tibor Varga</a:t>
            </a: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endParaRPr lang="en-US" sz="800" kern="0" dirty="0" smtClean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Mandatory requirements:</a:t>
            </a:r>
          </a:p>
          <a:p>
            <a:pPr marL="742950" lvl="2" indent="-285750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buFont typeface="Arial" panose="020B0604020202020204" pitchFamily="34" charset="0"/>
              <a:buChar char="•"/>
              <a:defRPr/>
            </a:pPr>
            <a: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Participation in lectures </a:t>
            </a:r>
            <a:b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</a:br>
            <a: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(2 absenteeism is allowed without official excuse)</a:t>
            </a:r>
          </a:p>
          <a:p>
            <a:pPr marL="742950" lvl="2" indent="-285750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buFont typeface="Arial" panose="020B0604020202020204" pitchFamily="34" charset="0"/>
              <a:buChar char="•"/>
              <a:defRPr/>
            </a:pPr>
            <a: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Higher than 50% success rate on the exam</a:t>
            </a:r>
          </a:p>
          <a:p>
            <a:pPr marL="742950" lvl="2" indent="-285750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buFont typeface="Arial" panose="020B0604020202020204" pitchFamily="34" charset="0"/>
              <a:buChar char="•"/>
              <a:defRPr/>
            </a:pPr>
            <a:endParaRPr lang="en-US" sz="800" kern="0" dirty="0" smtClean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Course Requirement: Exam (written)</a:t>
            </a: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endParaRPr lang="en-US" sz="800" kern="0" dirty="0" smtClean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Lecture notes: presenter’s slide deck</a:t>
            </a: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endParaRPr lang="en-US" sz="1600" kern="0" dirty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783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>
                <a:solidFill>
                  <a:schemeClr val="bg1"/>
                </a:solidFill>
              </a:rPr>
              <a:t>28/10/2016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932938" y="6007663"/>
            <a:ext cx="364066" cy="271507"/>
          </a:xfrm>
        </p:spPr>
        <p:txBody>
          <a:bodyPr/>
          <a:lstStyle/>
          <a:p>
            <a:pPr>
              <a:defRPr/>
            </a:pPr>
            <a:fld id="{2C42E853-FB2E-4C41-9A69-35DEFC1A3513}" type="slidenum">
              <a:rPr lang="en-US" smtClean="0">
                <a:solidFill>
                  <a:schemeClr val="bg1"/>
                </a:solidFill>
              </a:rPr>
              <a:pPr>
                <a:defRPr/>
              </a:pPr>
              <a:t>20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4" name="Rectangle 10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07669" y="2219478"/>
            <a:ext cx="5445919" cy="2993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000" tIns="180000" rIns="108000" bIns="36000"/>
          <a:lstStyle/>
          <a:p>
            <a:pPr indent="-457200" defTabSz="901700" eaLnBrk="0" fontAlgn="base" hangingPunct="0">
              <a:spcBef>
                <a:spcPts val="425"/>
              </a:spcBef>
              <a:spcAft>
                <a:spcPts val="425"/>
              </a:spcAft>
              <a:buClr>
                <a:srgbClr val="E20074"/>
              </a:buClr>
              <a:buSzPct val="75000"/>
            </a:pPr>
            <a:endParaRPr lang="en-GB" sz="1600" dirty="0">
              <a:solidFill>
                <a:srgbClr val="FFFFFF"/>
              </a:solidFill>
              <a:latin typeface="Tele-GroteskEENor" pitchFamily="2" charset="0"/>
              <a:ea typeface="MS PGothic" pitchFamily="34" charset="-128"/>
              <a:cs typeface="Arial" charset="0"/>
            </a:endParaRPr>
          </a:p>
        </p:txBody>
      </p:sp>
      <p:pic>
        <p:nvPicPr>
          <p:cNvPr id="51" name="Picture 5" descr="C:\Users\vkuntoma\Downloads\ITSH_IMDay_Szorolap_Map_HUN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contrast="2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5462" y="649129"/>
            <a:ext cx="11095330" cy="5312594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  <a:effectLst/>
          <a:extLst/>
        </p:spPr>
      </p:pic>
      <p:grpSp>
        <p:nvGrpSpPr>
          <p:cNvPr id="6" name="Group 5"/>
          <p:cNvGrpSpPr/>
          <p:nvPr/>
        </p:nvGrpSpPr>
        <p:grpSpPr>
          <a:xfrm>
            <a:off x="7212799" y="2745335"/>
            <a:ext cx="4083079" cy="2918070"/>
            <a:chOff x="6084167" y="3116949"/>
            <a:chExt cx="2571824" cy="2629680"/>
          </a:xfrm>
        </p:grpSpPr>
        <p:sp>
          <p:nvSpPr>
            <p:cNvPr id="19" name="Inhaltsplatzhalter 6"/>
            <p:cNvSpPr txBox="1">
              <a:spLocks/>
            </p:cNvSpPr>
            <p:nvPr/>
          </p:nvSpPr>
          <p:spPr bwMode="gray">
            <a:xfrm>
              <a:off x="6084167" y="3140968"/>
              <a:ext cx="2571823" cy="2605661"/>
            </a:xfrm>
            <a:prstGeom prst="rect">
              <a:avLst/>
            </a:prstGeom>
            <a:solidFill>
              <a:schemeClr val="bg1">
                <a:alpha val="55000"/>
              </a:schemeClr>
            </a:solidFill>
            <a:ln w="19050">
              <a:solidFill>
                <a:srgbClr val="53BAF2"/>
              </a:solidFill>
              <a:miter lim="800000"/>
              <a:headEnd/>
              <a:tailEnd/>
            </a:ln>
          </p:spPr>
          <p:txBody>
            <a:bodyPr vert="horz" wrap="square" lIns="108000" tIns="72000" rIns="72000" bIns="72000" numCol="1" anchor="t" anchorCtr="0" compatLnSpc="1">
              <a:prstTxWarp prst="textNoShape">
                <a:avLst/>
              </a:prstTxWarp>
            </a:bodyPr>
            <a:lstStyle>
              <a:lvl1pPr algn="l" defTabSz="576226" rtl="0" eaLnBrk="1" fontAlgn="base" hangingPunct="1">
                <a:lnSpc>
                  <a:spcPct val="104000"/>
                </a:lnSpc>
                <a:spcBef>
                  <a:spcPts val="1200"/>
                </a:spcBef>
                <a:spcAft>
                  <a:spcPct val="0"/>
                </a:spcAft>
                <a:buClr>
                  <a:schemeClr val="tx2"/>
                </a:buClr>
                <a:buFont typeface="Wingdings" pitchFamily="2" charset="2"/>
                <a:defRPr sz="1800" kern="1200">
                  <a:solidFill>
                    <a:srgbClr val="4B4B4B"/>
                  </a:solidFill>
                  <a:latin typeface="Tele-GroteskFet" pitchFamily="2" charset="0"/>
                  <a:ea typeface="+mn-ea"/>
                  <a:cs typeface="+mn-cs"/>
                </a:defRPr>
              </a:lvl1pPr>
              <a:lvl2pPr marL="1588" algn="l" defTabSz="576226" rtl="0" eaLnBrk="1" fontAlgn="base" hangingPunct="1">
                <a:lnSpc>
                  <a:spcPct val="104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2"/>
                </a:buClr>
                <a:buFont typeface="Wingdings" pitchFamily="2" charset="2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2pPr>
              <a:lvl3pPr marL="225410" indent="-220649" algn="l" defTabSz="576226" rtl="0" eaLnBrk="1" fontAlgn="base" hangingPunct="1">
                <a:lnSpc>
                  <a:spcPct val="104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3pPr>
              <a:lvl4pPr marL="444471" indent="-215886" algn="l" defTabSz="576226" rtl="0" eaLnBrk="1" fontAlgn="base" hangingPunct="1">
                <a:lnSpc>
                  <a:spcPct val="104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4pPr>
              <a:lvl5pPr marL="677820" indent="-231761" algn="l" defTabSz="576226" rtl="0" eaLnBrk="1" fontAlgn="base" hangingPunct="1">
                <a:lnSpc>
                  <a:spcPct val="104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5pPr>
              <a:lvl6pPr marL="2514440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09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780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951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588" marR="0" lvl="1" indent="0" algn="l" defTabSz="576226" rtl="0" eaLnBrk="1" fontAlgn="base" latinLnBrk="0" hangingPunct="1">
                <a:lnSpc>
                  <a:spcPct val="104000"/>
                </a:lnSpc>
                <a:spcBef>
                  <a:spcPts val="300"/>
                </a:spcBef>
                <a:spcAft>
                  <a:spcPct val="0"/>
                </a:spcAft>
                <a:buClr>
                  <a:srgbClr val="E20074"/>
                </a:buClr>
                <a:buSzTx/>
                <a:buFont typeface="Wingdings" pitchFamily="2" charset="2"/>
                <a:buNone/>
                <a:tabLst/>
                <a:defRPr/>
              </a:pPr>
              <a:endParaRPr kumimoji="0" lang="en-GB" sz="13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-GroteskNor"/>
              </a:endParaRPr>
            </a:p>
            <a:p>
              <a:pPr marL="0" lvl="2" indent="0">
                <a:buClr>
                  <a:srgbClr val="4B4B4B"/>
                </a:buClr>
                <a:buNone/>
              </a:pPr>
              <a:r>
                <a:rPr lang="en-US" sz="1350" dirty="0">
                  <a:latin typeface="Tele-GroteskFet" pitchFamily="2" charset="0"/>
                </a:rPr>
                <a:t>The cooperation between the </a:t>
              </a:r>
              <a:br>
                <a:rPr lang="en-US" sz="1350" dirty="0">
                  <a:latin typeface="Tele-GroteskFet" pitchFamily="2" charset="0"/>
                </a:rPr>
              </a:br>
              <a:r>
                <a:rPr lang="en-US" sz="1350" dirty="0">
                  <a:latin typeface="Tele-GroteskFet" pitchFamily="2" charset="0"/>
                </a:rPr>
                <a:t>University of Debrecen and ITSH has resulted in:</a:t>
              </a:r>
            </a:p>
            <a:p>
              <a:pPr marL="272160" lvl="2" indent="-272160">
                <a:buClr>
                  <a:srgbClr val="4B4B4B"/>
                </a:buClr>
              </a:pPr>
              <a:r>
                <a:rPr lang="en-US" sz="1350" dirty="0"/>
                <a:t>The establishment of the Affiliated Department of ICT Systems Operation</a:t>
              </a:r>
            </a:p>
            <a:p>
              <a:pPr marL="272160" lvl="2" indent="-272160">
                <a:buClr>
                  <a:srgbClr val="4B4B4B"/>
                </a:buClr>
              </a:pPr>
              <a:r>
                <a:rPr lang="en-US" sz="1350" dirty="0"/>
                <a:t>The Faculty of Informatics offering operating systems and networks specializations for university students regardless of their majors </a:t>
              </a:r>
            </a:p>
            <a:p>
              <a:pPr marL="272160" lvl="2" indent="-272160">
                <a:buClr>
                  <a:srgbClr val="4B4B4B"/>
                </a:buClr>
              </a:pPr>
              <a:r>
                <a:rPr lang="en-US" sz="1350" dirty="0"/>
                <a:t>The </a:t>
              </a:r>
              <a:r>
                <a:rPr lang="en-US" sz="1350" dirty="0" err="1"/>
                <a:t>Germanistic</a:t>
              </a:r>
              <a:r>
                <a:rPr lang="en-US" sz="1350" dirty="0"/>
                <a:t> Faculty offering a dedicated IT specialization</a:t>
              </a:r>
            </a:p>
            <a:p>
              <a:pPr marL="272160" lvl="2" indent="-272160">
                <a:buClr>
                  <a:srgbClr val="4B4B4B"/>
                </a:buClr>
              </a:pPr>
              <a:r>
                <a:rPr lang="en-US" sz="1350" dirty="0"/>
                <a:t>Scholarship and award </a:t>
              </a:r>
              <a:r>
                <a:rPr lang="en-US" sz="1350" dirty="0" smtClean="0"/>
                <a:t>programs</a:t>
              </a:r>
              <a:r>
                <a:rPr lang="hu-HU" sz="1350" dirty="0" smtClean="0"/>
                <a:t>.</a:t>
              </a:r>
              <a:endParaRPr lang="en-US" sz="1350" dirty="0"/>
            </a:p>
          </p:txBody>
        </p:sp>
        <p:sp>
          <p:nvSpPr>
            <p:cNvPr id="21" name="Rectangle 20"/>
            <p:cNvSpPr/>
            <p:nvPr/>
          </p:nvSpPr>
          <p:spPr bwMode="gray">
            <a:xfrm>
              <a:off x="6084168" y="3116949"/>
              <a:ext cx="2571823" cy="293278"/>
            </a:xfrm>
            <a:prstGeom prst="rect">
              <a:avLst/>
            </a:prstGeom>
            <a:solidFill>
              <a:srgbClr val="53BAF2"/>
            </a:solidFill>
            <a:ln w="19050" algn="ctr">
              <a:solidFill>
                <a:srgbClr val="53BAF2"/>
              </a:solidFill>
              <a:miter lim="800000"/>
              <a:headEnd/>
              <a:tailEnd/>
            </a:ln>
            <a:effectLst/>
          </p:spPr>
          <p:txBody>
            <a:bodyPr wrap="square" lIns="85709" tIns="85709" rIns="85709" bIns="85709" rtlCol="0" anchor="ctr" anchorCtr="0">
              <a:spAutoFit/>
            </a:bodyPr>
            <a:lstStyle/>
            <a:p>
              <a:pPr marL="0" marR="0" lvl="0" indent="0" algn="ctr" defTabSz="362908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Pct val="75000"/>
                <a:buFontTx/>
                <a:buNone/>
                <a:tabLst/>
                <a:defRPr/>
              </a:pPr>
              <a:r>
                <a:rPr kumimoji="0" lang="en-GB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eleGrotesk Headline Ultra" pitchFamily="2" charset="0"/>
                  <a:cs typeface="Arial Unicode MS" panose="020B0604020202020204" pitchFamily="34" charset="-128"/>
                </a:rPr>
                <a:t>University of Debrecen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374860" y="1575352"/>
            <a:ext cx="3208536" cy="2747986"/>
            <a:chOff x="398560" y="1383331"/>
            <a:chExt cx="3168305" cy="3035944"/>
          </a:xfrm>
        </p:grpSpPr>
        <p:sp>
          <p:nvSpPr>
            <p:cNvPr id="22" name="Inhaltsplatzhalter 6"/>
            <p:cNvSpPr txBox="1">
              <a:spLocks/>
            </p:cNvSpPr>
            <p:nvPr/>
          </p:nvSpPr>
          <p:spPr bwMode="gray">
            <a:xfrm>
              <a:off x="398560" y="1412776"/>
              <a:ext cx="3168303" cy="3006499"/>
            </a:xfrm>
            <a:prstGeom prst="rect">
              <a:avLst/>
            </a:prstGeom>
            <a:solidFill>
              <a:schemeClr val="bg1">
                <a:alpha val="55000"/>
              </a:schemeClr>
            </a:solidFill>
            <a:ln w="19050">
              <a:solidFill>
                <a:srgbClr val="1BADB6"/>
              </a:solidFill>
              <a:miter lim="800000"/>
              <a:headEnd/>
              <a:tailEnd/>
            </a:ln>
          </p:spPr>
          <p:txBody>
            <a:bodyPr vert="horz" wrap="square" lIns="108000" tIns="72000" rIns="72000" bIns="72000" numCol="1" anchor="t" anchorCtr="0" compatLnSpc="1">
              <a:prstTxWarp prst="textNoShape">
                <a:avLst/>
              </a:prstTxWarp>
            </a:bodyPr>
            <a:lstStyle>
              <a:lvl1pPr algn="l" defTabSz="576226" rtl="0" eaLnBrk="1" fontAlgn="base" hangingPunct="1">
                <a:lnSpc>
                  <a:spcPct val="104000"/>
                </a:lnSpc>
                <a:spcBef>
                  <a:spcPts val="1200"/>
                </a:spcBef>
                <a:spcAft>
                  <a:spcPct val="0"/>
                </a:spcAft>
                <a:buClr>
                  <a:schemeClr val="tx2"/>
                </a:buClr>
                <a:buFont typeface="Wingdings" pitchFamily="2" charset="2"/>
                <a:defRPr sz="1800" kern="1200">
                  <a:solidFill>
                    <a:srgbClr val="4B4B4B"/>
                  </a:solidFill>
                  <a:latin typeface="Tele-GroteskFet" pitchFamily="2" charset="0"/>
                  <a:ea typeface="+mn-ea"/>
                  <a:cs typeface="+mn-cs"/>
                </a:defRPr>
              </a:lvl1pPr>
              <a:lvl2pPr marL="1588" algn="l" defTabSz="576226" rtl="0" eaLnBrk="1" fontAlgn="base" hangingPunct="1">
                <a:lnSpc>
                  <a:spcPct val="104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2"/>
                </a:buClr>
                <a:buFont typeface="Wingdings" pitchFamily="2" charset="2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2pPr>
              <a:lvl3pPr marL="225410" indent="-220649" algn="l" defTabSz="576226" rtl="0" eaLnBrk="1" fontAlgn="base" hangingPunct="1">
                <a:lnSpc>
                  <a:spcPct val="104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3pPr>
              <a:lvl4pPr marL="444471" indent="-215886" algn="l" defTabSz="576226" rtl="0" eaLnBrk="1" fontAlgn="base" hangingPunct="1">
                <a:lnSpc>
                  <a:spcPct val="104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4pPr>
              <a:lvl5pPr marL="677820" indent="-231761" algn="l" defTabSz="576226" rtl="0" eaLnBrk="1" fontAlgn="base" hangingPunct="1">
                <a:lnSpc>
                  <a:spcPct val="104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5pPr>
              <a:lvl6pPr marL="2514440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09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780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951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2" indent="0">
                <a:buClr>
                  <a:srgbClr val="4B4B4B"/>
                </a:buClr>
                <a:buNone/>
              </a:pPr>
              <a:endParaRPr lang="en-GB" sz="1500" dirty="0" smtClean="0">
                <a:latin typeface="Tele-GroteskNor"/>
              </a:endParaRPr>
            </a:p>
            <a:p>
              <a:pPr marL="0" lvl="2" indent="0">
                <a:buClr>
                  <a:srgbClr val="4B4B4B"/>
                </a:buClr>
                <a:buNone/>
              </a:pPr>
              <a:r>
                <a:rPr lang="en-US" sz="1500" dirty="0">
                  <a:latin typeface="Tele-GroteskFet" pitchFamily="2" charset="0"/>
                </a:rPr>
                <a:t>As a result of a long-term agreement, </a:t>
              </a:r>
              <a:r>
                <a:rPr lang="en-US" sz="1500" dirty="0" smtClean="0">
                  <a:latin typeface="Tele-GroteskFet" pitchFamily="2" charset="0"/>
                </a:rPr>
                <a:t>the </a:t>
              </a:r>
              <a:r>
                <a:rPr lang="en-US" sz="1500" dirty="0">
                  <a:latin typeface="Tele-GroteskFet" pitchFamily="2" charset="0"/>
                </a:rPr>
                <a:t>University of </a:t>
              </a:r>
              <a:r>
                <a:rPr lang="en-US" sz="1500" dirty="0" err="1">
                  <a:latin typeface="Tele-GroteskFet" pitchFamily="2" charset="0"/>
                </a:rPr>
                <a:t>Pécs</a:t>
              </a:r>
              <a:r>
                <a:rPr lang="en-US" sz="1500" dirty="0">
                  <a:latin typeface="Tele-GroteskFet" pitchFamily="2" charset="0"/>
                </a:rPr>
                <a:t> offers:</a:t>
              </a:r>
            </a:p>
            <a:p>
              <a:pPr marL="272160" lvl="2" indent="-272160">
                <a:buClr>
                  <a:srgbClr val="4B4B4B"/>
                </a:buClr>
              </a:pPr>
              <a:r>
                <a:rPr lang="en-US" sz="1500" dirty="0"/>
                <a:t>PM, OTC, ITIL, Network courses under the Affiliated </a:t>
              </a:r>
              <a:r>
                <a:rPr lang="en-US" sz="1500" dirty="0" smtClean="0"/>
                <a:t>ITSH</a:t>
              </a:r>
              <a:endParaRPr lang="en-US" sz="1500" dirty="0"/>
            </a:p>
            <a:p>
              <a:pPr marL="0" lvl="2" indent="0">
                <a:buClr>
                  <a:srgbClr val="4B4B4B"/>
                </a:buClr>
                <a:buNone/>
              </a:pPr>
              <a:r>
                <a:rPr lang="en-US" sz="1500" dirty="0"/>
                <a:t>Department since autumn 2016 </a:t>
              </a:r>
            </a:p>
            <a:p>
              <a:pPr marL="272160" lvl="2" indent="-272160">
                <a:buClr>
                  <a:srgbClr val="4B4B4B"/>
                </a:buClr>
              </a:pPr>
              <a:r>
                <a:rPr lang="en-US" sz="1500" dirty="0"/>
                <a:t>Dual education program with ITSH and the IT department </a:t>
              </a:r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398562" y="1383331"/>
              <a:ext cx="3168303" cy="359544"/>
            </a:xfrm>
            <a:prstGeom prst="rect">
              <a:avLst/>
            </a:prstGeom>
            <a:solidFill>
              <a:srgbClr val="1BADB6"/>
            </a:solidFill>
            <a:ln w="19050" algn="ctr">
              <a:solidFill>
                <a:srgbClr val="1BADB6"/>
              </a:solidFill>
              <a:miter lim="800000"/>
              <a:headEnd/>
              <a:tailEnd/>
            </a:ln>
            <a:effectLst/>
          </p:spPr>
          <p:txBody>
            <a:bodyPr wrap="square" lIns="85709" tIns="85709" rIns="85709" bIns="85709" rtlCol="0" anchor="ctr" anchorCtr="0">
              <a:spAutoFit/>
            </a:bodyPr>
            <a:lstStyle/>
            <a:p>
              <a:pPr marL="0" marR="0" lvl="0" indent="0" algn="ctr" defTabSz="362908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Pct val="75000"/>
                <a:buFontTx/>
                <a:buNone/>
                <a:tabLst/>
                <a:defRPr/>
              </a:pPr>
              <a:r>
                <a:rPr kumimoji="0" lang="hu-H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eleGrotesk Headline Ultra" pitchFamily="2" charset="0"/>
                  <a:cs typeface="Arial Unicode MS" panose="020B0604020202020204" pitchFamily="34" charset="-128"/>
                </a:rPr>
                <a:t>University of </a:t>
              </a:r>
              <a:r>
                <a:rPr kumimoji="0" lang="en-GB" sz="1100" b="0" i="0" u="none" strike="noStrike" kern="0" cap="none" spc="0" normalizeH="0" baseline="0" dirty="0" err="1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eleGrotesk Headline Ultra" pitchFamily="2" charset="0"/>
                  <a:cs typeface="Arial Unicode MS" panose="020B0604020202020204" pitchFamily="34" charset="-128"/>
                </a:rPr>
                <a:t>pécs</a:t>
              </a:r>
              <a:endParaRPr kumimoji="0" lang="en-GB" sz="1100" b="0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Grotesk Headline Ultra" pitchFamily="2" charset="0"/>
                <a:cs typeface="Arial Unicode MS" panose="020B0604020202020204" pitchFamily="34" charset="-128"/>
              </a:endParaRPr>
            </a:p>
          </p:txBody>
        </p:sp>
      </p:grpSp>
      <p:sp>
        <p:nvSpPr>
          <p:cNvPr id="7170" name="Title 1"/>
          <p:cNvSpPr>
            <a:spLocks noGrp="1"/>
          </p:cNvSpPr>
          <p:nvPr>
            <p:ph type="title"/>
          </p:nvPr>
        </p:nvSpPr>
        <p:spPr>
          <a:xfrm>
            <a:off x="376509" y="244920"/>
            <a:ext cx="4930853" cy="749818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defTabSz="914400"/>
            <a:r>
              <a:rPr lang="en-US" altLang="hu-HU" sz="2800" cap="all" dirty="0" smtClean="0">
                <a:latin typeface="+mj-lt"/>
                <a:ea typeface="+mn-ea"/>
                <a:cs typeface="+mn-cs"/>
              </a:rPr>
              <a:t>ITSH LOCATIONS</a:t>
            </a:r>
            <a:r>
              <a:rPr lang="en-US" altLang="hu-HU" sz="2800" cap="all" dirty="0" smtClean="0">
                <a:latin typeface="Tele-GroteskEEUlt" pitchFamily="2" charset="0"/>
                <a:ea typeface="+mn-ea"/>
                <a:cs typeface="+mn-cs"/>
              </a:rPr>
              <a:t/>
            </a:r>
            <a:br>
              <a:rPr lang="en-US" altLang="hu-HU" sz="2800" cap="all" dirty="0" smtClean="0">
                <a:latin typeface="Tele-GroteskEEUlt" pitchFamily="2" charset="0"/>
                <a:ea typeface="+mn-ea"/>
                <a:cs typeface="+mn-cs"/>
              </a:rPr>
            </a:br>
            <a:r>
              <a:rPr lang="en-US" altLang="hu-HU" sz="2800" cap="all" dirty="0" smtClean="0">
                <a:latin typeface="+mn-lt"/>
              </a:rPr>
              <a:t>UNIVERSITY Partnerships</a:t>
            </a:r>
            <a:endParaRPr lang="en-US" altLang="hu-HU" sz="2800" cap="all" dirty="0">
              <a:latin typeface="+mn-lt"/>
              <a:ea typeface="+mn-ea"/>
              <a:cs typeface="+mn-cs"/>
            </a:endParaRP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12051" y="4137215"/>
            <a:ext cx="1682084" cy="1186494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78144" y="1546630"/>
            <a:ext cx="1682084" cy="1180735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75885" y="4323802"/>
            <a:ext cx="841042" cy="590368"/>
          </a:xfrm>
          <a:prstGeom prst="rect">
            <a:avLst/>
          </a:prstGeom>
        </p:spPr>
      </p:pic>
      <p:sp>
        <p:nvSpPr>
          <p:cNvPr id="31" name="Slide Number Placeholder 8"/>
          <p:cNvSpPr txBox="1">
            <a:spLocks/>
          </p:cNvSpPr>
          <p:nvPr/>
        </p:nvSpPr>
        <p:spPr bwMode="gray">
          <a:xfrm>
            <a:off x="10761939" y="6007663"/>
            <a:ext cx="364066" cy="27150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hu-HU"/>
            </a:defPPr>
            <a:lvl1pPr marL="0" algn="r" defTabSz="914400" rtl="0" eaLnBrk="1" latinLnBrk="0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900" kern="1200">
                <a:solidFill>
                  <a:schemeClr val="tx1"/>
                </a:solidFill>
                <a:latin typeface="Tele-GroteskNor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ECD947EA-C75C-4BD6-A5B3-2D27ECB9666E}" type="slidenum">
              <a:rPr lang="en-US" smtClean="0">
                <a:solidFill>
                  <a:srgbClr val="4B4B4B"/>
                </a:solidFill>
              </a:rPr>
              <a:pPr>
                <a:defRPr/>
              </a:pPr>
              <a:t>20</a:t>
            </a:fld>
            <a:endParaRPr lang="en-US" dirty="0">
              <a:solidFill>
                <a:srgbClr val="4B4B4B"/>
              </a:solidFill>
            </a:endParaRPr>
          </a:p>
        </p:txBody>
      </p:sp>
      <p:grpSp>
        <p:nvGrpSpPr>
          <p:cNvPr id="33" name="Group 32"/>
          <p:cNvGrpSpPr/>
          <p:nvPr/>
        </p:nvGrpSpPr>
        <p:grpSpPr>
          <a:xfrm>
            <a:off x="3934395" y="1375824"/>
            <a:ext cx="3208536" cy="2747986"/>
            <a:chOff x="398560" y="1383331"/>
            <a:chExt cx="3168305" cy="3035944"/>
          </a:xfrm>
        </p:grpSpPr>
        <p:sp>
          <p:nvSpPr>
            <p:cNvPr id="37" name="Inhaltsplatzhalter 6"/>
            <p:cNvSpPr txBox="1">
              <a:spLocks/>
            </p:cNvSpPr>
            <p:nvPr/>
          </p:nvSpPr>
          <p:spPr bwMode="gray">
            <a:xfrm>
              <a:off x="398560" y="1412776"/>
              <a:ext cx="3168303" cy="3006499"/>
            </a:xfrm>
            <a:prstGeom prst="rect">
              <a:avLst/>
            </a:prstGeom>
            <a:solidFill>
              <a:schemeClr val="bg1">
                <a:alpha val="55000"/>
              </a:schemeClr>
            </a:solidFill>
            <a:ln w="19050">
              <a:solidFill>
                <a:srgbClr val="FFD329"/>
              </a:solidFill>
              <a:miter lim="800000"/>
              <a:headEnd/>
              <a:tailEnd/>
            </a:ln>
          </p:spPr>
          <p:txBody>
            <a:bodyPr vert="horz" wrap="square" lIns="108000" tIns="72000" rIns="72000" bIns="72000" numCol="1" anchor="t" anchorCtr="0" compatLnSpc="1">
              <a:prstTxWarp prst="textNoShape">
                <a:avLst/>
              </a:prstTxWarp>
            </a:bodyPr>
            <a:lstStyle>
              <a:lvl1pPr algn="l" defTabSz="576226" rtl="0" eaLnBrk="1" fontAlgn="base" hangingPunct="1">
                <a:lnSpc>
                  <a:spcPct val="104000"/>
                </a:lnSpc>
                <a:spcBef>
                  <a:spcPts val="1200"/>
                </a:spcBef>
                <a:spcAft>
                  <a:spcPct val="0"/>
                </a:spcAft>
                <a:buClr>
                  <a:schemeClr val="tx2"/>
                </a:buClr>
                <a:buFont typeface="Wingdings" pitchFamily="2" charset="2"/>
                <a:defRPr sz="1800" kern="1200">
                  <a:solidFill>
                    <a:srgbClr val="4B4B4B"/>
                  </a:solidFill>
                  <a:latin typeface="Tele-GroteskFet" pitchFamily="2" charset="0"/>
                  <a:ea typeface="+mn-ea"/>
                  <a:cs typeface="+mn-cs"/>
                </a:defRPr>
              </a:lvl1pPr>
              <a:lvl2pPr marL="1588" algn="l" defTabSz="576226" rtl="0" eaLnBrk="1" fontAlgn="base" hangingPunct="1">
                <a:lnSpc>
                  <a:spcPct val="104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2"/>
                </a:buClr>
                <a:buFont typeface="Wingdings" pitchFamily="2" charset="2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2pPr>
              <a:lvl3pPr marL="225410" indent="-220649" algn="l" defTabSz="576226" rtl="0" eaLnBrk="1" fontAlgn="base" hangingPunct="1">
                <a:lnSpc>
                  <a:spcPct val="104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3pPr>
              <a:lvl4pPr marL="444471" indent="-215886" algn="l" defTabSz="576226" rtl="0" eaLnBrk="1" fontAlgn="base" hangingPunct="1">
                <a:lnSpc>
                  <a:spcPct val="104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4pPr>
              <a:lvl5pPr marL="677820" indent="-231761" algn="l" defTabSz="576226" rtl="0" eaLnBrk="1" fontAlgn="base" hangingPunct="1">
                <a:lnSpc>
                  <a:spcPct val="104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5pPr>
              <a:lvl6pPr marL="2514440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09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780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951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>
                <a:buClr>
                  <a:srgbClr val="E20074"/>
                </a:buClr>
                <a:defRPr/>
              </a:pPr>
              <a:r>
                <a:rPr lang="en-US" sz="1500" dirty="0"/>
                <a:t>Due  to recent growth of Szeged </a:t>
              </a:r>
              <a:endParaRPr lang="en-GB" sz="1500" dirty="0"/>
            </a:p>
            <a:p>
              <a:pPr marL="0" lvl="2" indent="0">
                <a:buClr>
                  <a:srgbClr val="4B4B4B"/>
                </a:buClr>
                <a:buNone/>
              </a:pPr>
              <a:r>
                <a:rPr lang="en-US" sz="1500" dirty="0"/>
                <a:t>Due  to recent growth of Szeged site, a cooperation agreement </a:t>
              </a:r>
              <a:r>
                <a:rPr lang="hu-HU" sz="1500" dirty="0"/>
                <a:t> </a:t>
              </a:r>
              <a:r>
                <a:rPr lang="en-US" sz="1500" dirty="0"/>
                <a:t>has been closed with </a:t>
              </a:r>
              <a:r>
                <a:rPr lang="en-US" sz="1500" dirty="0" smtClean="0"/>
                <a:t>Szeged</a:t>
              </a:r>
              <a:r>
                <a:rPr lang="hu-HU" sz="1500" dirty="0" smtClean="0"/>
                <a:t> </a:t>
              </a:r>
              <a:r>
                <a:rPr lang="en-US" sz="1500" dirty="0" smtClean="0"/>
                <a:t>University</a:t>
              </a:r>
              <a:r>
                <a:rPr lang="en-US" sz="1500" dirty="0"/>
                <a:t>, where the Faculty of Informatics and </a:t>
              </a:r>
              <a:r>
                <a:rPr lang="en-US" sz="1500" dirty="0" err="1"/>
                <a:t>Germanistics</a:t>
              </a:r>
              <a:r>
                <a:rPr lang="en-US" sz="1500" dirty="0"/>
                <a:t> will jointly establish and run an IT Specialization program  for last year students of the</a:t>
              </a:r>
              <a:r>
                <a:rPr lang="hu-HU" sz="1500" dirty="0"/>
                <a:t> </a:t>
              </a:r>
              <a:r>
                <a:rPr lang="en-US" sz="1500" dirty="0" err="1"/>
                <a:t>Germanistic</a:t>
              </a:r>
              <a:r>
                <a:rPr lang="en-US" sz="1500" dirty="0"/>
                <a:t> </a:t>
              </a:r>
              <a:r>
                <a:rPr lang="en-US" sz="1500" dirty="0" smtClean="0"/>
                <a:t>Faculty</a:t>
              </a:r>
              <a:r>
                <a:rPr lang="hu-HU" sz="1500" dirty="0" smtClean="0"/>
                <a:t>.</a:t>
              </a:r>
              <a:endParaRPr lang="en-GB" sz="1500" dirty="0"/>
            </a:p>
          </p:txBody>
        </p:sp>
        <p:sp>
          <p:nvSpPr>
            <p:cNvPr id="39" name="Rectangle 38"/>
            <p:cNvSpPr/>
            <p:nvPr/>
          </p:nvSpPr>
          <p:spPr bwMode="gray">
            <a:xfrm>
              <a:off x="398562" y="1383331"/>
              <a:ext cx="3168303" cy="359544"/>
            </a:xfrm>
            <a:prstGeom prst="rect">
              <a:avLst/>
            </a:prstGeom>
            <a:solidFill>
              <a:srgbClr val="FFD329"/>
            </a:solidFill>
            <a:ln w="19050" algn="ctr">
              <a:solidFill>
                <a:srgbClr val="FFD329"/>
              </a:solidFill>
              <a:miter lim="800000"/>
              <a:headEnd/>
              <a:tailEnd/>
            </a:ln>
            <a:effectLst/>
          </p:spPr>
          <p:txBody>
            <a:bodyPr wrap="square" lIns="85709" tIns="85709" rIns="85709" bIns="85709" rtlCol="0" anchor="ctr" anchorCtr="0">
              <a:spAutoFit/>
            </a:bodyPr>
            <a:lstStyle/>
            <a:p>
              <a:pPr marL="0" marR="0" lvl="0" indent="0" algn="ctr" defTabSz="362908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Pct val="75000"/>
                <a:buFontTx/>
                <a:buNone/>
                <a:tabLst/>
                <a:defRPr/>
              </a:pPr>
              <a:r>
                <a:rPr kumimoji="0" lang="hu-H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eleGrotesk Headline Ultra" pitchFamily="2" charset="0"/>
                  <a:cs typeface="Arial Unicode MS" panose="020B0604020202020204" pitchFamily="34" charset="-128"/>
                </a:rPr>
                <a:t>University of </a:t>
              </a:r>
              <a:r>
                <a:rPr kumimoji="0" lang="hu-HU" sz="1100" b="0" i="0" u="none" strike="noStrike" kern="0" cap="none" spc="0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eleGrotesk Headline Ultra" pitchFamily="2" charset="0"/>
                  <a:cs typeface="Arial Unicode MS" panose="020B0604020202020204" pitchFamily="34" charset="-128"/>
                </a:rPr>
                <a:t>SZEGED</a:t>
              </a:r>
              <a:endParaRPr kumimoji="0" lang="en-GB" sz="1100" b="0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Grotesk Headline Ultra" pitchFamily="2" charset="0"/>
                <a:cs typeface="Arial Unicode MS" panose="020B060402020202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60748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gray">
          <a:xfrm>
            <a:off x="190501" y="800594"/>
            <a:ext cx="11182350" cy="5154844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65304" tIns="0" rIns="65304" bIns="32652" rtlCol="0" anchor="ctr"/>
          <a:lstStyle/>
          <a:p>
            <a:pPr indent="2880" defTabSz="414765">
              <a:lnSpc>
                <a:spcPct val="104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hu-HU" kern="0" dirty="0" err="1">
              <a:solidFill>
                <a:schemeClr val="bg1">
                  <a:lumMod val="50000"/>
                </a:schemeClr>
              </a:solidFill>
              <a:latin typeface="Tele-GroteskNor"/>
              <a:ea typeface="+mn-ea"/>
              <a:cs typeface="+mn-cs"/>
            </a:endParaRPr>
          </a:p>
        </p:txBody>
      </p:sp>
      <p:sp>
        <p:nvSpPr>
          <p:cNvPr id="95" name="Abgerundetes Rechteck 1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19702" y="4787471"/>
            <a:ext cx="2124001" cy="1080000"/>
          </a:xfrm>
          <a:prstGeom prst="rect">
            <a:avLst/>
          </a:prstGeom>
          <a:solidFill>
            <a:srgbClr val="A4A4A4"/>
          </a:solidFill>
          <a:ln w="6350" algn="ctr">
            <a:noFill/>
            <a:round/>
            <a:headEnd/>
            <a:tailEnd/>
          </a:ln>
          <a:effectLst/>
        </p:spPr>
        <p:txBody>
          <a:bodyPr wrap="none" lIns="0" tIns="41142" rIns="41142" bIns="0" anchor="t"/>
          <a:lstStyle/>
          <a:p>
            <a:pPr marL="252178" indent="-252178" algn="r" eaLnBrk="0" hangingPunct="0">
              <a:spcBef>
                <a:spcPct val="25000"/>
              </a:spcBef>
              <a:buClr>
                <a:srgbClr val="E20074"/>
              </a:buClr>
              <a:buSzPct val="100000"/>
              <a:defRPr/>
            </a:pPr>
            <a:r>
              <a:rPr lang="en-US" sz="1400" dirty="0">
                <a:solidFill>
                  <a:schemeClr val="bg1"/>
                </a:solidFill>
                <a:latin typeface="Tele-GroteskEEUlt" pitchFamily="2" charset="0"/>
                <a:sym typeface="Tele-GroteskNor" pitchFamily="2" charset="0"/>
              </a:rPr>
              <a:t>FINANCE</a:t>
            </a:r>
            <a:endParaRPr lang="en-US" sz="1400" dirty="0">
              <a:solidFill>
                <a:schemeClr val="bg1"/>
              </a:solidFill>
              <a:latin typeface="Tele-GroteskEENor" pitchFamily="2" charset="0"/>
              <a:ea typeface="ＭＳ Ｐゴシック" pitchFamily="34" charset="-128"/>
            </a:endParaRPr>
          </a:p>
        </p:txBody>
      </p:sp>
      <p:sp>
        <p:nvSpPr>
          <p:cNvPr id="96" name="Abgerundetes Rechteck 1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507330" y="4787471"/>
            <a:ext cx="2124001" cy="1080000"/>
          </a:xfrm>
          <a:prstGeom prst="rect">
            <a:avLst/>
          </a:prstGeom>
          <a:solidFill>
            <a:srgbClr val="A4A4A4"/>
          </a:solidFill>
          <a:ln w="6350" algn="ctr">
            <a:noFill/>
            <a:round/>
            <a:headEnd/>
            <a:tailEnd/>
          </a:ln>
          <a:effectLst/>
        </p:spPr>
        <p:txBody>
          <a:bodyPr wrap="none" lIns="0" tIns="41142" rIns="41142" bIns="0" anchor="t"/>
          <a:lstStyle/>
          <a:p>
            <a:pPr marL="252178" indent="-252178" algn="r" eaLnBrk="0" hangingPunct="0">
              <a:spcBef>
                <a:spcPct val="25000"/>
              </a:spcBef>
              <a:buClr>
                <a:srgbClr val="E20074"/>
              </a:buClr>
              <a:buSzPct val="100000"/>
              <a:defRPr/>
            </a:pPr>
            <a:r>
              <a:rPr lang="en-US" sz="1400" dirty="0">
                <a:solidFill>
                  <a:srgbClr val="FFFFFF"/>
                </a:solidFill>
                <a:latin typeface="Tele-GroteskEEUlt" pitchFamily="2" charset="0"/>
                <a:sym typeface="Tele-GroteskNor" pitchFamily="2" charset="0"/>
              </a:rPr>
              <a:t>HUMAN</a:t>
            </a:r>
            <a:r>
              <a:rPr lang="hu-HU" sz="1400" dirty="0">
                <a:solidFill>
                  <a:srgbClr val="FFFFFF"/>
                </a:solidFill>
                <a:latin typeface="Tele-GroteskEEUlt" pitchFamily="2" charset="0"/>
                <a:sym typeface="Tele-GroteskNor" pitchFamily="2" charset="0"/>
              </a:rPr>
              <a:t> </a:t>
            </a:r>
            <a:br>
              <a:rPr lang="hu-HU" sz="1400" dirty="0">
                <a:solidFill>
                  <a:srgbClr val="FFFFFF"/>
                </a:solidFill>
                <a:latin typeface="Tele-GroteskEEUlt" pitchFamily="2" charset="0"/>
                <a:sym typeface="Tele-GroteskNor" pitchFamily="2" charset="0"/>
              </a:rPr>
            </a:br>
            <a:r>
              <a:rPr lang="en-US" sz="1400" dirty="0">
                <a:solidFill>
                  <a:srgbClr val="FFFFFF"/>
                </a:solidFill>
                <a:latin typeface="Tele-GroteskEEUlt" pitchFamily="2" charset="0"/>
                <a:sym typeface="Tele-GroteskNor" pitchFamily="2" charset="0"/>
              </a:rPr>
              <a:t>RESOURCE</a:t>
            </a:r>
            <a:r>
              <a:rPr lang="hu-HU" sz="1400" dirty="0">
                <a:solidFill>
                  <a:srgbClr val="FFFFFF"/>
                </a:solidFill>
                <a:latin typeface="Tele-GroteskEEUlt" pitchFamily="2" charset="0"/>
                <a:sym typeface="Tele-GroteskNor" pitchFamily="2" charset="0"/>
              </a:rPr>
              <a:t>S</a:t>
            </a:r>
            <a:endParaRPr lang="en-US" sz="1400" dirty="0">
              <a:solidFill>
                <a:srgbClr val="FFFFFF"/>
              </a:solidFill>
              <a:latin typeface="Tele-GroteskEEUlt" pitchFamily="2" charset="0"/>
              <a:sym typeface="Tele-GroteskNor" pitchFamily="2" charset="0"/>
            </a:endParaRPr>
          </a:p>
          <a:p>
            <a:pPr marL="252178" indent="-252178" algn="r" eaLnBrk="0" hangingPunct="0">
              <a:spcBef>
                <a:spcPct val="25000"/>
              </a:spcBef>
              <a:buClr>
                <a:srgbClr val="E20074"/>
              </a:buClr>
              <a:buSzPct val="100000"/>
              <a:defRPr/>
            </a:pPr>
            <a:endParaRPr lang="en-US" sz="1400" dirty="0">
              <a:solidFill>
                <a:schemeClr val="bg1"/>
              </a:solidFill>
              <a:latin typeface="Tele-GroteskEENor" pitchFamily="2" charset="0"/>
              <a:ea typeface="ＭＳ Ｐゴシック" pitchFamily="34" charset="-128"/>
            </a:endParaRPr>
          </a:p>
        </p:txBody>
      </p:sp>
      <p:sp>
        <p:nvSpPr>
          <p:cNvPr id="97" name="Abgerundetes Rechteck 1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694961" y="4787471"/>
            <a:ext cx="2124001" cy="1080000"/>
          </a:xfrm>
          <a:prstGeom prst="rect">
            <a:avLst/>
          </a:prstGeom>
          <a:solidFill>
            <a:srgbClr val="A4A4A4"/>
          </a:solidFill>
          <a:ln w="6350" algn="ctr">
            <a:noFill/>
            <a:round/>
            <a:headEnd/>
            <a:tailEnd/>
          </a:ln>
          <a:effectLst/>
        </p:spPr>
        <p:txBody>
          <a:bodyPr wrap="none" lIns="0" tIns="41142" rIns="41142" bIns="0" anchor="t"/>
          <a:lstStyle/>
          <a:p>
            <a:pPr marL="252178" indent="-252178" algn="r" eaLnBrk="0" hangingPunct="0">
              <a:spcBef>
                <a:spcPct val="25000"/>
              </a:spcBef>
              <a:buClr>
                <a:srgbClr val="E20074"/>
              </a:buClr>
              <a:buSzPct val="100000"/>
              <a:defRPr/>
            </a:pPr>
            <a:r>
              <a:rPr lang="hu-HU" sz="1400" dirty="0">
                <a:solidFill>
                  <a:schemeClr val="bg1"/>
                </a:solidFill>
                <a:latin typeface="Tele-GroteskEEUlt" pitchFamily="2" charset="0"/>
                <a:sym typeface="Tele-GroteskNor" pitchFamily="2" charset="0"/>
              </a:rPr>
              <a:t>COMMS</a:t>
            </a:r>
            <a:endParaRPr lang="en-US" sz="1400" dirty="0">
              <a:solidFill>
                <a:schemeClr val="bg1"/>
              </a:solidFill>
              <a:latin typeface="Tele-GroteskEENor" pitchFamily="2" charset="0"/>
              <a:ea typeface="ＭＳ Ｐゴシック" pitchFamily="34" charset="-128"/>
            </a:endParaRPr>
          </a:p>
        </p:txBody>
      </p:sp>
      <p:sp>
        <p:nvSpPr>
          <p:cNvPr id="98" name="Abgerundetes Rechteck 1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882589" y="4787471"/>
            <a:ext cx="2124001" cy="1080000"/>
          </a:xfrm>
          <a:prstGeom prst="rect">
            <a:avLst/>
          </a:prstGeom>
          <a:solidFill>
            <a:srgbClr val="A4A4A4"/>
          </a:solidFill>
          <a:ln w="6350" algn="ctr">
            <a:noFill/>
            <a:round/>
            <a:headEnd/>
            <a:tailEnd/>
          </a:ln>
          <a:effectLst/>
        </p:spPr>
        <p:txBody>
          <a:bodyPr wrap="none" lIns="0" tIns="41142" rIns="41142" bIns="0" anchor="t"/>
          <a:lstStyle/>
          <a:p>
            <a:pPr marL="252178" indent="-252178" algn="r" eaLnBrk="0" hangingPunct="0">
              <a:spcBef>
                <a:spcPct val="25000"/>
              </a:spcBef>
              <a:buClr>
                <a:srgbClr val="E20074"/>
              </a:buClr>
              <a:buSzPct val="100000"/>
              <a:defRPr/>
            </a:pPr>
            <a:r>
              <a:rPr lang="hu-HU" sz="1400" dirty="0">
                <a:solidFill>
                  <a:schemeClr val="bg1"/>
                </a:solidFill>
                <a:latin typeface="Tele-GroteskEEUlt" pitchFamily="2" charset="0"/>
                <a:sym typeface="Tele-GroteskNor" pitchFamily="2" charset="0"/>
              </a:rPr>
              <a:t>PQIT</a:t>
            </a:r>
            <a:endParaRPr lang="en-US" sz="1400" dirty="0">
              <a:solidFill>
                <a:schemeClr val="bg1"/>
              </a:solidFill>
              <a:latin typeface="Tele-GroteskEENor" pitchFamily="2" charset="0"/>
              <a:ea typeface="ＭＳ Ｐゴシック" pitchFamily="34" charset="-128"/>
            </a:endParaRPr>
          </a:p>
        </p:txBody>
      </p:sp>
      <p:sp>
        <p:nvSpPr>
          <p:cNvPr id="99" name="Abgerundetes Rechteck 1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9070218" y="4787471"/>
            <a:ext cx="2124001" cy="1080000"/>
          </a:xfrm>
          <a:prstGeom prst="rect">
            <a:avLst/>
          </a:prstGeom>
          <a:solidFill>
            <a:srgbClr val="A4A4A4"/>
          </a:solidFill>
          <a:ln w="6350" algn="ctr">
            <a:noFill/>
            <a:round/>
            <a:headEnd/>
            <a:tailEnd/>
          </a:ln>
          <a:effectLst/>
        </p:spPr>
        <p:txBody>
          <a:bodyPr wrap="none" lIns="0" tIns="41142" rIns="41142" bIns="0" anchor="t"/>
          <a:lstStyle/>
          <a:p>
            <a:pPr marL="252178" indent="-252178" algn="r" eaLnBrk="0" hangingPunct="0">
              <a:spcBef>
                <a:spcPct val="25000"/>
              </a:spcBef>
              <a:buClr>
                <a:srgbClr val="E20074"/>
              </a:buClr>
              <a:buSzPct val="100000"/>
              <a:defRPr/>
            </a:pPr>
            <a:r>
              <a:rPr lang="hu-HU" sz="1400" dirty="0">
                <a:solidFill>
                  <a:schemeClr val="bg1"/>
                </a:solidFill>
                <a:latin typeface="Tele-GroteskEEUlt" pitchFamily="2" charset="0"/>
                <a:sym typeface="Tele-GroteskNor" pitchFamily="2" charset="0"/>
              </a:rPr>
              <a:t>QUALITY</a:t>
            </a:r>
            <a:endParaRPr lang="en-US" sz="1400" dirty="0">
              <a:solidFill>
                <a:schemeClr val="bg1"/>
              </a:solidFill>
              <a:latin typeface="Tele-GroteskEENor" pitchFamily="2" charset="0"/>
              <a:ea typeface="ＭＳ Ｐゴシック" pitchFamily="34" charset="-128"/>
            </a:endParaRPr>
          </a:p>
        </p:txBody>
      </p:sp>
      <p:sp>
        <p:nvSpPr>
          <p:cNvPr id="72" name="Rectangle 71"/>
          <p:cNvSpPr/>
          <p:nvPr/>
        </p:nvSpPr>
        <p:spPr bwMode="gray">
          <a:xfrm>
            <a:off x="9397510" y="857307"/>
            <a:ext cx="1800715" cy="3866863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vert="vert" lIns="0" tIns="65304" rIns="0" bIns="0" rtlCol="0" anchor="t"/>
          <a:lstStyle/>
          <a:p>
            <a:pPr indent="2880" defTabSz="414765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hu-HU" sz="1500" dirty="0">
                <a:solidFill>
                  <a:schemeClr val="bg1"/>
                </a:solidFill>
                <a:latin typeface="+mj-lt"/>
                <a:cs typeface="Arial" charset="0"/>
              </a:rPr>
              <a:t>TELEKOM IT</a:t>
            </a:r>
          </a:p>
        </p:txBody>
      </p:sp>
      <p:sp>
        <p:nvSpPr>
          <p:cNvPr id="71" name="Rectangle 70"/>
          <p:cNvSpPr/>
          <p:nvPr/>
        </p:nvSpPr>
        <p:spPr bwMode="gray">
          <a:xfrm>
            <a:off x="8249273" y="856387"/>
            <a:ext cx="1085310" cy="3867782"/>
          </a:xfrm>
          <a:prstGeom prst="rect">
            <a:avLst/>
          </a:prstGeom>
          <a:solidFill>
            <a:srgbClr val="FF9A1E"/>
          </a:solidFill>
          <a:ln w="19050" algn="ctr">
            <a:noFill/>
            <a:miter lim="800000"/>
            <a:headEnd/>
            <a:tailEnd/>
          </a:ln>
          <a:effectLst/>
        </p:spPr>
        <p:txBody>
          <a:bodyPr vert="vert" lIns="0" tIns="65304" rIns="0" bIns="0" rtlCol="0" anchor="t"/>
          <a:lstStyle/>
          <a:p>
            <a:pPr indent="2880" defTabSz="414765">
              <a:lnSpc>
                <a:spcPct val="104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hu-HU" sz="1500" kern="0" dirty="0">
                <a:solidFill>
                  <a:sysClr val="windowText" lastClr="000000"/>
                </a:solidFill>
                <a:latin typeface="TeleGrotesk Headline Ultra"/>
              </a:rPr>
              <a:t>TC</a:t>
            </a:r>
          </a:p>
        </p:txBody>
      </p:sp>
      <p:sp>
        <p:nvSpPr>
          <p:cNvPr id="140" name="Rectangle 139"/>
          <p:cNvSpPr/>
          <p:nvPr/>
        </p:nvSpPr>
        <p:spPr bwMode="gray">
          <a:xfrm>
            <a:off x="4282911" y="856387"/>
            <a:ext cx="3916219" cy="3867782"/>
          </a:xfrm>
          <a:prstGeom prst="rect">
            <a:avLst/>
          </a:prstGeom>
          <a:solidFill>
            <a:srgbClr val="1063AD"/>
          </a:solidFill>
          <a:ln w="19050" algn="ctr">
            <a:noFill/>
            <a:miter lim="800000"/>
            <a:headEnd/>
            <a:tailEnd/>
          </a:ln>
          <a:effectLst/>
        </p:spPr>
        <p:txBody>
          <a:bodyPr vert="vert" lIns="0" tIns="65304" rIns="0" bIns="0" rtlCol="0" anchor="t"/>
          <a:lstStyle/>
          <a:p>
            <a:pPr indent="2880" defTabSz="414765">
              <a:lnSpc>
                <a:spcPct val="104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hu-HU" sz="1500" kern="0" dirty="0">
                <a:solidFill>
                  <a:sysClr val="windowText" lastClr="000000"/>
                </a:solidFill>
                <a:latin typeface="TeleGrotesk Headline Ultra"/>
              </a:rPr>
              <a:t>ITO</a:t>
            </a:r>
          </a:p>
        </p:txBody>
      </p:sp>
      <p:sp>
        <p:nvSpPr>
          <p:cNvPr id="139" name="Rectangle 138"/>
          <p:cNvSpPr/>
          <p:nvPr/>
        </p:nvSpPr>
        <p:spPr bwMode="gray">
          <a:xfrm>
            <a:off x="323849" y="856387"/>
            <a:ext cx="3908917" cy="3867782"/>
          </a:xfrm>
          <a:custGeom>
            <a:avLst/>
            <a:gdLst/>
            <a:ahLst/>
            <a:cxnLst/>
            <a:rect l="l" t="t" r="r" b="b"/>
            <a:pathLst>
              <a:path w="3908916" h="3795498">
                <a:moveTo>
                  <a:pt x="2068687" y="0"/>
                </a:moveTo>
                <a:lnTo>
                  <a:pt x="3908916" y="0"/>
                </a:lnTo>
                <a:lnTo>
                  <a:pt x="3908916" y="3795498"/>
                </a:lnTo>
                <a:lnTo>
                  <a:pt x="0" y="3795498"/>
                </a:lnTo>
                <a:lnTo>
                  <a:pt x="0" y="1201420"/>
                </a:lnTo>
                <a:lnTo>
                  <a:pt x="2068687" y="1201420"/>
                </a:lnTo>
                <a:close/>
              </a:path>
            </a:pathLst>
          </a:custGeom>
          <a:solidFill>
            <a:srgbClr val="53BAF2"/>
          </a:solidFill>
          <a:ln w="19050" algn="ctr">
            <a:noFill/>
            <a:miter lim="800000"/>
            <a:headEnd/>
            <a:tailEnd/>
          </a:ln>
          <a:effectLst/>
        </p:spPr>
        <p:txBody>
          <a:bodyPr vert="vert" lIns="0" tIns="65304" rIns="0" bIns="0" rtlCol="0" anchor="t"/>
          <a:lstStyle/>
          <a:p>
            <a:pPr indent="2880" defTabSz="414765">
              <a:lnSpc>
                <a:spcPct val="104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hu-HU" sz="1500" kern="0" dirty="0">
                <a:solidFill>
                  <a:sysClr val="windowText" lastClr="000000"/>
                </a:solidFill>
                <a:latin typeface="TeleGrotesk Headline Ultra"/>
              </a:rPr>
              <a:t>ITB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ct val="50000"/>
              </a:spcBef>
            </a:pPr>
            <a:r>
              <a:rPr lang="en-GB" sz="3300" dirty="0">
                <a:solidFill>
                  <a:srgbClr val="E20074"/>
                </a:solidFill>
                <a:latin typeface="Tele-GroteskEEUlt" pitchFamily="2" charset="0"/>
              </a:rPr>
              <a:t>ORGANIZATION STRUCTURE</a:t>
            </a:r>
          </a:p>
        </p:txBody>
      </p:sp>
      <p:sp>
        <p:nvSpPr>
          <p:cNvPr id="6" name="Text Box 18"/>
          <p:cNvSpPr txBox="1">
            <a:spLocks noChangeArrowheads="1"/>
          </p:cNvSpPr>
          <p:nvPr/>
        </p:nvSpPr>
        <p:spPr bwMode="auto">
          <a:xfrm>
            <a:off x="328936" y="3144807"/>
            <a:ext cx="864101" cy="30997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0" tIns="32652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  <a:latin typeface="Tele-GroteskUlt" pitchFamily="2" charset="0"/>
              </a:rPr>
              <a:t>DDS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</a:rPr>
              <a:t>Árpád </a:t>
            </a:r>
            <a:r>
              <a:rPr lang="hu-HU" sz="1000" dirty="0" err="1">
                <a:solidFill>
                  <a:schemeClr val="bg1"/>
                </a:solidFill>
              </a:rPr>
              <a:t>Jorzsits</a:t>
            </a:r>
            <a:endParaRPr lang="hu-HU" sz="1000" dirty="0">
              <a:solidFill>
                <a:schemeClr val="bg1"/>
              </a:solidFill>
            </a:endParaRPr>
          </a:p>
        </p:txBody>
      </p:sp>
      <p:sp>
        <p:nvSpPr>
          <p:cNvPr id="17" name="Text Box 18"/>
          <p:cNvSpPr txBox="1">
            <a:spLocks noChangeArrowheads="1"/>
          </p:cNvSpPr>
          <p:nvPr/>
        </p:nvSpPr>
        <p:spPr bwMode="auto">
          <a:xfrm>
            <a:off x="1171886" y="5573207"/>
            <a:ext cx="1202091" cy="2769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65304" tIns="0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90000"/>
              </a:lnSpc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r>
              <a:rPr lang="en-US" sz="1000" dirty="0">
                <a:latin typeface="Tele-GroteskUlt" pitchFamily="2" charset="0"/>
              </a:rPr>
              <a:t>VP </a:t>
            </a:r>
            <a:r>
              <a:rPr lang="hu-HU" sz="1000" dirty="0" err="1">
                <a:latin typeface="Tele-GroteskUlt" pitchFamily="2" charset="0"/>
              </a:rPr>
              <a:t>FiCo</a:t>
            </a:r>
            <a:endParaRPr lang="hu-HU" sz="1000" dirty="0">
              <a:latin typeface="Tele-GroteskUlt" pitchFamily="2" charset="0"/>
            </a:endParaRPr>
          </a:p>
          <a:p>
            <a:pPr algn="l" eaLnBrk="1" hangingPunct="1">
              <a:lnSpc>
                <a:spcPct val="90000"/>
              </a:lnSpc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r>
              <a:rPr lang="hu-HU" sz="1000" dirty="0"/>
              <a:t>Katalin Riedl</a:t>
            </a:r>
            <a:endParaRPr lang="en-US" sz="1000" dirty="0"/>
          </a:p>
        </p:txBody>
      </p:sp>
      <p:sp>
        <p:nvSpPr>
          <p:cNvPr id="21" name="Text Box 18"/>
          <p:cNvSpPr txBox="1">
            <a:spLocks noChangeArrowheads="1"/>
          </p:cNvSpPr>
          <p:nvPr/>
        </p:nvSpPr>
        <p:spPr bwMode="auto">
          <a:xfrm>
            <a:off x="1275535" y="3144807"/>
            <a:ext cx="864101" cy="30997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0" tIns="32652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  <a:latin typeface="Tele-GroteskUlt" pitchFamily="2" charset="0"/>
              </a:rPr>
              <a:t>PPSS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</a:rPr>
              <a:t>Tamás Kakuk</a:t>
            </a: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2304246" y="3144807"/>
            <a:ext cx="864101" cy="30997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0" tIns="32652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  <a:latin typeface="Tele-GroteskUlt" pitchFamily="2" charset="0"/>
              </a:rPr>
              <a:t>S&amp;P (</a:t>
            </a:r>
            <a:r>
              <a:rPr lang="hu-HU" sz="1000" dirty="0" err="1">
                <a:solidFill>
                  <a:schemeClr val="bg1"/>
                </a:solidFill>
                <a:latin typeface="Tele-GroteskUlt" pitchFamily="2" charset="0"/>
              </a:rPr>
              <a:t>Act</a:t>
            </a:r>
            <a:r>
              <a:rPr lang="hu-HU" sz="1000" dirty="0">
                <a:solidFill>
                  <a:schemeClr val="bg1"/>
                </a:solidFill>
                <a:latin typeface="Tele-GroteskUlt" pitchFamily="2" charset="0"/>
              </a:rPr>
              <a:t>.)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</a:rPr>
              <a:t>Éva Belley</a:t>
            </a:r>
          </a:p>
        </p:txBody>
      </p:sp>
      <p:sp>
        <p:nvSpPr>
          <p:cNvPr id="41" name="Text Box 18"/>
          <p:cNvSpPr txBox="1">
            <a:spLocks noChangeArrowheads="1"/>
          </p:cNvSpPr>
          <p:nvPr/>
        </p:nvSpPr>
        <p:spPr bwMode="auto">
          <a:xfrm>
            <a:off x="3368766" y="5573207"/>
            <a:ext cx="1326195" cy="2769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65304" tIns="0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90000"/>
              </a:lnSpc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r>
              <a:rPr lang="en-US" sz="1000" dirty="0">
                <a:latin typeface="Tele-GroteskUlt" pitchFamily="2" charset="0"/>
              </a:rPr>
              <a:t>VP HR</a:t>
            </a:r>
            <a:br>
              <a:rPr lang="en-US" sz="1000" dirty="0">
                <a:latin typeface="Tele-GroteskUlt" pitchFamily="2" charset="0"/>
              </a:rPr>
            </a:br>
            <a:r>
              <a:rPr lang="en-US" sz="1000" dirty="0"/>
              <a:t>Mariann </a:t>
            </a:r>
            <a:r>
              <a:rPr lang="en-US" sz="1000" dirty="0" err="1"/>
              <a:t>Mészáros</a:t>
            </a:r>
            <a:endParaRPr lang="en-US" sz="1000" dirty="0"/>
          </a:p>
        </p:txBody>
      </p:sp>
      <p:sp>
        <p:nvSpPr>
          <p:cNvPr id="45" name="Text Box 18"/>
          <p:cNvSpPr txBox="1">
            <a:spLocks noChangeArrowheads="1"/>
          </p:cNvSpPr>
          <p:nvPr/>
        </p:nvSpPr>
        <p:spPr bwMode="auto">
          <a:xfrm>
            <a:off x="3250844" y="3144807"/>
            <a:ext cx="864101" cy="30997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0" tIns="32652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  <a:latin typeface="Tele-GroteskUlt" pitchFamily="2" charset="0"/>
              </a:rPr>
              <a:t>SI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</a:rPr>
              <a:t>László Perényi</a:t>
            </a:r>
          </a:p>
        </p:txBody>
      </p:sp>
      <p:sp>
        <p:nvSpPr>
          <p:cNvPr id="57" name="Text Box 18"/>
          <p:cNvSpPr txBox="1">
            <a:spLocks noChangeArrowheads="1"/>
          </p:cNvSpPr>
          <p:nvPr/>
        </p:nvSpPr>
        <p:spPr bwMode="auto">
          <a:xfrm>
            <a:off x="4279556" y="3144807"/>
            <a:ext cx="864101" cy="30997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0" tIns="32652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  <a:latin typeface="Tele-GroteskUlt" pitchFamily="2" charset="0"/>
              </a:rPr>
              <a:t>CCS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</a:rPr>
              <a:t>Gábor Major</a:t>
            </a:r>
          </a:p>
        </p:txBody>
      </p:sp>
      <p:sp>
        <p:nvSpPr>
          <p:cNvPr id="65" name="Text Box 18"/>
          <p:cNvSpPr txBox="1">
            <a:spLocks noChangeArrowheads="1"/>
          </p:cNvSpPr>
          <p:nvPr/>
        </p:nvSpPr>
        <p:spPr bwMode="auto">
          <a:xfrm>
            <a:off x="5504946" y="5581541"/>
            <a:ext cx="1280233" cy="2769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65304" tIns="0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90000"/>
              </a:lnSpc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r>
              <a:rPr lang="en-US" sz="1000" dirty="0">
                <a:latin typeface="Tele-GroteskUlt" pitchFamily="2" charset="0"/>
              </a:rPr>
              <a:t>Head of </a:t>
            </a:r>
            <a:r>
              <a:rPr lang="en-US" sz="1000" dirty="0" err="1">
                <a:latin typeface="Tele-GroteskUlt" pitchFamily="2" charset="0"/>
              </a:rPr>
              <a:t>Comms</a:t>
            </a:r>
            <a:r>
              <a:rPr lang="en-US" sz="1000" dirty="0">
                <a:latin typeface="Tele-GroteskUlt" pitchFamily="2" charset="0"/>
              </a:rPr>
              <a:t/>
            </a:r>
            <a:br>
              <a:rPr lang="en-US" sz="1000" dirty="0">
                <a:latin typeface="Tele-GroteskUlt" pitchFamily="2" charset="0"/>
              </a:rPr>
            </a:br>
            <a:r>
              <a:rPr lang="en-US" sz="1000" dirty="0"/>
              <a:t>Zsuzsanna </a:t>
            </a:r>
            <a:r>
              <a:rPr lang="en-US" sz="1000" dirty="0" err="1"/>
              <a:t>Sümegi</a:t>
            </a:r>
            <a:endParaRPr lang="en-US" sz="1000" dirty="0"/>
          </a:p>
        </p:txBody>
      </p:sp>
      <p:sp>
        <p:nvSpPr>
          <p:cNvPr id="69" name="Text Box 18"/>
          <p:cNvSpPr txBox="1">
            <a:spLocks noChangeArrowheads="1"/>
          </p:cNvSpPr>
          <p:nvPr/>
        </p:nvSpPr>
        <p:spPr bwMode="auto">
          <a:xfrm>
            <a:off x="5267211" y="3144807"/>
            <a:ext cx="864101" cy="30997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0" tIns="32652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  <a:latin typeface="Tele-GroteskUlt" pitchFamily="2" charset="0"/>
              </a:rPr>
              <a:t>AGE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</a:rPr>
              <a:t>Gábor Vasas</a:t>
            </a:r>
          </a:p>
        </p:txBody>
      </p:sp>
      <p:sp>
        <p:nvSpPr>
          <p:cNvPr id="81" name="Text Box 18"/>
          <p:cNvSpPr txBox="1">
            <a:spLocks noChangeArrowheads="1"/>
          </p:cNvSpPr>
          <p:nvPr/>
        </p:nvSpPr>
        <p:spPr bwMode="auto">
          <a:xfrm>
            <a:off x="6254866" y="3144807"/>
            <a:ext cx="864101" cy="30997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0" tIns="32652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>
              <a:lnSpc>
                <a:spcPct val="90000"/>
              </a:lnSpc>
            </a:pPr>
            <a:r>
              <a:rPr lang="hu-HU" sz="1000" dirty="0">
                <a:solidFill>
                  <a:schemeClr val="bg1"/>
                </a:solidFill>
                <a:latin typeface="Tele-GroteskUlt" pitchFamily="2" charset="0"/>
                <a:ea typeface="Tele-GroteskUlt" pitchFamily="2" charset="0"/>
                <a:cs typeface="Tele-GroteskUlt" pitchFamily="2" charset="0"/>
              </a:rPr>
              <a:t>OTC</a:t>
            </a:r>
            <a:r>
              <a:rPr lang="en-US" sz="1000" dirty="0">
                <a:solidFill>
                  <a:schemeClr val="bg1"/>
                </a:solidFill>
              </a:rPr>
              <a:t/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hu-HU" sz="1000" dirty="0">
                <a:solidFill>
                  <a:schemeClr val="bg1"/>
                </a:solidFill>
              </a:rPr>
              <a:t>György Csík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89" name="Text Box 18"/>
          <p:cNvSpPr txBox="1">
            <a:spLocks noChangeArrowheads="1"/>
          </p:cNvSpPr>
          <p:nvPr/>
        </p:nvSpPr>
        <p:spPr bwMode="auto">
          <a:xfrm>
            <a:off x="7736348" y="5573207"/>
            <a:ext cx="1271671" cy="2769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65304" tIns="0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90000"/>
              </a:lnSpc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r>
              <a:rPr lang="en-US" sz="1000" dirty="0">
                <a:latin typeface="Tele-GroteskUlt" pitchFamily="2" charset="0"/>
              </a:rPr>
              <a:t>Head of PQIT </a:t>
            </a:r>
            <a:br>
              <a:rPr lang="en-US" sz="1000" dirty="0">
                <a:latin typeface="Tele-GroteskUlt" pitchFamily="2" charset="0"/>
              </a:rPr>
            </a:br>
            <a:r>
              <a:rPr lang="en-US" sz="1000" dirty="0"/>
              <a:t>Attila </a:t>
            </a:r>
            <a:r>
              <a:rPr lang="en-US" sz="1000" dirty="0" err="1"/>
              <a:t>Ürmössy</a:t>
            </a:r>
            <a:endParaRPr lang="en-US" sz="1000" dirty="0"/>
          </a:p>
        </p:txBody>
      </p:sp>
      <p:sp>
        <p:nvSpPr>
          <p:cNvPr id="93" name="Text Box 18"/>
          <p:cNvSpPr txBox="1">
            <a:spLocks noChangeArrowheads="1"/>
          </p:cNvSpPr>
          <p:nvPr/>
        </p:nvSpPr>
        <p:spPr bwMode="auto">
          <a:xfrm>
            <a:off x="7242521" y="3144807"/>
            <a:ext cx="864101" cy="30997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0" tIns="32652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  <a:latin typeface="Tele-GroteskUlt" pitchFamily="2" charset="0"/>
                <a:ea typeface="Tele-GroteskUlt" pitchFamily="2" charset="0"/>
                <a:cs typeface="Tele-GroteskUlt" pitchFamily="2" charset="0"/>
              </a:rPr>
              <a:t>BOQ, PIA</a:t>
            </a:r>
            <a:r>
              <a:rPr lang="en-US" sz="1000" dirty="0">
                <a:solidFill>
                  <a:schemeClr val="bg1"/>
                </a:solidFill>
              </a:rPr>
              <a:t/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hu-HU" sz="1000" dirty="0">
                <a:solidFill>
                  <a:schemeClr val="bg1"/>
                </a:solidFill>
              </a:rPr>
              <a:t>Csaba Érsek</a:t>
            </a:r>
          </a:p>
        </p:txBody>
      </p:sp>
      <p:sp>
        <p:nvSpPr>
          <p:cNvPr id="105" name="Text Box 18"/>
          <p:cNvSpPr txBox="1">
            <a:spLocks noChangeArrowheads="1"/>
          </p:cNvSpPr>
          <p:nvPr/>
        </p:nvSpPr>
        <p:spPr bwMode="auto">
          <a:xfrm>
            <a:off x="8271424" y="3144807"/>
            <a:ext cx="864101" cy="30997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0" tIns="32652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  <a:latin typeface="Tele-GroteskUlt" pitchFamily="2" charset="0"/>
              </a:rPr>
              <a:t>TC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</a:rPr>
              <a:t>Beáta Szoták</a:t>
            </a:r>
          </a:p>
        </p:txBody>
      </p:sp>
      <p:sp>
        <p:nvSpPr>
          <p:cNvPr id="113" name="Text Box 18"/>
          <p:cNvSpPr txBox="1">
            <a:spLocks noChangeArrowheads="1"/>
          </p:cNvSpPr>
          <p:nvPr/>
        </p:nvSpPr>
        <p:spPr bwMode="auto">
          <a:xfrm>
            <a:off x="9958571" y="5573207"/>
            <a:ext cx="1203421" cy="2769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65304" tIns="0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  <a:latin typeface="Tele-GroteskUlt" pitchFamily="2" charset="0"/>
              </a:rPr>
              <a:t>Head of </a:t>
            </a:r>
            <a:r>
              <a:rPr lang="hu-HU" sz="1000" dirty="0" err="1">
                <a:solidFill>
                  <a:schemeClr val="bg1"/>
                </a:solidFill>
                <a:latin typeface="Tele-GroteskUlt" pitchFamily="2" charset="0"/>
              </a:rPr>
              <a:t>Quality</a:t>
            </a:r>
            <a:endParaRPr lang="hu-HU" sz="1000" dirty="0">
              <a:solidFill>
                <a:schemeClr val="bg1"/>
              </a:solidFill>
              <a:latin typeface="Tele-GroteskUlt" pitchFamily="2" charset="0"/>
            </a:endParaRPr>
          </a:p>
          <a:p>
            <a:pPr algn="l"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</a:rPr>
              <a:t>Tamás Kakuk</a:t>
            </a:r>
          </a:p>
        </p:txBody>
      </p:sp>
      <p:sp>
        <p:nvSpPr>
          <p:cNvPr id="117" name="Text Box 18"/>
          <p:cNvSpPr txBox="1">
            <a:spLocks noChangeArrowheads="1"/>
          </p:cNvSpPr>
          <p:nvPr/>
        </p:nvSpPr>
        <p:spPr bwMode="auto">
          <a:xfrm>
            <a:off x="9423687" y="3144807"/>
            <a:ext cx="864101" cy="30997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0" tIns="32652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  <a:latin typeface="Tele-GroteskUlt" pitchFamily="2" charset="0"/>
              </a:rPr>
              <a:t>COO &amp; BSO</a:t>
            </a:r>
            <a:br>
              <a:rPr lang="hu-HU" sz="1000" dirty="0">
                <a:solidFill>
                  <a:schemeClr val="bg1"/>
                </a:solidFill>
                <a:latin typeface="Tele-GroteskUlt" pitchFamily="2" charset="0"/>
              </a:rPr>
            </a:br>
            <a:r>
              <a:rPr lang="hu-HU" sz="1000" dirty="0">
                <a:solidFill>
                  <a:schemeClr val="bg1"/>
                </a:solidFill>
              </a:rPr>
              <a:t>Attila </a:t>
            </a:r>
            <a:r>
              <a:rPr lang="hu-HU" sz="1000" dirty="0" err="1">
                <a:solidFill>
                  <a:schemeClr val="bg1"/>
                </a:solidFill>
              </a:rPr>
              <a:t>Ürmössy</a:t>
            </a:r>
            <a:endParaRPr lang="hu-HU" sz="1000" dirty="0">
              <a:solidFill>
                <a:schemeClr val="bg1"/>
              </a:solidFill>
            </a:endParaRPr>
          </a:p>
        </p:txBody>
      </p:sp>
      <p:sp>
        <p:nvSpPr>
          <p:cNvPr id="143" name="Text Box 18"/>
          <p:cNvSpPr txBox="1">
            <a:spLocks noChangeArrowheads="1"/>
          </p:cNvSpPr>
          <p:nvPr/>
        </p:nvSpPr>
        <p:spPr bwMode="auto">
          <a:xfrm>
            <a:off x="10287790" y="3144807"/>
            <a:ext cx="864101" cy="30997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0" tIns="32652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  <a:latin typeface="Tele-GroteskUlt" pitchFamily="2" charset="0"/>
              </a:rPr>
              <a:t>MCS &amp; CSO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</a:rPr>
              <a:t>László Perényi</a:t>
            </a:r>
          </a:p>
        </p:txBody>
      </p:sp>
      <p:sp>
        <p:nvSpPr>
          <p:cNvPr id="169" name="Text Box 18"/>
          <p:cNvSpPr txBox="1">
            <a:spLocks noChangeArrowheads="1"/>
          </p:cNvSpPr>
          <p:nvPr/>
        </p:nvSpPr>
        <p:spPr bwMode="auto">
          <a:xfrm>
            <a:off x="2427799" y="1944125"/>
            <a:ext cx="864101" cy="17147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0" tIns="32652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</a:rPr>
              <a:t>László Kónya</a:t>
            </a:r>
          </a:p>
        </p:txBody>
      </p:sp>
      <p:sp>
        <p:nvSpPr>
          <p:cNvPr id="171" name="Text Box 18"/>
          <p:cNvSpPr txBox="1">
            <a:spLocks noChangeArrowheads="1"/>
          </p:cNvSpPr>
          <p:nvPr/>
        </p:nvSpPr>
        <p:spPr bwMode="auto">
          <a:xfrm>
            <a:off x="328936" y="4379056"/>
            <a:ext cx="864101" cy="30997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0" tIns="32652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  <a:latin typeface="Tele-GroteskUlt" pitchFamily="2" charset="0"/>
              </a:rPr>
              <a:t>PME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</a:rPr>
              <a:t>András Dobó</a:t>
            </a:r>
          </a:p>
        </p:txBody>
      </p:sp>
      <p:sp>
        <p:nvSpPr>
          <p:cNvPr id="173" name="Text Box 18"/>
          <p:cNvSpPr txBox="1">
            <a:spLocks noChangeArrowheads="1"/>
          </p:cNvSpPr>
          <p:nvPr/>
        </p:nvSpPr>
        <p:spPr bwMode="auto">
          <a:xfrm>
            <a:off x="1275535" y="4379057"/>
            <a:ext cx="864101" cy="30997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0" tIns="32652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hu-HU" sz="1000" dirty="0" err="1">
                <a:solidFill>
                  <a:schemeClr val="bg1"/>
                </a:solidFill>
                <a:latin typeface="Tele-GroteskUlt" pitchFamily="2" charset="0"/>
              </a:rPr>
              <a:t>Sales</a:t>
            </a:r>
            <a:endParaRPr lang="hu-HU" sz="1000" dirty="0">
              <a:solidFill>
                <a:schemeClr val="bg1"/>
              </a:solidFill>
              <a:latin typeface="Tele-GroteskUlt" pitchFamily="2" charset="0"/>
            </a:endParaRPr>
          </a:p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</a:rPr>
              <a:t>Zoltán Tavaszi</a:t>
            </a:r>
          </a:p>
        </p:txBody>
      </p:sp>
      <p:sp>
        <p:nvSpPr>
          <p:cNvPr id="175" name="Text Box 18"/>
          <p:cNvSpPr txBox="1">
            <a:spLocks noChangeArrowheads="1"/>
          </p:cNvSpPr>
          <p:nvPr/>
        </p:nvSpPr>
        <p:spPr bwMode="auto">
          <a:xfrm>
            <a:off x="2221942" y="4379056"/>
            <a:ext cx="864101" cy="30997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0" tIns="32652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hu-HU" sz="1000" dirty="0" err="1">
                <a:solidFill>
                  <a:schemeClr val="bg1"/>
                </a:solidFill>
                <a:latin typeface="Tele-GroteskUlt" pitchFamily="2" charset="0"/>
              </a:rPr>
              <a:t>SeM</a:t>
            </a:r>
            <a:endParaRPr lang="hu-HU" sz="1000" dirty="0">
              <a:solidFill>
                <a:schemeClr val="bg1"/>
              </a:solidFill>
              <a:latin typeface="Tele-GroteskUlt" pitchFamily="2" charset="0"/>
            </a:endParaRPr>
          </a:p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</a:rPr>
              <a:t>dr. Barna Kiss</a:t>
            </a:r>
          </a:p>
        </p:txBody>
      </p:sp>
      <p:sp>
        <p:nvSpPr>
          <p:cNvPr id="177" name="Text Box 18"/>
          <p:cNvSpPr txBox="1">
            <a:spLocks noChangeArrowheads="1"/>
          </p:cNvSpPr>
          <p:nvPr/>
        </p:nvSpPr>
        <p:spPr bwMode="auto">
          <a:xfrm>
            <a:off x="3291901" y="4379056"/>
            <a:ext cx="864101" cy="30997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0" tIns="32652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hu-HU" sz="1000" dirty="0" err="1">
                <a:solidFill>
                  <a:schemeClr val="bg1"/>
                </a:solidFill>
                <a:latin typeface="Tele-GroteskUlt" pitchFamily="2" charset="0"/>
              </a:rPr>
              <a:t>T-Sec</a:t>
            </a:r>
            <a:endParaRPr lang="hu-HU" sz="1000" dirty="0">
              <a:solidFill>
                <a:schemeClr val="bg1"/>
              </a:solidFill>
              <a:latin typeface="Tele-GroteskUlt" pitchFamily="2" charset="0"/>
            </a:endParaRPr>
          </a:p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</a:rPr>
              <a:t>Bálint Zsiros</a:t>
            </a:r>
          </a:p>
        </p:txBody>
      </p:sp>
      <p:sp>
        <p:nvSpPr>
          <p:cNvPr id="179" name="Text Box 18"/>
          <p:cNvSpPr txBox="1">
            <a:spLocks noChangeArrowheads="1"/>
          </p:cNvSpPr>
          <p:nvPr/>
        </p:nvSpPr>
        <p:spPr bwMode="auto">
          <a:xfrm>
            <a:off x="4279556" y="4357505"/>
            <a:ext cx="864101" cy="30997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0" tIns="32652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>
              <a:lnSpc>
                <a:spcPct val="90000"/>
              </a:lnSpc>
            </a:pPr>
            <a:r>
              <a:rPr lang="hu-HU" sz="1000" dirty="0">
                <a:solidFill>
                  <a:schemeClr val="bg1"/>
                </a:solidFill>
                <a:latin typeface="Tele-GroteskUlt" pitchFamily="2" charset="0"/>
                <a:ea typeface="Tele-GroteskUlt" pitchFamily="2" charset="0"/>
                <a:cs typeface="Tele-GroteskUlt" pitchFamily="2" charset="0"/>
              </a:rPr>
              <a:t>DPS</a:t>
            </a:r>
          </a:p>
          <a:p>
            <a:pPr>
              <a:lnSpc>
                <a:spcPct val="90000"/>
              </a:lnSpc>
            </a:pPr>
            <a:r>
              <a:rPr lang="hu-HU" sz="1000" dirty="0">
                <a:solidFill>
                  <a:schemeClr val="bg1"/>
                </a:solidFill>
              </a:rPr>
              <a:t>Levente Nagy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81" name="Text Box 18"/>
          <p:cNvSpPr txBox="1">
            <a:spLocks noChangeArrowheads="1"/>
          </p:cNvSpPr>
          <p:nvPr/>
        </p:nvSpPr>
        <p:spPr bwMode="auto">
          <a:xfrm>
            <a:off x="5267211" y="4379056"/>
            <a:ext cx="864101" cy="30997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0" tIns="32652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>
              <a:lnSpc>
                <a:spcPct val="90000"/>
              </a:lnSpc>
            </a:pPr>
            <a:r>
              <a:rPr lang="hu-HU" sz="1000" dirty="0">
                <a:solidFill>
                  <a:schemeClr val="bg1"/>
                </a:solidFill>
                <a:latin typeface="Tele-GroteskUlt" pitchFamily="2" charset="0"/>
                <a:ea typeface="Tele-GroteskUlt" pitchFamily="2" charset="0"/>
                <a:cs typeface="Tele-GroteskUlt" pitchFamily="2" charset="0"/>
              </a:rPr>
              <a:t>SAP TS (</a:t>
            </a:r>
            <a:r>
              <a:rPr lang="hu-HU" sz="1000" dirty="0" err="1">
                <a:solidFill>
                  <a:schemeClr val="bg1"/>
                </a:solidFill>
                <a:latin typeface="Tele-GroteskUlt" pitchFamily="2" charset="0"/>
                <a:ea typeface="Tele-GroteskUlt" pitchFamily="2" charset="0"/>
                <a:cs typeface="Tele-GroteskUlt" pitchFamily="2" charset="0"/>
              </a:rPr>
              <a:t>Act</a:t>
            </a:r>
            <a:r>
              <a:rPr lang="hu-HU" sz="1000" dirty="0">
                <a:solidFill>
                  <a:schemeClr val="bg1"/>
                </a:solidFill>
                <a:latin typeface="Tele-GroteskUlt" pitchFamily="2" charset="0"/>
                <a:ea typeface="Tele-GroteskUlt" pitchFamily="2" charset="0"/>
                <a:cs typeface="Tele-GroteskUlt" pitchFamily="2" charset="0"/>
              </a:rPr>
              <a:t>)</a:t>
            </a:r>
          </a:p>
          <a:p>
            <a:pPr>
              <a:lnSpc>
                <a:spcPct val="90000"/>
              </a:lnSpc>
            </a:pPr>
            <a:r>
              <a:rPr lang="hu-HU" sz="1000" dirty="0">
                <a:solidFill>
                  <a:schemeClr val="bg1"/>
                </a:solidFill>
              </a:rPr>
              <a:t>Levente Nagy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83" name="Text Box 18"/>
          <p:cNvSpPr txBox="1">
            <a:spLocks noChangeArrowheads="1"/>
          </p:cNvSpPr>
          <p:nvPr/>
        </p:nvSpPr>
        <p:spPr bwMode="auto">
          <a:xfrm>
            <a:off x="6172560" y="4379056"/>
            <a:ext cx="1068602" cy="30997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0" tIns="32652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>
              <a:lnSpc>
                <a:spcPct val="90000"/>
              </a:lnSpc>
            </a:pPr>
            <a:r>
              <a:rPr lang="hu-HU" sz="1000" dirty="0" err="1">
                <a:solidFill>
                  <a:schemeClr val="bg1"/>
                </a:solidFill>
                <a:latin typeface="Tele-GroteskUlt" pitchFamily="2" charset="0"/>
                <a:ea typeface="Tele-GroteskUlt" pitchFamily="2" charset="0"/>
                <a:cs typeface="Tele-GroteskUlt" pitchFamily="2" charset="0"/>
              </a:rPr>
              <a:t>Mainframe</a:t>
            </a:r>
            <a:endParaRPr lang="hu-HU" sz="1000" dirty="0">
              <a:solidFill>
                <a:schemeClr val="bg1"/>
              </a:solidFill>
              <a:latin typeface="Tele-GroteskUlt" pitchFamily="2" charset="0"/>
              <a:ea typeface="Tele-GroteskUlt" pitchFamily="2" charset="0"/>
              <a:cs typeface="Tele-GroteskUlt" pitchFamily="2" charset="0"/>
            </a:endParaRPr>
          </a:p>
          <a:p>
            <a:pPr>
              <a:lnSpc>
                <a:spcPct val="90000"/>
              </a:lnSpc>
            </a:pPr>
            <a:r>
              <a:rPr lang="hu-HU" sz="1000" dirty="0">
                <a:solidFill>
                  <a:schemeClr val="bg1"/>
                </a:solidFill>
              </a:rPr>
              <a:t>Manfred Halder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87" name="Text Box 18"/>
          <p:cNvSpPr txBox="1">
            <a:spLocks noChangeArrowheads="1"/>
          </p:cNvSpPr>
          <p:nvPr/>
        </p:nvSpPr>
        <p:spPr bwMode="auto">
          <a:xfrm>
            <a:off x="8271424" y="4379056"/>
            <a:ext cx="864101" cy="30997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0" tIns="32652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  <a:latin typeface="Tele-GroteskUlt" pitchFamily="2" charset="0"/>
              </a:rPr>
              <a:t>IPPS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</a:rPr>
              <a:t>Nabil Karsheh</a:t>
            </a:r>
          </a:p>
        </p:txBody>
      </p:sp>
      <p:sp>
        <p:nvSpPr>
          <p:cNvPr id="189" name="Text Box 18"/>
          <p:cNvSpPr txBox="1">
            <a:spLocks noChangeArrowheads="1"/>
          </p:cNvSpPr>
          <p:nvPr/>
        </p:nvSpPr>
        <p:spPr bwMode="auto">
          <a:xfrm>
            <a:off x="9423687" y="4379057"/>
            <a:ext cx="864101" cy="30997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0" tIns="32652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  <a:latin typeface="Tele-GroteskUlt" pitchFamily="2" charset="0"/>
              </a:rPr>
              <a:t>WSSD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</a:rPr>
              <a:t>Adrienn Boros</a:t>
            </a:r>
          </a:p>
        </p:txBody>
      </p:sp>
      <p:sp>
        <p:nvSpPr>
          <p:cNvPr id="83" name="Text Box 18"/>
          <p:cNvSpPr txBox="1">
            <a:spLocks noChangeArrowheads="1"/>
          </p:cNvSpPr>
          <p:nvPr/>
        </p:nvSpPr>
        <p:spPr bwMode="auto">
          <a:xfrm>
            <a:off x="4331842" y="1944124"/>
            <a:ext cx="1017672" cy="17147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0" tIns="32652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</a:rPr>
              <a:t>Stephen </a:t>
            </a:r>
            <a:r>
              <a:rPr lang="hu-HU" sz="1000" dirty="0" err="1">
                <a:solidFill>
                  <a:schemeClr val="bg1"/>
                </a:solidFill>
              </a:rPr>
              <a:t>Buswell</a:t>
            </a:r>
            <a:r>
              <a:rPr lang="hu-HU" sz="100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85" name="Text Box 18"/>
          <p:cNvSpPr txBox="1">
            <a:spLocks noChangeArrowheads="1"/>
          </p:cNvSpPr>
          <p:nvPr/>
        </p:nvSpPr>
        <p:spPr bwMode="auto">
          <a:xfrm>
            <a:off x="8311200" y="1944125"/>
            <a:ext cx="864101" cy="17147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0" tIns="32652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</a:rPr>
              <a:t>Beáta Szoták</a:t>
            </a:r>
          </a:p>
        </p:txBody>
      </p:sp>
      <p:sp>
        <p:nvSpPr>
          <p:cNvPr id="87" name="Text Box 18"/>
          <p:cNvSpPr txBox="1">
            <a:spLocks noChangeArrowheads="1"/>
          </p:cNvSpPr>
          <p:nvPr/>
        </p:nvSpPr>
        <p:spPr bwMode="auto">
          <a:xfrm>
            <a:off x="9382439" y="1944125"/>
            <a:ext cx="864101" cy="17147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0" tIns="32652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hu-HU" sz="1000" dirty="0" err="1">
                <a:solidFill>
                  <a:schemeClr val="bg1"/>
                </a:solidFill>
              </a:rPr>
              <a:t>tba</a:t>
            </a:r>
            <a:endParaRPr lang="hu-HU" sz="1000" dirty="0">
              <a:solidFill>
                <a:schemeClr val="bg1"/>
              </a:solidFill>
            </a:endParaRPr>
          </a:p>
        </p:txBody>
      </p:sp>
      <p:sp>
        <p:nvSpPr>
          <p:cNvPr id="2" name="Rectangle 1"/>
          <p:cNvSpPr/>
          <p:nvPr/>
        </p:nvSpPr>
        <p:spPr bwMode="gray">
          <a:xfrm>
            <a:off x="402822" y="668544"/>
            <a:ext cx="1819119" cy="1327495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65304" tIns="0" rIns="65304" bIns="32652" rtlCol="0" anchor="ctr"/>
          <a:lstStyle/>
          <a:p>
            <a:pPr indent="2880" defTabSz="414765">
              <a:lnSpc>
                <a:spcPct val="104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hu-HU" kern="0" dirty="0" err="1">
              <a:solidFill>
                <a:srgbClr val="4B4B4B"/>
              </a:solidFill>
              <a:latin typeface="Tele-GroteskNor"/>
              <a:ea typeface="+mn-ea"/>
              <a:cs typeface="+mn-cs"/>
            </a:endParaRPr>
          </a:p>
        </p:txBody>
      </p:sp>
      <p:sp>
        <p:nvSpPr>
          <p:cNvPr id="91" name="Text Box 18"/>
          <p:cNvSpPr txBox="1">
            <a:spLocks noChangeArrowheads="1"/>
          </p:cNvSpPr>
          <p:nvPr/>
        </p:nvSpPr>
        <p:spPr bwMode="auto">
          <a:xfrm>
            <a:off x="1354033" y="1361197"/>
            <a:ext cx="748549" cy="3046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32652" tIns="0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hu-HU" sz="1100" dirty="0">
                <a:solidFill>
                  <a:schemeClr val="tx1"/>
                </a:solidFill>
                <a:latin typeface="Tele-GroteskUlt" pitchFamily="2" charset="0"/>
                <a:ea typeface="Tele-GroteskUlt" pitchFamily="2" charset="0"/>
                <a:cs typeface="Tele-GroteskUlt" pitchFamily="2" charset="0"/>
              </a:rPr>
              <a:t>CEO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hu-HU" sz="1100" dirty="0">
                <a:solidFill>
                  <a:schemeClr val="tx1"/>
                </a:solidFill>
              </a:rPr>
              <a:t>Erik </a:t>
            </a:r>
            <a:r>
              <a:rPr lang="hu-HU" sz="1100" dirty="0" err="1">
                <a:solidFill>
                  <a:schemeClr val="tx1"/>
                </a:solidFill>
              </a:rPr>
              <a:t>Slooten</a:t>
            </a:r>
            <a:endParaRPr lang="hu-HU" sz="1100" dirty="0">
              <a:solidFill>
                <a:schemeClr val="tx1"/>
              </a:solidFill>
            </a:endParaRPr>
          </a:p>
        </p:txBody>
      </p:sp>
      <p:pic>
        <p:nvPicPr>
          <p:cNvPr id="74" name="Picture 2"/>
          <p:cNvPicPr>
            <a:picLocks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7801" y="2432111"/>
            <a:ext cx="621330" cy="700359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Picture 2"/>
          <p:cNvPicPr>
            <a:picLocks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379190" y="2432111"/>
            <a:ext cx="621330" cy="700359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2"/>
          <p:cNvPicPr>
            <a:picLocks noChangeArrowheads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373977" y="2432111"/>
            <a:ext cx="621330" cy="700359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" name="Picture 2"/>
          <p:cNvPicPr>
            <a:picLocks noChangeArrowheads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591769" y="4982353"/>
            <a:ext cx="753004" cy="848452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4" name="Picture 2"/>
          <p:cNvPicPr>
            <a:picLocks noChangeArrowheads="1"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368765" y="2432111"/>
            <a:ext cx="621330" cy="700359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" name="Picture 2"/>
          <p:cNvPicPr>
            <a:picLocks noChangeArrowheads="1"/>
          </p:cNvPicPr>
          <p:nvPr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751943" y="4982353"/>
            <a:ext cx="753004" cy="848452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" name="Picture 2"/>
          <p:cNvPicPr>
            <a:picLocks noChangeArrowheads="1"/>
          </p:cNvPicPr>
          <p:nvPr/>
        </p:nvPicPr>
        <p:blipFill rotWithShape="1"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953702" y="4982353"/>
            <a:ext cx="753004" cy="848452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" name="Picture 2"/>
          <p:cNvPicPr>
            <a:picLocks noChangeArrowheads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342707" y="2432111"/>
            <a:ext cx="621330" cy="700359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" name="Picture 2"/>
          <p:cNvPicPr>
            <a:picLocks noChangeArrowheads="1"/>
          </p:cNvPicPr>
          <p:nvPr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153460" y="4982353"/>
            <a:ext cx="753004" cy="848452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" name="Picture 2"/>
          <p:cNvPicPr>
            <a:picLocks noChangeArrowheads="1"/>
          </p:cNvPicPr>
          <p:nvPr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458583" y="2432111"/>
            <a:ext cx="621330" cy="700359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" name="Picture 2"/>
          <p:cNvPicPr>
            <a:picLocks noChangeArrowheads="1"/>
          </p:cNvPicPr>
          <p:nvPr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32285" y="2432111"/>
            <a:ext cx="621330" cy="700359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1" name="Picture 2"/>
          <p:cNvPicPr>
            <a:picLocks noChangeArrowheads="1"/>
          </p:cNvPicPr>
          <p:nvPr/>
        </p:nvPicPr>
        <p:blipFill rotWithShape="1"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462955" y="1065821"/>
            <a:ext cx="753847" cy="848452"/>
          </a:xfrm>
          <a:prstGeom prst="rect">
            <a:avLst/>
          </a:prstGeom>
          <a:blipFill>
            <a:blip r:embed="rId2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12700">
            <a:solidFill>
              <a:schemeClr val="bg1"/>
            </a:solidFill>
          </a:ln>
          <a:extLst/>
        </p:spPr>
      </p:pic>
      <p:pic>
        <p:nvPicPr>
          <p:cNvPr id="112" name="Picture 2"/>
          <p:cNvPicPr>
            <a:picLocks noChangeArrowheads="1"/>
          </p:cNvPicPr>
          <p:nvPr/>
        </p:nvPicPr>
        <p:blipFill rotWithShape="1"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7801" y="3659873"/>
            <a:ext cx="621330" cy="700359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5" name="Picture 2"/>
          <p:cNvPicPr>
            <a:picLocks noChangeArrowheads="1"/>
          </p:cNvPicPr>
          <p:nvPr/>
        </p:nvPicPr>
        <p:blipFill rotWithShape="1"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379190" y="3659873"/>
            <a:ext cx="621330" cy="700359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6" name="Picture 2"/>
          <p:cNvPicPr>
            <a:picLocks noChangeArrowheads="1"/>
          </p:cNvPicPr>
          <p:nvPr/>
        </p:nvPicPr>
        <p:blipFill rotWithShape="1"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373977" y="3659873"/>
            <a:ext cx="621330" cy="700359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9" name="Picture 2"/>
          <p:cNvPicPr>
            <a:picLocks noChangeArrowheads="1"/>
          </p:cNvPicPr>
          <p:nvPr/>
        </p:nvPicPr>
        <p:blipFill rotWithShape="1"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368765" y="3659873"/>
            <a:ext cx="621330" cy="700359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0" name="Picture 2"/>
          <p:cNvPicPr>
            <a:picLocks noChangeArrowheads="1"/>
          </p:cNvPicPr>
          <p:nvPr/>
        </p:nvPicPr>
        <p:blipFill rotWithShape="1"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342707" y="3659873"/>
            <a:ext cx="621330" cy="700359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1" name="Picture 2"/>
          <p:cNvPicPr>
            <a:picLocks noChangeArrowheads="1"/>
          </p:cNvPicPr>
          <p:nvPr/>
        </p:nvPicPr>
        <p:blipFill rotWithShape="1"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458583" y="3659873"/>
            <a:ext cx="621330" cy="700359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" name="Picture 2"/>
          <p:cNvPicPr>
            <a:picLocks noChangeArrowheads="1"/>
          </p:cNvPicPr>
          <p:nvPr/>
        </p:nvPicPr>
        <p:blipFill rotWithShape="1"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311199" y="1065821"/>
            <a:ext cx="753847" cy="848452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3" name="Picture 2"/>
          <p:cNvPicPr>
            <a:picLocks noChangeArrowheads="1"/>
          </p:cNvPicPr>
          <p:nvPr/>
        </p:nvPicPr>
        <p:blipFill rotWithShape="1"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64343" y="800593"/>
            <a:ext cx="889690" cy="1002717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5" name="Rectangle 124"/>
          <p:cNvSpPr/>
          <p:nvPr/>
        </p:nvSpPr>
        <p:spPr bwMode="gray">
          <a:xfrm>
            <a:off x="9458582" y="1065821"/>
            <a:ext cx="753004" cy="848452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65304" tIns="0" rIns="65304" bIns="32652" rtlCol="0" anchor="ctr"/>
          <a:lstStyle/>
          <a:p>
            <a:pPr indent="2880" algn="ctr" defTabSz="414765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hu-HU" sz="1600" dirty="0" err="1">
              <a:cs typeface="Arial" charset="0"/>
            </a:endParaRPr>
          </a:p>
        </p:txBody>
      </p:sp>
      <p:pic>
        <p:nvPicPr>
          <p:cNvPr id="126" name="Picture 1"/>
          <p:cNvPicPr>
            <a:picLocks noChangeAspect="1" noChangeArrowheads="1"/>
          </p:cNvPicPr>
          <p:nvPr/>
        </p:nvPicPr>
        <p:blipFill rotWithShape="1">
          <a:blip r:embed="rId2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363554" y="2432827"/>
            <a:ext cx="622188" cy="699642"/>
          </a:xfrm>
          <a:prstGeom prst="rect">
            <a:avLst/>
          </a:prstGeom>
          <a:noFill/>
          <a:ln w="12700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7" name="Picture 1"/>
          <p:cNvPicPr>
            <a:picLocks noChangeArrowheads="1"/>
          </p:cNvPicPr>
          <p:nvPr/>
        </p:nvPicPr>
        <p:blipFill rotWithShape="1"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347919" y="2432795"/>
            <a:ext cx="620922" cy="699674"/>
          </a:xfrm>
          <a:prstGeom prst="rect">
            <a:avLst/>
          </a:prstGeom>
          <a:noFill/>
          <a:ln w="12700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8" name="Kép 2"/>
          <p:cNvPicPr>
            <a:picLocks/>
          </p:cNvPicPr>
          <p:nvPr/>
        </p:nvPicPr>
        <p:blipFill rotWithShape="1">
          <a:blip r:embed="rId3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58342" y="2432827"/>
            <a:ext cx="619604" cy="699674"/>
          </a:xfrm>
          <a:prstGeom prst="rect">
            <a:avLst/>
          </a:prstGeom>
          <a:noFill/>
          <a:ln w="12700">
            <a:solidFill>
              <a:schemeClr val="bg1"/>
            </a:solidFill>
            <a:miter lim="800000"/>
            <a:headEnd/>
            <a:tailEnd/>
          </a:ln>
          <a:effectLst/>
        </p:spPr>
      </p:pic>
      <p:pic>
        <p:nvPicPr>
          <p:cNvPr id="129" name="Picture 14"/>
          <p:cNvPicPr>
            <a:picLocks noChangeArrowheads="1"/>
          </p:cNvPicPr>
          <p:nvPr/>
        </p:nvPicPr>
        <p:blipFill rotWithShape="1">
          <a:blip r:embed="rId3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353130" y="2432795"/>
            <a:ext cx="622091" cy="699674"/>
          </a:xfrm>
          <a:prstGeom prst="rect">
            <a:avLst/>
          </a:prstGeom>
          <a:solidFill>
            <a:srgbClr val="A4A4A4"/>
          </a:solidFill>
          <a:ln w="12700" algn="ctr">
            <a:solidFill>
              <a:schemeClr val="bg1"/>
            </a:solidFill>
            <a:round/>
            <a:headEnd/>
            <a:tailEnd/>
          </a:ln>
          <a:effectLst/>
          <a:extLst/>
        </p:spPr>
      </p:pic>
      <p:pic>
        <p:nvPicPr>
          <p:cNvPr id="131" name="Picture 15"/>
          <p:cNvPicPr>
            <a:picLocks noChangeArrowheads="1"/>
          </p:cNvPicPr>
          <p:nvPr/>
        </p:nvPicPr>
        <p:blipFill rotWithShape="1">
          <a:blip r:embed="rId3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363554" y="3659873"/>
            <a:ext cx="622188" cy="700359"/>
          </a:xfrm>
          <a:prstGeom prst="rect">
            <a:avLst/>
          </a:prstGeom>
          <a:noFill/>
          <a:ln w="12700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32" name="Picture 3"/>
          <p:cNvPicPr>
            <a:picLocks/>
          </p:cNvPicPr>
          <p:nvPr/>
        </p:nvPicPr>
        <p:blipFill rotWithShape="1"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3130" y="3659873"/>
            <a:ext cx="622188" cy="700359"/>
          </a:xfrm>
          <a:prstGeom prst="rect">
            <a:avLst/>
          </a:prstGeom>
          <a:noFill/>
          <a:ln w="12700">
            <a:solidFill>
              <a:schemeClr val="bg1"/>
            </a:solidFill>
            <a:miter lim="800000"/>
            <a:headEnd/>
            <a:tailEnd/>
          </a:ln>
          <a:effectLst/>
        </p:spPr>
      </p:pic>
      <p:pic>
        <p:nvPicPr>
          <p:cNvPr id="133" name="Picture 4"/>
          <p:cNvPicPr>
            <a:picLocks noChangeArrowheads="1"/>
          </p:cNvPicPr>
          <p:nvPr/>
        </p:nvPicPr>
        <p:blipFill rotWithShape="1">
          <a:blip r:embed="rId3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11478" y="4982353"/>
            <a:ext cx="744774" cy="84845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5" name="Picture 15"/>
          <p:cNvPicPr>
            <a:picLocks noChangeArrowheads="1"/>
          </p:cNvPicPr>
          <p:nvPr/>
        </p:nvPicPr>
        <p:blipFill rotWithShape="1">
          <a:blip r:embed="rId3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58341" y="3660559"/>
            <a:ext cx="622188" cy="700359"/>
          </a:xfrm>
          <a:prstGeom prst="rect">
            <a:avLst/>
          </a:prstGeom>
          <a:noFill/>
          <a:ln w="12700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76" name="Picture 2" descr="C:\Users\nonemeth\Documents\_new\01 ITSH\Stewen.jpg"/>
          <p:cNvPicPr>
            <a:picLocks noChangeArrowheads="1"/>
          </p:cNvPicPr>
          <p:nvPr/>
        </p:nvPicPr>
        <p:blipFill rotWithShape="1">
          <a:blip r:embed="rId3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340670" y="1065821"/>
            <a:ext cx="753004" cy="848452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7" name="Dia számának helye 1"/>
          <p:cNvSpPr>
            <a:spLocks noGrp="1"/>
          </p:cNvSpPr>
          <p:nvPr>
            <p:ph type="sldNum" sz="quarter" idx="12"/>
          </p:nvPr>
        </p:nvSpPr>
        <p:spPr>
          <a:xfrm>
            <a:off x="10854915" y="5955438"/>
            <a:ext cx="360000" cy="324000"/>
          </a:xfrm>
        </p:spPr>
        <p:txBody>
          <a:bodyPr/>
          <a:lstStyle/>
          <a:p>
            <a:pPr>
              <a:defRPr/>
            </a:pPr>
            <a:fld id="{8E6BBBCF-7E96-490B-8A3E-27250659856F}" type="slidenum">
              <a:rPr lang="en-US" smtClean="0">
                <a:solidFill>
                  <a:srgbClr val="4B4B4B"/>
                </a:solidFill>
              </a:rPr>
              <a:pPr>
                <a:defRPr/>
              </a:pPr>
              <a:t>21</a:t>
            </a:fld>
            <a:endParaRPr lang="en-US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7579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buSzPct val="75000"/>
              <a:defRPr/>
            </a:pPr>
            <a:r>
              <a:rPr lang="en-US" smtClean="0">
                <a:solidFill>
                  <a:schemeClr val="bg1"/>
                </a:solidFill>
              </a:rPr>
              <a:t>28/10/2016</a:t>
            </a:r>
            <a:endParaRPr lang="de-DE">
              <a:solidFill>
                <a:schemeClr val="bg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buSzPct val="75000"/>
              <a:defRPr/>
            </a:pPr>
            <a:r>
              <a:rPr lang="en-US" smtClean="0">
                <a:solidFill>
                  <a:schemeClr val="bg1"/>
                </a:solidFill>
              </a:rPr>
              <a:t>– internal -    - ITSH Company Presentation / Zsuzsanna Katalin Sümegi -</a:t>
            </a:r>
            <a:endParaRPr lang="de-DE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buSzPct val="75000"/>
              <a:defRPr/>
            </a:pPr>
            <a:fld id="{3D740113-CC87-459A-BCF2-119636791796}" type="slidenum">
              <a:rPr lang="de-DE" smtClean="0">
                <a:solidFill>
                  <a:schemeClr val="bg1"/>
                </a:solidFill>
              </a:rPr>
              <a:pPr fontAlgn="base">
                <a:spcAft>
                  <a:spcPct val="0"/>
                </a:spcAft>
                <a:buSzPct val="75000"/>
                <a:defRPr/>
              </a:pPr>
              <a:t>22</a:t>
            </a:fld>
            <a:endParaRPr lang="de-DE">
              <a:solidFill>
                <a:schemeClr val="bg1"/>
              </a:solidFill>
            </a:endParaRPr>
          </a:p>
        </p:txBody>
      </p:sp>
      <p:pic>
        <p:nvPicPr>
          <p:cNvPr id="6" name="Kép 2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1657" y="2858537"/>
            <a:ext cx="2337823" cy="1831130"/>
          </a:xfrm>
          <a:prstGeom prst="rect">
            <a:avLst/>
          </a:prstGeom>
        </p:spPr>
      </p:pic>
      <p:sp>
        <p:nvSpPr>
          <p:cNvPr id="7" name="Freeform 5"/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2857515" y="1198861"/>
            <a:ext cx="8056451" cy="4014413"/>
          </a:xfrm>
          <a:prstGeom prst="wedgeRectCallout">
            <a:avLst>
              <a:gd name="adj1" fmla="val -55693"/>
              <a:gd name="adj2" fmla="val 18333"/>
            </a:avLst>
          </a:prstGeom>
          <a:solidFill>
            <a:srgbClr val="FFFFFF">
              <a:alpha val="70000"/>
            </a:srgbClr>
          </a:solidFill>
          <a:ln>
            <a:headEnd type="none" w="med" len="med"/>
            <a:tailEnd type="none" w="med" len="med"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ex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90000" tIns="46800" rIns="90000" bIns="46800" anchor="b"/>
          <a:lstStyle/>
          <a:p>
            <a:pPr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hu-HU" sz="1600" dirty="0">
              <a:solidFill>
                <a:srgbClr val="000000"/>
              </a:solidFill>
              <a:latin typeface="Tele-GroteskEENor" pitchFamily="2" charset="0"/>
            </a:endParaRPr>
          </a:p>
        </p:txBody>
      </p:sp>
      <p:sp>
        <p:nvSpPr>
          <p:cNvPr id="8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084556" y="1402539"/>
            <a:ext cx="3992719" cy="6810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0" rIns="90000" bIns="0" anchor="ctr"/>
          <a:lstStyle/>
          <a:p>
            <a:r>
              <a:rPr lang="en-US" sz="2000" dirty="0" smtClean="0">
                <a:solidFill>
                  <a:srgbClr val="4B4B4B"/>
                </a:solidFill>
              </a:rPr>
              <a:t>Stable working place</a:t>
            </a:r>
          </a:p>
        </p:txBody>
      </p:sp>
      <p:sp>
        <p:nvSpPr>
          <p:cNvPr id="9" name="Rectangle 7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056090" y="1948202"/>
            <a:ext cx="2608470" cy="6795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0" rIns="90000" bIns="0" anchor="ctr"/>
          <a:lstStyle/>
          <a:p>
            <a:r>
              <a:rPr lang="hu-HU" sz="2000" dirty="0" smtClean="0">
                <a:solidFill>
                  <a:srgbClr val="4B4B4B"/>
                </a:solidFill>
              </a:rPr>
              <a:t>C</a:t>
            </a:r>
            <a:r>
              <a:rPr lang="en-US" sz="2000" dirty="0" err="1" smtClean="0">
                <a:solidFill>
                  <a:srgbClr val="4B4B4B"/>
                </a:solidFill>
              </a:rPr>
              <a:t>afeteria</a:t>
            </a:r>
            <a:endParaRPr lang="en-US" sz="2000" dirty="0" smtClean="0">
              <a:solidFill>
                <a:srgbClr val="4B4B4B"/>
              </a:solidFill>
            </a:endParaRPr>
          </a:p>
        </p:txBody>
      </p:sp>
      <p:sp>
        <p:nvSpPr>
          <p:cNvPr id="10" name="Rectangle 8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674131" y="2152325"/>
            <a:ext cx="2382430" cy="6795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0" rIns="90000" bIns="0" anchor="ctr"/>
          <a:lstStyle/>
          <a:p>
            <a:r>
              <a:rPr lang="en-US" sz="2000" dirty="0" smtClean="0">
                <a:solidFill>
                  <a:srgbClr val="4B4B4B"/>
                </a:solidFill>
              </a:rPr>
              <a:t>Innovative tasks</a:t>
            </a:r>
          </a:p>
        </p:txBody>
      </p:sp>
      <p:sp>
        <p:nvSpPr>
          <p:cNvPr id="11" name="Rectangle 9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057192" y="2764693"/>
            <a:ext cx="3516633" cy="6795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0" rIns="90000" bIns="0" anchor="ctr"/>
          <a:lstStyle/>
          <a:p>
            <a:r>
              <a:rPr lang="en-US" sz="2000" dirty="0" smtClean="0">
                <a:solidFill>
                  <a:srgbClr val="4B4B4B"/>
                </a:solidFill>
              </a:rPr>
              <a:t>Professional trainings</a:t>
            </a:r>
          </a:p>
        </p:txBody>
      </p:sp>
      <p:sp>
        <p:nvSpPr>
          <p:cNvPr id="12" name="Rectangle 10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365677" y="4482872"/>
            <a:ext cx="2902741" cy="6795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0" rIns="90000" bIns="0" anchor="ctr"/>
          <a:lstStyle/>
          <a:p>
            <a:r>
              <a:rPr lang="en-US" sz="2000" dirty="0" smtClean="0">
                <a:solidFill>
                  <a:srgbClr val="4B4B4B"/>
                </a:solidFill>
              </a:rPr>
              <a:t>Facebook</a:t>
            </a:r>
            <a:r>
              <a:rPr lang="hu-HU" sz="2000" dirty="0" smtClean="0">
                <a:solidFill>
                  <a:srgbClr val="4B4B4B"/>
                </a:solidFill>
              </a:rPr>
              <a:t>/</a:t>
            </a:r>
            <a:r>
              <a:rPr lang="hu-HU" sz="2000" dirty="0" err="1" smtClean="0">
                <a:solidFill>
                  <a:srgbClr val="4B4B4B"/>
                </a:solidFill>
              </a:rPr>
              <a:t>LinkedIn</a:t>
            </a:r>
            <a:r>
              <a:rPr lang="en-US" sz="2000" dirty="0" smtClean="0">
                <a:solidFill>
                  <a:srgbClr val="4B4B4B"/>
                </a:solidFill>
              </a:rPr>
              <a:t> community</a:t>
            </a:r>
            <a:endParaRPr lang="en-US" sz="2000" dirty="0">
              <a:solidFill>
                <a:srgbClr val="4B4B4B"/>
              </a:solidFill>
            </a:endParaRPr>
          </a:p>
        </p:txBody>
      </p:sp>
      <p:sp>
        <p:nvSpPr>
          <p:cNvPr id="13" name="Rectangle 11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7965435" y="2355556"/>
            <a:ext cx="2786502" cy="6795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0" rIns="90000" bIns="0" anchor="ctr"/>
          <a:lstStyle/>
          <a:p>
            <a:r>
              <a:rPr lang="en-US" sz="2000" dirty="0" smtClean="0">
                <a:solidFill>
                  <a:srgbClr val="4B4B4B"/>
                </a:solidFill>
              </a:rPr>
              <a:t>Young company spirit </a:t>
            </a:r>
          </a:p>
        </p:txBody>
      </p:sp>
      <p:sp>
        <p:nvSpPr>
          <p:cNvPr id="14" name="Rectangle 12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8225588" y="3329833"/>
            <a:ext cx="2608470" cy="6795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0" rIns="90000" bIns="0" anchor="ctr"/>
          <a:lstStyle/>
          <a:p>
            <a:r>
              <a:rPr lang="en-US" sz="2000" dirty="0" smtClean="0">
                <a:solidFill>
                  <a:srgbClr val="4B4B4B"/>
                </a:solidFill>
              </a:rPr>
              <a:t>Sport opportunities</a:t>
            </a:r>
          </a:p>
        </p:txBody>
      </p:sp>
      <p:sp>
        <p:nvSpPr>
          <p:cNvPr id="15" name="Rectangle 14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7689322" y="4118759"/>
            <a:ext cx="2608470" cy="6795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0" rIns="90000" bIns="0" anchor="ctr"/>
          <a:lstStyle/>
          <a:p>
            <a:r>
              <a:rPr lang="en-US" sz="2000" dirty="0" smtClean="0">
                <a:solidFill>
                  <a:srgbClr val="4B4B4B"/>
                </a:solidFill>
              </a:rPr>
              <a:t>Company events</a:t>
            </a:r>
          </a:p>
        </p:txBody>
      </p:sp>
      <p:sp>
        <p:nvSpPr>
          <p:cNvPr id="16" name="Rectangle 15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7983439" y="1402539"/>
            <a:ext cx="2586465" cy="6135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0" rIns="90000" bIns="0" anchor="ctr"/>
          <a:lstStyle/>
          <a:p>
            <a:r>
              <a:rPr lang="en-US" sz="2000" dirty="0" smtClean="0">
                <a:solidFill>
                  <a:srgbClr val="4B4B4B"/>
                </a:solidFill>
              </a:rPr>
              <a:t>Language courses</a:t>
            </a:r>
          </a:p>
        </p:txBody>
      </p:sp>
      <p:pic>
        <p:nvPicPr>
          <p:cNvPr id="18" name="Kép 5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7542" y="1413038"/>
            <a:ext cx="782081" cy="636321"/>
          </a:xfrm>
          <a:prstGeom prst="rect">
            <a:avLst/>
          </a:prstGeom>
        </p:spPr>
      </p:pic>
      <p:pic>
        <p:nvPicPr>
          <p:cNvPr id="19" name="Kép 6"/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7859" y="2805943"/>
            <a:ext cx="1098769" cy="597015"/>
          </a:xfrm>
          <a:prstGeom prst="rect">
            <a:avLst/>
          </a:prstGeom>
        </p:spPr>
      </p:pic>
      <p:pic>
        <p:nvPicPr>
          <p:cNvPr id="20" name="Kép 7"/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57218" y="3244832"/>
            <a:ext cx="974713" cy="692268"/>
          </a:xfrm>
          <a:prstGeom prst="rect">
            <a:avLst/>
          </a:prstGeom>
        </p:spPr>
      </p:pic>
      <p:pic>
        <p:nvPicPr>
          <p:cNvPr id="21" name="Kép 8"/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01926" y="4389855"/>
            <a:ext cx="1255664" cy="741001"/>
          </a:xfrm>
          <a:prstGeom prst="rect">
            <a:avLst/>
          </a:prstGeom>
        </p:spPr>
      </p:pic>
      <p:pic>
        <p:nvPicPr>
          <p:cNvPr id="22" name="Kép 9"/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7212" y="4045258"/>
            <a:ext cx="1101360" cy="753020"/>
          </a:xfrm>
          <a:prstGeom prst="rect">
            <a:avLst/>
          </a:prstGeom>
        </p:spPr>
      </p:pic>
      <p:pic>
        <p:nvPicPr>
          <p:cNvPr id="23" name="Kép 10"/>
          <p:cNvPicPr>
            <a:picLocks noChangeAspect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90207" y="1391942"/>
            <a:ext cx="753261" cy="634708"/>
          </a:xfrm>
          <a:prstGeom prst="rect">
            <a:avLst/>
          </a:prstGeom>
        </p:spPr>
      </p:pic>
      <p:pic>
        <p:nvPicPr>
          <p:cNvPr id="24" name="Kép 11"/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69475" y="2365558"/>
            <a:ext cx="1097624" cy="558028"/>
          </a:xfrm>
          <a:prstGeom prst="rect">
            <a:avLst/>
          </a:prstGeom>
        </p:spPr>
      </p:pic>
      <p:pic>
        <p:nvPicPr>
          <p:cNvPr id="25" name="Kép 12"/>
          <p:cNvPicPr>
            <a:picLocks noChangeAspect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0062" y="1571063"/>
            <a:ext cx="958356" cy="588615"/>
          </a:xfrm>
          <a:prstGeom prst="rect">
            <a:avLst/>
          </a:prstGeom>
        </p:spPr>
      </p:pic>
      <p:pic>
        <p:nvPicPr>
          <p:cNvPr id="26" name="Kép 13"/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92792" y="2140871"/>
            <a:ext cx="1018267" cy="744301"/>
          </a:xfrm>
          <a:prstGeom prst="rect">
            <a:avLst/>
          </a:prstGeom>
        </p:spPr>
      </p:pic>
      <p:pic>
        <p:nvPicPr>
          <p:cNvPr id="27" name="Kép 14"/>
          <p:cNvPicPr>
            <a:picLocks noChangeAspect="1"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7892" y="3240088"/>
            <a:ext cx="894463" cy="883805"/>
          </a:xfrm>
          <a:prstGeom prst="rect">
            <a:avLst/>
          </a:prstGeom>
        </p:spPr>
      </p:pic>
      <p:sp>
        <p:nvSpPr>
          <p:cNvPr id="28" name="Rectangle 8"/>
          <p:cNvSpPr>
            <a:spLocks noChangeArrowheads="1"/>
          </p:cNvSpPr>
          <p:nvPr/>
        </p:nvSpPr>
        <p:spPr bwMode="auto">
          <a:xfrm>
            <a:off x="376509" y="244921"/>
            <a:ext cx="10099819" cy="11910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>
              <a:lnSpc>
                <a:spcPct val="90000"/>
              </a:lnSpc>
              <a:buClr>
                <a:srgbClr val="E20074"/>
              </a:buClr>
              <a:buSzPct val="75000"/>
              <a:buFont typeface="Wingdings" pitchFamily="2" charset="2"/>
              <a:buNone/>
            </a:pPr>
            <a:r>
              <a:rPr lang="hu-HU" sz="2800" dirty="0">
                <a:solidFill>
                  <a:srgbClr val="FFFFFF"/>
                </a:solidFill>
                <a:latin typeface="+mj-lt"/>
              </a:rPr>
              <a:t>WHAT WE OFFER FOR OUR EMPLOYEES</a:t>
            </a:r>
            <a:endParaRPr lang="en-US" sz="2800" dirty="0" smtClean="0">
              <a:solidFill>
                <a:srgbClr val="E20074"/>
              </a:solidFill>
              <a:latin typeface="+mj-lt"/>
            </a:endParaRPr>
          </a:p>
        </p:txBody>
      </p:sp>
      <p:sp>
        <p:nvSpPr>
          <p:cNvPr id="30" name="Rectangle 29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3583395" y="3581183"/>
            <a:ext cx="3205845" cy="6795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0" rIns="90000" bIns="0" anchor="ctr"/>
          <a:lstStyle/>
          <a:p>
            <a:r>
              <a:rPr lang="en-US" sz="2000" dirty="0" smtClean="0">
                <a:solidFill>
                  <a:srgbClr val="4B4B4B"/>
                </a:solidFill>
              </a:rPr>
              <a:t>Carrier opportunity</a:t>
            </a:r>
            <a:r>
              <a:rPr lang="en-US" sz="1600" dirty="0" smtClean="0">
                <a:solidFill>
                  <a:srgbClr val="4B4B4B"/>
                </a:solidFill>
              </a:rPr>
              <a:t>:</a:t>
            </a:r>
          </a:p>
          <a:p>
            <a:r>
              <a:rPr lang="en-US" sz="1400" dirty="0" smtClean="0">
                <a:solidFill>
                  <a:srgbClr val="4B4B4B"/>
                </a:solidFill>
              </a:rPr>
              <a:t>It is supported to move within the department after 6 month, after 1</a:t>
            </a:r>
            <a:r>
              <a:rPr lang="hu-HU" sz="1400" dirty="0" smtClean="0">
                <a:solidFill>
                  <a:srgbClr val="4B4B4B"/>
                </a:solidFill>
              </a:rPr>
              <a:t>,5</a:t>
            </a:r>
            <a:r>
              <a:rPr lang="en-US" sz="1400" dirty="0" smtClean="0">
                <a:solidFill>
                  <a:srgbClr val="4B4B4B"/>
                </a:solidFill>
              </a:rPr>
              <a:t> year</a:t>
            </a:r>
            <a:r>
              <a:rPr lang="hu-HU" sz="1400" dirty="0" smtClean="0">
                <a:solidFill>
                  <a:srgbClr val="4B4B4B"/>
                </a:solidFill>
              </a:rPr>
              <a:t>s</a:t>
            </a:r>
            <a:r>
              <a:rPr lang="en-US" sz="1400" dirty="0" smtClean="0">
                <a:solidFill>
                  <a:srgbClr val="4B4B4B"/>
                </a:solidFill>
              </a:rPr>
              <a:t> within the company</a:t>
            </a:r>
          </a:p>
        </p:txBody>
      </p:sp>
      <p:sp>
        <p:nvSpPr>
          <p:cNvPr id="29" name="Dia számának helye 1"/>
          <p:cNvSpPr txBox="1">
            <a:spLocks/>
          </p:cNvSpPr>
          <p:nvPr/>
        </p:nvSpPr>
        <p:spPr bwMode="gray">
          <a:xfrm>
            <a:off x="10988400" y="5984401"/>
            <a:ext cx="360000" cy="324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r" defTabSz="576226" rtl="0" eaLnBrk="1" latinLnBrk="0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 kern="1200">
                <a:solidFill>
                  <a:schemeClr val="tx1"/>
                </a:solidFill>
                <a:latin typeface="Tele-GroteskNor" pitchFamily="2" charset="0"/>
                <a:ea typeface="+mn-ea"/>
                <a:cs typeface="Arial Unicode MS" pitchFamily="34" charset="-128"/>
              </a:defRPr>
            </a:lvl1pPr>
            <a:lvl2pPr marL="576072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52144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28216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04288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80360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56432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32504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08576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8E6BBBCF-7E96-490B-8A3E-27250659856F}" type="slidenum">
              <a:rPr lang="en-US" smtClean="0">
                <a:solidFill>
                  <a:srgbClr val="4B4B4B"/>
                </a:solidFill>
              </a:rPr>
              <a:pPr>
                <a:defRPr/>
              </a:pPr>
              <a:t>22</a:t>
            </a:fld>
            <a:endParaRPr lang="en-US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1021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3851" y="3200403"/>
            <a:ext cx="9886690" cy="1123384"/>
          </a:xfrm>
        </p:spPr>
        <p:txBody>
          <a:bodyPr/>
          <a:lstStyle/>
          <a:p>
            <a:r>
              <a:rPr lang="hu-HU" dirty="0" err="1" smtClean="0"/>
              <a:t>Thank</a:t>
            </a:r>
            <a:r>
              <a:rPr lang="hu-HU" dirty="0" smtClean="0"/>
              <a:t> </a:t>
            </a:r>
            <a:r>
              <a:rPr lang="hu-HU" dirty="0" err="1" smtClean="0"/>
              <a:t>you</a:t>
            </a:r>
            <a:r>
              <a:rPr lang="hu-HU" dirty="0" smtClean="0"/>
              <a:t>!</a:t>
            </a:r>
            <a:br>
              <a:rPr lang="hu-HU" dirty="0" smtClean="0"/>
            </a:br>
            <a:r>
              <a:rPr lang="hu-HU" dirty="0"/>
              <a:t>	</a:t>
            </a:r>
            <a:r>
              <a:rPr lang="hu-HU" dirty="0" err="1" smtClean="0"/>
              <a:t>Questions</a:t>
            </a:r>
            <a:r>
              <a:rPr lang="hu-HU" dirty="0" smtClean="0"/>
              <a:t>?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054821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1ED8236-F742-4994-B025-3D78EEC04644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646147" name="Rectang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>
                <a:latin typeface="TeleGrotesk Headline Ultra" pitchFamily="2" charset="0"/>
              </a:rPr>
              <a:t>THANK YOU!</a:t>
            </a:r>
            <a:endParaRPr lang="en-US" dirty="0" smtClean="0">
              <a:latin typeface="TeleGrotesk Headline Ultra" pitchFamily="2" charset="0"/>
            </a:endParaRPr>
          </a:p>
        </p:txBody>
      </p:sp>
      <p:graphicFrame>
        <p:nvGraphicFramePr>
          <p:cNvPr id="646146" name="Object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00036" cy="1500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3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00036" cy="1500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76509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2"/>
          <p:cNvSpPr>
            <a:spLocks noChangeArrowheads="1"/>
          </p:cNvSpPr>
          <p:nvPr/>
        </p:nvSpPr>
        <p:spPr bwMode="gray">
          <a:xfrm>
            <a:off x="226198" y="246006"/>
            <a:ext cx="11069680" cy="6806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hu-HU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PROJECT MANAGEMENT 1 – agenda</a:t>
            </a:r>
          </a:p>
        </p:txBody>
      </p:sp>
      <p:sp>
        <p:nvSpPr>
          <p:cNvPr id="18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0761939" y="6007663"/>
            <a:ext cx="364066" cy="271507"/>
          </a:xfrm>
        </p:spPr>
        <p:txBody>
          <a:bodyPr/>
          <a:lstStyle/>
          <a:p>
            <a:pPr>
              <a:defRPr/>
            </a:pPr>
            <a:fld id="{ECD947EA-C75C-4BD6-A5B3-2D27ECB9666E}" type="slidenum">
              <a:rPr lang="en-US" smtClean="0">
                <a:solidFill>
                  <a:srgbClr val="4B4B4B"/>
                </a:solidFill>
              </a:rPr>
              <a:pPr>
                <a:defRPr/>
              </a:pPr>
              <a:t>3</a:t>
            </a:fld>
            <a:endParaRPr lang="en-US" dirty="0">
              <a:solidFill>
                <a:srgbClr val="4B4B4B"/>
              </a:solidFill>
            </a:endParaRPr>
          </a:p>
        </p:txBody>
      </p:sp>
      <p:pic>
        <p:nvPicPr>
          <p:cNvPr id="16385" name="Picture 1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31208" y="5009151"/>
            <a:ext cx="2664670" cy="13849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222581" y="6007663"/>
            <a:ext cx="5168931" cy="271507"/>
          </a:xfrm>
        </p:spPr>
        <p:txBody>
          <a:bodyPr/>
          <a:lstStyle/>
          <a:p>
            <a:pPr>
              <a:defRPr/>
            </a:pPr>
            <a:r>
              <a:rPr lang="en-US" dirty="0" smtClean="0">
                <a:solidFill>
                  <a:srgbClr val="4B4B4B"/>
                </a:solidFill>
              </a:rPr>
              <a:t>ITSH Introduction</a:t>
            </a:r>
            <a:endParaRPr lang="en-US" dirty="0">
              <a:solidFill>
                <a:srgbClr val="4B4B4B"/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8692056"/>
              </p:ext>
            </p:extLst>
          </p:nvPr>
        </p:nvGraphicFramePr>
        <p:xfrm>
          <a:off x="451643" y="1459865"/>
          <a:ext cx="10435431" cy="2941320"/>
        </p:xfrm>
        <a:graphic>
          <a:graphicData uri="http://schemas.openxmlformats.org/drawingml/2006/table">
            <a:tbl>
              <a:tblPr/>
              <a:tblGrid>
                <a:gridCol w="656488"/>
                <a:gridCol w="836852"/>
                <a:gridCol w="2172054"/>
                <a:gridCol w="3679071"/>
                <a:gridCol w="3090966"/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Week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33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Dat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33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Subject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33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Detail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33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Slide deck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3399"/>
                    </a:solidFill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 </a:t>
                      </a:r>
                      <a:r>
                        <a:rPr lang="hu-H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week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8.09.0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troductio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TSH/S&amp;P general introductio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THS_Company_Presentation_HU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marL="0" marR="0" indent="0" algn="ctr" defTabSz="45717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 </a:t>
                      </a:r>
                      <a:r>
                        <a:rPr lang="hu-H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week</a:t>
                      </a:r>
                      <a:endParaRPr lang="en-US" sz="11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8.09.1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ject management basic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M introduction, knowledge area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TE_Project_management_2018_semester_II_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.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week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8.09.1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ject organization, phase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ject stakeholders, phase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TE_Project_management_2018_semester_II_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.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week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8.09.2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ject Initiation/Plannin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ject initiation/plannin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TE_Project_management_2018_semester_II_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.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week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8.10.0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MO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MO introductio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MO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.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week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8.10.1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ject Plannin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lanning/project plan (Cost, risk, time, org, communication)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TE_Project_management_2018_semester_II_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.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week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8.10.1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ject Executio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ject execution, change, stakeholder m.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TE_Project_management_2018_semester_II_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.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week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8.10.2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ject Closin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ject closing, reporting, LL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TE_Project_management_2018_semester_II_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.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week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8.10.3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utumn holiday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.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week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8.11.0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utsourcing and Offshorin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trategic Outsourcing and Offshorin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trategic Outsourcing and Offshorin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.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week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8.11.1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mpany business communicatio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usiness communicatio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usiness communicatio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.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week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8.11.2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mpany strategy and cultur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eneral company startegy introductio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trategy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.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week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8.11.2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nsultatio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riefing session for the exam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/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4.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week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8.12.0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u-H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xam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/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.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week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8.12.1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pare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ate</a:t>
                      </a:r>
                      <a:r>
                        <a:rPr lang="hu-H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hu-H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or</a:t>
                      </a:r>
                      <a:r>
                        <a:rPr lang="hu-HU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2nd </a:t>
                      </a:r>
                      <a:r>
                        <a:rPr lang="hu-HU" sz="11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xam</a:t>
                      </a:r>
                      <a:r>
                        <a:rPr lang="hu-HU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(</a:t>
                      </a:r>
                      <a:r>
                        <a:rPr lang="hu-HU" sz="11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ptional</a:t>
                      </a:r>
                      <a:r>
                        <a:rPr lang="hu-HU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/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4222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>
                <a:solidFill>
                  <a:srgbClr val="4B4B4B"/>
                </a:solidFill>
              </a:rPr>
              <a:t>ITSH Introduction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4" name="Rechteck 17"/>
          <p:cNvSpPr/>
          <p:nvPr/>
        </p:nvSpPr>
        <p:spPr bwMode="gray">
          <a:xfrm>
            <a:off x="5685556" y="3900668"/>
            <a:ext cx="3402612" cy="118653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marL="288000" lvl="1" algn="ctr">
              <a:spcBef>
                <a:spcPts val="420"/>
              </a:spcBef>
              <a:spcAft>
                <a:spcPts val="300"/>
              </a:spcAft>
              <a:buClr>
                <a:srgbClr val="646464"/>
              </a:buClr>
              <a:buSzPct val="75000"/>
              <a:defRPr/>
            </a:pPr>
            <a:endParaRPr lang="en-US" kern="0" cap="all">
              <a:solidFill>
                <a:srgbClr val="E20074"/>
              </a:solidFill>
              <a:latin typeface="TeleGrotesk Headline Ultra" pitchFamily="2" charset="0"/>
              <a:ea typeface="MS PGothic" pitchFamily="34" charset="-128"/>
              <a:cs typeface="Arial" charset="0"/>
            </a:endParaRPr>
          </a:p>
        </p:txBody>
      </p:sp>
      <p:sp>
        <p:nvSpPr>
          <p:cNvPr id="5" name="Rectangle 10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683555" y="3980171"/>
            <a:ext cx="3320598" cy="871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000" tIns="36000" rIns="0" bIns="46800"/>
          <a:lstStyle/>
          <a:p>
            <a:pPr marL="0" lvl="1" algn="ctr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en-GB" sz="14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T-Systems delivers </a:t>
            </a:r>
            <a:r>
              <a:rPr lang="en-GB" sz="1400" dirty="0" smtClean="0">
                <a:solidFill>
                  <a:srgbClr val="4B4B4B"/>
                </a:solidFill>
              </a:rPr>
              <a:t>information &amp; communication technology</a:t>
            </a:r>
            <a:r>
              <a:rPr lang="en-GB" sz="14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 solutions for major corporations and public-sector organizations worldwide.</a:t>
            </a:r>
            <a:endParaRPr lang="en-GB" sz="1400" kern="0" dirty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7" name="Rechteck 20"/>
          <p:cNvSpPr/>
          <p:nvPr/>
        </p:nvSpPr>
        <p:spPr bwMode="gray">
          <a:xfrm>
            <a:off x="359973" y="858656"/>
            <a:ext cx="10647163" cy="422854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marL="288000" lvl="1" algn="ctr">
              <a:spcBef>
                <a:spcPts val="420"/>
              </a:spcBef>
              <a:spcAft>
                <a:spcPts val="300"/>
              </a:spcAft>
              <a:buClr>
                <a:srgbClr val="646464"/>
              </a:buClr>
              <a:buSzPct val="75000"/>
              <a:defRPr/>
            </a:pPr>
            <a:endParaRPr lang="en-US" kern="0" cap="all" dirty="0">
              <a:solidFill>
                <a:srgbClr val="E20074"/>
              </a:solidFill>
              <a:latin typeface="TeleGrotesk Headline Ultra" pitchFamily="2" charset="0"/>
              <a:ea typeface="MS PGothic" pitchFamily="34" charset="-128"/>
              <a:cs typeface="Arial" charset="0"/>
            </a:endParaRPr>
          </a:p>
        </p:txBody>
      </p:sp>
      <p:sp>
        <p:nvSpPr>
          <p:cNvPr id="17" name="Rectangle 2"/>
          <p:cNvSpPr>
            <a:spLocks noChangeArrowheads="1"/>
          </p:cNvSpPr>
          <p:nvPr/>
        </p:nvSpPr>
        <p:spPr bwMode="gray">
          <a:xfrm>
            <a:off x="376509" y="246006"/>
            <a:ext cx="10465693" cy="6806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PROJECT MANAGEMENT 1 - lecturers</a:t>
            </a:r>
          </a:p>
        </p:txBody>
      </p:sp>
      <p:sp>
        <p:nvSpPr>
          <p:cNvPr id="18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0761939" y="6007663"/>
            <a:ext cx="364066" cy="271507"/>
          </a:xfrm>
        </p:spPr>
        <p:txBody>
          <a:bodyPr/>
          <a:lstStyle/>
          <a:p>
            <a:pPr>
              <a:defRPr/>
            </a:pPr>
            <a:fld id="{ECD947EA-C75C-4BD6-A5B3-2D27ECB9666E}" type="slidenum">
              <a:rPr lang="en-US" smtClean="0">
                <a:solidFill>
                  <a:srgbClr val="4B4B4B"/>
                </a:solidFill>
              </a:rPr>
              <a:pPr>
                <a:defRPr/>
              </a:pPr>
              <a:t>4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9" name="Freeform 8"/>
          <p:cNvSpPr>
            <a:spLocks/>
          </p:cNvSpPr>
          <p:nvPr/>
        </p:nvSpPr>
        <p:spPr bwMode="gray">
          <a:xfrm>
            <a:off x="565156" y="1062779"/>
            <a:ext cx="3720138" cy="490893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  <a:gd name="connsiteX0" fmla="*/ 10054 w 10054"/>
              <a:gd name="connsiteY0" fmla="*/ 0 h 10000"/>
              <a:gd name="connsiteX1" fmla="*/ 0 w 10054"/>
              <a:gd name="connsiteY1" fmla="*/ 0 h 10000"/>
              <a:gd name="connsiteX2" fmla="*/ 285 w 10054"/>
              <a:gd name="connsiteY2" fmla="*/ 5009 h 10000"/>
              <a:gd name="connsiteX3" fmla="*/ 54 w 10054"/>
              <a:gd name="connsiteY3" fmla="*/ 10000 h 10000"/>
              <a:gd name="connsiteX4" fmla="*/ 10054 w 10054"/>
              <a:gd name="connsiteY4" fmla="*/ 10000 h 10000"/>
              <a:gd name="connsiteX5" fmla="*/ 10054 w 10054"/>
              <a:gd name="connsiteY5" fmla="*/ 0 h 10000"/>
              <a:gd name="connsiteX0" fmla="*/ 10081 w 10081"/>
              <a:gd name="connsiteY0" fmla="*/ 0 h 10000"/>
              <a:gd name="connsiteX1" fmla="*/ 0 w 10081"/>
              <a:gd name="connsiteY1" fmla="*/ 0 h 10000"/>
              <a:gd name="connsiteX2" fmla="*/ 312 w 10081"/>
              <a:gd name="connsiteY2" fmla="*/ 5009 h 10000"/>
              <a:gd name="connsiteX3" fmla="*/ 81 w 10081"/>
              <a:gd name="connsiteY3" fmla="*/ 10000 h 10000"/>
              <a:gd name="connsiteX4" fmla="*/ 10081 w 10081"/>
              <a:gd name="connsiteY4" fmla="*/ 10000 h 10000"/>
              <a:gd name="connsiteX5" fmla="*/ 10081 w 10081"/>
              <a:gd name="connsiteY5" fmla="*/ 0 h 10000"/>
              <a:gd name="connsiteX0" fmla="*/ 10071 w 10071"/>
              <a:gd name="connsiteY0" fmla="*/ 0 h 10000"/>
              <a:gd name="connsiteX1" fmla="*/ 0 w 10071"/>
              <a:gd name="connsiteY1" fmla="*/ 0 h 10000"/>
              <a:gd name="connsiteX2" fmla="*/ 302 w 10071"/>
              <a:gd name="connsiteY2" fmla="*/ 5009 h 10000"/>
              <a:gd name="connsiteX3" fmla="*/ 71 w 10071"/>
              <a:gd name="connsiteY3" fmla="*/ 10000 h 10000"/>
              <a:gd name="connsiteX4" fmla="*/ 10071 w 10071"/>
              <a:gd name="connsiteY4" fmla="*/ 10000 h 10000"/>
              <a:gd name="connsiteX5" fmla="*/ 10071 w 10071"/>
              <a:gd name="connsiteY5" fmla="*/ 0 h 10000"/>
              <a:gd name="connsiteX0" fmla="*/ 10074 w 10074"/>
              <a:gd name="connsiteY0" fmla="*/ 0 h 10000"/>
              <a:gd name="connsiteX1" fmla="*/ 0 w 10074"/>
              <a:gd name="connsiteY1" fmla="*/ 0 h 10000"/>
              <a:gd name="connsiteX2" fmla="*/ 305 w 10074"/>
              <a:gd name="connsiteY2" fmla="*/ 5009 h 10000"/>
              <a:gd name="connsiteX3" fmla="*/ 74 w 10074"/>
              <a:gd name="connsiteY3" fmla="*/ 10000 h 10000"/>
              <a:gd name="connsiteX4" fmla="*/ 10074 w 10074"/>
              <a:gd name="connsiteY4" fmla="*/ 10000 h 10000"/>
              <a:gd name="connsiteX5" fmla="*/ 10074 w 10074"/>
              <a:gd name="connsiteY5" fmla="*/ 0 h 10000"/>
              <a:gd name="connsiteX0" fmla="*/ 10077 w 10077"/>
              <a:gd name="connsiteY0" fmla="*/ 0 h 10000"/>
              <a:gd name="connsiteX1" fmla="*/ 3 w 10077"/>
              <a:gd name="connsiteY1" fmla="*/ 0 h 10000"/>
              <a:gd name="connsiteX2" fmla="*/ 308 w 10077"/>
              <a:gd name="connsiteY2" fmla="*/ 5009 h 10000"/>
              <a:gd name="connsiteX3" fmla="*/ 0 w 10077"/>
              <a:gd name="connsiteY3" fmla="*/ 10000 h 10000"/>
              <a:gd name="connsiteX4" fmla="*/ 10077 w 10077"/>
              <a:gd name="connsiteY4" fmla="*/ 10000 h 10000"/>
              <a:gd name="connsiteX5" fmla="*/ 10077 w 10077"/>
              <a:gd name="connsiteY5" fmla="*/ 0 h 10000"/>
              <a:gd name="connsiteX0" fmla="*/ 10077 w 10077"/>
              <a:gd name="connsiteY0" fmla="*/ 0 h 10000"/>
              <a:gd name="connsiteX1" fmla="*/ 3 w 10077"/>
              <a:gd name="connsiteY1" fmla="*/ 0 h 10000"/>
              <a:gd name="connsiteX2" fmla="*/ 318 w 10077"/>
              <a:gd name="connsiteY2" fmla="*/ 4993 h 10000"/>
              <a:gd name="connsiteX3" fmla="*/ 0 w 10077"/>
              <a:gd name="connsiteY3" fmla="*/ 10000 h 10000"/>
              <a:gd name="connsiteX4" fmla="*/ 10077 w 10077"/>
              <a:gd name="connsiteY4" fmla="*/ 10000 h 10000"/>
              <a:gd name="connsiteX5" fmla="*/ 10077 w 10077"/>
              <a:gd name="connsiteY5" fmla="*/ 0 h 10000"/>
              <a:gd name="connsiteX0" fmla="*/ 10077 w 10077"/>
              <a:gd name="connsiteY0" fmla="*/ 0 h 10000"/>
              <a:gd name="connsiteX1" fmla="*/ 3 w 10077"/>
              <a:gd name="connsiteY1" fmla="*/ 0 h 10000"/>
              <a:gd name="connsiteX2" fmla="*/ 338 w 10077"/>
              <a:gd name="connsiteY2" fmla="*/ 4977 h 10000"/>
              <a:gd name="connsiteX3" fmla="*/ 0 w 10077"/>
              <a:gd name="connsiteY3" fmla="*/ 10000 h 10000"/>
              <a:gd name="connsiteX4" fmla="*/ 10077 w 10077"/>
              <a:gd name="connsiteY4" fmla="*/ 10000 h 10000"/>
              <a:gd name="connsiteX5" fmla="*/ 10077 w 10077"/>
              <a:gd name="connsiteY5" fmla="*/ 0 h 10000"/>
              <a:gd name="connsiteX0" fmla="*/ 10077 w 10077"/>
              <a:gd name="connsiteY0" fmla="*/ 0 h 10000"/>
              <a:gd name="connsiteX1" fmla="*/ 3 w 10077"/>
              <a:gd name="connsiteY1" fmla="*/ 0 h 10000"/>
              <a:gd name="connsiteX2" fmla="*/ 351 w 10077"/>
              <a:gd name="connsiteY2" fmla="*/ 4977 h 10000"/>
              <a:gd name="connsiteX3" fmla="*/ 0 w 10077"/>
              <a:gd name="connsiteY3" fmla="*/ 10000 h 10000"/>
              <a:gd name="connsiteX4" fmla="*/ 10077 w 10077"/>
              <a:gd name="connsiteY4" fmla="*/ 10000 h 10000"/>
              <a:gd name="connsiteX5" fmla="*/ 10077 w 10077"/>
              <a:gd name="connsiteY5" fmla="*/ 0 h 10000"/>
              <a:gd name="connsiteX0" fmla="*/ 10074 w 10074"/>
              <a:gd name="connsiteY0" fmla="*/ 0 h 10000"/>
              <a:gd name="connsiteX1" fmla="*/ 0 w 10074"/>
              <a:gd name="connsiteY1" fmla="*/ 0 h 10000"/>
              <a:gd name="connsiteX2" fmla="*/ 348 w 10074"/>
              <a:gd name="connsiteY2" fmla="*/ 4977 h 10000"/>
              <a:gd name="connsiteX3" fmla="*/ 7 w 10074"/>
              <a:gd name="connsiteY3" fmla="*/ 10000 h 10000"/>
              <a:gd name="connsiteX4" fmla="*/ 10074 w 10074"/>
              <a:gd name="connsiteY4" fmla="*/ 10000 h 10000"/>
              <a:gd name="connsiteX5" fmla="*/ 10074 w 10074"/>
              <a:gd name="connsiteY5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74" h="10000">
                <a:moveTo>
                  <a:pt x="10074" y="0"/>
                </a:moveTo>
                <a:lnTo>
                  <a:pt x="0" y="0"/>
                </a:lnTo>
                <a:cubicBezTo>
                  <a:pt x="101" y="1670"/>
                  <a:pt x="247" y="3307"/>
                  <a:pt x="348" y="4977"/>
                </a:cubicBezTo>
                <a:cubicBezTo>
                  <a:pt x="245" y="6641"/>
                  <a:pt x="110" y="8336"/>
                  <a:pt x="7" y="10000"/>
                </a:cubicBezTo>
                <a:lnTo>
                  <a:pt x="10074" y="10000"/>
                </a:lnTo>
                <a:lnTo>
                  <a:pt x="10074" y="0"/>
                </a:lnTo>
              </a:path>
            </a:pathLst>
          </a:custGeom>
          <a:solidFill>
            <a:schemeClr val="bg1"/>
          </a:solidFill>
          <a:ln w="19050" cap="sq" cmpd="sng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26520" tIns="65304" rIns="97956" bIns="65304" anchor="t"/>
          <a:lstStyle/>
          <a:p>
            <a:pPr algn="ctr">
              <a:lnSpc>
                <a:spcPct val="150000"/>
              </a:lnSpc>
              <a:spcBef>
                <a:spcPts val="272"/>
              </a:spcBef>
              <a:buClr>
                <a:schemeClr val="tx1"/>
              </a:buClr>
              <a:buSzPct val="70000"/>
            </a:pPr>
            <a:r>
              <a:rPr lang="hu-HU" sz="1600" dirty="0" smtClean="0"/>
              <a:t>Project Management</a:t>
            </a:r>
            <a:endParaRPr lang="en-US" sz="1600" dirty="0"/>
          </a:p>
        </p:txBody>
      </p:sp>
      <p:sp>
        <p:nvSpPr>
          <p:cNvPr id="10" name="AutoShape 5"/>
          <p:cNvSpPr>
            <a:spLocks noChangeArrowheads="1"/>
          </p:cNvSpPr>
          <p:nvPr/>
        </p:nvSpPr>
        <p:spPr bwMode="auto">
          <a:xfrm>
            <a:off x="4581480" y="4479434"/>
            <a:ext cx="1000855" cy="372259"/>
          </a:xfrm>
          <a:prstGeom prst="homePlate">
            <a:avLst>
              <a:gd name="adj" fmla="val 933"/>
            </a:avLst>
          </a:prstGeom>
          <a:solidFill>
            <a:schemeClr val="tx2"/>
          </a:solidFill>
          <a:ln w="19050" cap="sq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97956" tIns="65304" rIns="97956" bIns="65304"/>
          <a:lstStyle/>
          <a:p>
            <a:pPr algn="ctr" defTabSz="829361">
              <a:lnSpc>
                <a:spcPct val="90000"/>
              </a:lnSpc>
              <a:spcBef>
                <a:spcPct val="0"/>
              </a:spcBef>
            </a:pPr>
            <a:r>
              <a:rPr lang="hu-HU" sz="1200" dirty="0" smtClean="0">
                <a:solidFill>
                  <a:schemeClr val="bg1"/>
                </a:solidFill>
                <a:latin typeface="Tele-GroteskFet" pitchFamily="2" charset="0"/>
                <a:cs typeface="Times New Roman" pitchFamily="18" charset="0"/>
              </a:rPr>
              <a:t>dr</a:t>
            </a:r>
            <a:r>
              <a:rPr lang="hu-HU" sz="1200" dirty="0">
                <a:solidFill>
                  <a:schemeClr val="bg1"/>
                </a:solidFill>
                <a:latin typeface="Tele-GroteskFet" pitchFamily="2" charset="0"/>
                <a:cs typeface="Times New Roman" pitchFamily="18" charset="0"/>
              </a:rPr>
              <a:t>. Nóra </a:t>
            </a:r>
            <a:r>
              <a:rPr lang="hu-HU" sz="1200" dirty="0" smtClean="0">
                <a:solidFill>
                  <a:schemeClr val="bg1"/>
                </a:solidFill>
                <a:latin typeface="Tele-GroteskFet" pitchFamily="2" charset="0"/>
                <a:cs typeface="Times New Roman" pitchFamily="18" charset="0"/>
              </a:rPr>
              <a:t>Réti</a:t>
            </a:r>
            <a:endParaRPr lang="en-US" sz="1200" dirty="0">
              <a:solidFill>
                <a:schemeClr val="bg1"/>
              </a:solidFill>
              <a:latin typeface="Tele-GroteskFet" pitchFamily="2" charset="0"/>
              <a:cs typeface="Times New Roman" pitchFamily="18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50019" y="3159494"/>
            <a:ext cx="918205" cy="1224075"/>
          </a:xfrm>
          <a:prstGeom prst="rect">
            <a:avLst/>
          </a:prstGeom>
        </p:spPr>
      </p:pic>
      <p:sp>
        <p:nvSpPr>
          <p:cNvPr id="14" name="AutoShape 5"/>
          <p:cNvSpPr>
            <a:spLocks noChangeArrowheads="1"/>
          </p:cNvSpPr>
          <p:nvPr/>
        </p:nvSpPr>
        <p:spPr bwMode="auto">
          <a:xfrm>
            <a:off x="6147062" y="4473147"/>
            <a:ext cx="1000855" cy="378544"/>
          </a:xfrm>
          <a:prstGeom prst="homePlate">
            <a:avLst>
              <a:gd name="adj" fmla="val 933"/>
            </a:avLst>
          </a:prstGeom>
          <a:solidFill>
            <a:schemeClr val="tx2"/>
          </a:solidFill>
          <a:ln w="19050" cap="sq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97956" tIns="65304" rIns="97956" bIns="65304"/>
          <a:lstStyle/>
          <a:p>
            <a:pPr algn="ctr" defTabSz="829361">
              <a:lnSpc>
                <a:spcPct val="90000"/>
              </a:lnSpc>
              <a:spcBef>
                <a:spcPct val="0"/>
              </a:spcBef>
            </a:pPr>
            <a:r>
              <a:rPr lang="hu-HU" sz="1200" b="1" dirty="0">
                <a:solidFill>
                  <a:schemeClr val="bg1"/>
                </a:solidFill>
                <a:latin typeface="Tele-GroteskFet" pitchFamily="2" charset="0"/>
                <a:cs typeface="Times New Roman" pitchFamily="18" charset="0"/>
              </a:rPr>
              <a:t>László </a:t>
            </a:r>
            <a:r>
              <a:rPr lang="hu-HU" sz="1200" b="1" dirty="0" smtClean="0">
                <a:solidFill>
                  <a:schemeClr val="bg1"/>
                </a:solidFill>
                <a:latin typeface="Tele-GroteskFet" pitchFamily="2" charset="0"/>
                <a:cs typeface="Times New Roman" pitchFamily="18" charset="0"/>
              </a:rPr>
              <a:t> Kónya</a:t>
            </a:r>
            <a:endParaRPr lang="en-US" sz="1200" b="1" dirty="0">
              <a:solidFill>
                <a:schemeClr val="bg1"/>
              </a:solidFill>
              <a:latin typeface="Tele-GroteskFet" pitchFamily="2" charset="0"/>
              <a:cs typeface="Times New Roman" pitchFamily="18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99833" y="3159493"/>
            <a:ext cx="916711" cy="1224075"/>
          </a:xfrm>
          <a:prstGeom prst="rect">
            <a:avLst/>
          </a:prstGeom>
        </p:spPr>
      </p:pic>
      <p:sp>
        <p:nvSpPr>
          <p:cNvPr id="16" name="AutoShape 5"/>
          <p:cNvSpPr>
            <a:spLocks noChangeArrowheads="1"/>
          </p:cNvSpPr>
          <p:nvPr/>
        </p:nvSpPr>
        <p:spPr bwMode="auto">
          <a:xfrm>
            <a:off x="4581483" y="2371786"/>
            <a:ext cx="1000855" cy="372259"/>
          </a:xfrm>
          <a:prstGeom prst="homePlate">
            <a:avLst>
              <a:gd name="adj" fmla="val 933"/>
            </a:avLst>
          </a:prstGeom>
          <a:solidFill>
            <a:schemeClr val="tx2"/>
          </a:solidFill>
          <a:ln w="19050" cap="sq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97956" tIns="65304" rIns="97956" bIns="65304"/>
          <a:lstStyle/>
          <a:p>
            <a:pPr algn="ctr" defTabSz="829361">
              <a:lnSpc>
                <a:spcPct val="90000"/>
              </a:lnSpc>
              <a:spcBef>
                <a:spcPct val="0"/>
              </a:spcBef>
            </a:pPr>
            <a:r>
              <a:rPr lang="hu-HU" sz="1200" dirty="0" smtClean="0">
                <a:solidFill>
                  <a:schemeClr val="bg1"/>
                </a:solidFill>
                <a:latin typeface="Tele-GroteskFet" pitchFamily="2" charset="0"/>
                <a:cs typeface="Times New Roman" pitchFamily="18" charset="0"/>
              </a:rPr>
              <a:t>Timea Zengő</a:t>
            </a:r>
            <a:endParaRPr lang="en-US" sz="1200" dirty="0">
              <a:solidFill>
                <a:schemeClr val="bg1"/>
              </a:solidFill>
              <a:latin typeface="Tele-GroteskFet" pitchFamily="2" charset="0"/>
              <a:cs typeface="Times New Roman" pitchFamily="18" charset="0"/>
            </a:endParaRPr>
          </a:p>
        </p:txBody>
      </p:sp>
      <p:sp>
        <p:nvSpPr>
          <p:cNvPr id="23" name="AutoShape 5"/>
          <p:cNvSpPr>
            <a:spLocks noChangeArrowheads="1"/>
          </p:cNvSpPr>
          <p:nvPr/>
        </p:nvSpPr>
        <p:spPr bwMode="auto">
          <a:xfrm>
            <a:off x="6188462" y="2371786"/>
            <a:ext cx="1000855" cy="372259"/>
          </a:xfrm>
          <a:prstGeom prst="homePlate">
            <a:avLst>
              <a:gd name="adj" fmla="val 933"/>
            </a:avLst>
          </a:prstGeom>
          <a:solidFill>
            <a:schemeClr val="tx2"/>
          </a:solidFill>
          <a:ln w="19050" cap="sq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97956" tIns="65304" rIns="97956" bIns="65304"/>
          <a:lstStyle/>
          <a:p>
            <a:pPr algn="ctr" defTabSz="829361">
              <a:lnSpc>
                <a:spcPct val="90000"/>
              </a:lnSpc>
              <a:spcBef>
                <a:spcPct val="0"/>
              </a:spcBef>
            </a:pPr>
            <a:r>
              <a:rPr lang="hu-HU" sz="1200" dirty="0" smtClean="0">
                <a:solidFill>
                  <a:schemeClr val="bg1"/>
                </a:solidFill>
                <a:latin typeface="Tele-GroteskFet" pitchFamily="2" charset="0"/>
                <a:cs typeface="Times New Roman" pitchFamily="18" charset="0"/>
              </a:rPr>
              <a:t>Imre Szanyi</a:t>
            </a:r>
            <a:endParaRPr lang="en-US" sz="1200" dirty="0">
              <a:solidFill>
                <a:schemeClr val="bg1"/>
              </a:solidFill>
              <a:latin typeface="Tele-GroteskFet" pitchFamily="2" charset="0"/>
              <a:cs typeface="Times New Roman" pitchFamily="18" charset="0"/>
            </a:endParaRPr>
          </a:p>
        </p:txBody>
      </p:sp>
      <p:sp>
        <p:nvSpPr>
          <p:cNvPr id="30" name="Freeform 29"/>
          <p:cNvSpPr>
            <a:spLocks/>
          </p:cNvSpPr>
          <p:nvPr/>
        </p:nvSpPr>
        <p:spPr bwMode="gray">
          <a:xfrm>
            <a:off x="565156" y="3191856"/>
            <a:ext cx="3720138" cy="490893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  <a:gd name="connsiteX0" fmla="*/ 10054 w 10054"/>
              <a:gd name="connsiteY0" fmla="*/ 0 h 10000"/>
              <a:gd name="connsiteX1" fmla="*/ 0 w 10054"/>
              <a:gd name="connsiteY1" fmla="*/ 0 h 10000"/>
              <a:gd name="connsiteX2" fmla="*/ 285 w 10054"/>
              <a:gd name="connsiteY2" fmla="*/ 5009 h 10000"/>
              <a:gd name="connsiteX3" fmla="*/ 54 w 10054"/>
              <a:gd name="connsiteY3" fmla="*/ 10000 h 10000"/>
              <a:gd name="connsiteX4" fmla="*/ 10054 w 10054"/>
              <a:gd name="connsiteY4" fmla="*/ 10000 h 10000"/>
              <a:gd name="connsiteX5" fmla="*/ 10054 w 10054"/>
              <a:gd name="connsiteY5" fmla="*/ 0 h 10000"/>
              <a:gd name="connsiteX0" fmla="*/ 10081 w 10081"/>
              <a:gd name="connsiteY0" fmla="*/ 0 h 10000"/>
              <a:gd name="connsiteX1" fmla="*/ 0 w 10081"/>
              <a:gd name="connsiteY1" fmla="*/ 0 h 10000"/>
              <a:gd name="connsiteX2" fmla="*/ 312 w 10081"/>
              <a:gd name="connsiteY2" fmla="*/ 5009 h 10000"/>
              <a:gd name="connsiteX3" fmla="*/ 81 w 10081"/>
              <a:gd name="connsiteY3" fmla="*/ 10000 h 10000"/>
              <a:gd name="connsiteX4" fmla="*/ 10081 w 10081"/>
              <a:gd name="connsiteY4" fmla="*/ 10000 h 10000"/>
              <a:gd name="connsiteX5" fmla="*/ 10081 w 10081"/>
              <a:gd name="connsiteY5" fmla="*/ 0 h 10000"/>
              <a:gd name="connsiteX0" fmla="*/ 10071 w 10071"/>
              <a:gd name="connsiteY0" fmla="*/ 0 h 10000"/>
              <a:gd name="connsiteX1" fmla="*/ 0 w 10071"/>
              <a:gd name="connsiteY1" fmla="*/ 0 h 10000"/>
              <a:gd name="connsiteX2" fmla="*/ 302 w 10071"/>
              <a:gd name="connsiteY2" fmla="*/ 5009 h 10000"/>
              <a:gd name="connsiteX3" fmla="*/ 71 w 10071"/>
              <a:gd name="connsiteY3" fmla="*/ 10000 h 10000"/>
              <a:gd name="connsiteX4" fmla="*/ 10071 w 10071"/>
              <a:gd name="connsiteY4" fmla="*/ 10000 h 10000"/>
              <a:gd name="connsiteX5" fmla="*/ 10071 w 10071"/>
              <a:gd name="connsiteY5" fmla="*/ 0 h 10000"/>
              <a:gd name="connsiteX0" fmla="*/ 10074 w 10074"/>
              <a:gd name="connsiteY0" fmla="*/ 0 h 10000"/>
              <a:gd name="connsiteX1" fmla="*/ 0 w 10074"/>
              <a:gd name="connsiteY1" fmla="*/ 0 h 10000"/>
              <a:gd name="connsiteX2" fmla="*/ 305 w 10074"/>
              <a:gd name="connsiteY2" fmla="*/ 5009 h 10000"/>
              <a:gd name="connsiteX3" fmla="*/ 74 w 10074"/>
              <a:gd name="connsiteY3" fmla="*/ 10000 h 10000"/>
              <a:gd name="connsiteX4" fmla="*/ 10074 w 10074"/>
              <a:gd name="connsiteY4" fmla="*/ 10000 h 10000"/>
              <a:gd name="connsiteX5" fmla="*/ 10074 w 10074"/>
              <a:gd name="connsiteY5" fmla="*/ 0 h 10000"/>
              <a:gd name="connsiteX0" fmla="*/ 10077 w 10077"/>
              <a:gd name="connsiteY0" fmla="*/ 0 h 10000"/>
              <a:gd name="connsiteX1" fmla="*/ 3 w 10077"/>
              <a:gd name="connsiteY1" fmla="*/ 0 h 10000"/>
              <a:gd name="connsiteX2" fmla="*/ 308 w 10077"/>
              <a:gd name="connsiteY2" fmla="*/ 5009 h 10000"/>
              <a:gd name="connsiteX3" fmla="*/ 0 w 10077"/>
              <a:gd name="connsiteY3" fmla="*/ 10000 h 10000"/>
              <a:gd name="connsiteX4" fmla="*/ 10077 w 10077"/>
              <a:gd name="connsiteY4" fmla="*/ 10000 h 10000"/>
              <a:gd name="connsiteX5" fmla="*/ 10077 w 10077"/>
              <a:gd name="connsiteY5" fmla="*/ 0 h 10000"/>
              <a:gd name="connsiteX0" fmla="*/ 10077 w 10077"/>
              <a:gd name="connsiteY0" fmla="*/ 0 h 10000"/>
              <a:gd name="connsiteX1" fmla="*/ 3 w 10077"/>
              <a:gd name="connsiteY1" fmla="*/ 0 h 10000"/>
              <a:gd name="connsiteX2" fmla="*/ 318 w 10077"/>
              <a:gd name="connsiteY2" fmla="*/ 4993 h 10000"/>
              <a:gd name="connsiteX3" fmla="*/ 0 w 10077"/>
              <a:gd name="connsiteY3" fmla="*/ 10000 h 10000"/>
              <a:gd name="connsiteX4" fmla="*/ 10077 w 10077"/>
              <a:gd name="connsiteY4" fmla="*/ 10000 h 10000"/>
              <a:gd name="connsiteX5" fmla="*/ 10077 w 10077"/>
              <a:gd name="connsiteY5" fmla="*/ 0 h 10000"/>
              <a:gd name="connsiteX0" fmla="*/ 10077 w 10077"/>
              <a:gd name="connsiteY0" fmla="*/ 0 h 10000"/>
              <a:gd name="connsiteX1" fmla="*/ 3 w 10077"/>
              <a:gd name="connsiteY1" fmla="*/ 0 h 10000"/>
              <a:gd name="connsiteX2" fmla="*/ 338 w 10077"/>
              <a:gd name="connsiteY2" fmla="*/ 4977 h 10000"/>
              <a:gd name="connsiteX3" fmla="*/ 0 w 10077"/>
              <a:gd name="connsiteY3" fmla="*/ 10000 h 10000"/>
              <a:gd name="connsiteX4" fmla="*/ 10077 w 10077"/>
              <a:gd name="connsiteY4" fmla="*/ 10000 h 10000"/>
              <a:gd name="connsiteX5" fmla="*/ 10077 w 10077"/>
              <a:gd name="connsiteY5" fmla="*/ 0 h 10000"/>
              <a:gd name="connsiteX0" fmla="*/ 10077 w 10077"/>
              <a:gd name="connsiteY0" fmla="*/ 0 h 10000"/>
              <a:gd name="connsiteX1" fmla="*/ 3 w 10077"/>
              <a:gd name="connsiteY1" fmla="*/ 0 h 10000"/>
              <a:gd name="connsiteX2" fmla="*/ 351 w 10077"/>
              <a:gd name="connsiteY2" fmla="*/ 4977 h 10000"/>
              <a:gd name="connsiteX3" fmla="*/ 0 w 10077"/>
              <a:gd name="connsiteY3" fmla="*/ 10000 h 10000"/>
              <a:gd name="connsiteX4" fmla="*/ 10077 w 10077"/>
              <a:gd name="connsiteY4" fmla="*/ 10000 h 10000"/>
              <a:gd name="connsiteX5" fmla="*/ 10077 w 10077"/>
              <a:gd name="connsiteY5" fmla="*/ 0 h 10000"/>
              <a:gd name="connsiteX0" fmla="*/ 10074 w 10074"/>
              <a:gd name="connsiteY0" fmla="*/ 0 h 10000"/>
              <a:gd name="connsiteX1" fmla="*/ 0 w 10074"/>
              <a:gd name="connsiteY1" fmla="*/ 0 h 10000"/>
              <a:gd name="connsiteX2" fmla="*/ 348 w 10074"/>
              <a:gd name="connsiteY2" fmla="*/ 4977 h 10000"/>
              <a:gd name="connsiteX3" fmla="*/ 7 w 10074"/>
              <a:gd name="connsiteY3" fmla="*/ 10000 h 10000"/>
              <a:gd name="connsiteX4" fmla="*/ 10074 w 10074"/>
              <a:gd name="connsiteY4" fmla="*/ 10000 h 10000"/>
              <a:gd name="connsiteX5" fmla="*/ 10074 w 10074"/>
              <a:gd name="connsiteY5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74" h="10000">
                <a:moveTo>
                  <a:pt x="10074" y="0"/>
                </a:moveTo>
                <a:lnTo>
                  <a:pt x="0" y="0"/>
                </a:lnTo>
                <a:cubicBezTo>
                  <a:pt x="101" y="1670"/>
                  <a:pt x="247" y="3307"/>
                  <a:pt x="348" y="4977"/>
                </a:cubicBezTo>
                <a:cubicBezTo>
                  <a:pt x="245" y="6641"/>
                  <a:pt x="110" y="8336"/>
                  <a:pt x="7" y="10000"/>
                </a:cubicBezTo>
                <a:lnTo>
                  <a:pt x="10074" y="10000"/>
                </a:lnTo>
                <a:lnTo>
                  <a:pt x="10074" y="0"/>
                </a:lnTo>
              </a:path>
            </a:pathLst>
          </a:custGeom>
          <a:solidFill>
            <a:schemeClr val="bg1"/>
          </a:solidFill>
          <a:ln w="19050" cap="sq" cmpd="sng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26520" tIns="65304" rIns="97956" bIns="65304" anchor="t"/>
          <a:lstStyle/>
          <a:p>
            <a:pPr algn="ctr">
              <a:lnSpc>
                <a:spcPct val="150000"/>
              </a:lnSpc>
              <a:spcBef>
                <a:spcPts val="272"/>
              </a:spcBef>
              <a:buClr>
                <a:schemeClr val="tx1"/>
              </a:buClr>
              <a:buSzPct val="70000"/>
            </a:pPr>
            <a:r>
              <a:rPr lang="en-US" sz="1600" dirty="0" smtClean="0"/>
              <a:t>Company topics</a:t>
            </a:r>
            <a:endParaRPr lang="en-US" sz="1600" dirty="0"/>
          </a:p>
        </p:txBody>
      </p:sp>
      <p:pic>
        <p:nvPicPr>
          <p:cNvPr id="72706" name="Picture 2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08198" y="1079255"/>
            <a:ext cx="801846" cy="1207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707" name="Picture 3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43595" y="1079255"/>
            <a:ext cx="890588" cy="1190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90514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2"/>
          <p:cNvSpPr>
            <a:spLocks noChangeArrowheads="1"/>
          </p:cNvSpPr>
          <p:nvPr/>
        </p:nvSpPr>
        <p:spPr bwMode="gray">
          <a:xfrm>
            <a:off x="226198" y="246006"/>
            <a:ext cx="11069680" cy="6806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hu-HU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PROJECT MANAGEMENT 1 </a:t>
            </a:r>
          </a:p>
        </p:txBody>
      </p:sp>
      <p:sp>
        <p:nvSpPr>
          <p:cNvPr id="18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0761939" y="6007663"/>
            <a:ext cx="364066" cy="271507"/>
          </a:xfrm>
        </p:spPr>
        <p:txBody>
          <a:bodyPr/>
          <a:lstStyle/>
          <a:p>
            <a:pPr>
              <a:defRPr/>
            </a:pPr>
            <a:fld id="{ECD947EA-C75C-4BD6-A5B3-2D27ECB9666E}" type="slidenum">
              <a:rPr lang="en-US" smtClean="0">
                <a:solidFill>
                  <a:srgbClr val="4B4B4B"/>
                </a:solidFill>
              </a:rPr>
              <a:pPr>
                <a:defRPr/>
              </a:pPr>
              <a:t>5</a:t>
            </a:fld>
            <a:endParaRPr lang="en-US" dirty="0">
              <a:solidFill>
                <a:srgbClr val="4B4B4B"/>
              </a:solidFill>
            </a:endParaRPr>
          </a:p>
        </p:txBody>
      </p:sp>
      <p:pic>
        <p:nvPicPr>
          <p:cNvPr id="16385" name="Picture 1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31208" y="5009151"/>
            <a:ext cx="2664670" cy="13849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222581" y="6007663"/>
            <a:ext cx="5168931" cy="271507"/>
          </a:xfrm>
        </p:spPr>
        <p:txBody>
          <a:bodyPr/>
          <a:lstStyle/>
          <a:p>
            <a:pPr>
              <a:defRPr/>
            </a:pPr>
            <a:r>
              <a:rPr lang="en-US" dirty="0" smtClean="0">
                <a:solidFill>
                  <a:srgbClr val="4B4B4B"/>
                </a:solidFill>
              </a:rPr>
              <a:t>ITSH Introduction</a:t>
            </a:r>
            <a:endParaRPr lang="en-US" dirty="0">
              <a:solidFill>
                <a:srgbClr val="4B4B4B"/>
              </a:solidFill>
            </a:endParaRPr>
          </a:p>
        </p:txBody>
      </p:sp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22302672"/>
              </p:ext>
            </p:extLst>
          </p:nvPr>
        </p:nvGraphicFramePr>
        <p:xfrm>
          <a:off x="2560205" y="1170563"/>
          <a:ext cx="6071003" cy="36426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Rectangle 1"/>
          <p:cNvSpPr/>
          <p:nvPr/>
        </p:nvSpPr>
        <p:spPr>
          <a:xfrm>
            <a:off x="4966478" y="801231"/>
            <a:ext cx="130337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1800" b="1" i="0" u="none" strike="noStrike" kern="1200" baseline="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pPr>
            <a:r>
              <a:rPr lang="en-US" dirty="0" smtClean="0"/>
              <a:t>2017 Autum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3557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2"/>
          <p:cNvSpPr>
            <a:spLocks noChangeArrowheads="1"/>
          </p:cNvSpPr>
          <p:nvPr/>
        </p:nvSpPr>
        <p:spPr bwMode="gray">
          <a:xfrm>
            <a:off x="226198" y="246006"/>
            <a:ext cx="11069680" cy="6806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hu-HU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PROJECT MANAGEMENT 1</a:t>
            </a:r>
          </a:p>
        </p:txBody>
      </p:sp>
      <p:sp>
        <p:nvSpPr>
          <p:cNvPr id="18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0761939" y="6007663"/>
            <a:ext cx="364066" cy="271507"/>
          </a:xfrm>
        </p:spPr>
        <p:txBody>
          <a:bodyPr/>
          <a:lstStyle/>
          <a:p>
            <a:pPr>
              <a:defRPr/>
            </a:pPr>
            <a:fld id="{ECD947EA-C75C-4BD6-A5B3-2D27ECB9666E}" type="slidenum">
              <a:rPr lang="en-US" smtClean="0">
                <a:solidFill>
                  <a:srgbClr val="4B4B4B"/>
                </a:solidFill>
              </a:rPr>
              <a:pPr>
                <a:defRPr/>
              </a:pPr>
              <a:t>6</a:t>
            </a:fld>
            <a:endParaRPr lang="en-US" dirty="0">
              <a:solidFill>
                <a:srgbClr val="4B4B4B"/>
              </a:solidFill>
            </a:endParaRPr>
          </a:p>
        </p:txBody>
      </p:sp>
      <p:pic>
        <p:nvPicPr>
          <p:cNvPr id="16385" name="Picture 1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31208" y="5009151"/>
            <a:ext cx="2664670" cy="13849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222581" y="6007663"/>
            <a:ext cx="5168931" cy="271507"/>
          </a:xfrm>
        </p:spPr>
        <p:txBody>
          <a:bodyPr/>
          <a:lstStyle/>
          <a:p>
            <a:pPr>
              <a:defRPr/>
            </a:pPr>
            <a:r>
              <a:rPr lang="en-US" dirty="0" smtClean="0">
                <a:solidFill>
                  <a:srgbClr val="4B4B4B"/>
                </a:solidFill>
              </a:rPr>
              <a:t>ITSH Introduction</a:t>
            </a:r>
            <a:endParaRPr lang="en-US" dirty="0">
              <a:solidFill>
                <a:srgbClr val="4B4B4B"/>
              </a:solidFill>
            </a:endParaRPr>
          </a:p>
        </p:txBody>
      </p:sp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91519513"/>
              </p:ext>
            </p:extLst>
          </p:nvPr>
        </p:nvGraphicFramePr>
        <p:xfrm>
          <a:off x="2234142" y="1123950"/>
          <a:ext cx="5812895" cy="34877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24129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323851" y="3200403"/>
            <a:ext cx="9886690" cy="1661993"/>
          </a:xfrm>
        </p:spPr>
        <p:txBody>
          <a:bodyPr/>
          <a:lstStyle/>
          <a:p>
            <a:r>
              <a:rPr lang="hu-HU" dirty="0" smtClean="0"/>
              <a:t/>
            </a:r>
            <a:br>
              <a:rPr lang="hu-HU" dirty="0" smtClean="0"/>
            </a:br>
            <a:r>
              <a:rPr lang="hu-HU" dirty="0" smtClean="0"/>
              <a:t>IT </a:t>
            </a:r>
            <a:r>
              <a:rPr lang="hu-HU" dirty="0" err="1" smtClean="0"/>
              <a:t>Services</a:t>
            </a:r>
            <a:r>
              <a:rPr lang="hu-HU" dirty="0" smtClean="0"/>
              <a:t> Hungary</a:t>
            </a:r>
            <a:br>
              <a:rPr lang="hu-HU" dirty="0" smtClean="0"/>
            </a:br>
            <a:r>
              <a:rPr lang="hu-HU" dirty="0" err="1" smtClean="0">
                <a:latin typeface="TeleGrotesk Headline" pitchFamily="2" charset="0"/>
              </a:rPr>
              <a:t>Company</a:t>
            </a:r>
            <a:r>
              <a:rPr lang="hu-HU" dirty="0" smtClean="0">
                <a:latin typeface="TeleGrotesk Headline" pitchFamily="2" charset="0"/>
              </a:rPr>
              <a:t> </a:t>
            </a:r>
            <a:r>
              <a:rPr lang="hu-HU" dirty="0" err="1" smtClean="0">
                <a:latin typeface="TeleGrotesk Headline" pitchFamily="2" charset="0"/>
              </a:rPr>
              <a:t>introduction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158618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17"/>
          <p:cNvSpPr/>
          <p:nvPr/>
        </p:nvSpPr>
        <p:spPr bwMode="gray">
          <a:xfrm>
            <a:off x="5685556" y="3900668"/>
            <a:ext cx="3402612" cy="118653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marL="288000" lvl="1" algn="ctr">
              <a:spcBef>
                <a:spcPts val="420"/>
              </a:spcBef>
              <a:spcAft>
                <a:spcPts val="300"/>
              </a:spcAft>
              <a:buClr>
                <a:srgbClr val="646464"/>
              </a:buClr>
              <a:buSzPct val="75000"/>
              <a:defRPr/>
            </a:pPr>
            <a:endParaRPr lang="en-US" kern="0" cap="all">
              <a:solidFill>
                <a:srgbClr val="E20074"/>
              </a:solidFill>
              <a:latin typeface="TeleGrotesk Headline Ultra" pitchFamily="2" charset="0"/>
              <a:ea typeface="MS PGothic" pitchFamily="34" charset="-128"/>
              <a:cs typeface="Arial" charset="0"/>
            </a:endParaRPr>
          </a:p>
        </p:txBody>
      </p:sp>
      <p:sp>
        <p:nvSpPr>
          <p:cNvPr id="5" name="Rectangle 10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683555" y="3980171"/>
            <a:ext cx="3320598" cy="871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000" tIns="36000" rIns="0" bIns="46800"/>
          <a:lstStyle/>
          <a:p>
            <a:pPr marL="0" lvl="1" algn="ctr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en-GB" sz="14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T-Systems delivers </a:t>
            </a:r>
            <a:r>
              <a:rPr lang="en-GB" sz="1400" dirty="0" smtClean="0">
                <a:solidFill>
                  <a:srgbClr val="4B4B4B"/>
                </a:solidFill>
              </a:rPr>
              <a:t>information &amp; communication technology</a:t>
            </a:r>
            <a:r>
              <a:rPr lang="en-GB" sz="14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 solutions for major corporations and public-sector organizations worldwide.</a:t>
            </a:r>
            <a:endParaRPr lang="en-GB" sz="1400" kern="0" dirty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</p:txBody>
      </p:sp>
      <p:pic>
        <p:nvPicPr>
          <p:cNvPr id="6" name="Grafik 29" descr="Folie_05_b.jp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5685556" y="2271623"/>
            <a:ext cx="3402612" cy="1639545"/>
          </a:xfrm>
          <a:prstGeom prst="rect">
            <a:avLst/>
          </a:prstGeom>
          <a:blipFill dpi="0"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7" name="Rechteck 20"/>
          <p:cNvSpPr/>
          <p:nvPr/>
        </p:nvSpPr>
        <p:spPr bwMode="gray">
          <a:xfrm>
            <a:off x="2040899" y="3900668"/>
            <a:ext cx="3397651" cy="118653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marL="288000" lvl="1" algn="ctr">
              <a:spcBef>
                <a:spcPts val="420"/>
              </a:spcBef>
              <a:spcAft>
                <a:spcPts val="300"/>
              </a:spcAft>
              <a:buClr>
                <a:srgbClr val="646464"/>
              </a:buClr>
              <a:buSzPct val="75000"/>
              <a:defRPr/>
            </a:pPr>
            <a:endParaRPr lang="en-US" kern="0" cap="all">
              <a:solidFill>
                <a:srgbClr val="E20074"/>
              </a:solidFill>
              <a:latin typeface="TeleGrotesk Headline Ultra" pitchFamily="2" charset="0"/>
              <a:ea typeface="MS PGothic" pitchFamily="34" charset="-128"/>
              <a:cs typeface="Arial" charset="0"/>
            </a:endParaRPr>
          </a:p>
        </p:txBody>
      </p:sp>
      <p:sp>
        <p:nvSpPr>
          <p:cNvPr id="8" name="Rectangle 108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040899" y="3980171"/>
            <a:ext cx="3320598" cy="11070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000" tIns="36000" rIns="0" bIns="46800"/>
          <a:lstStyle/>
          <a:p>
            <a:pPr marL="0" lvl="1" algn="ctr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en-US" sz="1400" kern="0" dirty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The Telekom subsidiaries provide products and services for mobile communications</a:t>
            </a:r>
            <a:r>
              <a:rPr lang="hu-HU" sz="1400" kern="0" dirty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, </a:t>
            </a:r>
            <a:r>
              <a:rPr lang="en-US" sz="1400" kern="0" dirty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fixed </a:t>
            </a:r>
            <a:r>
              <a:rPr lang="en-US" sz="14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network, </a:t>
            </a:r>
            <a:r>
              <a:rPr lang="en-US" sz="1400" kern="0" dirty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IPTV, online and cloud services in </a:t>
            </a:r>
            <a:r>
              <a:rPr lang="hu-HU" sz="1400" kern="0" dirty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50 </a:t>
            </a:r>
            <a:r>
              <a:rPr lang="en-GB" sz="14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countries</a:t>
            </a:r>
            <a:r>
              <a:rPr lang="en-US" sz="14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.</a:t>
            </a:r>
            <a:endParaRPr lang="en-US" sz="1400" kern="0" dirty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</p:txBody>
      </p:sp>
      <p:pic>
        <p:nvPicPr>
          <p:cNvPr id="9" name="Grafik 32" descr="Folie_05.jp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2040900" y="2271623"/>
            <a:ext cx="3402612" cy="1639545"/>
          </a:xfrm>
          <a:prstGeom prst="rect">
            <a:avLst/>
          </a:prstGeom>
          <a:blipFill dpi="0"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14" name="AutoShape 7"/>
          <p:cNvSpPr>
            <a:spLocks noChangeArrowheads="1"/>
          </p:cNvSpPr>
          <p:nvPr/>
        </p:nvSpPr>
        <p:spPr bwMode="gray">
          <a:xfrm>
            <a:off x="5683555" y="1607107"/>
            <a:ext cx="3416615" cy="475512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ctr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SzPct val="75000"/>
            </a:pPr>
            <a:r>
              <a:rPr lang="en-US" sz="1400">
                <a:solidFill>
                  <a:srgbClr val="FFFFFF"/>
                </a:solidFill>
                <a:latin typeface="TeleGrotesk Headline Ultra" pitchFamily="2" charset="0"/>
                <a:ea typeface="MS PGothic" pitchFamily="34" charset="-128"/>
                <a:cs typeface="Arial" charset="0"/>
              </a:rPr>
              <a:t>T-Systems</a:t>
            </a:r>
          </a:p>
        </p:txBody>
      </p:sp>
      <p:sp>
        <p:nvSpPr>
          <p:cNvPr id="16" name="AutoShape 7"/>
          <p:cNvSpPr>
            <a:spLocks noChangeArrowheads="1"/>
          </p:cNvSpPr>
          <p:nvPr/>
        </p:nvSpPr>
        <p:spPr bwMode="gray">
          <a:xfrm>
            <a:off x="2040900" y="1607107"/>
            <a:ext cx="3402612" cy="475512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190800" tIns="0" rIns="0" bIns="0" anchor="ctr"/>
          <a:lstStyle/>
          <a:p>
            <a:pPr algn="ctr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SzPct val="75000"/>
            </a:pPr>
            <a:r>
              <a:rPr lang="en-US" sz="1400" dirty="0">
                <a:solidFill>
                  <a:srgbClr val="FFFFFF"/>
                </a:solidFill>
                <a:latin typeface="TeleGrotesk Headline Ultra" pitchFamily="2" charset="0"/>
                <a:ea typeface="MS PGothic" pitchFamily="34" charset="-128"/>
                <a:cs typeface="Arial" charset="0"/>
              </a:rPr>
              <a:t>Telekom</a:t>
            </a:r>
          </a:p>
        </p:txBody>
      </p:sp>
      <p:sp>
        <p:nvSpPr>
          <p:cNvPr id="17" name="Rectangle 2"/>
          <p:cNvSpPr>
            <a:spLocks noChangeArrowheads="1"/>
          </p:cNvSpPr>
          <p:nvPr/>
        </p:nvSpPr>
        <p:spPr bwMode="gray">
          <a:xfrm>
            <a:off x="376509" y="246006"/>
            <a:ext cx="9006372" cy="11895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DEUTSCHE TELEKOM</a:t>
            </a:r>
            <a:r>
              <a:rPr lang="hu-HU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 (DT)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800" dirty="0" smtClean="0">
                <a:solidFill>
                  <a:srgbClr val="E20074"/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PARTNER FOR CONNECTED LIFE AND WORK</a:t>
            </a:r>
            <a:endParaRPr lang="de-DE" sz="2800" dirty="0">
              <a:solidFill>
                <a:srgbClr val="E20074"/>
              </a:solidFill>
              <a:latin typeface="Tele-GroteskNor" pitchFamily="2" charset="0"/>
              <a:ea typeface="Tele-GroteskNor" pitchFamily="2" charset="0"/>
              <a:cs typeface="Tele-GroteskNor" pitchFamily="2" charset="0"/>
            </a:endParaRPr>
          </a:p>
        </p:txBody>
      </p:sp>
      <p:sp>
        <p:nvSpPr>
          <p:cNvPr id="18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0761939" y="6007663"/>
            <a:ext cx="364066" cy="271507"/>
          </a:xfrm>
        </p:spPr>
        <p:txBody>
          <a:bodyPr/>
          <a:lstStyle/>
          <a:p>
            <a:pPr>
              <a:defRPr/>
            </a:pPr>
            <a:fld id="{ECD947EA-C75C-4BD6-A5B3-2D27ECB9666E}" type="slidenum">
              <a:rPr lang="en-US" smtClean="0">
                <a:solidFill>
                  <a:srgbClr val="4B4B4B"/>
                </a:solidFill>
              </a:rPr>
              <a:pPr>
                <a:defRPr/>
              </a:pPr>
              <a:t>8</a:t>
            </a:fld>
            <a:endParaRPr lang="en-US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6771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6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CD947EA-C75C-4BD6-A5B3-2D27ECB9666E}" type="slidenum">
              <a:rPr lang="en-US" smtClean="0">
                <a:solidFill>
                  <a:srgbClr val="4B4B4B"/>
                </a:solidFill>
              </a:rPr>
              <a:pPr>
                <a:defRPr/>
              </a:pPr>
              <a:t>9</a:t>
            </a:fld>
            <a:endParaRPr lang="en-US" dirty="0">
              <a:solidFill>
                <a:srgbClr val="4B4B4B"/>
              </a:solidFill>
            </a:endParaRPr>
          </a:p>
        </p:txBody>
      </p:sp>
      <p:grpSp>
        <p:nvGrpSpPr>
          <p:cNvPr id="4" name="Gruppieren 30"/>
          <p:cNvGrpSpPr>
            <a:grpSpLocks/>
          </p:cNvGrpSpPr>
          <p:nvPr/>
        </p:nvGrpSpPr>
        <p:grpSpPr bwMode="auto">
          <a:xfrm>
            <a:off x="408073" y="1511530"/>
            <a:ext cx="10753937" cy="3945107"/>
            <a:chOff x="323850" y="1593850"/>
            <a:chExt cx="8534400" cy="4175125"/>
          </a:xfrm>
          <a:solidFill>
            <a:srgbClr val="CCCCCC"/>
          </a:solidFill>
        </p:grpSpPr>
        <p:sp>
          <p:nvSpPr>
            <p:cNvPr id="5" name="Freeform 5"/>
            <p:cNvSpPr>
              <a:spLocks noEditPoints="1"/>
            </p:cNvSpPr>
            <p:nvPr/>
          </p:nvSpPr>
          <p:spPr bwMode="auto">
            <a:xfrm>
              <a:off x="5410200" y="2316163"/>
              <a:ext cx="966788" cy="446087"/>
            </a:xfrm>
            <a:custGeom>
              <a:avLst/>
              <a:gdLst>
                <a:gd name="T0" fmla="*/ 2147483647 w 603"/>
                <a:gd name="T1" fmla="*/ 2147483647 h 278"/>
                <a:gd name="T2" fmla="*/ 2147483647 w 603"/>
                <a:gd name="T3" fmla="*/ 2147483647 h 278"/>
                <a:gd name="T4" fmla="*/ 2147483647 w 603"/>
                <a:gd name="T5" fmla="*/ 2147483647 h 278"/>
                <a:gd name="T6" fmla="*/ 2147483647 w 603"/>
                <a:gd name="T7" fmla="*/ 2147483647 h 278"/>
                <a:gd name="T8" fmla="*/ 2147483647 w 603"/>
                <a:gd name="T9" fmla="*/ 2147483647 h 278"/>
                <a:gd name="T10" fmla="*/ 2147483647 w 603"/>
                <a:gd name="T11" fmla="*/ 2147483647 h 278"/>
                <a:gd name="T12" fmla="*/ 2147483647 w 603"/>
                <a:gd name="T13" fmla="*/ 2147483647 h 278"/>
                <a:gd name="T14" fmla="*/ 2147483647 w 603"/>
                <a:gd name="T15" fmla="*/ 2147483647 h 278"/>
                <a:gd name="T16" fmla="*/ 2147483647 w 603"/>
                <a:gd name="T17" fmla="*/ 2147483647 h 278"/>
                <a:gd name="T18" fmla="*/ 2147483647 w 603"/>
                <a:gd name="T19" fmla="*/ 2147483647 h 278"/>
                <a:gd name="T20" fmla="*/ 2147483647 w 603"/>
                <a:gd name="T21" fmla="*/ 2147483647 h 278"/>
                <a:gd name="T22" fmla="*/ 2147483647 w 603"/>
                <a:gd name="T23" fmla="*/ 2147483647 h 278"/>
                <a:gd name="T24" fmla="*/ 2147483647 w 603"/>
                <a:gd name="T25" fmla="*/ 2147483647 h 278"/>
                <a:gd name="T26" fmla="*/ 2147483647 w 603"/>
                <a:gd name="T27" fmla="*/ 2147483647 h 278"/>
                <a:gd name="T28" fmla="*/ 2147483647 w 603"/>
                <a:gd name="T29" fmla="*/ 2147483647 h 278"/>
                <a:gd name="T30" fmla="*/ 2147483647 w 603"/>
                <a:gd name="T31" fmla="*/ 2147483647 h 278"/>
                <a:gd name="T32" fmla="*/ 2147483647 w 603"/>
                <a:gd name="T33" fmla="*/ 2147483647 h 278"/>
                <a:gd name="T34" fmla="*/ 2147483647 w 603"/>
                <a:gd name="T35" fmla="*/ 2147483647 h 278"/>
                <a:gd name="T36" fmla="*/ 2147483647 w 603"/>
                <a:gd name="T37" fmla="*/ 2147483647 h 278"/>
                <a:gd name="T38" fmla="*/ 2147483647 w 603"/>
                <a:gd name="T39" fmla="*/ 2147483647 h 278"/>
                <a:gd name="T40" fmla="*/ 2147483647 w 603"/>
                <a:gd name="T41" fmla="*/ 2147483647 h 278"/>
                <a:gd name="T42" fmla="*/ 2147483647 w 603"/>
                <a:gd name="T43" fmla="*/ 2147483647 h 278"/>
                <a:gd name="T44" fmla="*/ 2147483647 w 603"/>
                <a:gd name="T45" fmla="*/ 2147483647 h 278"/>
                <a:gd name="T46" fmla="*/ 2147483647 w 603"/>
                <a:gd name="T47" fmla="*/ 2147483647 h 278"/>
                <a:gd name="T48" fmla="*/ 2147483647 w 603"/>
                <a:gd name="T49" fmla="*/ 2147483647 h 278"/>
                <a:gd name="T50" fmla="*/ 2147483647 w 603"/>
                <a:gd name="T51" fmla="*/ 2147483647 h 278"/>
                <a:gd name="T52" fmla="*/ 2147483647 w 603"/>
                <a:gd name="T53" fmla="*/ 2147483647 h 278"/>
                <a:gd name="T54" fmla="*/ 2147483647 w 603"/>
                <a:gd name="T55" fmla="*/ 2147483647 h 278"/>
                <a:gd name="T56" fmla="*/ 2147483647 w 603"/>
                <a:gd name="T57" fmla="*/ 2147483647 h 278"/>
                <a:gd name="T58" fmla="*/ 2147483647 w 603"/>
                <a:gd name="T59" fmla="*/ 2147483647 h 278"/>
                <a:gd name="T60" fmla="*/ 2147483647 w 603"/>
                <a:gd name="T61" fmla="*/ 2147483647 h 278"/>
                <a:gd name="T62" fmla="*/ 2147483647 w 603"/>
                <a:gd name="T63" fmla="*/ 2147483647 h 278"/>
                <a:gd name="T64" fmla="*/ 2147483647 w 603"/>
                <a:gd name="T65" fmla="*/ 2147483647 h 278"/>
                <a:gd name="T66" fmla="*/ 2147483647 w 603"/>
                <a:gd name="T67" fmla="*/ 2147483647 h 278"/>
                <a:gd name="T68" fmla="*/ 2147483647 w 603"/>
                <a:gd name="T69" fmla="*/ 2147483647 h 278"/>
                <a:gd name="T70" fmla="*/ 2147483647 w 603"/>
                <a:gd name="T71" fmla="*/ 2147483647 h 278"/>
                <a:gd name="T72" fmla="*/ 2147483647 w 603"/>
                <a:gd name="T73" fmla="*/ 2147483647 h 278"/>
                <a:gd name="T74" fmla="*/ 2147483647 w 603"/>
                <a:gd name="T75" fmla="*/ 2147483647 h 278"/>
                <a:gd name="T76" fmla="*/ 2147483647 w 603"/>
                <a:gd name="T77" fmla="*/ 2147483647 h 278"/>
                <a:gd name="T78" fmla="*/ 2147483647 w 603"/>
                <a:gd name="T79" fmla="*/ 2147483647 h 278"/>
                <a:gd name="T80" fmla="*/ 2147483647 w 603"/>
                <a:gd name="T81" fmla="*/ 2147483647 h 278"/>
                <a:gd name="T82" fmla="*/ 2147483647 w 603"/>
                <a:gd name="T83" fmla="*/ 2147483647 h 278"/>
                <a:gd name="T84" fmla="*/ 2147483647 w 603"/>
                <a:gd name="T85" fmla="*/ 2147483647 h 278"/>
                <a:gd name="T86" fmla="*/ 2147483647 w 603"/>
                <a:gd name="T87" fmla="*/ 2147483647 h 278"/>
                <a:gd name="T88" fmla="*/ 2147483647 w 603"/>
                <a:gd name="T89" fmla="*/ 2147483647 h 278"/>
                <a:gd name="T90" fmla="*/ 2147483647 w 603"/>
                <a:gd name="T91" fmla="*/ 2147483647 h 278"/>
                <a:gd name="T92" fmla="*/ 2147483647 w 603"/>
                <a:gd name="T93" fmla="*/ 2147483647 h 278"/>
                <a:gd name="T94" fmla="*/ 2147483647 w 603"/>
                <a:gd name="T95" fmla="*/ 2147483647 h 278"/>
                <a:gd name="T96" fmla="*/ 2147483647 w 603"/>
                <a:gd name="T97" fmla="*/ 2147483647 h 278"/>
                <a:gd name="T98" fmla="*/ 2147483647 w 603"/>
                <a:gd name="T99" fmla="*/ 2147483647 h 278"/>
                <a:gd name="T100" fmla="*/ 2147483647 w 603"/>
                <a:gd name="T101" fmla="*/ 2147483647 h 278"/>
                <a:gd name="T102" fmla="*/ 2147483647 w 603"/>
                <a:gd name="T103" fmla="*/ 2147483647 h 278"/>
                <a:gd name="T104" fmla="*/ 2147483647 w 603"/>
                <a:gd name="T105" fmla="*/ 2147483647 h 278"/>
                <a:gd name="T106" fmla="*/ 2147483647 w 603"/>
                <a:gd name="T107" fmla="*/ 2147483647 h 278"/>
                <a:gd name="T108" fmla="*/ 2147483647 w 603"/>
                <a:gd name="T109" fmla="*/ 2147483647 h 278"/>
                <a:gd name="T110" fmla="*/ 2147483647 w 603"/>
                <a:gd name="T111" fmla="*/ 2147483647 h 278"/>
                <a:gd name="T112" fmla="*/ 2147483647 w 603"/>
                <a:gd name="T113" fmla="*/ 2147483647 h 278"/>
                <a:gd name="T114" fmla="*/ 2147483647 w 603"/>
                <a:gd name="T115" fmla="*/ 2147483647 h 278"/>
                <a:gd name="T116" fmla="*/ 2147483647 w 603"/>
                <a:gd name="T117" fmla="*/ 2147483647 h 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03"/>
                <a:gd name="T178" fmla="*/ 0 h 278"/>
                <a:gd name="T179" fmla="*/ 603 w 603"/>
                <a:gd name="T180" fmla="*/ 278 h 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03" h="278">
                  <a:moveTo>
                    <a:pt x="600" y="120"/>
                  </a:moveTo>
                  <a:lnTo>
                    <a:pt x="600" y="120"/>
                  </a:lnTo>
                  <a:lnTo>
                    <a:pt x="603" y="115"/>
                  </a:lnTo>
                  <a:lnTo>
                    <a:pt x="597" y="112"/>
                  </a:lnTo>
                  <a:lnTo>
                    <a:pt x="594" y="106"/>
                  </a:lnTo>
                  <a:lnTo>
                    <a:pt x="586" y="109"/>
                  </a:lnTo>
                  <a:lnTo>
                    <a:pt x="571" y="106"/>
                  </a:lnTo>
                  <a:lnTo>
                    <a:pt x="565" y="103"/>
                  </a:lnTo>
                  <a:lnTo>
                    <a:pt x="563" y="97"/>
                  </a:lnTo>
                  <a:lnTo>
                    <a:pt x="560" y="97"/>
                  </a:lnTo>
                  <a:lnTo>
                    <a:pt x="554" y="94"/>
                  </a:lnTo>
                  <a:lnTo>
                    <a:pt x="551" y="89"/>
                  </a:lnTo>
                  <a:lnTo>
                    <a:pt x="542" y="83"/>
                  </a:lnTo>
                  <a:lnTo>
                    <a:pt x="537" y="83"/>
                  </a:lnTo>
                  <a:lnTo>
                    <a:pt x="531" y="80"/>
                  </a:lnTo>
                  <a:lnTo>
                    <a:pt x="520" y="86"/>
                  </a:lnTo>
                  <a:lnTo>
                    <a:pt x="508" y="86"/>
                  </a:lnTo>
                  <a:lnTo>
                    <a:pt x="502" y="83"/>
                  </a:lnTo>
                  <a:lnTo>
                    <a:pt x="499" y="77"/>
                  </a:lnTo>
                  <a:lnTo>
                    <a:pt x="494" y="74"/>
                  </a:lnTo>
                  <a:lnTo>
                    <a:pt x="491" y="80"/>
                  </a:lnTo>
                  <a:lnTo>
                    <a:pt x="491" y="83"/>
                  </a:lnTo>
                  <a:lnTo>
                    <a:pt x="488" y="83"/>
                  </a:lnTo>
                  <a:lnTo>
                    <a:pt x="485" y="83"/>
                  </a:lnTo>
                  <a:lnTo>
                    <a:pt x="476" y="72"/>
                  </a:lnTo>
                  <a:lnTo>
                    <a:pt x="465" y="63"/>
                  </a:lnTo>
                  <a:lnTo>
                    <a:pt x="448" y="51"/>
                  </a:lnTo>
                  <a:lnTo>
                    <a:pt x="433" y="40"/>
                  </a:lnTo>
                  <a:lnTo>
                    <a:pt x="425" y="31"/>
                  </a:lnTo>
                  <a:lnTo>
                    <a:pt x="410" y="26"/>
                  </a:lnTo>
                  <a:lnTo>
                    <a:pt x="408" y="23"/>
                  </a:lnTo>
                  <a:lnTo>
                    <a:pt x="410" y="17"/>
                  </a:lnTo>
                  <a:lnTo>
                    <a:pt x="396" y="23"/>
                  </a:lnTo>
                  <a:lnTo>
                    <a:pt x="390" y="28"/>
                  </a:lnTo>
                  <a:lnTo>
                    <a:pt x="385" y="34"/>
                  </a:lnTo>
                  <a:lnTo>
                    <a:pt x="382" y="34"/>
                  </a:lnTo>
                  <a:lnTo>
                    <a:pt x="376" y="34"/>
                  </a:lnTo>
                  <a:lnTo>
                    <a:pt x="367" y="37"/>
                  </a:lnTo>
                  <a:lnTo>
                    <a:pt x="365" y="28"/>
                  </a:lnTo>
                  <a:lnTo>
                    <a:pt x="370" y="26"/>
                  </a:lnTo>
                  <a:lnTo>
                    <a:pt x="370" y="23"/>
                  </a:lnTo>
                  <a:lnTo>
                    <a:pt x="362" y="26"/>
                  </a:lnTo>
                  <a:lnTo>
                    <a:pt x="359" y="23"/>
                  </a:lnTo>
                  <a:lnTo>
                    <a:pt x="353" y="26"/>
                  </a:lnTo>
                  <a:lnTo>
                    <a:pt x="344" y="20"/>
                  </a:lnTo>
                  <a:lnTo>
                    <a:pt x="339" y="23"/>
                  </a:lnTo>
                  <a:lnTo>
                    <a:pt x="330" y="20"/>
                  </a:lnTo>
                  <a:lnTo>
                    <a:pt x="327" y="11"/>
                  </a:lnTo>
                  <a:lnTo>
                    <a:pt x="324" y="5"/>
                  </a:lnTo>
                  <a:lnTo>
                    <a:pt x="319" y="0"/>
                  </a:lnTo>
                  <a:lnTo>
                    <a:pt x="310" y="3"/>
                  </a:lnTo>
                  <a:lnTo>
                    <a:pt x="290" y="0"/>
                  </a:lnTo>
                  <a:lnTo>
                    <a:pt x="284" y="0"/>
                  </a:lnTo>
                  <a:lnTo>
                    <a:pt x="284" y="5"/>
                  </a:lnTo>
                  <a:lnTo>
                    <a:pt x="270" y="11"/>
                  </a:lnTo>
                  <a:lnTo>
                    <a:pt x="250" y="11"/>
                  </a:lnTo>
                  <a:lnTo>
                    <a:pt x="247" y="14"/>
                  </a:lnTo>
                  <a:lnTo>
                    <a:pt x="244" y="17"/>
                  </a:lnTo>
                  <a:lnTo>
                    <a:pt x="238" y="17"/>
                  </a:lnTo>
                  <a:lnTo>
                    <a:pt x="230" y="17"/>
                  </a:lnTo>
                  <a:lnTo>
                    <a:pt x="224" y="23"/>
                  </a:lnTo>
                  <a:lnTo>
                    <a:pt x="215" y="23"/>
                  </a:lnTo>
                  <a:lnTo>
                    <a:pt x="207" y="23"/>
                  </a:lnTo>
                  <a:lnTo>
                    <a:pt x="201" y="23"/>
                  </a:lnTo>
                  <a:lnTo>
                    <a:pt x="192" y="23"/>
                  </a:lnTo>
                  <a:lnTo>
                    <a:pt x="189" y="26"/>
                  </a:lnTo>
                  <a:lnTo>
                    <a:pt x="189" y="28"/>
                  </a:lnTo>
                  <a:lnTo>
                    <a:pt x="201" y="31"/>
                  </a:lnTo>
                  <a:lnTo>
                    <a:pt x="198" y="34"/>
                  </a:lnTo>
                  <a:lnTo>
                    <a:pt x="195" y="34"/>
                  </a:lnTo>
                  <a:lnTo>
                    <a:pt x="198" y="34"/>
                  </a:lnTo>
                  <a:lnTo>
                    <a:pt x="210" y="40"/>
                  </a:lnTo>
                  <a:lnTo>
                    <a:pt x="210" y="43"/>
                  </a:lnTo>
                  <a:lnTo>
                    <a:pt x="195" y="43"/>
                  </a:lnTo>
                  <a:lnTo>
                    <a:pt x="192" y="46"/>
                  </a:lnTo>
                  <a:lnTo>
                    <a:pt x="198" y="54"/>
                  </a:lnTo>
                  <a:lnTo>
                    <a:pt x="187" y="63"/>
                  </a:lnTo>
                  <a:lnTo>
                    <a:pt x="192" y="66"/>
                  </a:lnTo>
                  <a:lnTo>
                    <a:pt x="195" y="69"/>
                  </a:lnTo>
                  <a:lnTo>
                    <a:pt x="201" y="72"/>
                  </a:lnTo>
                  <a:lnTo>
                    <a:pt x="210" y="74"/>
                  </a:lnTo>
                  <a:lnTo>
                    <a:pt x="212" y="77"/>
                  </a:lnTo>
                  <a:lnTo>
                    <a:pt x="210" y="83"/>
                  </a:lnTo>
                  <a:lnTo>
                    <a:pt x="207" y="86"/>
                  </a:lnTo>
                  <a:lnTo>
                    <a:pt x="204" y="89"/>
                  </a:lnTo>
                  <a:lnTo>
                    <a:pt x="201" y="89"/>
                  </a:lnTo>
                  <a:lnTo>
                    <a:pt x="192" y="86"/>
                  </a:lnTo>
                  <a:lnTo>
                    <a:pt x="189" y="86"/>
                  </a:lnTo>
                  <a:lnTo>
                    <a:pt x="189" y="89"/>
                  </a:lnTo>
                  <a:lnTo>
                    <a:pt x="189" y="92"/>
                  </a:lnTo>
                  <a:lnTo>
                    <a:pt x="175" y="86"/>
                  </a:lnTo>
                  <a:lnTo>
                    <a:pt x="172" y="86"/>
                  </a:lnTo>
                  <a:lnTo>
                    <a:pt x="166" y="80"/>
                  </a:lnTo>
                  <a:lnTo>
                    <a:pt x="164" y="77"/>
                  </a:lnTo>
                  <a:lnTo>
                    <a:pt x="158" y="80"/>
                  </a:lnTo>
                  <a:lnTo>
                    <a:pt x="152" y="83"/>
                  </a:lnTo>
                  <a:lnTo>
                    <a:pt x="143" y="80"/>
                  </a:lnTo>
                  <a:lnTo>
                    <a:pt x="135" y="83"/>
                  </a:lnTo>
                  <a:lnTo>
                    <a:pt x="132" y="86"/>
                  </a:lnTo>
                  <a:lnTo>
                    <a:pt x="126" y="92"/>
                  </a:lnTo>
                  <a:lnTo>
                    <a:pt x="115" y="86"/>
                  </a:lnTo>
                  <a:lnTo>
                    <a:pt x="112" y="83"/>
                  </a:lnTo>
                  <a:lnTo>
                    <a:pt x="115" y="89"/>
                  </a:lnTo>
                  <a:lnTo>
                    <a:pt x="109" y="92"/>
                  </a:lnTo>
                  <a:lnTo>
                    <a:pt x="103" y="83"/>
                  </a:lnTo>
                  <a:lnTo>
                    <a:pt x="98" y="77"/>
                  </a:lnTo>
                  <a:lnTo>
                    <a:pt x="92" y="74"/>
                  </a:lnTo>
                  <a:lnTo>
                    <a:pt x="77" y="72"/>
                  </a:lnTo>
                  <a:lnTo>
                    <a:pt x="72" y="66"/>
                  </a:lnTo>
                  <a:lnTo>
                    <a:pt x="69" y="66"/>
                  </a:lnTo>
                  <a:lnTo>
                    <a:pt x="69" y="69"/>
                  </a:lnTo>
                  <a:lnTo>
                    <a:pt x="63" y="72"/>
                  </a:lnTo>
                  <a:lnTo>
                    <a:pt x="57" y="72"/>
                  </a:lnTo>
                  <a:lnTo>
                    <a:pt x="57" y="69"/>
                  </a:lnTo>
                  <a:lnTo>
                    <a:pt x="54" y="69"/>
                  </a:lnTo>
                  <a:lnTo>
                    <a:pt x="52" y="66"/>
                  </a:lnTo>
                  <a:lnTo>
                    <a:pt x="46" y="72"/>
                  </a:lnTo>
                  <a:lnTo>
                    <a:pt x="43" y="77"/>
                  </a:lnTo>
                  <a:lnTo>
                    <a:pt x="34" y="77"/>
                  </a:lnTo>
                  <a:lnTo>
                    <a:pt x="34" y="83"/>
                  </a:lnTo>
                  <a:lnTo>
                    <a:pt x="29" y="86"/>
                  </a:lnTo>
                  <a:lnTo>
                    <a:pt x="26" y="86"/>
                  </a:lnTo>
                  <a:lnTo>
                    <a:pt x="23" y="89"/>
                  </a:lnTo>
                  <a:lnTo>
                    <a:pt x="29" y="94"/>
                  </a:lnTo>
                  <a:lnTo>
                    <a:pt x="26" y="103"/>
                  </a:lnTo>
                  <a:lnTo>
                    <a:pt x="23" y="103"/>
                  </a:lnTo>
                  <a:lnTo>
                    <a:pt x="17" y="103"/>
                  </a:lnTo>
                  <a:lnTo>
                    <a:pt x="14" y="100"/>
                  </a:lnTo>
                  <a:lnTo>
                    <a:pt x="11" y="97"/>
                  </a:lnTo>
                  <a:lnTo>
                    <a:pt x="9" y="92"/>
                  </a:lnTo>
                  <a:lnTo>
                    <a:pt x="6" y="92"/>
                  </a:lnTo>
                  <a:lnTo>
                    <a:pt x="6" y="94"/>
                  </a:lnTo>
                  <a:lnTo>
                    <a:pt x="6" y="97"/>
                  </a:lnTo>
                  <a:lnTo>
                    <a:pt x="6" y="100"/>
                  </a:lnTo>
                  <a:lnTo>
                    <a:pt x="0" y="103"/>
                  </a:lnTo>
                  <a:lnTo>
                    <a:pt x="0" y="106"/>
                  </a:lnTo>
                  <a:lnTo>
                    <a:pt x="3" y="109"/>
                  </a:lnTo>
                  <a:lnTo>
                    <a:pt x="6" y="112"/>
                  </a:lnTo>
                  <a:lnTo>
                    <a:pt x="6" y="115"/>
                  </a:lnTo>
                  <a:lnTo>
                    <a:pt x="3" y="117"/>
                  </a:lnTo>
                  <a:lnTo>
                    <a:pt x="0" y="123"/>
                  </a:lnTo>
                  <a:lnTo>
                    <a:pt x="0" y="126"/>
                  </a:lnTo>
                  <a:lnTo>
                    <a:pt x="9" y="132"/>
                  </a:lnTo>
                  <a:lnTo>
                    <a:pt x="11" y="135"/>
                  </a:lnTo>
                  <a:lnTo>
                    <a:pt x="11" y="138"/>
                  </a:lnTo>
                  <a:lnTo>
                    <a:pt x="14" y="140"/>
                  </a:lnTo>
                  <a:lnTo>
                    <a:pt x="20" y="138"/>
                  </a:lnTo>
                  <a:lnTo>
                    <a:pt x="32" y="146"/>
                  </a:lnTo>
                  <a:lnTo>
                    <a:pt x="43" y="161"/>
                  </a:lnTo>
                  <a:lnTo>
                    <a:pt x="43" y="163"/>
                  </a:lnTo>
                  <a:lnTo>
                    <a:pt x="37" y="163"/>
                  </a:lnTo>
                  <a:lnTo>
                    <a:pt x="49" y="169"/>
                  </a:lnTo>
                  <a:lnTo>
                    <a:pt x="49" y="166"/>
                  </a:lnTo>
                  <a:lnTo>
                    <a:pt x="52" y="166"/>
                  </a:lnTo>
                  <a:lnTo>
                    <a:pt x="57" y="166"/>
                  </a:lnTo>
                  <a:lnTo>
                    <a:pt x="60" y="163"/>
                  </a:lnTo>
                  <a:lnTo>
                    <a:pt x="63" y="161"/>
                  </a:lnTo>
                  <a:lnTo>
                    <a:pt x="63" y="158"/>
                  </a:lnTo>
                  <a:lnTo>
                    <a:pt x="66" y="158"/>
                  </a:lnTo>
                  <a:lnTo>
                    <a:pt x="69" y="155"/>
                  </a:lnTo>
                  <a:lnTo>
                    <a:pt x="72" y="155"/>
                  </a:lnTo>
                  <a:lnTo>
                    <a:pt x="75" y="155"/>
                  </a:lnTo>
                  <a:lnTo>
                    <a:pt x="86" y="161"/>
                  </a:lnTo>
                  <a:lnTo>
                    <a:pt x="100" y="158"/>
                  </a:lnTo>
                  <a:lnTo>
                    <a:pt x="106" y="166"/>
                  </a:lnTo>
                  <a:lnTo>
                    <a:pt x="109" y="172"/>
                  </a:lnTo>
                  <a:lnTo>
                    <a:pt x="109" y="178"/>
                  </a:lnTo>
                  <a:lnTo>
                    <a:pt x="109" y="181"/>
                  </a:lnTo>
                  <a:lnTo>
                    <a:pt x="112" y="186"/>
                  </a:lnTo>
                  <a:lnTo>
                    <a:pt x="118" y="186"/>
                  </a:lnTo>
                  <a:lnTo>
                    <a:pt x="121" y="186"/>
                  </a:lnTo>
                  <a:lnTo>
                    <a:pt x="126" y="183"/>
                  </a:lnTo>
                  <a:lnTo>
                    <a:pt x="129" y="192"/>
                  </a:lnTo>
                  <a:lnTo>
                    <a:pt x="126" y="192"/>
                  </a:lnTo>
                  <a:lnTo>
                    <a:pt x="123" y="189"/>
                  </a:lnTo>
                  <a:lnTo>
                    <a:pt x="112" y="189"/>
                  </a:lnTo>
                  <a:lnTo>
                    <a:pt x="98" y="186"/>
                  </a:lnTo>
                  <a:lnTo>
                    <a:pt x="86" y="189"/>
                  </a:lnTo>
                  <a:lnTo>
                    <a:pt x="80" y="198"/>
                  </a:lnTo>
                  <a:lnTo>
                    <a:pt x="83" y="204"/>
                  </a:lnTo>
                  <a:lnTo>
                    <a:pt x="77" y="204"/>
                  </a:lnTo>
                  <a:lnTo>
                    <a:pt x="69" y="204"/>
                  </a:lnTo>
                  <a:lnTo>
                    <a:pt x="72" y="206"/>
                  </a:lnTo>
                  <a:lnTo>
                    <a:pt x="80" y="218"/>
                  </a:lnTo>
                  <a:lnTo>
                    <a:pt x="89" y="227"/>
                  </a:lnTo>
                  <a:lnTo>
                    <a:pt x="98" y="235"/>
                  </a:lnTo>
                  <a:lnTo>
                    <a:pt x="106" y="238"/>
                  </a:lnTo>
                  <a:lnTo>
                    <a:pt x="112" y="241"/>
                  </a:lnTo>
                  <a:lnTo>
                    <a:pt x="112" y="247"/>
                  </a:lnTo>
                  <a:lnTo>
                    <a:pt x="112" y="252"/>
                  </a:lnTo>
                  <a:lnTo>
                    <a:pt x="112" y="255"/>
                  </a:lnTo>
                  <a:lnTo>
                    <a:pt x="118" y="252"/>
                  </a:lnTo>
                  <a:lnTo>
                    <a:pt x="129" y="244"/>
                  </a:lnTo>
                  <a:lnTo>
                    <a:pt x="135" y="241"/>
                  </a:lnTo>
                  <a:lnTo>
                    <a:pt x="141" y="244"/>
                  </a:lnTo>
                  <a:lnTo>
                    <a:pt x="146" y="247"/>
                  </a:lnTo>
                  <a:lnTo>
                    <a:pt x="152" y="252"/>
                  </a:lnTo>
                  <a:lnTo>
                    <a:pt x="161" y="258"/>
                  </a:lnTo>
                  <a:lnTo>
                    <a:pt x="161" y="264"/>
                  </a:lnTo>
                  <a:lnTo>
                    <a:pt x="164" y="264"/>
                  </a:lnTo>
                  <a:lnTo>
                    <a:pt x="169" y="264"/>
                  </a:lnTo>
                  <a:lnTo>
                    <a:pt x="152" y="192"/>
                  </a:lnTo>
                  <a:lnTo>
                    <a:pt x="192" y="181"/>
                  </a:lnTo>
                  <a:lnTo>
                    <a:pt x="195" y="178"/>
                  </a:lnTo>
                  <a:lnTo>
                    <a:pt x="201" y="178"/>
                  </a:lnTo>
                  <a:lnTo>
                    <a:pt x="207" y="181"/>
                  </a:lnTo>
                  <a:lnTo>
                    <a:pt x="207" y="175"/>
                  </a:lnTo>
                  <a:lnTo>
                    <a:pt x="207" y="169"/>
                  </a:lnTo>
                  <a:lnTo>
                    <a:pt x="210" y="166"/>
                  </a:lnTo>
                  <a:lnTo>
                    <a:pt x="210" y="163"/>
                  </a:lnTo>
                  <a:lnTo>
                    <a:pt x="218" y="161"/>
                  </a:lnTo>
                  <a:lnTo>
                    <a:pt x="224" y="166"/>
                  </a:lnTo>
                  <a:lnTo>
                    <a:pt x="227" y="166"/>
                  </a:lnTo>
                  <a:lnTo>
                    <a:pt x="232" y="166"/>
                  </a:lnTo>
                  <a:lnTo>
                    <a:pt x="230" y="169"/>
                  </a:lnTo>
                  <a:lnTo>
                    <a:pt x="227" y="172"/>
                  </a:lnTo>
                  <a:lnTo>
                    <a:pt x="224" y="172"/>
                  </a:lnTo>
                  <a:lnTo>
                    <a:pt x="221" y="169"/>
                  </a:lnTo>
                  <a:lnTo>
                    <a:pt x="218" y="166"/>
                  </a:lnTo>
                  <a:lnTo>
                    <a:pt x="212" y="166"/>
                  </a:lnTo>
                  <a:lnTo>
                    <a:pt x="212" y="172"/>
                  </a:lnTo>
                  <a:lnTo>
                    <a:pt x="215" y="175"/>
                  </a:lnTo>
                  <a:lnTo>
                    <a:pt x="221" y="183"/>
                  </a:lnTo>
                  <a:lnTo>
                    <a:pt x="224" y="192"/>
                  </a:lnTo>
                  <a:lnTo>
                    <a:pt x="230" y="198"/>
                  </a:lnTo>
                  <a:lnTo>
                    <a:pt x="238" y="204"/>
                  </a:lnTo>
                  <a:lnTo>
                    <a:pt x="255" y="221"/>
                  </a:lnTo>
                  <a:lnTo>
                    <a:pt x="273" y="218"/>
                  </a:lnTo>
                  <a:lnTo>
                    <a:pt x="293" y="221"/>
                  </a:lnTo>
                  <a:lnTo>
                    <a:pt x="301" y="215"/>
                  </a:lnTo>
                  <a:lnTo>
                    <a:pt x="310" y="224"/>
                  </a:lnTo>
                  <a:lnTo>
                    <a:pt x="316" y="227"/>
                  </a:lnTo>
                  <a:lnTo>
                    <a:pt x="316" y="229"/>
                  </a:lnTo>
                  <a:lnTo>
                    <a:pt x="321" y="229"/>
                  </a:lnTo>
                  <a:lnTo>
                    <a:pt x="327" y="244"/>
                  </a:lnTo>
                  <a:lnTo>
                    <a:pt x="327" y="247"/>
                  </a:lnTo>
                  <a:lnTo>
                    <a:pt x="327" y="250"/>
                  </a:lnTo>
                  <a:lnTo>
                    <a:pt x="330" y="250"/>
                  </a:lnTo>
                  <a:lnTo>
                    <a:pt x="333" y="250"/>
                  </a:lnTo>
                  <a:lnTo>
                    <a:pt x="336" y="252"/>
                  </a:lnTo>
                  <a:lnTo>
                    <a:pt x="336" y="258"/>
                  </a:lnTo>
                  <a:lnTo>
                    <a:pt x="342" y="264"/>
                  </a:lnTo>
                  <a:lnTo>
                    <a:pt x="344" y="264"/>
                  </a:lnTo>
                  <a:lnTo>
                    <a:pt x="350" y="264"/>
                  </a:lnTo>
                  <a:lnTo>
                    <a:pt x="362" y="264"/>
                  </a:lnTo>
                  <a:lnTo>
                    <a:pt x="365" y="264"/>
                  </a:lnTo>
                  <a:lnTo>
                    <a:pt x="365" y="267"/>
                  </a:lnTo>
                  <a:lnTo>
                    <a:pt x="365" y="272"/>
                  </a:lnTo>
                  <a:lnTo>
                    <a:pt x="365" y="275"/>
                  </a:lnTo>
                  <a:lnTo>
                    <a:pt x="370" y="278"/>
                  </a:lnTo>
                  <a:lnTo>
                    <a:pt x="370" y="270"/>
                  </a:lnTo>
                  <a:lnTo>
                    <a:pt x="376" y="264"/>
                  </a:lnTo>
                  <a:lnTo>
                    <a:pt x="379" y="255"/>
                  </a:lnTo>
                  <a:lnTo>
                    <a:pt x="382" y="255"/>
                  </a:lnTo>
                  <a:lnTo>
                    <a:pt x="387" y="252"/>
                  </a:lnTo>
                  <a:lnTo>
                    <a:pt x="390" y="247"/>
                  </a:lnTo>
                  <a:lnTo>
                    <a:pt x="393" y="247"/>
                  </a:lnTo>
                  <a:lnTo>
                    <a:pt x="396" y="247"/>
                  </a:lnTo>
                  <a:lnTo>
                    <a:pt x="399" y="244"/>
                  </a:lnTo>
                  <a:lnTo>
                    <a:pt x="399" y="241"/>
                  </a:lnTo>
                  <a:lnTo>
                    <a:pt x="405" y="235"/>
                  </a:lnTo>
                  <a:lnTo>
                    <a:pt x="413" y="232"/>
                  </a:lnTo>
                  <a:lnTo>
                    <a:pt x="419" y="235"/>
                  </a:lnTo>
                  <a:lnTo>
                    <a:pt x="433" y="238"/>
                  </a:lnTo>
                  <a:lnTo>
                    <a:pt x="439" y="238"/>
                  </a:lnTo>
                  <a:lnTo>
                    <a:pt x="436" y="232"/>
                  </a:lnTo>
                  <a:lnTo>
                    <a:pt x="448" y="224"/>
                  </a:lnTo>
                  <a:lnTo>
                    <a:pt x="451" y="227"/>
                  </a:lnTo>
                  <a:lnTo>
                    <a:pt x="459" y="229"/>
                  </a:lnTo>
                  <a:lnTo>
                    <a:pt x="468" y="232"/>
                  </a:lnTo>
                  <a:lnTo>
                    <a:pt x="471" y="232"/>
                  </a:lnTo>
                  <a:lnTo>
                    <a:pt x="474" y="227"/>
                  </a:lnTo>
                  <a:lnTo>
                    <a:pt x="482" y="232"/>
                  </a:lnTo>
                  <a:lnTo>
                    <a:pt x="494" y="229"/>
                  </a:lnTo>
                  <a:lnTo>
                    <a:pt x="499" y="232"/>
                  </a:lnTo>
                  <a:lnTo>
                    <a:pt x="514" y="232"/>
                  </a:lnTo>
                  <a:lnTo>
                    <a:pt x="528" y="235"/>
                  </a:lnTo>
                  <a:lnTo>
                    <a:pt x="531" y="235"/>
                  </a:lnTo>
                  <a:lnTo>
                    <a:pt x="531" y="238"/>
                  </a:lnTo>
                  <a:lnTo>
                    <a:pt x="531" y="241"/>
                  </a:lnTo>
                  <a:lnTo>
                    <a:pt x="534" y="241"/>
                  </a:lnTo>
                  <a:lnTo>
                    <a:pt x="542" y="241"/>
                  </a:lnTo>
                  <a:lnTo>
                    <a:pt x="545" y="235"/>
                  </a:lnTo>
                  <a:lnTo>
                    <a:pt x="542" y="229"/>
                  </a:lnTo>
                  <a:lnTo>
                    <a:pt x="545" y="229"/>
                  </a:lnTo>
                  <a:lnTo>
                    <a:pt x="548" y="229"/>
                  </a:lnTo>
                  <a:lnTo>
                    <a:pt x="545" y="221"/>
                  </a:lnTo>
                  <a:lnTo>
                    <a:pt x="540" y="215"/>
                  </a:lnTo>
                  <a:lnTo>
                    <a:pt x="534" y="206"/>
                  </a:lnTo>
                  <a:lnTo>
                    <a:pt x="534" y="201"/>
                  </a:lnTo>
                  <a:lnTo>
                    <a:pt x="525" y="198"/>
                  </a:lnTo>
                  <a:lnTo>
                    <a:pt x="525" y="195"/>
                  </a:lnTo>
                  <a:lnTo>
                    <a:pt x="528" y="192"/>
                  </a:lnTo>
                  <a:lnTo>
                    <a:pt x="531" y="192"/>
                  </a:lnTo>
                  <a:lnTo>
                    <a:pt x="540" y="189"/>
                  </a:lnTo>
                  <a:lnTo>
                    <a:pt x="551" y="186"/>
                  </a:lnTo>
                  <a:lnTo>
                    <a:pt x="554" y="186"/>
                  </a:lnTo>
                  <a:lnTo>
                    <a:pt x="554" y="189"/>
                  </a:lnTo>
                  <a:lnTo>
                    <a:pt x="560" y="189"/>
                  </a:lnTo>
                  <a:lnTo>
                    <a:pt x="563" y="189"/>
                  </a:lnTo>
                  <a:lnTo>
                    <a:pt x="563" y="186"/>
                  </a:lnTo>
                  <a:lnTo>
                    <a:pt x="560" y="186"/>
                  </a:lnTo>
                  <a:lnTo>
                    <a:pt x="557" y="186"/>
                  </a:lnTo>
                  <a:lnTo>
                    <a:pt x="557" y="146"/>
                  </a:lnTo>
                  <a:lnTo>
                    <a:pt x="560" y="149"/>
                  </a:lnTo>
                  <a:lnTo>
                    <a:pt x="563" y="149"/>
                  </a:lnTo>
                  <a:lnTo>
                    <a:pt x="574" y="152"/>
                  </a:lnTo>
                  <a:lnTo>
                    <a:pt x="583" y="152"/>
                  </a:lnTo>
                  <a:lnTo>
                    <a:pt x="588" y="155"/>
                  </a:lnTo>
                  <a:lnTo>
                    <a:pt x="591" y="158"/>
                  </a:lnTo>
                  <a:lnTo>
                    <a:pt x="591" y="155"/>
                  </a:lnTo>
                  <a:lnTo>
                    <a:pt x="597" y="152"/>
                  </a:lnTo>
                  <a:lnTo>
                    <a:pt x="597" y="149"/>
                  </a:lnTo>
                  <a:lnTo>
                    <a:pt x="594" y="146"/>
                  </a:lnTo>
                  <a:lnTo>
                    <a:pt x="591" y="140"/>
                  </a:lnTo>
                  <a:lnTo>
                    <a:pt x="588" y="135"/>
                  </a:lnTo>
                  <a:lnTo>
                    <a:pt x="588" y="132"/>
                  </a:lnTo>
                  <a:lnTo>
                    <a:pt x="588" y="126"/>
                  </a:lnTo>
                  <a:lnTo>
                    <a:pt x="594" y="126"/>
                  </a:lnTo>
                  <a:lnTo>
                    <a:pt x="600" y="126"/>
                  </a:lnTo>
                  <a:lnTo>
                    <a:pt x="600" y="123"/>
                  </a:lnTo>
                  <a:lnTo>
                    <a:pt x="600" y="120"/>
                  </a:lnTo>
                  <a:close/>
                  <a:moveTo>
                    <a:pt x="502" y="166"/>
                  </a:moveTo>
                  <a:lnTo>
                    <a:pt x="494" y="166"/>
                  </a:lnTo>
                  <a:lnTo>
                    <a:pt x="494" y="169"/>
                  </a:lnTo>
                  <a:lnTo>
                    <a:pt x="479" y="166"/>
                  </a:lnTo>
                  <a:lnTo>
                    <a:pt x="474" y="166"/>
                  </a:lnTo>
                  <a:lnTo>
                    <a:pt x="465" y="163"/>
                  </a:lnTo>
                  <a:lnTo>
                    <a:pt x="454" y="163"/>
                  </a:lnTo>
                  <a:lnTo>
                    <a:pt x="445" y="166"/>
                  </a:lnTo>
                  <a:lnTo>
                    <a:pt x="439" y="169"/>
                  </a:lnTo>
                  <a:lnTo>
                    <a:pt x="439" y="175"/>
                  </a:lnTo>
                  <a:lnTo>
                    <a:pt x="433" y="175"/>
                  </a:lnTo>
                  <a:lnTo>
                    <a:pt x="436" y="181"/>
                  </a:lnTo>
                  <a:lnTo>
                    <a:pt x="433" y="186"/>
                  </a:lnTo>
                  <a:lnTo>
                    <a:pt x="436" y="189"/>
                  </a:lnTo>
                  <a:lnTo>
                    <a:pt x="436" y="195"/>
                  </a:lnTo>
                  <a:lnTo>
                    <a:pt x="428" y="186"/>
                  </a:lnTo>
                  <a:lnTo>
                    <a:pt x="419" y="181"/>
                  </a:lnTo>
                  <a:lnTo>
                    <a:pt x="422" y="175"/>
                  </a:lnTo>
                  <a:lnTo>
                    <a:pt x="422" y="172"/>
                  </a:lnTo>
                  <a:lnTo>
                    <a:pt x="425" y="169"/>
                  </a:lnTo>
                  <a:lnTo>
                    <a:pt x="428" y="166"/>
                  </a:lnTo>
                  <a:lnTo>
                    <a:pt x="431" y="163"/>
                  </a:lnTo>
                  <a:lnTo>
                    <a:pt x="436" y="158"/>
                  </a:lnTo>
                  <a:lnTo>
                    <a:pt x="442" y="161"/>
                  </a:lnTo>
                  <a:lnTo>
                    <a:pt x="448" y="161"/>
                  </a:lnTo>
                  <a:lnTo>
                    <a:pt x="451" y="158"/>
                  </a:lnTo>
                  <a:lnTo>
                    <a:pt x="456" y="161"/>
                  </a:lnTo>
                  <a:lnTo>
                    <a:pt x="465" y="161"/>
                  </a:lnTo>
                  <a:lnTo>
                    <a:pt x="468" y="161"/>
                  </a:lnTo>
                  <a:lnTo>
                    <a:pt x="474" y="163"/>
                  </a:lnTo>
                  <a:lnTo>
                    <a:pt x="479" y="163"/>
                  </a:lnTo>
                  <a:lnTo>
                    <a:pt x="482" y="163"/>
                  </a:lnTo>
                  <a:lnTo>
                    <a:pt x="488" y="163"/>
                  </a:lnTo>
                  <a:lnTo>
                    <a:pt x="494" y="161"/>
                  </a:lnTo>
                  <a:lnTo>
                    <a:pt x="497" y="161"/>
                  </a:lnTo>
                  <a:lnTo>
                    <a:pt x="499" y="161"/>
                  </a:lnTo>
                  <a:lnTo>
                    <a:pt x="505" y="163"/>
                  </a:lnTo>
                  <a:lnTo>
                    <a:pt x="502" y="16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" name="Freeform 6"/>
            <p:cNvSpPr>
              <a:spLocks/>
            </p:cNvSpPr>
            <p:nvPr/>
          </p:nvSpPr>
          <p:spPr bwMode="auto">
            <a:xfrm>
              <a:off x="3222625" y="1962150"/>
              <a:ext cx="61913" cy="22225"/>
            </a:xfrm>
            <a:custGeom>
              <a:avLst/>
              <a:gdLst>
                <a:gd name="T0" fmla="*/ 2147483647 w 38"/>
                <a:gd name="T1" fmla="*/ 2147483647 h 14"/>
                <a:gd name="T2" fmla="*/ 2147483647 w 38"/>
                <a:gd name="T3" fmla="*/ 2147483647 h 14"/>
                <a:gd name="T4" fmla="*/ 2147483647 w 38"/>
                <a:gd name="T5" fmla="*/ 2147483647 h 14"/>
                <a:gd name="T6" fmla="*/ 2147483647 w 38"/>
                <a:gd name="T7" fmla="*/ 2147483647 h 14"/>
                <a:gd name="T8" fmla="*/ 2147483647 w 38"/>
                <a:gd name="T9" fmla="*/ 0 h 14"/>
                <a:gd name="T10" fmla="*/ 2147483647 w 38"/>
                <a:gd name="T11" fmla="*/ 2147483647 h 14"/>
                <a:gd name="T12" fmla="*/ 0 w 38"/>
                <a:gd name="T13" fmla="*/ 2147483647 h 14"/>
                <a:gd name="T14" fmla="*/ 0 w 38"/>
                <a:gd name="T15" fmla="*/ 2147483647 h 14"/>
                <a:gd name="T16" fmla="*/ 0 w 38"/>
                <a:gd name="T17" fmla="*/ 2147483647 h 14"/>
                <a:gd name="T18" fmla="*/ 2147483647 w 38"/>
                <a:gd name="T19" fmla="*/ 2147483647 h 14"/>
                <a:gd name="T20" fmla="*/ 2147483647 w 38"/>
                <a:gd name="T21" fmla="*/ 2147483647 h 1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8"/>
                <a:gd name="T34" fmla="*/ 0 h 14"/>
                <a:gd name="T35" fmla="*/ 38 w 38"/>
                <a:gd name="T36" fmla="*/ 14 h 1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8" h="14">
                  <a:moveTo>
                    <a:pt x="18" y="5"/>
                  </a:moveTo>
                  <a:lnTo>
                    <a:pt x="26" y="8"/>
                  </a:lnTo>
                  <a:lnTo>
                    <a:pt x="35" y="8"/>
                  </a:lnTo>
                  <a:lnTo>
                    <a:pt x="38" y="3"/>
                  </a:lnTo>
                  <a:lnTo>
                    <a:pt x="18" y="0"/>
                  </a:lnTo>
                  <a:lnTo>
                    <a:pt x="9" y="3"/>
                  </a:lnTo>
                  <a:lnTo>
                    <a:pt x="0" y="3"/>
                  </a:lnTo>
                  <a:lnTo>
                    <a:pt x="0" y="8"/>
                  </a:lnTo>
                  <a:lnTo>
                    <a:pt x="0" y="14"/>
                  </a:lnTo>
                  <a:lnTo>
                    <a:pt x="9" y="5"/>
                  </a:lnTo>
                  <a:lnTo>
                    <a:pt x="18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" name="Freeform 7"/>
            <p:cNvSpPr>
              <a:spLocks noEditPoints="1"/>
            </p:cNvSpPr>
            <p:nvPr/>
          </p:nvSpPr>
          <p:spPr bwMode="auto">
            <a:xfrm>
              <a:off x="4972050" y="4921250"/>
              <a:ext cx="69850" cy="69850"/>
            </a:xfrm>
            <a:custGeom>
              <a:avLst/>
              <a:gdLst>
                <a:gd name="T0" fmla="*/ 2147483647 w 43"/>
                <a:gd name="T1" fmla="*/ 0 h 43"/>
                <a:gd name="T2" fmla="*/ 2147483647 w 43"/>
                <a:gd name="T3" fmla="*/ 2147483647 h 43"/>
                <a:gd name="T4" fmla="*/ 2147483647 w 43"/>
                <a:gd name="T5" fmla="*/ 2147483647 h 43"/>
                <a:gd name="T6" fmla="*/ 2147483647 w 43"/>
                <a:gd name="T7" fmla="*/ 2147483647 h 43"/>
                <a:gd name="T8" fmla="*/ 0 w 43"/>
                <a:gd name="T9" fmla="*/ 2147483647 h 43"/>
                <a:gd name="T10" fmla="*/ 2147483647 w 43"/>
                <a:gd name="T11" fmla="*/ 2147483647 h 43"/>
                <a:gd name="T12" fmla="*/ 2147483647 w 43"/>
                <a:gd name="T13" fmla="*/ 2147483647 h 43"/>
                <a:gd name="T14" fmla="*/ 2147483647 w 43"/>
                <a:gd name="T15" fmla="*/ 2147483647 h 43"/>
                <a:gd name="T16" fmla="*/ 2147483647 w 43"/>
                <a:gd name="T17" fmla="*/ 2147483647 h 43"/>
                <a:gd name="T18" fmla="*/ 2147483647 w 43"/>
                <a:gd name="T19" fmla="*/ 2147483647 h 43"/>
                <a:gd name="T20" fmla="*/ 2147483647 w 43"/>
                <a:gd name="T21" fmla="*/ 2147483647 h 43"/>
                <a:gd name="T22" fmla="*/ 2147483647 w 43"/>
                <a:gd name="T23" fmla="*/ 2147483647 h 43"/>
                <a:gd name="T24" fmla="*/ 2147483647 w 43"/>
                <a:gd name="T25" fmla="*/ 2147483647 h 43"/>
                <a:gd name="T26" fmla="*/ 2147483647 w 43"/>
                <a:gd name="T27" fmla="*/ 2147483647 h 43"/>
                <a:gd name="T28" fmla="*/ 2147483647 w 43"/>
                <a:gd name="T29" fmla="*/ 2147483647 h 43"/>
                <a:gd name="T30" fmla="*/ 2147483647 w 43"/>
                <a:gd name="T31" fmla="*/ 0 h 43"/>
                <a:gd name="T32" fmla="*/ 2147483647 w 43"/>
                <a:gd name="T33" fmla="*/ 0 h 43"/>
                <a:gd name="T34" fmla="*/ 2147483647 w 43"/>
                <a:gd name="T35" fmla="*/ 2147483647 h 43"/>
                <a:gd name="T36" fmla="*/ 2147483647 w 43"/>
                <a:gd name="T37" fmla="*/ 2147483647 h 43"/>
                <a:gd name="T38" fmla="*/ 2147483647 w 43"/>
                <a:gd name="T39" fmla="*/ 2147483647 h 43"/>
                <a:gd name="T40" fmla="*/ 2147483647 w 43"/>
                <a:gd name="T41" fmla="*/ 2147483647 h 43"/>
                <a:gd name="T42" fmla="*/ 2147483647 w 43"/>
                <a:gd name="T43" fmla="*/ 2147483647 h 43"/>
                <a:gd name="T44" fmla="*/ 2147483647 w 43"/>
                <a:gd name="T45" fmla="*/ 2147483647 h 43"/>
                <a:gd name="T46" fmla="*/ 2147483647 w 43"/>
                <a:gd name="T47" fmla="*/ 2147483647 h 43"/>
                <a:gd name="T48" fmla="*/ 2147483647 w 43"/>
                <a:gd name="T49" fmla="*/ 2147483647 h 43"/>
                <a:gd name="T50" fmla="*/ 2147483647 w 43"/>
                <a:gd name="T51" fmla="*/ 2147483647 h 43"/>
                <a:gd name="T52" fmla="*/ 2147483647 w 43"/>
                <a:gd name="T53" fmla="*/ 2147483647 h 43"/>
                <a:gd name="T54" fmla="*/ 2147483647 w 43"/>
                <a:gd name="T55" fmla="*/ 2147483647 h 43"/>
                <a:gd name="T56" fmla="*/ 2147483647 w 43"/>
                <a:gd name="T57" fmla="*/ 2147483647 h 43"/>
                <a:gd name="T58" fmla="*/ 2147483647 w 43"/>
                <a:gd name="T59" fmla="*/ 2147483647 h 43"/>
                <a:gd name="T60" fmla="*/ 2147483647 w 43"/>
                <a:gd name="T61" fmla="*/ 2147483647 h 43"/>
                <a:gd name="T62" fmla="*/ 2147483647 w 43"/>
                <a:gd name="T63" fmla="*/ 2147483647 h 43"/>
                <a:gd name="T64" fmla="*/ 2147483647 w 43"/>
                <a:gd name="T65" fmla="*/ 2147483647 h 43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43"/>
                <a:gd name="T100" fmla="*/ 0 h 43"/>
                <a:gd name="T101" fmla="*/ 43 w 43"/>
                <a:gd name="T102" fmla="*/ 43 h 43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43" h="43">
                  <a:moveTo>
                    <a:pt x="29" y="0"/>
                  </a:moveTo>
                  <a:lnTo>
                    <a:pt x="17" y="5"/>
                  </a:lnTo>
                  <a:lnTo>
                    <a:pt x="9" y="8"/>
                  </a:lnTo>
                  <a:lnTo>
                    <a:pt x="9" y="17"/>
                  </a:lnTo>
                  <a:lnTo>
                    <a:pt x="0" y="23"/>
                  </a:lnTo>
                  <a:lnTo>
                    <a:pt x="3" y="31"/>
                  </a:lnTo>
                  <a:lnTo>
                    <a:pt x="15" y="40"/>
                  </a:lnTo>
                  <a:lnTo>
                    <a:pt x="17" y="43"/>
                  </a:lnTo>
                  <a:lnTo>
                    <a:pt x="20" y="43"/>
                  </a:lnTo>
                  <a:lnTo>
                    <a:pt x="26" y="31"/>
                  </a:lnTo>
                  <a:lnTo>
                    <a:pt x="35" y="34"/>
                  </a:lnTo>
                  <a:lnTo>
                    <a:pt x="43" y="23"/>
                  </a:lnTo>
                  <a:lnTo>
                    <a:pt x="40" y="14"/>
                  </a:lnTo>
                  <a:lnTo>
                    <a:pt x="43" y="11"/>
                  </a:lnTo>
                  <a:lnTo>
                    <a:pt x="29" y="0"/>
                  </a:lnTo>
                  <a:close/>
                  <a:moveTo>
                    <a:pt x="40" y="23"/>
                  </a:moveTo>
                  <a:lnTo>
                    <a:pt x="32" y="31"/>
                  </a:lnTo>
                  <a:lnTo>
                    <a:pt x="23" y="28"/>
                  </a:lnTo>
                  <a:lnTo>
                    <a:pt x="17" y="40"/>
                  </a:lnTo>
                  <a:lnTo>
                    <a:pt x="15" y="37"/>
                  </a:lnTo>
                  <a:lnTo>
                    <a:pt x="6" y="31"/>
                  </a:lnTo>
                  <a:lnTo>
                    <a:pt x="6" y="23"/>
                  </a:lnTo>
                  <a:lnTo>
                    <a:pt x="9" y="20"/>
                  </a:lnTo>
                  <a:lnTo>
                    <a:pt x="12" y="20"/>
                  </a:lnTo>
                  <a:lnTo>
                    <a:pt x="12" y="11"/>
                  </a:lnTo>
                  <a:lnTo>
                    <a:pt x="17" y="8"/>
                  </a:lnTo>
                  <a:lnTo>
                    <a:pt x="29" y="3"/>
                  </a:lnTo>
                  <a:lnTo>
                    <a:pt x="40" y="11"/>
                  </a:lnTo>
                  <a:lnTo>
                    <a:pt x="38" y="14"/>
                  </a:lnTo>
                  <a:lnTo>
                    <a:pt x="40" y="2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8" name="Freeform 8"/>
            <p:cNvSpPr>
              <a:spLocks/>
            </p:cNvSpPr>
            <p:nvPr/>
          </p:nvSpPr>
          <p:spPr bwMode="auto">
            <a:xfrm>
              <a:off x="1249363" y="3259138"/>
              <a:ext cx="9525" cy="14287"/>
            </a:xfrm>
            <a:custGeom>
              <a:avLst/>
              <a:gdLst>
                <a:gd name="T0" fmla="*/ 0 w 6"/>
                <a:gd name="T1" fmla="*/ 0 h 9"/>
                <a:gd name="T2" fmla="*/ 2147483647 w 6"/>
                <a:gd name="T3" fmla="*/ 2147483647 h 9"/>
                <a:gd name="T4" fmla="*/ 2147483647 w 6"/>
                <a:gd name="T5" fmla="*/ 2147483647 h 9"/>
                <a:gd name="T6" fmla="*/ 0 w 6"/>
                <a:gd name="T7" fmla="*/ 0 h 9"/>
                <a:gd name="T8" fmla="*/ 0 w 6"/>
                <a:gd name="T9" fmla="*/ 0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9"/>
                <a:gd name="T17" fmla="*/ 6 w 6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9">
                  <a:moveTo>
                    <a:pt x="0" y="0"/>
                  </a:moveTo>
                  <a:lnTo>
                    <a:pt x="6" y="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9" name="Rectangle 9"/>
            <p:cNvSpPr>
              <a:spLocks noChangeArrowheads="1"/>
            </p:cNvSpPr>
            <p:nvPr/>
          </p:nvSpPr>
          <p:spPr bwMode="auto">
            <a:xfrm>
              <a:off x="4564063" y="2211388"/>
              <a:ext cx="1587" cy="1587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0" name="Freeform 10"/>
            <p:cNvSpPr>
              <a:spLocks/>
            </p:cNvSpPr>
            <p:nvPr/>
          </p:nvSpPr>
          <p:spPr bwMode="auto">
            <a:xfrm>
              <a:off x="1957388" y="1930400"/>
              <a:ext cx="4762" cy="1588"/>
            </a:xfrm>
            <a:custGeom>
              <a:avLst/>
              <a:gdLst>
                <a:gd name="T0" fmla="*/ 0 w 3"/>
                <a:gd name="T1" fmla="*/ 0 h 1"/>
                <a:gd name="T2" fmla="*/ 0 w 3"/>
                <a:gd name="T3" fmla="*/ 0 h 1"/>
                <a:gd name="T4" fmla="*/ 2147483647 w 3"/>
                <a:gd name="T5" fmla="*/ 0 h 1"/>
                <a:gd name="T6" fmla="*/ 2147483647 w 3"/>
                <a:gd name="T7" fmla="*/ 0 h 1"/>
                <a:gd name="T8" fmla="*/ 0 w 3"/>
                <a:gd name="T9" fmla="*/ 0 h 1"/>
                <a:gd name="T10" fmla="*/ 0 w 3"/>
                <a:gd name="T11" fmla="*/ 0 h 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1"/>
                <a:gd name="T20" fmla="*/ 3 w 3"/>
                <a:gd name="T21" fmla="*/ 1 h 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1">
                  <a:moveTo>
                    <a:pt x="0" y="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1" name="Freeform 11"/>
            <p:cNvSpPr>
              <a:spLocks/>
            </p:cNvSpPr>
            <p:nvPr/>
          </p:nvSpPr>
          <p:spPr bwMode="auto">
            <a:xfrm>
              <a:off x="2206625" y="1758950"/>
              <a:ext cx="4763" cy="4763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2147483647 h 3"/>
                <a:gd name="T4" fmla="*/ 2147483647 w 3"/>
                <a:gd name="T5" fmla="*/ 2147483647 h 3"/>
                <a:gd name="T6" fmla="*/ 2147483647 w 3"/>
                <a:gd name="T7" fmla="*/ 0 h 3"/>
                <a:gd name="T8" fmla="*/ 0 w 3"/>
                <a:gd name="T9" fmla="*/ 2147483647 h 3"/>
                <a:gd name="T10" fmla="*/ 0 w 3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3"/>
                <a:gd name="T20" fmla="*/ 3 w 3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3">
                  <a:moveTo>
                    <a:pt x="0" y="3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2" name="Freeform 12"/>
            <p:cNvSpPr>
              <a:spLocks/>
            </p:cNvSpPr>
            <p:nvPr/>
          </p:nvSpPr>
          <p:spPr bwMode="auto">
            <a:xfrm>
              <a:off x="2170113" y="1938338"/>
              <a:ext cx="19050" cy="9525"/>
            </a:xfrm>
            <a:custGeom>
              <a:avLst/>
              <a:gdLst>
                <a:gd name="T0" fmla="*/ 2147483647 w 12"/>
                <a:gd name="T1" fmla="*/ 2147483647 h 6"/>
                <a:gd name="T2" fmla="*/ 2147483647 w 12"/>
                <a:gd name="T3" fmla="*/ 2147483647 h 6"/>
                <a:gd name="T4" fmla="*/ 2147483647 w 12"/>
                <a:gd name="T5" fmla="*/ 0 h 6"/>
                <a:gd name="T6" fmla="*/ 2147483647 w 12"/>
                <a:gd name="T7" fmla="*/ 2147483647 h 6"/>
                <a:gd name="T8" fmla="*/ 0 w 12"/>
                <a:gd name="T9" fmla="*/ 2147483647 h 6"/>
                <a:gd name="T10" fmla="*/ 0 w 12"/>
                <a:gd name="T11" fmla="*/ 2147483647 h 6"/>
                <a:gd name="T12" fmla="*/ 2147483647 w 12"/>
                <a:gd name="T13" fmla="*/ 2147483647 h 6"/>
                <a:gd name="T14" fmla="*/ 2147483647 w 12"/>
                <a:gd name="T15" fmla="*/ 2147483647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"/>
                <a:gd name="T25" fmla="*/ 0 h 6"/>
                <a:gd name="T26" fmla="*/ 12 w 12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" h="6">
                  <a:moveTo>
                    <a:pt x="12" y="3"/>
                  </a:moveTo>
                  <a:lnTo>
                    <a:pt x="12" y="3"/>
                  </a:lnTo>
                  <a:lnTo>
                    <a:pt x="9" y="0"/>
                  </a:lnTo>
                  <a:lnTo>
                    <a:pt x="3" y="3"/>
                  </a:lnTo>
                  <a:lnTo>
                    <a:pt x="0" y="6"/>
                  </a:lnTo>
                  <a:lnTo>
                    <a:pt x="12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3" name="Freeform 13"/>
            <p:cNvSpPr>
              <a:spLocks/>
            </p:cNvSpPr>
            <p:nvPr/>
          </p:nvSpPr>
          <p:spPr bwMode="auto">
            <a:xfrm>
              <a:off x="2565400" y="5662613"/>
              <a:ext cx="26988" cy="9525"/>
            </a:xfrm>
            <a:custGeom>
              <a:avLst/>
              <a:gdLst>
                <a:gd name="T0" fmla="*/ 2147483647 w 17"/>
                <a:gd name="T1" fmla="*/ 0 h 6"/>
                <a:gd name="T2" fmla="*/ 0 w 17"/>
                <a:gd name="T3" fmla="*/ 0 h 6"/>
                <a:gd name="T4" fmla="*/ 2147483647 w 17"/>
                <a:gd name="T5" fmla="*/ 0 h 6"/>
                <a:gd name="T6" fmla="*/ 2147483647 w 17"/>
                <a:gd name="T7" fmla="*/ 2147483647 h 6"/>
                <a:gd name="T8" fmla="*/ 2147483647 w 17"/>
                <a:gd name="T9" fmla="*/ 2147483647 h 6"/>
                <a:gd name="T10" fmla="*/ 2147483647 w 17"/>
                <a:gd name="T11" fmla="*/ 2147483647 h 6"/>
                <a:gd name="T12" fmla="*/ 2147483647 w 17"/>
                <a:gd name="T13" fmla="*/ 0 h 6"/>
                <a:gd name="T14" fmla="*/ 2147483647 w 17"/>
                <a:gd name="T15" fmla="*/ 2147483647 h 6"/>
                <a:gd name="T16" fmla="*/ 2147483647 w 17"/>
                <a:gd name="T17" fmla="*/ 0 h 6"/>
                <a:gd name="T18" fmla="*/ 2147483647 w 17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7"/>
                <a:gd name="T31" fmla="*/ 0 h 6"/>
                <a:gd name="T32" fmla="*/ 17 w 1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7" h="6">
                  <a:moveTo>
                    <a:pt x="11" y="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3" y="3"/>
                  </a:lnTo>
                  <a:lnTo>
                    <a:pt x="6" y="6"/>
                  </a:lnTo>
                  <a:lnTo>
                    <a:pt x="6" y="3"/>
                  </a:lnTo>
                  <a:lnTo>
                    <a:pt x="9" y="0"/>
                  </a:lnTo>
                  <a:lnTo>
                    <a:pt x="9" y="6"/>
                  </a:lnTo>
                  <a:lnTo>
                    <a:pt x="17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4" name="Freeform 14"/>
            <p:cNvSpPr>
              <a:spLocks/>
            </p:cNvSpPr>
            <p:nvPr/>
          </p:nvSpPr>
          <p:spPr bwMode="auto">
            <a:xfrm>
              <a:off x="1816100" y="3103563"/>
              <a:ext cx="9525" cy="4762"/>
            </a:xfrm>
            <a:custGeom>
              <a:avLst/>
              <a:gdLst>
                <a:gd name="T0" fmla="*/ 0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0 h 3"/>
                <a:gd name="T6" fmla="*/ 2147483647 w 6"/>
                <a:gd name="T7" fmla="*/ 0 h 3"/>
                <a:gd name="T8" fmla="*/ 2147483647 w 6"/>
                <a:gd name="T9" fmla="*/ 0 h 3"/>
                <a:gd name="T10" fmla="*/ 2147483647 w 6"/>
                <a:gd name="T11" fmla="*/ 0 h 3"/>
                <a:gd name="T12" fmla="*/ 0 w 6"/>
                <a:gd name="T13" fmla="*/ 2147483647 h 3"/>
                <a:gd name="T14" fmla="*/ 0 w 6"/>
                <a:gd name="T15" fmla="*/ 2147483647 h 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"/>
                <a:gd name="T25" fmla="*/ 0 h 3"/>
                <a:gd name="T26" fmla="*/ 6 w 6"/>
                <a:gd name="T27" fmla="*/ 3 h 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" h="3">
                  <a:moveTo>
                    <a:pt x="0" y="3"/>
                  </a:moveTo>
                  <a:lnTo>
                    <a:pt x="3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5" name="Freeform 15"/>
            <p:cNvSpPr>
              <a:spLocks/>
            </p:cNvSpPr>
            <p:nvPr/>
          </p:nvSpPr>
          <p:spPr bwMode="auto">
            <a:xfrm>
              <a:off x="2644775" y="1874838"/>
              <a:ext cx="4763" cy="1587"/>
            </a:xfrm>
            <a:custGeom>
              <a:avLst/>
              <a:gdLst>
                <a:gd name="T0" fmla="*/ 0 w 3"/>
                <a:gd name="T1" fmla="*/ 0 h 1"/>
                <a:gd name="T2" fmla="*/ 2147483647 w 3"/>
                <a:gd name="T3" fmla="*/ 0 h 1"/>
                <a:gd name="T4" fmla="*/ 2147483647 w 3"/>
                <a:gd name="T5" fmla="*/ 0 h 1"/>
                <a:gd name="T6" fmla="*/ 2147483647 w 3"/>
                <a:gd name="T7" fmla="*/ 0 h 1"/>
                <a:gd name="T8" fmla="*/ 2147483647 w 3"/>
                <a:gd name="T9" fmla="*/ 0 h 1"/>
                <a:gd name="T10" fmla="*/ 0 w 3"/>
                <a:gd name="T11" fmla="*/ 0 h 1"/>
                <a:gd name="T12" fmla="*/ 0 w 3"/>
                <a:gd name="T13" fmla="*/ 0 h 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"/>
                <a:gd name="T22" fmla="*/ 0 h 1"/>
                <a:gd name="T23" fmla="*/ 3 w 3"/>
                <a:gd name="T24" fmla="*/ 1 h 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" h="1">
                  <a:moveTo>
                    <a:pt x="0" y="0"/>
                  </a:move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6" name="Freeform 16"/>
            <p:cNvSpPr>
              <a:spLocks/>
            </p:cNvSpPr>
            <p:nvPr/>
          </p:nvSpPr>
          <p:spPr bwMode="auto">
            <a:xfrm>
              <a:off x="3978275" y="1714500"/>
              <a:ext cx="23813" cy="7938"/>
            </a:xfrm>
            <a:custGeom>
              <a:avLst/>
              <a:gdLst>
                <a:gd name="T0" fmla="*/ 2147483647 w 15"/>
                <a:gd name="T1" fmla="*/ 2147483647 h 5"/>
                <a:gd name="T2" fmla="*/ 2147483647 w 15"/>
                <a:gd name="T3" fmla="*/ 2147483647 h 5"/>
                <a:gd name="T4" fmla="*/ 2147483647 w 15"/>
                <a:gd name="T5" fmla="*/ 2147483647 h 5"/>
                <a:gd name="T6" fmla="*/ 2147483647 w 15"/>
                <a:gd name="T7" fmla="*/ 0 h 5"/>
                <a:gd name="T8" fmla="*/ 2147483647 w 15"/>
                <a:gd name="T9" fmla="*/ 0 h 5"/>
                <a:gd name="T10" fmla="*/ 2147483647 w 15"/>
                <a:gd name="T11" fmla="*/ 0 h 5"/>
                <a:gd name="T12" fmla="*/ 0 w 15"/>
                <a:gd name="T13" fmla="*/ 2147483647 h 5"/>
                <a:gd name="T14" fmla="*/ 0 w 15"/>
                <a:gd name="T15" fmla="*/ 2147483647 h 5"/>
                <a:gd name="T16" fmla="*/ 0 w 15"/>
                <a:gd name="T17" fmla="*/ 2147483647 h 5"/>
                <a:gd name="T18" fmla="*/ 2147483647 w 15"/>
                <a:gd name="T19" fmla="*/ 2147483647 h 5"/>
                <a:gd name="T20" fmla="*/ 2147483647 w 15"/>
                <a:gd name="T21" fmla="*/ 2147483647 h 5"/>
                <a:gd name="T22" fmla="*/ 2147483647 w 15"/>
                <a:gd name="T23" fmla="*/ 2147483647 h 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5"/>
                <a:gd name="T37" fmla="*/ 0 h 5"/>
                <a:gd name="T38" fmla="*/ 15 w 15"/>
                <a:gd name="T39" fmla="*/ 5 h 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5" h="5">
                  <a:moveTo>
                    <a:pt x="15" y="5"/>
                  </a:moveTo>
                  <a:lnTo>
                    <a:pt x="15" y="5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3" y="5"/>
                  </a:lnTo>
                  <a:lnTo>
                    <a:pt x="15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7" name="Freeform 17"/>
            <p:cNvSpPr>
              <a:spLocks/>
            </p:cNvSpPr>
            <p:nvPr/>
          </p:nvSpPr>
          <p:spPr bwMode="auto">
            <a:xfrm>
              <a:off x="3357563" y="2146300"/>
              <a:ext cx="12700" cy="7938"/>
            </a:xfrm>
            <a:custGeom>
              <a:avLst/>
              <a:gdLst>
                <a:gd name="T0" fmla="*/ 0 w 8"/>
                <a:gd name="T1" fmla="*/ 2147483647 h 5"/>
                <a:gd name="T2" fmla="*/ 2147483647 w 8"/>
                <a:gd name="T3" fmla="*/ 0 h 5"/>
                <a:gd name="T4" fmla="*/ 2147483647 w 8"/>
                <a:gd name="T5" fmla="*/ 0 h 5"/>
                <a:gd name="T6" fmla="*/ 0 w 8"/>
                <a:gd name="T7" fmla="*/ 2147483647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5"/>
                <a:gd name="T14" fmla="*/ 8 w 8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5">
                  <a:moveTo>
                    <a:pt x="0" y="5"/>
                  </a:moveTo>
                  <a:lnTo>
                    <a:pt x="8" y="0"/>
                  </a:lnTo>
                  <a:lnTo>
                    <a:pt x="3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8" name="Freeform 18"/>
            <p:cNvSpPr>
              <a:spLocks/>
            </p:cNvSpPr>
            <p:nvPr/>
          </p:nvSpPr>
          <p:spPr bwMode="auto">
            <a:xfrm>
              <a:off x="2824163" y="1984375"/>
              <a:ext cx="58737" cy="26988"/>
            </a:xfrm>
            <a:custGeom>
              <a:avLst/>
              <a:gdLst>
                <a:gd name="T0" fmla="*/ 2147483647 w 37"/>
                <a:gd name="T1" fmla="*/ 2147483647 h 17"/>
                <a:gd name="T2" fmla="*/ 2147483647 w 37"/>
                <a:gd name="T3" fmla="*/ 2147483647 h 17"/>
                <a:gd name="T4" fmla="*/ 0 w 37"/>
                <a:gd name="T5" fmla="*/ 2147483647 h 17"/>
                <a:gd name="T6" fmla="*/ 2147483647 w 37"/>
                <a:gd name="T7" fmla="*/ 2147483647 h 17"/>
                <a:gd name="T8" fmla="*/ 2147483647 w 37"/>
                <a:gd name="T9" fmla="*/ 2147483647 h 17"/>
                <a:gd name="T10" fmla="*/ 2147483647 w 37"/>
                <a:gd name="T11" fmla="*/ 2147483647 h 17"/>
                <a:gd name="T12" fmla="*/ 2147483647 w 37"/>
                <a:gd name="T13" fmla="*/ 2147483647 h 17"/>
                <a:gd name="T14" fmla="*/ 2147483647 w 37"/>
                <a:gd name="T15" fmla="*/ 2147483647 h 17"/>
                <a:gd name="T16" fmla="*/ 2147483647 w 37"/>
                <a:gd name="T17" fmla="*/ 2147483647 h 17"/>
                <a:gd name="T18" fmla="*/ 2147483647 w 37"/>
                <a:gd name="T19" fmla="*/ 2147483647 h 17"/>
                <a:gd name="T20" fmla="*/ 2147483647 w 37"/>
                <a:gd name="T21" fmla="*/ 0 h 17"/>
                <a:gd name="T22" fmla="*/ 2147483647 w 37"/>
                <a:gd name="T23" fmla="*/ 0 h 17"/>
                <a:gd name="T24" fmla="*/ 2147483647 w 37"/>
                <a:gd name="T25" fmla="*/ 0 h 17"/>
                <a:gd name="T26" fmla="*/ 2147483647 w 37"/>
                <a:gd name="T27" fmla="*/ 2147483647 h 17"/>
                <a:gd name="T28" fmla="*/ 2147483647 w 37"/>
                <a:gd name="T29" fmla="*/ 2147483647 h 17"/>
                <a:gd name="T30" fmla="*/ 2147483647 w 37"/>
                <a:gd name="T31" fmla="*/ 2147483647 h 17"/>
                <a:gd name="T32" fmla="*/ 2147483647 w 37"/>
                <a:gd name="T33" fmla="*/ 2147483647 h 1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37"/>
                <a:gd name="T52" fmla="*/ 0 h 17"/>
                <a:gd name="T53" fmla="*/ 37 w 37"/>
                <a:gd name="T54" fmla="*/ 17 h 17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37" h="17">
                  <a:moveTo>
                    <a:pt x="14" y="6"/>
                  </a:moveTo>
                  <a:lnTo>
                    <a:pt x="14" y="6"/>
                  </a:lnTo>
                  <a:lnTo>
                    <a:pt x="0" y="6"/>
                  </a:lnTo>
                  <a:lnTo>
                    <a:pt x="11" y="6"/>
                  </a:lnTo>
                  <a:lnTo>
                    <a:pt x="14" y="9"/>
                  </a:lnTo>
                  <a:lnTo>
                    <a:pt x="8" y="17"/>
                  </a:lnTo>
                  <a:lnTo>
                    <a:pt x="23" y="14"/>
                  </a:lnTo>
                  <a:lnTo>
                    <a:pt x="34" y="14"/>
                  </a:lnTo>
                  <a:lnTo>
                    <a:pt x="37" y="6"/>
                  </a:lnTo>
                  <a:lnTo>
                    <a:pt x="23" y="0"/>
                  </a:lnTo>
                  <a:lnTo>
                    <a:pt x="20" y="3"/>
                  </a:lnTo>
                  <a:lnTo>
                    <a:pt x="17" y="6"/>
                  </a:lnTo>
                  <a:lnTo>
                    <a:pt x="14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9" name="Freeform 19"/>
            <p:cNvSpPr>
              <a:spLocks/>
            </p:cNvSpPr>
            <p:nvPr/>
          </p:nvSpPr>
          <p:spPr bwMode="auto">
            <a:xfrm>
              <a:off x="3883025" y="1804988"/>
              <a:ext cx="17463" cy="9525"/>
            </a:xfrm>
            <a:custGeom>
              <a:avLst/>
              <a:gdLst>
                <a:gd name="T0" fmla="*/ 0 w 11"/>
                <a:gd name="T1" fmla="*/ 0 h 6"/>
                <a:gd name="T2" fmla="*/ 2147483647 w 11"/>
                <a:gd name="T3" fmla="*/ 2147483647 h 6"/>
                <a:gd name="T4" fmla="*/ 2147483647 w 11"/>
                <a:gd name="T5" fmla="*/ 2147483647 h 6"/>
                <a:gd name="T6" fmla="*/ 2147483647 w 11"/>
                <a:gd name="T7" fmla="*/ 2147483647 h 6"/>
                <a:gd name="T8" fmla="*/ 2147483647 w 11"/>
                <a:gd name="T9" fmla="*/ 2147483647 h 6"/>
                <a:gd name="T10" fmla="*/ 2147483647 w 11"/>
                <a:gd name="T11" fmla="*/ 2147483647 h 6"/>
                <a:gd name="T12" fmla="*/ 2147483647 w 11"/>
                <a:gd name="T13" fmla="*/ 2147483647 h 6"/>
                <a:gd name="T14" fmla="*/ 0 w 11"/>
                <a:gd name="T15" fmla="*/ 0 h 6"/>
                <a:gd name="T16" fmla="*/ 0 w 11"/>
                <a:gd name="T17" fmla="*/ 0 h 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"/>
                <a:gd name="T28" fmla="*/ 0 h 6"/>
                <a:gd name="T29" fmla="*/ 11 w 11"/>
                <a:gd name="T30" fmla="*/ 6 h 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" h="6">
                  <a:moveTo>
                    <a:pt x="0" y="0"/>
                  </a:moveTo>
                  <a:lnTo>
                    <a:pt x="3" y="3"/>
                  </a:lnTo>
                  <a:lnTo>
                    <a:pt x="11" y="6"/>
                  </a:lnTo>
                  <a:lnTo>
                    <a:pt x="11" y="3"/>
                  </a:lnTo>
                  <a:lnTo>
                    <a:pt x="6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0" name="Freeform 20"/>
            <p:cNvSpPr>
              <a:spLocks/>
            </p:cNvSpPr>
            <p:nvPr/>
          </p:nvSpPr>
          <p:spPr bwMode="auto">
            <a:xfrm>
              <a:off x="3900488" y="1809750"/>
              <a:ext cx="19050" cy="9525"/>
            </a:xfrm>
            <a:custGeom>
              <a:avLst/>
              <a:gdLst>
                <a:gd name="T0" fmla="*/ 0 w 12"/>
                <a:gd name="T1" fmla="*/ 0 h 6"/>
                <a:gd name="T2" fmla="*/ 0 w 12"/>
                <a:gd name="T3" fmla="*/ 2147483647 h 6"/>
                <a:gd name="T4" fmla="*/ 2147483647 w 12"/>
                <a:gd name="T5" fmla="*/ 2147483647 h 6"/>
                <a:gd name="T6" fmla="*/ 2147483647 w 12"/>
                <a:gd name="T7" fmla="*/ 2147483647 h 6"/>
                <a:gd name="T8" fmla="*/ 2147483647 w 12"/>
                <a:gd name="T9" fmla="*/ 2147483647 h 6"/>
                <a:gd name="T10" fmla="*/ 0 w 12"/>
                <a:gd name="T11" fmla="*/ 0 h 6"/>
                <a:gd name="T12" fmla="*/ 0 w 12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6"/>
                <a:gd name="T23" fmla="*/ 12 w 12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6">
                  <a:moveTo>
                    <a:pt x="0" y="0"/>
                  </a:moveTo>
                  <a:lnTo>
                    <a:pt x="0" y="3"/>
                  </a:lnTo>
                  <a:lnTo>
                    <a:pt x="9" y="6"/>
                  </a:lnTo>
                  <a:lnTo>
                    <a:pt x="12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1" name="Freeform 21"/>
            <p:cNvSpPr>
              <a:spLocks/>
            </p:cNvSpPr>
            <p:nvPr/>
          </p:nvSpPr>
          <p:spPr bwMode="auto">
            <a:xfrm>
              <a:off x="2846388" y="1639888"/>
              <a:ext cx="14287" cy="4762"/>
            </a:xfrm>
            <a:custGeom>
              <a:avLst/>
              <a:gdLst>
                <a:gd name="T0" fmla="*/ 2147483647 w 9"/>
                <a:gd name="T1" fmla="*/ 2147483647 h 3"/>
                <a:gd name="T2" fmla="*/ 2147483647 w 9"/>
                <a:gd name="T3" fmla="*/ 2147483647 h 3"/>
                <a:gd name="T4" fmla="*/ 2147483647 w 9"/>
                <a:gd name="T5" fmla="*/ 0 h 3"/>
                <a:gd name="T6" fmla="*/ 2147483647 w 9"/>
                <a:gd name="T7" fmla="*/ 0 h 3"/>
                <a:gd name="T8" fmla="*/ 0 w 9"/>
                <a:gd name="T9" fmla="*/ 2147483647 h 3"/>
                <a:gd name="T10" fmla="*/ 0 w 9"/>
                <a:gd name="T11" fmla="*/ 2147483647 h 3"/>
                <a:gd name="T12" fmla="*/ 2147483647 w 9"/>
                <a:gd name="T13" fmla="*/ 2147483647 h 3"/>
                <a:gd name="T14" fmla="*/ 2147483647 w 9"/>
                <a:gd name="T15" fmla="*/ 2147483647 h 3"/>
                <a:gd name="T16" fmla="*/ 2147483647 w 9"/>
                <a:gd name="T17" fmla="*/ 2147483647 h 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3"/>
                <a:gd name="T29" fmla="*/ 9 w 9"/>
                <a:gd name="T30" fmla="*/ 3 h 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3">
                  <a:moveTo>
                    <a:pt x="6" y="3"/>
                  </a:moveTo>
                  <a:lnTo>
                    <a:pt x="6" y="3"/>
                  </a:lnTo>
                  <a:lnTo>
                    <a:pt x="9" y="0"/>
                  </a:lnTo>
                  <a:lnTo>
                    <a:pt x="6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2" name="Freeform 22"/>
            <p:cNvSpPr>
              <a:spLocks/>
            </p:cNvSpPr>
            <p:nvPr/>
          </p:nvSpPr>
          <p:spPr bwMode="auto">
            <a:xfrm>
              <a:off x="2800350" y="1689100"/>
              <a:ext cx="77788" cy="33338"/>
            </a:xfrm>
            <a:custGeom>
              <a:avLst/>
              <a:gdLst>
                <a:gd name="T0" fmla="*/ 2147483647 w 49"/>
                <a:gd name="T1" fmla="*/ 2147483647 h 20"/>
                <a:gd name="T2" fmla="*/ 2147483647 w 49"/>
                <a:gd name="T3" fmla="*/ 2147483647 h 20"/>
                <a:gd name="T4" fmla="*/ 2147483647 w 49"/>
                <a:gd name="T5" fmla="*/ 2147483647 h 20"/>
                <a:gd name="T6" fmla="*/ 2147483647 w 49"/>
                <a:gd name="T7" fmla="*/ 2147483647 h 20"/>
                <a:gd name="T8" fmla="*/ 2147483647 w 49"/>
                <a:gd name="T9" fmla="*/ 2147483647 h 20"/>
                <a:gd name="T10" fmla="*/ 2147483647 w 49"/>
                <a:gd name="T11" fmla="*/ 2147483647 h 20"/>
                <a:gd name="T12" fmla="*/ 2147483647 w 49"/>
                <a:gd name="T13" fmla="*/ 2147483647 h 20"/>
                <a:gd name="T14" fmla="*/ 2147483647 w 49"/>
                <a:gd name="T15" fmla="*/ 2147483647 h 20"/>
                <a:gd name="T16" fmla="*/ 2147483647 w 49"/>
                <a:gd name="T17" fmla="*/ 2147483647 h 20"/>
                <a:gd name="T18" fmla="*/ 2147483647 w 49"/>
                <a:gd name="T19" fmla="*/ 2147483647 h 20"/>
                <a:gd name="T20" fmla="*/ 2147483647 w 49"/>
                <a:gd name="T21" fmla="*/ 2147483647 h 20"/>
                <a:gd name="T22" fmla="*/ 2147483647 w 49"/>
                <a:gd name="T23" fmla="*/ 2147483647 h 20"/>
                <a:gd name="T24" fmla="*/ 2147483647 w 49"/>
                <a:gd name="T25" fmla="*/ 2147483647 h 20"/>
                <a:gd name="T26" fmla="*/ 2147483647 w 49"/>
                <a:gd name="T27" fmla="*/ 2147483647 h 20"/>
                <a:gd name="T28" fmla="*/ 2147483647 w 49"/>
                <a:gd name="T29" fmla="*/ 2147483647 h 20"/>
                <a:gd name="T30" fmla="*/ 2147483647 w 49"/>
                <a:gd name="T31" fmla="*/ 2147483647 h 20"/>
                <a:gd name="T32" fmla="*/ 2147483647 w 49"/>
                <a:gd name="T33" fmla="*/ 0 h 20"/>
                <a:gd name="T34" fmla="*/ 2147483647 w 49"/>
                <a:gd name="T35" fmla="*/ 0 h 20"/>
                <a:gd name="T36" fmla="*/ 2147483647 w 49"/>
                <a:gd name="T37" fmla="*/ 2147483647 h 20"/>
                <a:gd name="T38" fmla="*/ 2147483647 w 49"/>
                <a:gd name="T39" fmla="*/ 2147483647 h 20"/>
                <a:gd name="T40" fmla="*/ 2147483647 w 49"/>
                <a:gd name="T41" fmla="*/ 2147483647 h 20"/>
                <a:gd name="T42" fmla="*/ 2147483647 w 49"/>
                <a:gd name="T43" fmla="*/ 2147483647 h 20"/>
                <a:gd name="T44" fmla="*/ 2147483647 w 49"/>
                <a:gd name="T45" fmla="*/ 2147483647 h 20"/>
                <a:gd name="T46" fmla="*/ 2147483647 w 49"/>
                <a:gd name="T47" fmla="*/ 2147483647 h 20"/>
                <a:gd name="T48" fmla="*/ 2147483647 w 49"/>
                <a:gd name="T49" fmla="*/ 2147483647 h 20"/>
                <a:gd name="T50" fmla="*/ 2147483647 w 49"/>
                <a:gd name="T51" fmla="*/ 2147483647 h 20"/>
                <a:gd name="T52" fmla="*/ 2147483647 w 49"/>
                <a:gd name="T53" fmla="*/ 2147483647 h 20"/>
                <a:gd name="T54" fmla="*/ 2147483647 w 49"/>
                <a:gd name="T55" fmla="*/ 2147483647 h 20"/>
                <a:gd name="T56" fmla="*/ 2147483647 w 49"/>
                <a:gd name="T57" fmla="*/ 2147483647 h 20"/>
                <a:gd name="T58" fmla="*/ 2147483647 w 49"/>
                <a:gd name="T59" fmla="*/ 2147483647 h 20"/>
                <a:gd name="T60" fmla="*/ 2147483647 w 49"/>
                <a:gd name="T61" fmla="*/ 2147483647 h 20"/>
                <a:gd name="T62" fmla="*/ 0 w 49"/>
                <a:gd name="T63" fmla="*/ 2147483647 h 20"/>
                <a:gd name="T64" fmla="*/ 0 w 49"/>
                <a:gd name="T65" fmla="*/ 2147483647 h 20"/>
                <a:gd name="T66" fmla="*/ 2147483647 w 49"/>
                <a:gd name="T67" fmla="*/ 2147483647 h 20"/>
                <a:gd name="T68" fmla="*/ 2147483647 w 49"/>
                <a:gd name="T69" fmla="*/ 2147483647 h 20"/>
                <a:gd name="T70" fmla="*/ 2147483647 w 49"/>
                <a:gd name="T71" fmla="*/ 2147483647 h 20"/>
                <a:gd name="T72" fmla="*/ 2147483647 w 49"/>
                <a:gd name="T73" fmla="*/ 2147483647 h 20"/>
                <a:gd name="T74" fmla="*/ 2147483647 w 49"/>
                <a:gd name="T75" fmla="*/ 2147483647 h 20"/>
                <a:gd name="T76" fmla="*/ 2147483647 w 49"/>
                <a:gd name="T77" fmla="*/ 2147483647 h 20"/>
                <a:gd name="T78" fmla="*/ 2147483647 w 49"/>
                <a:gd name="T79" fmla="*/ 2147483647 h 20"/>
                <a:gd name="T80" fmla="*/ 2147483647 w 49"/>
                <a:gd name="T81" fmla="*/ 2147483647 h 20"/>
                <a:gd name="T82" fmla="*/ 2147483647 w 49"/>
                <a:gd name="T83" fmla="*/ 2147483647 h 20"/>
                <a:gd name="T84" fmla="*/ 2147483647 w 49"/>
                <a:gd name="T85" fmla="*/ 2147483647 h 20"/>
                <a:gd name="T86" fmla="*/ 2147483647 w 49"/>
                <a:gd name="T87" fmla="*/ 2147483647 h 20"/>
                <a:gd name="T88" fmla="*/ 2147483647 w 49"/>
                <a:gd name="T89" fmla="*/ 2147483647 h 20"/>
                <a:gd name="T90" fmla="*/ 2147483647 w 49"/>
                <a:gd name="T91" fmla="*/ 2147483647 h 20"/>
                <a:gd name="T92" fmla="*/ 2147483647 w 49"/>
                <a:gd name="T93" fmla="*/ 2147483647 h 20"/>
                <a:gd name="T94" fmla="*/ 2147483647 w 49"/>
                <a:gd name="T95" fmla="*/ 2147483647 h 20"/>
                <a:gd name="T96" fmla="*/ 2147483647 w 49"/>
                <a:gd name="T97" fmla="*/ 2147483647 h 20"/>
                <a:gd name="T98" fmla="*/ 2147483647 w 49"/>
                <a:gd name="T99" fmla="*/ 2147483647 h 20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49"/>
                <a:gd name="T151" fmla="*/ 0 h 20"/>
                <a:gd name="T152" fmla="*/ 49 w 49"/>
                <a:gd name="T153" fmla="*/ 20 h 20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49" h="20">
                  <a:moveTo>
                    <a:pt x="46" y="9"/>
                  </a:moveTo>
                  <a:lnTo>
                    <a:pt x="46" y="9"/>
                  </a:lnTo>
                  <a:lnTo>
                    <a:pt x="38" y="12"/>
                  </a:lnTo>
                  <a:lnTo>
                    <a:pt x="26" y="15"/>
                  </a:lnTo>
                  <a:lnTo>
                    <a:pt x="23" y="15"/>
                  </a:lnTo>
                  <a:lnTo>
                    <a:pt x="26" y="12"/>
                  </a:lnTo>
                  <a:lnTo>
                    <a:pt x="32" y="9"/>
                  </a:lnTo>
                  <a:lnTo>
                    <a:pt x="35" y="6"/>
                  </a:lnTo>
                  <a:lnTo>
                    <a:pt x="35" y="3"/>
                  </a:lnTo>
                  <a:lnTo>
                    <a:pt x="38" y="0"/>
                  </a:lnTo>
                  <a:lnTo>
                    <a:pt x="35" y="0"/>
                  </a:lnTo>
                  <a:lnTo>
                    <a:pt x="29" y="3"/>
                  </a:lnTo>
                  <a:lnTo>
                    <a:pt x="18" y="12"/>
                  </a:lnTo>
                  <a:lnTo>
                    <a:pt x="15" y="12"/>
                  </a:lnTo>
                  <a:lnTo>
                    <a:pt x="15" y="9"/>
                  </a:lnTo>
                  <a:lnTo>
                    <a:pt x="18" y="6"/>
                  </a:lnTo>
                  <a:lnTo>
                    <a:pt x="20" y="3"/>
                  </a:lnTo>
                  <a:lnTo>
                    <a:pt x="18" y="3"/>
                  </a:lnTo>
                  <a:lnTo>
                    <a:pt x="3" y="9"/>
                  </a:lnTo>
                  <a:lnTo>
                    <a:pt x="0" y="12"/>
                  </a:lnTo>
                  <a:lnTo>
                    <a:pt x="6" y="15"/>
                  </a:lnTo>
                  <a:lnTo>
                    <a:pt x="9" y="18"/>
                  </a:lnTo>
                  <a:lnTo>
                    <a:pt x="12" y="20"/>
                  </a:lnTo>
                  <a:lnTo>
                    <a:pt x="26" y="20"/>
                  </a:lnTo>
                  <a:lnTo>
                    <a:pt x="32" y="20"/>
                  </a:lnTo>
                  <a:lnTo>
                    <a:pt x="38" y="18"/>
                  </a:lnTo>
                  <a:lnTo>
                    <a:pt x="43" y="15"/>
                  </a:lnTo>
                  <a:lnTo>
                    <a:pt x="49" y="9"/>
                  </a:lnTo>
                  <a:lnTo>
                    <a:pt x="49" y="6"/>
                  </a:lnTo>
                  <a:lnTo>
                    <a:pt x="46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3" name="Freeform 23"/>
            <p:cNvSpPr>
              <a:spLocks/>
            </p:cNvSpPr>
            <p:nvPr/>
          </p:nvSpPr>
          <p:spPr bwMode="auto">
            <a:xfrm>
              <a:off x="7394575" y="3881438"/>
              <a:ext cx="14288" cy="17462"/>
            </a:xfrm>
            <a:custGeom>
              <a:avLst/>
              <a:gdLst>
                <a:gd name="T0" fmla="*/ 0 w 9"/>
                <a:gd name="T1" fmla="*/ 2147483647 h 11"/>
                <a:gd name="T2" fmla="*/ 2147483647 w 9"/>
                <a:gd name="T3" fmla="*/ 2147483647 h 11"/>
                <a:gd name="T4" fmla="*/ 2147483647 w 9"/>
                <a:gd name="T5" fmla="*/ 2147483647 h 11"/>
                <a:gd name="T6" fmla="*/ 2147483647 w 9"/>
                <a:gd name="T7" fmla="*/ 2147483647 h 11"/>
                <a:gd name="T8" fmla="*/ 2147483647 w 9"/>
                <a:gd name="T9" fmla="*/ 2147483647 h 11"/>
                <a:gd name="T10" fmla="*/ 2147483647 w 9"/>
                <a:gd name="T11" fmla="*/ 2147483647 h 11"/>
                <a:gd name="T12" fmla="*/ 2147483647 w 9"/>
                <a:gd name="T13" fmla="*/ 2147483647 h 11"/>
                <a:gd name="T14" fmla="*/ 2147483647 w 9"/>
                <a:gd name="T15" fmla="*/ 0 h 11"/>
                <a:gd name="T16" fmla="*/ 2147483647 w 9"/>
                <a:gd name="T17" fmla="*/ 0 h 11"/>
                <a:gd name="T18" fmla="*/ 2147483647 w 9"/>
                <a:gd name="T19" fmla="*/ 0 h 11"/>
                <a:gd name="T20" fmla="*/ 2147483647 w 9"/>
                <a:gd name="T21" fmla="*/ 0 h 11"/>
                <a:gd name="T22" fmla="*/ 0 w 9"/>
                <a:gd name="T23" fmla="*/ 2147483647 h 11"/>
                <a:gd name="T24" fmla="*/ 0 w 9"/>
                <a:gd name="T25" fmla="*/ 2147483647 h 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9"/>
                <a:gd name="T40" fmla="*/ 0 h 11"/>
                <a:gd name="T41" fmla="*/ 9 w 9"/>
                <a:gd name="T42" fmla="*/ 11 h 1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9" h="11">
                  <a:moveTo>
                    <a:pt x="0" y="3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9" y="11"/>
                  </a:lnTo>
                  <a:lnTo>
                    <a:pt x="9" y="3"/>
                  </a:lnTo>
                  <a:lnTo>
                    <a:pt x="9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4" name="Freeform 24"/>
            <p:cNvSpPr>
              <a:spLocks/>
            </p:cNvSpPr>
            <p:nvPr/>
          </p:nvSpPr>
          <p:spPr bwMode="auto">
            <a:xfrm>
              <a:off x="7278688" y="3503613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0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6" y="3"/>
                  </a:moveTo>
                  <a:lnTo>
                    <a:pt x="3" y="0"/>
                  </a:lnTo>
                  <a:lnTo>
                    <a:pt x="0" y="6"/>
                  </a:lnTo>
                  <a:lnTo>
                    <a:pt x="3" y="6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5" name="Freeform 25"/>
            <p:cNvSpPr>
              <a:spLocks/>
            </p:cNvSpPr>
            <p:nvPr/>
          </p:nvSpPr>
          <p:spPr bwMode="auto">
            <a:xfrm>
              <a:off x="7700963" y="3079750"/>
              <a:ext cx="15875" cy="4763"/>
            </a:xfrm>
            <a:custGeom>
              <a:avLst/>
              <a:gdLst>
                <a:gd name="T0" fmla="*/ 2147483647 w 9"/>
                <a:gd name="T1" fmla="*/ 2147483647 h 3"/>
                <a:gd name="T2" fmla="*/ 2147483647 w 9"/>
                <a:gd name="T3" fmla="*/ 2147483647 h 3"/>
                <a:gd name="T4" fmla="*/ 2147483647 w 9"/>
                <a:gd name="T5" fmla="*/ 0 h 3"/>
                <a:gd name="T6" fmla="*/ 2147483647 w 9"/>
                <a:gd name="T7" fmla="*/ 0 h 3"/>
                <a:gd name="T8" fmla="*/ 2147483647 w 9"/>
                <a:gd name="T9" fmla="*/ 0 h 3"/>
                <a:gd name="T10" fmla="*/ 2147483647 w 9"/>
                <a:gd name="T11" fmla="*/ 0 h 3"/>
                <a:gd name="T12" fmla="*/ 2147483647 w 9"/>
                <a:gd name="T13" fmla="*/ 0 h 3"/>
                <a:gd name="T14" fmla="*/ 0 w 9"/>
                <a:gd name="T15" fmla="*/ 2147483647 h 3"/>
                <a:gd name="T16" fmla="*/ 2147483647 w 9"/>
                <a:gd name="T17" fmla="*/ 2147483647 h 3"/>
                <a:gd name="T18" fmla="*/ 2147483647 w 9"/>
                <a:gd name="T19" fmla="*/ 2147483647 h 3"/>
                <a:gd name="T20" fmla="*/ 2147483647 w 9"/>
                <a:gd name="T21" fmla="*/ 2147483647 h 3"/>
                <a:gd name="T22" fmla="*/ 2147483647 w 9"/>
                <a:gd name="T23" fmla="*/ 2147483647 h 3"/>
                <a:gd name="T24" fmla="*/ 2147483647 w 9"/>
                <a:gd name="T25" fmla="*/ 2147483647 h 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9"/>
                <a:gd name="T40" fmla="*/ 0 h 3"/>
                <a:gd name="T41" fmla="*/ 9 w 9"/>
                <a:gd name="T42" fmla="*/ 3 h 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9" h="3">
                  <a:moveTo>
                    <a:pt x="9" y="3"/>
                  </a:moveTo>
                  <a:lnTo>
                    <a:pt x="9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6" y="3"/>
                  </a:lnTo>
                  <a:lnTo>
                    <a:pt x="9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6" name="Freeform 26"/>
            <p:cNvSpPr>
              <a:spLocks/>
            </p:cNvSpPr>
            <p:nvPr/>
          </p:nvSpPr>
          <p:spPr bwMode="auto">
            <a:xfrm>
              <a:off x="7661275" y="3697288"/>
              <a:ext cx="4763" cy="4762"/>
            </a:xfrm>
            <a:custGeom>
              <a:avLst/>
              <a:gdLst>
                <a:gd name="T0" fmla="*/ 2147483647 w 3"/>
                <a:gd name="T1" fmla="*/ 0 h 3"/>
                <a:gd name="T2" fmla="*/ 0 w 3"/>
                <a:gd name="T3" fmla="*/ 0 h 3"/>
                <a:gd name="T4" fmla="*/ 0 w 3"/>
                <a:gd name="T5" fmla="*/ 2147483647 h 3"/>
                <a:gd name="T6" fmla="*/ 0 w 3"/>
                <a:gd name="T7" fmla="*/ 0 h 3"/>
                <a:gd name="T8" fmla="*/ 2147483647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7" name="Freeform 27"/>
            <p:cNvSpPr>
              <a:spLocks/>
            </p:cNvSpPr>
            <p:nvPr/>
          </p:nvSpPr>
          <p:spPr bwMode="auto">
            <a:xfrm>
              <a:off x="7632700" y="3679825"/>
              <a:ext cx="19050" cy="53975"/>
            </a:xfrm>
            <a:custGeom>
              <a:avLst/>
              <a:gdLst>
                <a:gd name="T0" fmla="*/ 2147483647 w 12"/>
                <a:gd name="T1" fmla="*/ 2147483647 h 34"/>
                <a:gd name="T2" fmla="*/ 2147483647 w 12"/>
                <a:gd name="T3" fmla="*/ 2147483647 h 34"/>
                <a:gd name="T4" fmla="*/ 2147483647 w 12"/>
                <a:gd name="T5" fmla="*/ 2147483647 h 34"/>
                <a:gd name="T6" fmla="*/ 2147483647 w 12"/>
                <a:gd name="T7" fmla="*/ 2147483647 h 34"/>
                <a:gd name="T8" fmla="*/ 2147483647 w 12"/>
                <a:gd name="T9" fmla="*/ 2147483647 h 34"/>
                <a:gd name="T10" fmla="*/ 2147483647 w 12"/>
                <a:gd name="T11" fmla="*/ 2147483647 h 34"/>
                <a:gd name="T12" fmla="*/ 2147483647 w 12"/>
                <a:gd name="T13" fmla="*/ 2147483647 h 34"/>
                <a:gd name="T14" fmla="*/ 2147483647 w 12"/>
                <a:gd name="T15" fmla="*/ 2147483647 h 34"/>
                <a:gd name="T16" fmla="*/ 2147483647 w 12"/>
                <a:gd name="T17" fmla="*/ 0 h 34"/>
                <a:gd name="T18" fmla="*/ 2147483647 w 12"/>
                <a:gd name="T19" fmla="*/ 0 h 34"/>
                <a:gd name="T20" fmla="*/ 2147483647 w 12"/>
                <a:gd name="T21" fmla="*/ 2147483647 h 34"/>
                <a:gd name="T22" fmla="*/ 2147483647 w 12"/>
                <a:gd name="T23" fmla="*/ 2147483647 h 34"/>
                <a:gd name="T24" fmla="*/ 2147483647 w 12"/>
                <a:gd name="T25" fmla="*/ 2147483647 h 34"/>
                <a:gd name="T26" fmla="*/ 2147483647 w 12"/>
                <a:gd name="T27" fmla="*/ 2147483647 h 34"/>
                <a:gd name="T28" fmla="*/ 2147483647 w 12"/>
                <a:gd name="T29" fmla="*/ 2147483647 h 34"/>
                <a:gd name="T30" fmla="*/ 2147483647 w 12"/>
                <a:gd name="T31" fmla="*/ 2147483647 h 34"/>
                <a:gd name="T32" fmla="*/ 2147483647 w 12"/>
                <a:gd name="T33" fmla="*/ 2147483647 h 34"/>
                <a:gd name="T34" fmla="*/ 0 w 12"/>
                <a:gd name="T35" fmla="*/ 2147483647 h 34"/>
                <a:gd name="T36" fmla="*/ 2147483647 w 12"/>
                <a:gd name="T37" fmla="*/ 2147483647 h 34"/>
                <a:gd name="T38" fmla="*/ 2147483647 w 12"/>
                <a:gd name="T39" fmla="*/ 2147483647 h 34"/>
                <a:gd name="T40" fmla="*/ 2147483647 w 12"/>
                <a:gd name="T41" fmla="*/ 2147483647 h 34"/>
                <a:gd name="T42" fmla="*/ 2147483647 w 12"/>
                <a:gd name="T43" fmla="*/ 2147483647 h 34"/>
                <a:gd name="T44" fmla="*/ 2147483647 w 12"/>
                <a:gd name="T45" fmla="*/ 2147483647 h 34"/>
                <a:gd name="T46" fmla="*/ 2147483647 w 12"/>
                <a:gd name="T47" fmla="*/ 2147483647 h 3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2"/>
                <a:gd name="T73" fmla="*/ 0 h 34"/>
                <a:gd name="T74" fmla="*/ 12 w 12"/>
                <a:gd name="T75" fmla="*/ 34 h 34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2" h="34">
                  <a:moveTo>
                    <a:pt x="6" y="25"/>
                  </a:moveTo>
                  <a:lnTo>
                    <a:pt x="6" y="25"/>
                  </a:lnTo>
                  <a:lnTo>
                    <a:pt x="12" y="20"/>
                  </a:lnTo>
                  <a:lnTo>
                    <a:pt x="12" y="17"/>
                  </a:lnTo>
                  <a:lnTo>
                    <a:pt x="12" y="11"/>
                  </a:lnTo>
                  <a:lnTo>
                    <a:pt x="12" y="5"/>
                  </a:lnTo>
                  <a:lnTo>
                    <a:pt x="12" y="0"/>
                  </a:lnTo>
                  <a:lnTo>
                    <a:pt x="9" y="2"/>
                  </a:lnTo>
                  <a:lnTo>
                    <a:pt x="6" y="11"/>
                  </a:lnTo>
                  <a:lnTo>
                    <a:pt x="6" y="17"/>
                  </a:lnTo>
                  <a:lnTo>
                    <a:pt x="3" y="25"/>
                  </a:lnTo>
                  <a:lnTo>
                    <a:pt x="3" y="31"/>
                  </a:lnTo>
                  <a:lnTo>
                    <a:pt x="0" y="31"/>
                  </a:lnTo>
                  <a:lnTo>
                    <a:pt x="3" y="34"/>
                  </a:lnTo>
                  <a:lnTo>
                    <a:pt x="6" y="31"/>
                  </a:lnTo>
                  <a:lnTo>
                    <a:pt x="6" y="28"/>
                  </a:lnTo>
                  <a:lnTo>
                    <a:pt x="6" y="2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8" name="Freeform 28"/>
            <p:cNvSpPr>
              <a:spLocks/>
            </p:cNvSpPr>
            <p:nvPr/>
          </p:nvSpPr>
          <p:spPr bwMode="auto">
            <a:xfrm>
              <a:off x="7669213" y="3738563"/>
              <a:ext cx="9525" cy="9525"/>
            </a:xfrm>
            <a:custGeom>
              <a:avLst/>
              <a:gdLst>
                <a:gd name="T0" fmla="*/ 0 w 6"/>
                <a:gd name="T1" fmla="*/ 2147483647 h 6"/>
                <a:gd name="T2" fmla="*/ 2147483647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3"/>
                  </a:moveTo>
                  <a:lnTo>
                    <a:pt x="3" y="6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9" name="Freeform 29"/>
            <p:cNvSpPr>
              <a:spLocks/>
            </p:cNvSpPr>
            <p:nvPr/>
          </p:nvSpPr>
          <p:spPr bwMode="auto">
            <a:xfrm>
              <a:off x="7646988" y="3711575"/>
              <a:ext cx="22225" cy="17463"/>
            </a:xfrm>
            <a:custGeom>
              <a:avLst/>
              <a:gdLst>
                <a:gd name="T0" fmla="*/ 2147483647 w 14"/>
                <a:gd name="T1" fmla="*/ 2147483647 h 11"/>
                <a:gd name="T2" fmla="*/ 2147483647 w 14"/>
                <a:gd name="T3" fmla="*/ 2147483647 h 11"/>
                <a:gd name="T4" fmla="*/ 2147483647 w 14"/>
                <a:gd name="T5" fmla="*/ 2147483647 h 11"/>
                <a:gd name="T6" fmla="*/ 2147483647 w 14"/>
                <a:gd name="T7" fmla="*/ 2147483647 h 11"/>
                <a:gd name="T8" fmla="*/ 2147483647 w 14"/>
                <a:gd name="T9" fmla="*/ 2147483647 h 11"/>
                <a:gd name="T10" fmla="*/ 2147483647 w 14"/>
                <a:gd name="T11" fmla="*/ 2147483647 h 11"/>
                <a:gd name="T12" fmla="*/ 2147483647 w 14"/>
                <a:gd name="T13" fmla="*/ 2147483647 h 11"/>
                <a:gd name="T14" fmla="*/ 2147483647 w 14"/>
                <a:gd name="T15" fmla="*/ 2147483647 h 11"/>
                <a:gd name="T16" fmla="*/ 2147483647 w 14"/>
                <a:gd name="T17" fmla="*/ 0 h 11"/>
                <a:gd name="T18" fmla="*/ 2147483647 w 14"/>
                <a:gd name="T19" fmla="*/ 0 h 11"/>
                <a:gd name="T20" fmla="*/ 2147483647 w 14"/>
                <a:gd name="T21" fmla="*/ 2147483647 h 11"/>
                <a:gd name="T22" fmla="*/ 2147483647 w 14"/>
                <a:gd name="T23" fmla="*/ 2147483647 h 11"/>
                <a:gd name="T24" fmla="*/ 0 w 14"/>
                <a:gd name="T25" fmla="*/ 2147483647 h 11"/>
                <a:gd name="T26" fmla="*/ 0 w 14"/>
                <a:gd name="T27" fmla="*/ 2147483647 h 11"/>
                <a:gd name="T28" fmla="*/ 0 w 14"/>
                <a:gd name="T29" fmla="*/ 2147483647 h 11"/>
                <a:gd name="T30" fmla="*/ 0 w 14"/>
                <a:gd name="T31" fmla="*/ 2147483647 h 11"/>
                <a:gd name="T32" fmla="*/ 2147483647 w 14"/>
                <a:gd name="T33" fmla="*/ 2147483647 h 11"/>
                <a:gd name="T34" fmla="*/ 2147483647 w 14"/>
                <a:gd name="T35" fmla="*/ 2147483647 h 11"/>
                <a:gd name="T36" fmla="*/ 2147483647 w 14"/>
                <a:gd name="T37" fmla="*/ 2147483647 h 11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4"/>
                <a:gd name="T58" fmla="*/ 0 h 11"/>
                <a:gd name="T59" fmla="*/ 14 w 14"/>
                <a:gd name="T60" fmla="*/ 11 h 11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4" h="11">
                  <a:moveTo>
                    <a:pt x="9" y="11"/>
                  </a:moveTo>
                  <a:lnTo>
                    <a:pt x="9" y="11"/>
                  </a:lnTo>
                  <a:lnTo>
                    <a:pt x="12" y="11"/>
                  </a:lnTo>
                  <a:lnTo>
                    <a:pt x="14" y="8"/>
                  </a:lnTo>
                  <a:lnTo>
                    <a:pt x="14" y="5"/>
                  </a:lnTo>
                  <a:lnTo>
                    <a:pt x="12" y="3"/>
                  </a:lnTo>
                  <a:lnTo>
                    <a:pt x="9" y="0"/>
                  </a:lnTo>
                  <a:lnTo>
                    <a:pt x="3" y="5"/>
                  </a:lnTo>
                  <a:lnTo>
                    <a:pt x="0" y="8"/>
                  </a:lnTo>
                  <a:lnTo>
                    <a:pt x="0" y="11"/>
                  </a:lnTo>
                  <a:lnTo>
                    <a:pt x="3" y="11"/>
                  </a:lnTo>
                  <a:lnTo>
                    <a:pt x="9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0" name="Freeform 30"/>
            <p:cNvSpPr>
              <a:spLocks/>
            </p:cNvSpPr>
            <p:nvPr/>
          </p:nvSpPr>
          <p:spPr bwMode="auto">
            <a:xfrm>
              <a:off x="7642225" y="3738563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0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6" y="3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1" name="Freeform 31"/>
            <p:cNvSpPr>
              <a:spLocks/>
            </p:cNvSpPr>
            <p:nvPr/>
          </p:nvSpPr>
          <p:spPr bwMode="auto">
            <a:xfrm>
              <a:off x="7610475" y="3687763"/>
              <a:ext cx="26988" cy="60325"/>
            </a:xfrm>
            <a:custGeom>
              <a:avLst/>
              <a:gdLst>
                <a:gd name="T0" fmla="*/ 2147483647 w 17"/>
                <a:gd name="T1" fmla="*/ 2147483647 h 38"/>
                <a:gd name="T2" fmla="*/ 2147483647 w 17"/>
                <a:gd name="T3" fmla="*/ 2147483647 h 38"/>
                <a:gd name="T4" fmla="*/ 2147483647 w 17"/>
                <a:gd name="T5" fmla="*/ 2147483647 h 38"/>
                <a:gd name="T6" fmla="*/ 2147483647 w 17"/>
                <a:gd name="T7" fmla="*/ 2147483647 h 38"/>
                <a:gd name="T8" fmla="*/ 2147483647 w 17"/>
                <a:gd name="T9" fmla="*/ 2147483647 h 38"/>
                <a:gd name="T10" fmla="*/ 2147483647 w 17"/>
                <a:gd name="T11" fmla="*/ 2147483647 h 38"/>
                <a:gd name="T12" fmla="*/ 2147483647 w 17"/>
                <a:gd name="T13" fmla="*/ 2147483647 h 38"/>
                <a:gd name="T14" fmla="*/ 2147483647 w 17"/>
                <a:gd name="T15" fmla="*/ 2147483647 h 38"/>
                <a:gd name="T16" fmla="*/ 2147483647 w 17"/>
                <a:gd name="T17" fmla="*/ 2147483647 h 38"/>
                <a:gd name="T18" fmla="*/ 2147483647 w 17"/>
                <a:gd name="T19" fmla="*/ 2147483647 h 38"/>
                <a:gd name="T20" fmla="*/ 2147483647 w 17"/>
                <a:gd name="T21" fmla="*/ 2147483647 h 38"/>
                <a:gd name="T22" fmla="*/ 2147483647 w 17"/>
                <a:gd name="T23" fmla="*/ 0 h 38"/>
                <a:gd name="T24" fmla="*/ 2147483647 w 17"/>
                <a:gd name="T25" fmla="*/ 0 h 38"/>
                <a:gd name="T26" fmla="*/ 2147483647 w 17"/>
                <a:gd name="T27" fmla="*/ 0 h 38"/>
                <a:gd name="T28" fmla="*/ 2147483647 w 17"/>
                <a:gd name="T29" fmla="*/ 0 h 38"/>
                <a:gd name="T30" fmla="*/ 2147483647 w 17"/>
                <a:gd name="T31" fmla="*/ 0 h 38"/>
                <a:gd name="T32" fmla="*/ 2147483647 w 17"/>
                <a:gd name="T33" fmla="*/ 0 h 38"/>
                <a:gd name="T34" fmla="*/ 2147483647 w 17"/>
                <a:gd name="T35" fmla="*/ 2147483647 h 38"/>
                <a:gd name="T36" fmla="*/ 2147483647 w 17"/>
                <a:gd name="T37" fmla="*/ 2147483647 h 38"/>
                <a:gd name="T38" fmla="*/ 2147483647 w 17"/>
                <a:gd name="T39" fmla="*/ 2147483647 h 38"/>
                <a:gd name="T40" fmla="*/ 2147483647 w 17"/>
                <a:gd name="T41" fmla="*/ 2147483647 h 38"/>
                <a:gd name="T42" fmla="*/ 2147483647 w 17"/>
                <a:gd name="T43" fmla="*/ 2147483647 h 38"/>
                <a:gd name="T44" fmla="*/ 2147483647 w 17"/>
                <a:gd name="T45" fmla="*/ 2147483647 h 38"/>
                <a:gd name="T46" fmla="*/ 0 w 17"/>
                <a:gd name="T47" fmla="*/ 2147483647 h 38"/>
                <a:gd name="T48" fmla="*/ 0 w 17"/>
                <a:gd name="T49" fmla="*/ 2147483647 h 38"/>
                <a:gd name="T50" fmla="*/ 0 w 17"/>
                <a:gd name="T51" fmla="*/ 2147483647 h 38"/>
                <a:gd name="T52" fmla="*/ 2147483647 w 17"/>
                <a:gd name="T53" fmla="*/ 2147483647 h 38"/>
                <a:gd name="T54" fmla="*/ 2147483647 w 17"/>
                <a:gd name="T55" fmla="*/ 2147483647 h 38"/>
                <a:gd name="T56" fmla="*/ 2147483647 w 17"/>
                <a:gd name="T57" fmla="*/ 2147483647 h 38"/>
                <a:gd name="T58" fmla="*/ 2147483647 w 17"/>
                <a:gd name="T59" fmla="*/ 2147483647 h 38"/>
                <a:gd name="T60" fmla="*/ 2147483647 w 17"/>
                <a:gd name="T61" fmla="*/ 2147483647 h 38"/>
                <a:gd name="T62" fmla="*/ 2147483647 w 17"/>
                <a:gd name="T63" fmla="*/ 2147483647 h 38"/>
                <a:gd name="T64" fmla="*/ 2147483647 w 17"/>
                <a:gd name="T65" fmla="*/ 2147483647 h 38"/>
                <a:gd name="T66" fmla="*/ 2147483647 w 17"/>
                <a:gd name="T67" fmla="*/ 2147483647 h 38"/>
                <a:gd name="T68" fmla="*/ 2147483647 w 17"/>
                <a:gd name="T69" fmla="*/ 2147483647 h 38"/>
                <a:gd name="T70" fmla="*/ 2147483647 w 17"/>
                <a:gd name="T71" fmla="*/ 2147483647 h 38"/>
                <a:gd name="T72" fmla="*/ 2147483647 w 17"/>
                <a:gd name="T73" fmla="*/ 2147483647 h 3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7"/>
                <a:gd name="T112" fmla="*/ 0 h 38"/>
                <a:gd name="T113" fmla="*/ 17 w 17"/>
                <a:gd name="T114" fmla="*/ 38 h 38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7" h="38">
                  <a:moveTo>
                    <a:pt x="12" y="38"/>
                  </a:moveTo>
                  <a:lnTo>
                    <a:pt x="12" y="38"/>
                  </a:lnTo>
                  <a:lnTo>
                    <a:pt x="17" y="32"/>
                  </a:lnTo>
                  <a:lnTo>
                    <a:pt x="14" y="29"/>
                  </a:lnTo>
                  <a:lnTo>
                    <a:pt x="12" y="26"/>
                  </a:lnTo>
                  <a:lnTo>
                    <a:pt x="12" y="20"/>
                  </a:lnTo>
                  <a:lnTo>
                    <a:pt x="17" y="6"/>
                  </a:lnTo>
                  <a:lnTo>
                    <a:pt x="17" y="0"/>
                  </a:lnTo>
                  <a:lnTo>
                    <a:pt x="12" y="0"/>
                  </a:lnTo>
                  <a:lnTo>
                    <a:pt x="9" y="0"/>
                  </a:lnTo>
                  <a:lnTo>
                    <a:pt x="9" y="6"/>
                  </a:lnTo>
                  <a:lnTo>
                    <a:pt x="9" y="12"/>
                  </a:lnTo>
                  <a:lnTo>
                    <a:pt x="6" y="18"/>
                  </a:lnTo>
                  <a:lnTo>
                    <a:pt x="3" y="18"/>
                  </a:lnTo>
                  <a:lnTo>
                    <a:pt x="0" y="18"/>
                  </a:lnTo>
                  <a:lnTo>
                    <a:pt x="0" y="20"/>
                  </a:lnTo>
                  <a:lnTo>
                    <a:pt x="3" y="29"/>
                  </a:lnTo>
                  <a:lnTo>
                    <a:pt x="6" y="32"/>
                  </a:lnTo>
                  <a:lnTo>
                    <a:pt x="9" y="32"/>
                  </a:lnTo>
                  <a:lnTo>
                    <a:pt x="12" y="35"/>
                  </a:lnTo>
                  <a:lnTo>
                    <a:pt x="12" y="3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2" name="Freeform 32"/>
            <p:cNvSpPr>
              <a:spLocks/>
            </p:cNvSpPr>
            <p:nvPr/>
          </p:nvSpPr>
          <p:spPr bwMode="auto">
            <a:xfrm>
              <a:off x="7624763" y="3632200"/>
              <a:ext cx="26987" cy="33338"/>
            </a:xfrm>
            <a:custGeom>
              <a:avLst/>
              <a:gdLst>
                <a:gd name="T0" fmla="*/ 2147483647 w 17"/>
                <a:gd name="T1" fmla="*/ 0 h 20"/>
                <a:gd name="T2" fmla="*/ 2147483647 w 17"/>
                <a:gd name="T3" fmla="*/ 0 h 20"/>
                <a:gd name="T4" fmla="*/ 2147483647 w 17"/>
                <a:gd name="T5" fmla="*/ 2147483647 h 20"/>
                <a:gd name="T6" fmla="*/ 2147483647 w 17"/>
                <a:gd name="T7" fmla="*/ 2147483647 h 20"/>
                <a:gd name="T8" fmla="*/ 2147483647 w 17"/>
                <a:gd name="T9" fmla="*/ 2147483647 h 20"/>
                <a:gd name="T10" fmla="*/ 2147483647 w 17"/>
                <a:gd name="T11" fmla="*/ 2147483647 h 20"/>
                <a:gd name="T12" fmla="*/ 0 w 17"/>
                <a:gd name="T13" fmla="*/ 2147483647 h 20"/>
                <a:gd name="T14" fmla="*/ 0 w 17"/>
                <a:gd name="T15" fmla="*/ 2147483647 h 20"/>
                <a:gd name="T16" fmla="*/ 0 w 17"/>
                <a:gd name="T17" fmla="*/ 2147483647 h 20"/>
                <a:gd name="T18" fmla="*/ 0 w 17"/>
                <a:gd name="T19" fmla="*/ 2147483647 h 20"/>
                <a:gd name="T20" fmla="*/ 0 w 17"/>
                <a:gd name="T21" fmla="*/ 2147483647 h 20"/>
                <a:gd name="T22" fmla="*/ 0 w 17"/>
                <a:gd name="T23" fmla="*/ 2147483647 h 20"/>
                <a:gd name="T24" fmla="*/ 0 w 17"/>
                <a:gd name="T25" fmla="*/ 2147483647 h 20"/>
                <a:gd name="T26" fmla="*/ 2147483647 w 17"/>
                <a:gd name="T27" fmla="*/ 2147483647 h 20"/>
                <a:gd name="T28" fmla="*/ 2147483647 w 17"/>
                <a:gd name="T29" fmla="*/ 2147483647 h 20"/>
                <a:gd name="T30" fmla="*/ 2147483647 w 17"/>
                <a:gd name="T31" fmla="*/ 2147483647 h 20"/>
                <a:gd name="T32" fmla="*/ 2147483647 w 17"/>
                <a:gd name="T33" fmla="*/ 2147483647 h 20"/>
                <a:gd name="T34" fmla="*/ 2147483647 w 17"/>
                <a:gd name="T35" fmla="*/ 2147483647 h 20"/>
                <a:gd name="T36" fmla="*/ 2147483647 w 17"/>
                <a:gd name="T37" fmla="*/ 2147483647 h 20"/>
                <a:gd name="T38" fmla="*/ 2147483647 w 17"/>
                <a:gd name="T39" fmla="*/ 2147483647 h 20"/>
                <a:gd name="T40" fmla="*/ 2147483647 w 17"/>
                <a:gd name="T41" fmla="*/ 2147483647 h 20"/>
                <a:gd name="T42" fmla="*/ 2147483647 w 17"/>
                <a:gd name="T43" fmla="*/ 2147483647 h 20"/>
                <a:gd name="T44" fmla="*/ 2147483647 w 17"/>
                <a:gd name="T45" fmla="*/ 2147483647 h 20"/>
                <a:gd name="T46" fmla="*/ 2147483647 w 17"/>
                <a:gd name="T47" fmla="*/ 2147483647 h 20"/>
                <a:gd name="T48" fmla="*/ 2147483647 w 17"/>
                <a:gd name="T49" fmla="*/ 2147483647 h 20"/>
                <a:gd name="T50" fmla="*/ 2147483647 w 17"/>
                <a:gd name="T51" fmla="*/ 2147483647 h 20"/>
                <a:gd name="T52" fmla="*/ 2147483647 w 17"/>
                <a:gd name="T53" fmla="*/ 2147483647 h 20"/>
                <a:gd name="T54" fmla="*/ 2147483647 w 17"/>
                <a:gd name="T55" fmla="*/ 2147483647 h 20"/>
                <a:gd name="T56" fmla="*/ 2147483647 w 17"/>
                <a:gd name="T57" fmla="*/ 2147483647 h 20"/>
                <a:gd name="T58" fmla="*/ 2147483647 w 17"/>
                <a:gd name="T59" fmla="*/ 0 h 20"/>
                <a:gd name="T60" fmla="*/ 2147483647 w 17"/>
                <a:gd name="T61" fmla="*/ 0 h 2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7"/>
                <a:gd name="T94" fmla="*/ 0 h 20"/>
                <a:gd name="T95" fmla="*/ 17 w 17"/>
                <a:gd name="T96" fmla="*/ 20 h 2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7" h="20">
                  <a:moveTo>
                    <a:pt x="8" y="0"/>
                  </a:moveTo>
                  <a:lnTo>
                    <a:pt x="8" y="0"/>
                  </a:lnTo>
                  <a:lnTo>
                    <a:pt x="5" y="3"/>
                  </a:lnTo>
                  <a:lnTo>
                    <a:pt x="5" y="6"/>
                  </a:lnTo>
                  <a:lnTo>
                    <a:pt x="3" y="6"/>
                  </a:lnTo>
                  <a:lnTo>
                    <a:pt x="0" y="3"/>
                  </a:lnTo>
                  <a:lnTo>
                    <a:pt x="0" y="11"/>
                  </a:lnTo>
                  <a:lnTo>
                    <a:pt x="0" y="14"/>
                  </a:lnTo>
                  <a:lnTo>
                    <a:pt x="0" y="17"/>
                  </a:lnTo>
                  <a:lnTo>
                    <a:pt x="3" y="14"/>
                  </a:lnTo>
                  <a:lnTo>
                    <a:pt x="5" y="11"/>
                  </a:lnTo>
                  <a:lnTo>
                    <a:pt x="8" y="14"/>
                  </a:lnTo>
                  <a:lnTo>
                    <a:pt x="11" y="17"/>
                  </a:lnTo>
                  <a:lnTo>
                    <a:pt x="17" y="20"/>
                  </a:lnTo>
                  <a:lnTo>
                    <a:pt x="17" y="17"/>
                  </a:lnTo>
                  <a:lnTo>
                    <a:pt x="11" y="8"/>
                  </a:lnTo>
                  <a:lnTo>
                    <a:pt x="8" y="3"/>
                  </a:lnTo>
                  <a:lnTo>
                    <a:pt x="8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3" name="Rectangle 33"/>
            <p:cNvSpPr>
              <a:spLocks noChangeArrowheads="1"/>
            </p:cNvSpPr>
            <p:nvPr/>
          </p:nvSpPr>
          <p:spPr bwMode="auto">
            <a:xfrm>
              <a:off x="7637463" y="3679825"/>
              <a:ext cx="4762" cy="3175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4" name="Rectangle 34"/>
            <p:cNvSpPr>
              <a:spLocks noChangeArrowheads="1"/>
            </p:cNvSpPr>
            <p:nvPr/>
          </p:nvSpPr>
          <p:spPr bwMode="auto">
            <a:xfrm>
              <a:off x="7683500" y="3716338"/>
              <a:ext cx="4763" cy="3175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5" name="Freeform 35"/>
            <p:cNvSpPr>
              <a:spLocks/>
            </p:cNvSpPr>
            <p:nvPr/>
          </p:nvSpPr>
          <p:spPr bwMode="auto">
            <a:xfrm>
              <a:off x="7531100" y="3646488"/>
              <a:ext cx="15875" cy="19050"/>
            </a:xfrm>
            <a:custGeom>
              <a:avLst/>
              <a:gdLst>
                <a:gd name="T0" fmla="*/ 0 w 9"/>
                <a:gd name="T1" fmla="*/ 2147483647 h 12"/>
                <a:gd name="T2" fmla="*/ 0 w 9"/>
                <a:gd name="T3" fmla="*/ 2147483647 h 12"/>
                <a:gd name="T4" fmla="*/ 2147483647 w 9"/>
                <a:gd name="T5" fmla="*/ 2147483647 h 12"/>
                <a:gd name="T6" fmla="*/ 2147483647 w 9"/>
                <a:gd name="T7" fmla="*/ 2147483647 h 12"/>
                <a:gd name="T8" fmla="*/ 2147483647 w 9"/>
                <a:gd name="T9" fmla="*/ 2147483647 h 12"/>
                <a:gd name="T10" fmla="*/ 2147483647 w 9"/>
                <a:gd name="T11" fmla="*/ 2147483647 h 12"/>
                <a:gd name="T12" fmla="*/ 2147483647 w 9"/>
                <a:gd name="T13" fmla="*/ 0 h 12"/>
                <a:gd name="T14" fmla="*/ 0 w 9"/>
                <a:gd name="T15" fmla="*/ 0 h 12"/>
                <a:gd name="T16" fmla="*/ 0 w 9"/>
                <a:gd name="T17" fmla="*/ 0 h 12"/>
                <a:gd name="T18" fmla="*/ 0 w 9"/>
                <a:gd name="T19" fmla="*/ 0 h 12"/>
                <a:gd name="T20" fmla="*/ 2147483647 w 9"/>
                <a:gd name="T21" fmla="*/ 2147483647 h 12"/>
                <a:gd name="T22" fmla="*/ 2147483647 w 9"/>
                <a:gd name="T23" fmla="*/ 2147483647 h 12"/>
                <a:gd name="T24" fmla="*/ 0 w 9"/>
                <a:gd name="T25" fmla="*/ 2147483647 h 12"/>
                <a:gd name="T26" fmla="*/ 0 w 9"/>
                <a:gd name="T27" fmla="*/ 2147483647 h 12"/>
                <a:gd name="T28" fmla="*/ 0 w 9"/>
                <a:gd name="T29" fmla="*/ 2147483647 h 12"/>
                <a:gd name="T30" fmla="*/ 0 w 9"/>
                <a:gd name="T31" fmla="*/ 2147483647 h 1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9"/>
                <a:gd name="T49" fmla="*/ 0 h 12"/>
                <a:gd name="T50" fmla="*/ 9 w 9"/>
                <a:gd name="T51" fmla="*/ 12 h 1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9" h="12">
                  <a:moveTo>
                    <a:pt x="0" y="12"/>
                  </a:moveTo>
                  <a:lnTo>
                    <a:pt x="0" y="12"/>
                  </a:lnTo>
                  <a:lnTo>
                    <a:pt x="6" y="12"/>
                  </a:lnTo>
                  <a:lnTo>
                    <a:pt x="9" y="9"/>
                  </a:lnTo>
                  <a:lnTo>
                    <a:pt x="9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3"/>
                  </a:lnTo>
                  <a:lnTo>
                    <a:pt x="0" y="9"/>
                  </a:ln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6" name="Freeform 36"/>
            <p:cNvSpPr>
              <a:spLocks/>
            </p:cNvSpPr>
            <p:nvPr/>
          </p:nvSpPr>
          <p:spPr bwMode="auto">
            <a:xfrm>
              <a:off x="7472363" y="3675063"/>
              <a:ext cx="68262" cy="90487"/>
            </a:xfrm>
            <a:custGeom>
              <a:avLst/>
              <a:gdLst>
                <a:gd name="T0" fmla="*/ 2147483647 w 43"/>
                <a:gd name="T1" fmla="*/ 2147483647 h 57"/>
                <a:gd name="T2" fmla="*/ 2147483647 w 43"/>
                <a:gd name="T3" fmla="*/ 2147483647 h 57"/>
                <a:gd name="T4" fmla="*/ 2147483647 w 43"/>
                <a:gd name="T5" fmla="*/ 2147483647 h 57"/>
                <a:gd name="T6" fmla="*/ 2147483647 w 43"/>
                <a:gd name="T7" fmla="*/ 2147483647 h 57"/>
                <a:gd name="T8" fmla="*/ 2147483647 w 43"/>
                <a:gd name="T9" fmla="*/ 2147483647 h 57"/>
                <a:gd name="T10" fmla="*/ 2147483647 w 43"/>
                <a:gd name="T11" fmla="*/ 2147483647 h 57"/>
                <a:gd name="T12" fmla="*/ 2147483647 w 43"/>
                <a:gd name="T13" fmla="*/ 2147483647 h 57"/>
                <a:gd name="T14" fmla="*/ 2147483647 w 43"/>
                <a:gd name="T15" fmla="*/ 2147483647 h 57"/>
                <a:gd name="T16" fmla="*/ 0 w 43"/>
                <a:gd name="T17" fmla="*/ 2147483647 h 57"/>
                <a:gd name="T18" fmla="*/ 0 w 43"/>
                <a:gd name="T19" fmla="*/ 2147483647 h 57"/>
                <a:gd name="T20" fmla="*/ 0 w 43"/>
                <a:gd name="T21" fmla="*/ 2147483647 h 57"/>
                <a:gd name="T22" fmla="*/ 0 w 43"/>
                <a:gd name="T23" fmla="*/ 2147483647 h 57"/>
                <a:gd name="T24" fmla="*/ 2147483647 w 43"/>
                <a:gd name="T25" fmla="*/ 2147483647 h 57"/>
                <a:gd name="T26" fmla="*/ 2147483647 w 43"/>
                <a:gd name="T27" fmla="*/ 2147483647 h 57"/>
                <a:gd name="T28" fmla="*/ 2147483647 w 43"/>
                <a:gd name="T29" fmla="*/ 2147483647 h 57"/>
                <a:gd name="T30" fmla="*/ 2147483647 w 43"/>
                <a:gd name="T31" fmla="*/ 2147483647 h 57"/>
                <a:gd name="T32" fmla="*/ 2147483647 w 43"/>
                <a:gd name="T33" fmla="*/ 2147483647 h 57"/>
                <a:gd name="T34" fmla="*/ 2147483647 w 43"/>
                <a:gd name="T35" fmla="*/ 2147483647 h 57"/>
                <a:gd name="T36" fmla="*/ 2147483647 w 43"/>
                <a:gd name="T37" fmla="*/ 2147483647 h 57"/>
                <a:gd name="T38" fmla="*/ 2147483647 w 43"/>
                <a:gd name="T39" fmla="*/ 2147483647 h 57"/>
                <a:gd name="T40" fmla="*/ 2147483647 w 43"/>
                <a:gd name="T41" fmla="*/ 2147483647 h 57"/>
                <a:gd name="T42" fmla="*/ 2147483647 w 43"/>
                <a:gd name="T43" fmla="*/ 2147483647 h 57"/>
                <a:gd name="T44" fmla="*/ 2147483647 w 43"/>
                <a:gd name="T45" fmla="*/ 2147483647 h 57"/>
                <a:gd name="T46" fmla="*/ 2147483647 w 43"/>
                <a:gd name="T47" fmla="*/ 2147483647 h 57"/>
                <a:gd name="T48" fmla="*/ 2147483647 w 43"/>
                <a:gd name="T49" fmla="*/ 2147483647 h 57"/>
                <a:gd name="T50" fmla="*/ 2147483647 w 43"/>
                <a:gd name="T51" fmla="*/ 2147483647 h 57"/>
                <a:gd name="T52" fmla="*/ 2147483647 w 43"/>
                <a:gd name="T53" fmla="*/ 2147483647 h 57"/>
                <a:gd name="T54" fmla="*/ 2147483647 w 43"/>
                <a:gd name="T55" fmla="*/ 2147483647 h 57"/>
                <a:gd name="T56" fmla="*/ 2147483647 w 43"/>
                <a:gd name="T57" fmla="*/ 2147483647 h 57"/>
                <a:gd name="T58" fmla="*/ 2147483647 w 43"/>
                <a:gd name="T59" fmla="*/ 2147483647 h 57"/>
                <a:gd name="T60" fmla="*/ 2147483647 w 43"/>
                <a:gd name="T61" fmla="*/ 2147483647 h 57"/>
                <a:gd name="T62" fmla="*/ 2147483647 w 43"/>
                <a:gd name="T63" fmla="*/ 0 h 57"/>
                <a:gd name="T64" fmla="*/ 2147483647 w 43"/>
                <a:gd name="T65" fmla="*/ 0 h 57"/>
                <a:gd name="T66" fmla="*/ 2147483647 w 43"/>
                <a:gd name="T67" fmla="*/ 2147483647 h 57"/>
                <a:gd name="T68" fmla="*/ 2147483647 w 43"/>
                <a:gd name="T69" fmla="*/ 2147483647 h 57"/>
                <a:gd name="T70" fmla="*/ 2147483647 w 43"/>
                <a:gd name="T71" fmla="*/ 2147483647 h 57"/>
                <a:gd name="T72" fmla="*/ 2147483647 w 43"/>
                <a:gd name="T73" fmla="*/ 2147483647 h 57"/>
                <a:gd name="T74" fmla="*/ 2147483647 w 43"/>
                <a:gd name="T75" fmla="*/ 2147483647 h 57"/>
                <a:gd name="T76" fmla="*/ 2147483647 w 43"/>
                <a:gd name="T77" fmla="*/ 2147483647 h 57"/>
                <a:gd name="T78" fmla="*/ 2147483647 w 43"/>
                <a:gd name="T79" fmla="*/ 2147483647 h 57"/>
                <a:gd name="T80" fmla="*/ 2147483647 w 43"/>
                <a:gd name="T81" fmla="*/ 2147483647 h 5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43"/>
                <a:gd name="T124" fmla="*/ 0 h 57"/>
                <a:gd name="T125" fmla="*/ 43 w 43"/>
                <a:gd name="T126" fmla="*/ 57 h 57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43" h="57">
                  <a:moveTo>
                    <a:pt x="20" y="28"/>
                  </a:moveTo>
                  <a:lnTo>
                    <a:pt x="20" y="28"/>
                  </a:lnTo>
                  <a:lnTo>
                    <a:pt x="11" y="40"/>
                  </a:lnTo>
                  <a:lnTo>
                    <a:pt x="9" y="43"/>
                  </a:lnTo>
                  <a:lnTo>
                    <a:pt x="3" y="49"/>
                  </a:lnTo>
                  <a:lnTo>
                    <a:pt x="0" y="54"/>
                  </a:lnTo>
                  <a:lnTo>
                    <a:pt x="0" y="57"/>
                  </a:lnTo>
                  <a:lnTo>
                    <a:pt x="3" y="57"/>
                  </a:lnTo>
                  <a:lnTo>
                    <a:pt x="9" y="51"/>
                  </a:lnTo>
                  <a:lnTo>
                    <a:pt x="14" y="46"/>
                  </a:lnTo>
                  <a:lnTo>
                    <a:pt x="17" y="43"/>
                  </a:lnTo>
                  <a:lnTo>
                    <a:pt x="26" y="28"/>
                  </a:lnTo>
                  <a:lnTo>
                    <a:pt x="29" y="28"/>
                  </a:lnTo>
                  <a:lnTo>
                    <a:pt x="32" y="28"/>
                  </a:lnTo>
                  <a:lnTo>
                    <a:pt x="32" y="20"/>
                  </a:lnTo>
                  <a:lnTo>
                    <a:pt x="43" y="17"/>
                  </a:lnTo>
                  <a:lnTo>
                    <a:pt x="43" y="14"/>
                  </a:lnTo>
                  <a:lnTo>
                    <a:pt x="37" y="14"/>
                  </a:lnTo>
                  <a:lnTo>
                    <a:pt x="34" y="14"/>
                  </a:lnTo>
                  <a:lnTo>
                    <a:pt x="34" y="8"/>
                  </a:lnTo>
                  <a:lnTo>
                    <a:pt x="34" y="3"/>
                  </a:lnTo>
                  <a:lnTo>
                    <a:pt x="34" y="0"/>
                  </a:lnTo>
                  <a:lnTo>
                    <a:pt x="32" y="5"/>
                  </a:lnTo>
                  <a:lnTo>
                    <a:pt x="29" y="11"/>
                  </a:lnTo>
                  <a:lnTo>
                    <a:pt x="32" y="14"/>
                  </a:lnTo>
                  <a:lnTo>
                    <a:pt x="29" y="17"/>
                  </a:lnTo>
                  <a:lnTo>
                    <a:pt x="20" y="2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7" name="Freeform 37"/>
            <p:cNvSpPr>
              <a:spLocks/>
            </p:cNvSpPr>
            <p:nvPr/>
          </p:nvSpPr>
          <p:spPr bwMode="auto">
            <a:xfrm>
              <a:off x="7531100" y="3595688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0 w 6"/>
                <a:gd name="T3" fmla="*/ 0 h 6"/>
                <a:gd name="T4" fmla="*/ 0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6" y="3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8" name="Freeform 38"/>
            <p:cNvSpPr>
              <a:spLocks/>
            </p:cNvSpPr>
            <p:nvPr/>
          </p:nvSpPr>
          <p:spPr bwMode="auto">
            <a:xfrm>
              <a:off x="7610475" y="3697288"/>
              <a:ext cx="4763" cy="9525"/>
            </a:xfrm>
            <a:custGeom>
              <a:avLst/>
              <a:gdLst>
                <a:gd name="T0" fmla="*/ 2147483647 w 3"/>
                <a:gd name="T1" fmla="*/ 2147483647 h 6"/>
                <a:gd name="T2" fmla="*/ 2147483647 w 3"/>
                <a:gd name="T3" fmla="*/ 0 h 6"/>
                <a:gd name="T4" fmla="*/ 0 w 3"/>
                <a:gd name="T5" fmla="*/ 0 h 6"/>
                <a:gd name="T6" fmla="*/ 0 w 3"/>
                <a:gd name="T7" fmla="*/ 2147483647 h 6"/>
                <a:gd name="T8" fmla="*/ 2147483647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9" name="Freeform 39"/>
            <p:cNvSpPr>
              <a:spLocks/>
            </p:cNvSpPr>
            <p:nvPr/>
          </p:nvSpPr>
          <p:spPr bwMode="auto">
            <a:xfrm>
              <a:off x="7408863" y="3379788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2147483647 w 6"/>
                <a:gd name="T5" fmla="*/ 0 h 6"/>
                <a:gd name="T6" fmla="*/ 0 w 6"/>
                <a:gd name="T7" fmla="*/ 2147483647 h 6"/>
                <a:gd name="T8" fmla="*/ 2147483647 w 6"/>
                <a:gd name="T9" fmla="*/ 2147483647 h 6"/>
                <a:gd name="T10" fmla="*/ 2147483647 w 6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6"/>
                <a:gd name="T20" fmla="*/ 6 w 6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6">
                  <a:moveTo>
                    <a:pt x="6" y="6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0" name="Freeform 40"/>
            <p:cNvSpPr>
              <a:spLocks/>
            </p:cNvSpPr>
            <p:nvPr/>
          </p:nvSpPr>
          <p:spPr bwMode="auto">
            <a:xfrm>
              <a:off x="7418388" y="3876675"/>
              <a:ext cx="3175" cy="14288"/>
            </a:xfrm>
            <a:custGeom>
              <a:avLst/>
              <a:gdLst>
                <a:gd name="T0" fmla="*/ 2147483647 w 2"/>
                <a:gd name="T1" fmla="*/ 2147483647 h 9"/>
                <a:gd name="T2" fmla="*/ 2147483647 w 2"/>
                <a:gd name="T3" fmla="*/ 2147483647 h 9"/>
                <a:gd name="T4" fmla="*/ 2147483647 w 2"/>
                <a:gd name="T5" fmla="*/ 0 h 9"/>
                <a:gd name="T6" fmla="*/ 2147483647 w 2"/>
                <a:gd name="T7" fmla="*/ 0 h 9"/>
                <a:gd name="T8" fmla="*/ 0 w 2"/>
                <a:gd name="T9" fmla="*/ 0 h 9"/>
                <a:gd name="T10" fmla="*/ 2147483647 w 2"/>
                <a:gd name="T11" fmla="*/ 2147483647 h 9"/>
                <a:gd name="T12" fmla="*/ 2147483647 w 2"/>
                <a:gd name="T13" fmla="*/ 2147483647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"/>
                <a:gd name="T22" fmla="*/ 0 h 9"/>
                <a:gd name="T23" fmla="*/ 2 w 2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" h="9">
                  <a:moveTo>
                    <a:pt x="2" y="9"/>
                  </a:moveTo>
                  <a:lnTo>
                    <a:pt x="2" y="3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1" name="Freeform 41"/>
            <p:cNvSpPr>
              <a:spLocks/>
            </p:cNvSpPr>
            <p:nvPr/>
          </p:nvSpPr>
          <p:spPr bwMode="auto">
            <a:xfrm>
              <a:off x="7593013" y="3660775"/>
              <a:ext cx="31750" cy="46038"/>
            </a:xfrm>
            <a:custGeom>
              <a:avLst/>
              <a:gdLst>
                <a:gd name="T0" fmla="*/ 0 w 20"/>
                <a:gd name="T1" fmla="*/ 0 h 29"/>
                <a:gd name="T2" fmla="*/ 0 w 20"/>
                <a:gd name="T3" fmla="*/ 0 h 29"/>
                <a:gd name="T4" fmla="*/ 0 w 20"/>
                <a:gd name="T5" fmla="*/ 0 h 29"/>
                <a:gd name="T6" fmla="*/ 2147483647 w 20"/>
                <a:gd name="T7" fmla="*/ 2147483647 h 29"/>
                <a:gd name="T8" fmla="*/ 2147483647 w 20"/>
                <a:gd name="T9" fmla="*/ 2147483647 h 29"/>
                <a:gd name="T10" fmla="*/ 2147483647 w 20"/>
                <a:gd name="T11" fmla="*/ 2147483647 h 29"/>
                <a:gd name="T12" fmla="*/ 2147483647 w 20"/>
                <a:gd name="T13" fmla="*/ 2147483647 h 29"/>
                <a:gd name="T14" fmla="*/ 2147483647 w 20"/>
                <a:gd name="T15" fmla="*/ 2147483647 h 29"/>
                <a:gd name="T16" fmla="*/ 2147483647 w 20"/>
                <a:gd name="T17" fmla="*/ 2147483647 h 29"/>
                <a:gd name="T18" fmla="*/ 2147483647 w 20"/>
                <a:gd name="T19" fmla="*/ 2147483647 h 29"/>
                <a:gd name="T20" fmla="*/ 2147483647 w 20"/>
                <a:gd name="T21" fmla="*/ 2147483647 h 29"/>
                <a:gd name="T22" fmla="*/ 2147483647 w 20"/>
                <a:gd name="T23" fmla="*/ 2147483647 h 29"/>
                <a:gd name="T24" fmla="*/ 2147483647 w 20"/>
                <a:gd name="T25" fmla="*/ 2147483647 h 29"/>
                <a:gd name="T26" fmla="*/ 2147483647 w 20"/>
                <a:gd name="T27" fmla="*/ 2147483647 h 29"/>
                <a:gd name="T28" fmla="*/ 2147483647 w 20"/>
                <a:gd name="T29" fmla="*/ 2147483647 h 29"/>
                <a:gd name="T30" fmla="*/ 2147483647 w 20"/>
                <a:gd name="T31" fmla="*/ 2147483647 h 29"/>
                <a:gd name="T32" fmla="*/ 2147483647 w 20"/>
                <a:gd name="T33" fmla="*/ 2147483647 h 29"/>
                <a:gd name="T34" fmla="*/ 2147483647 w 20"/>
                <a:gd name="T35" fmla="*/ 2147483647 h 29"/>
                <a:gd name="T36" fmla="*/ 2147483647 w 20"/>
                <a:gd name="T37" fmla="*/ 2147483647 h 29"/>
                <a:gd name="T38" fmla="*/ 2147483647 w 20"/>
                <a:gd name="T39" fmla="*/ 2147483647 h 29"/>
                <a:gd name="T40" fmla="*/ 2147483647 w 20"/>
                <a:gd name="T41" fmla="*/ 2147483647 h 29"/>
                <a:gd name="T42" fmla="*/ 2147483647 w 20"/>
                <a:gd name="T43" fmla="*/ 2147483647 h 29"/>
                <a:gd name="T44" fmla="*/ 2147483647 w 20"/>
                <a:gd name="T45" fmla="*/ 2147483647 h 29"/>
                <a:gd name="T46" fmla="*/ 2147483647 w 20"/>
                <a:gd name="T47" fmla="*/ 0 h 29"/>
                <a:gd name="T48" fmla="*/ 0 w 20"/>
                <a:gd name="T49" fmla="*/ 0 h 29"/>
                <a:gd name="T50" fmla="*/ 0 w 20"/>
                <a:gd name="T51" fmla="*/ 0 h 2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0"/>
                <a:gd name="T79" fmla="*/ 0 h 29"/>
                <a:gd name="T80" fmla="*/ 20 w 20"/>
                <a:gd name="T81" fmla="*/ 29 h 29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0" h="29">
                  <a:moveTo>
                    <a:pt x="0" y="0"/>
                  </a:moveTo>
                  <a:lnTo>
                    <a:pt x="0" y="0"/>
                  </a:lnTo>
                  <a:lnTo>
                    <a:pt x="2" y="3"/>
                  </a:lnTo>
                  <a:lnTo>
                    <a:pt x="2" y="6"/>
                  </a:lnTo>
                  <a:lnTo>
                    <a:pt x="2" y="20"/>
                  </a:lnTo>
                  <a:lnTo>
                    <a:pt x="2" y="29"/>
                  </a:lnTo>
                  <a:lnTo>
                    <a:pt x="11" y="23"/>
                  </a:lnTo>
                  <a:lnTo>
                    <a:pt x="17" y="17"/>
                  </a:lnTo>
                  <a:lnTo>
                    <a:pt x="20" y="14"/>
                  </a:lnTo>
                  <a:lnTo>
                    <a:pt x="20" y="9"/>
                  </a:lnTo>
                  <a:lnTo>
                    <a:pt x="17" y="6"/>
                  </a:lnTo>
                  <a:lnTo>
                    <a:pt x="11" y="6"/>
                  </a:lnTo>
                  <a:lnTo>
                    <a:pt x="8" y="6"/>
                  </a:lnTo>
                  <a:lnTo>
                    <a:pt x="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2" name="Rectangle 42"/>
            <p:cNvSpPr>
              <a:spLocks noChangeArrowheads="1"/>
            </p:cNvSpPr>
            <p:nvPr/>
          </p:nvSpPr>
          <p:spPr bwMode="auto">
            <a:xfrm>
              <a:off x="7669213" y="3038475"/>
              <a:ext cx="4762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3" name="Rectangle 43"/>
            <p:cNvSpPr>
              <a:spLocks noChangeArrowheads="1"/>
            </p:cNvSpPr>
            <p:nvPr/>
          </p:nvSpPr>
          <p:spPr bwMode="auto">
            <a:xfrm>
              <a:off x="7288213" y="3522663"/>
              <a:ext cx="9525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4" name="Freeform 44"/>
            <p:cNvSpPr>
              <a:spLocks/>
            </p:cNvSpPr>
            <p:nvPr/>
          </p:nvSpPr>
          <p:spPr bwMode="auto">
            <a:xfrm>
              <a:off x="7600950" y="3636963"/>
              <a:ext cx="14288" cy="9525"/>
            </a:xfrm>
            <a:custGeom>
              <a:avLst/>
              <a:gdLst>
                <a:gd name="T0" fmla="*/ 2147483647 w 9"/>
                <a:gd name="T1" fmla="*/ 2147483647 h 5"/>
                <a:gd name="T2" fmla="*/ 2147483647 w 9"/>
                <a:gd name="T3" fmla="*/ 2147483647 h 5"/>
                <a:gd name="T4" fmla="*/ 2147483647 w 9"/>
                <a:gd name="T5" fmla="*/ 0 h 5"/>
                <a:gd name="T6" fmla="*/ 2147483647 w 9"/>
                <a:gd name="T7" fmla="*/ 0 h 5"/>
                <a:gd name="T8" fmla="*/ 2147483647 w 9"/>
                <a:gd name="T9" fmla="*/ 2147483647 h 5"/>
                <a:gd name="T10" fmla="*/ 2147483647 w 9"/>
                <a:gd name="T11" fmla="*/ 2147483647 h 5"/>
                <a:gd name="T12" fmla="*/ 0 w 9"/>
                <a:gd name="T13" fmla="*/ 2147483647 h 5"/>
                <a:gd name="T14" fmla="*/ 2147483647 w 9"/>
                <a:gd name="T15" fmla="*/ 2147483647 h 5"/>
                <a:gd name="T16" fmla="*/ 2147483647 w 9"/>
                <a:gd name="T17" fmla="*/ 2147483647 h 5"/>
                <a:gd name="T18" fmla="*/ 2147483647 w 9"/>
                <a:gd name="T19" fmla="*/ 2147483647 h 5"/>
                <a:gd name="T20" fmla="*/ 2147483647 w 9"/>
                <a:gd name="T21" fmla="*/ 2147483647 h 5"/>
                <a:gd name="T22" fmla="*/ 2147483647 w 9"/>
                <a:gd name="T23" fmla="*/ 2147483647 h 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9"/>
                <a:gd name="T37" fmla="*/ 0 h 5"/>
                <a:gd name="T38" fmla="*/ 9 w 9"/>
                <a:gd name="T39" fmla="*/ 5 h 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9" h="5">
                  <a:moveTo>
                    <a:pt x="9" y="3"/>
                  </a:moveTo>
                  <a:lnTo>
                    <a:pt x="9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3" y="3"/>
                  </a:lnTo>
                  <a:lnTo>
                    <a:pt x="0" y="3"/>
                  </a:lnTo>
                  <a:lnTo>
                    <a:pt x="3" y="5"/>
                  </a:lnTo>
                  <a:lnTo>
                    <a:pt x="6" y="5"/>
                  </a:lnTo>
                  <a:lnTo>
                    <a:pt x="9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5" name="Freeform 45"/>
            <p:cNvSpPr>
              <a:spLocks/>
            </p:cNvSpPr>
            <p:nvPr/>
          </p:nvSpPr>
          <p:spPr bwMode="auto">
            <a:xfrm>
              <a:off x="7651750" y="3636963"/>
              <a:ext cx="49213" cy="79375"/>
            </a:xfrm>
            <a:custGeom>
              <a:avLst/>
              <a:gdLst>
                <a:gd name="T0" fmla="*/ 2147483647 w 31"/>
                <a:gd name="T1" fmla="*/ 0 h 49"/>
                <a:gd name="T2" fmla="*/ 2147483647 w 31"/>
                <a:gd name="T3" fmla="*/ 0 h 49"/>
                <a:gd name="T4" fmla="*/ 0 w 31"/>
                <a:gd name="T5" fmla="*/ 2147483647 h 49"/>
                <a:gd name="T6" fmla="*/ 0 w 31"/>
                <a:gd name="T7" fmla="*/ 2147483647 h 49"/>
                <a:gd name="T8" fmla="*/ 2147483647 w 31"/>
                <a:gd name="T9" fmla="*/ 2147483647 h 49"/>
                <a:gd name="T10" fmla="*/ 2147483647 w 31"/>
                <a:gd name="T11" fmla="*/ 2147483647 h 49"/>
                <a:gd name="T12" fmla="*/ 2147483647 w 31"/>
                <a:gd name="T13" fmla="*/ 2147483647 h 49"/>
                <a:gd name="T14" fmla="*/ 2147483647 w 31"/>
                <a:gd name="T15" fmla="*/ 2147483647 h 49"/>
                <a:gd name="T16" fmla="*/ 2147483647 w 31"/>
                <a:gd name="T17" fmla="*/ 2147483647 h 49"/>
                <a:gd name="T18" fmla="*/ 2147483647 w 31"/>
                <a:gd name="T19" fmla="*/ 2147483647 h 49"/>
                <a:gd name="T20" fmla="*/ 2147483647 w 31"/>
                <a:gd name="T21" fmla="*/ 2147483647 h 49"/>
                <a:gd name="T22" fmla="*/ 2147483647 w 31"/>
                <a:gd name="T23" fmla="*/ 2147483647 h 49"/>
                <a:gd name="T24" fmla="*/ 2147483647 w 31"/>
                <a:gd name="T25" fmla="*/ 2147483647 h 49"/>
                <a:gd name="T26" fmla="*/ 2147483647 w 31"/>
                <a:gd name="T27" fmla="*/ 2147483647 h 49"/>
                <a:gd name="T28" fmla="*/ 2147483647 w 31"/>
                <a:gd name="T29" fmla="*/ 2147483647 h 49"/>
                <a:gd name="T30" fmla="*/ 2147483647 w 31"/>
                <a:gd name="T31" fmla="*/ 2147483647 h 49"/>
                <a:gd name="T32" fmla="*/ 2147483647 w 31"/>
                <a:gd name="T33" fmla="*/ 2147483647 h 49"/>
                <a:gd name="T34" fmla="*/ 2147483647 w 31"/>
                <a:gd name="T35" fmla="*/ 2147483647 h 49"/>
                <a:gd name="T36" fmla="*/ 2147483647 w 31"/>
                <a:gd name="T37" fmla="*/ 2147483647 h 49"/>
                <a:gd name="T38" fmla="*/ 2147483647 w 31"/>
                <a:gd name="T39" fmla="*/ 2147483647 h 49"/>
                <a:gd name="T40" fmla="*/ 2147483647 w 31"/>
                <a:gd name="T41" fmla="*/ 2147483647 h 49"/>
                <a:gd name="T42" fmla="*/ 2147483647 w 31"/>
                <a:gd name="T43" fmla="*/ 2147483647 h 49"/>
                <a:gd name="T44" fmla="*/ 2147483647 w 31"/>
                <a:gd name="T45" fmla="*/ 2147483647 h 49"/>
                <a:gd name="T46" fmla="*/ 2147483647 w 31"/>
                <a:gd name="T47" fmla="*/ 2147483647 h 49"/>
                <a:gd name="T48" fmla="*/ 2147483647 w 31"/>
                <a:gd name="T49" fmla="*/ 2147483647 h 49"/>
                <a:gd name="T50" fmla="*/ 2147483647 w 31"/>
                <a:gd name="T51" fmla="*/ 2147483647 h 49"/>
                <a:gd name="T52" fmla="*/ 2147483647 w 31"/>
                <a:gd name="T53" fmla="*/ 2147483647 h 49"/>
                <a:gd name="T54" fmla="*/ 2147483647 w 31"/>
                <a:gd name="T55" fmla="*/ 2147483647 h 49"/>
                <a:gd name="T56" fmla="*/ 2147483647 w 31"/>
                <a:gd name="T57" fmla="*/ 2147483647 h 49"/>
                <a:gd name="T58" fmla="*/ 2147483647 w 31"/>
                <a:gd name="T59" fmla="*/ 2147483647 h 49"/>
                <a:gd name="T60" fmla="*/ 2147483647 w 31"/>
                <a:gd name="T61" fmla="*/ 2147483647 h 49"/>
                <a:gd name="T62" fmla="*/ 2147483647 w 31"/>
                <a:gd name="T63" fmla="*/ 2147483647 h 49"/>
                <a:gd name="T64" fmla="*/ 2147483647 w 31"/>
                <a:gd name="T65" fmla="*/ 2147483647 h 49"/>
                <a:gd name="T66" fmla="*/ 2147483647 w 31"/>
                <a:gd name="T67" fmla="*/ 2147483647 h 49"/>
                <a:gd name="T68" fmla="*/ 2147483647 w 31"/>
                <a:gd name="T69" fmla="*/ 2147483647 h 49"/>
                <a:gd name="T70" fmla="*/ 2147483647 w 31"/>
                <a:gd name="T71" fmla="*/ 2147483647 h 49"/>
                <a:gd name="T72" fmla="*/ 2147483647 w 31"/>
                <a:gd name="T73" fmla="*/ 2147483647 h 49"/>
                <a:gd name="T74" fmla="*/ 2147483647 w 31"/>
                <a:gd name="T75" fmla="*/ 2147483647 h 49"/>
                <a:gd name="T76" fmla="*/ 2147483647 w 31"/>
                <a:gd name="T77" fmla="*/ 2147483647 h 49"/>
                <a:gd name="T78" fmla="*/ 2147483647 w 31"/>
                <a:gd name="T79" fmla="*/ 2147483647 h 49"/>
                <a:gd name="T80" fmla="*/ 2147483647 w 31"/>
                <a:gd name="T81" fmla="*/ 2147483647 h 49"/>
                <a:gd name="T82" fmla="*/ 2147483647 w 31"/>
                <a:gd name="T83" fmla="*/ 2147483647 h 49"/>
                <a:gd name="T84" fmla="*/ 2147483647 w 31"/>
                <a:gd name="T85" fmla="*/ 2147483647 h 49"/>
                <a:gd name="T86" fmla="*/ 2147483647 w 31"/>
                <a:gd name="T87" fmla="*/ 2147483647 h 49"/>
                <a:gd name="T88" fmla="*/ 2147483647 w 31"/>
                <a:gd name="T89" fmla="*/ 2147483647 h 49"/>
                <a:gd name="T90" fmla="*/ 2147483647 w 31"/>
                <a:gd name="T91" fmla="*/ 2147483647 h 49"/>
                <a:gd name="T92" fmla="*/ 2147483647 w 31"/>
                <a:gd name="T93" fmla="*/ 2147483647 h 49"/>
                <a:gd name="T94" fmla="*/ 2147483647 w 31"/>
                <a:gd name="T95" fmla="*/ 0 h 49"/>
                <a:gd name="T96" fmla="*/ 2147483647 w 31"/>
                <a:gd name="T97" fmla="*/ 0 h 49"/>
                <a:gd name="T98" fmla="*/ 2147483647 w 31"/>
                <a:gd name="T99" fmla="*/ 0 h 49"/>
                <a:gd name="T100" fmla="*/ 2147483647 w 31"/>
                <a:gd name="T101" fmla="*/ 0 h 49"/>
                <a:gd name="T102" fmla="*/ 2147483647 w 31"/>
                <a:gd name="T103" fmla="*/ 0 h 49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1"/>
                <a:gd name="T157" fmla="*/ 0 h 49"/>
                <a:gd name="T158" fmla="*/ 31 w 31"/>
                <a:gd name="T159" fmla="*/ 49 h 49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1" h="49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6" y="8"/>
                  </a:lnTo>
                  <a:lnTo>
                    <a:pt x="11" y="14"/>
                  </a:lnTo>
                  <a:lnTo>
                    <a:pt x="11" y="20"/>
                  </a:lnTo>
                  <a:lnTo>
                    <a:pt x="11" y="23"/>
                  </a:lnTo>
                  <a:lnTo>
                    <a:pt x="9" y="26"/>
                  </a:lnTo>
                  <a:lnTo>
                    <a:pt x="9" y="23"/>
                  </a:lnTo>
                  <a:lnTo>
                    <a:pt x="9" y="20"/>
                  </a:lnTo>
                  <a:lnTo>
                    <a:pt x="6" y="17"/>
                  </a:lnTo>
                  <a:lnTo>
                    <a:pt x="3" y="20"/>
                  </a:lnTo>
                  <a:lnTo>
                    <a:pt x="3" y="26"/>
                  </a:lnTo>
                  <a:lnTo>
                    <a:pt x="6" y="31"/>
                  </a:lnTo>
                  <a:lnTo>
                    <a:pt x="9" y="31"/>
                  </a:lnTo>
                  <a:lnTo>
                    <a:pt x="11" y="34"/>
                  </a:lnTo>
                  <a:lnTo>
                    <a:pt x="14" y="49"/>
                  </a:lnTo>
                  <a:lnTo>
                    <a:pt x="17" y="49"/>
                  </a:lnTo>
                  <a:lnTo>
                    <a:pt x="20" y="43"/>
                  </a:lnTo>
                  <a:lnTo>
                    <a:pt x="23" y="43"/>
                  </a:lnTo>
                  <a:lnTo>
                    <a:pt x="17" y="37"/>
                  </a:lnTo>
                  <a:lnTo>
                    <a:pt x="14" y="28"/>
                  </a:lnTo>
                  <a:lnTo>
                    <a:pt x="26" y="31"/>
                  </a:lnTo>
                  <a:lnTo>
                    <a:pt x="31" y="31"/>
                  </a:lnTo>
                  <a:lnTo>
                    <a:pt x="29" y="28"/>
                  </a:lnTo>
                  <a:lnTo>
                    <a:pt x="26" y="20"/>
                  </a:lnTo>
                  <a:lnTo>
                    <a:pt x="26" y="11"/>
                  </a:lnTo>
                  <a:lnTo>
                    <a:pt x="23" y="5"/>
                  </a:lnTo>
                  <a:lnTo>
                    <a:pt x="20" y="0"/>
                  </a:lnTo>
                  <a:lnTo>
                    <a:pt x="14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6" name="Freeform 46"/>
            <p:cNvSpPr>
              <a:spLocks/>
            </p:cNvSpPr>
            <p:nvPr/>
          </p:nvSpPr>
          <p:spPr bwMode="auto">
            <a:xfrm>
              <a:off x="7288213" y="3495675"/>
              <a:ext cx="19050" cy="7938"/>
            </a:xfrm>
            <a:custGeom>
              <a:avLst/>
              <a:gdLst>
                <a:gd name="T0" fmla="*/ 2147483647 w 12"/>
                <a:gd name="T1" fmla="*/ 2147483647 h 5"/>
                <a:gd name="T2" fmla="*/ 2147483647 w 12"/>
                <a:gd name="T3" fmla="*/ 2147483647 h 5"/>
                <a:gd name="T4" fmla="*/ 2147483647 w 12"/>
                <a:gd name="T5" fmla="*/ 0 h 5"/>
                <a:gd name="T6" fmla="*/ 0 w 12"/>
                <a:gd name="T7" fmla="*/ 0 h 5"/>
                <a:gd name="T8" fmla="*/ 2147483647 w 12"/>
                <a:gd name="T9" fmla="*/ 2147483647 h 5"/>
                <a:gd name="T10" fmla="*/ 2147483647 w 12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"/>
                <a:gd name="T19" fmla="*/ 0 h 5"/>
                <a:gd name="T20" fmla="*/ 12 w 12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" h="5">
                  <a:moveTo>
                    <a:pt x="9" y="5"/>
                  </a:moveTo>
                  <a:lnTo>
                    <a:pt x="12" y="3"/>
                  </a:lnTo>
                  <a:lnTo>
                    <a:pt x="9" y="0"/>
                  </a:lnTo>
                  <a:lnTo>
                    <a:pt x="0" y="0"/>
                  </a:lnTo>
                  <a:lnTo>
                    <a:pt x="6" y="3"/>
                  </a:lnTo>
                  <a:lnTo>
                    <a:pt x="9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7" name="Freeform 47"/>
            <p:cNvSpPr>
              <a:spLocks/>
            </p:cNvSpPr>
            <p:nvPr/>
          </p:nvSpPr>
          <p:spPr bwMode="auto">
            <a:xfrm>
              <a:off x="7642225" y="3590925"/>
              <a:ext cx="14288" cy="17463"/>
            </a:xfrm>
            <a:custGeom>
              <a:avLst/>
              <a:gdLst>
                <a:gd name="T0" fmla="*/ 0 w 9"/>
                <a:gd name="T1" fmla="*/ 2147483647 h 11"/>
                <a:gd name="T2" fmla="*/ 0 w 9"/>
                <a:gd name="T3" fmla="*/ 2147483647 h 11"/>
                <a:gd name="T4" fmla="*/ 2147483647 w 9"/>
                <a:gd name="T5" fmla="*/ 2147483647 h 11"/>
                <a:gd name="T6" fmla="*/ 2147483647 w 9"/>
                <a:gd name="T7" fmla="*/ 2147483647 h 11"/>
                <a:gd name="T8" fmla="*/ 2147483647 w 9"/>
                <a:gd name="T9" fmla="*/ 2147483647 h 11"/>
                <a:gd name="T10" fmla="*/ 2147483647 w 9"/>
                <a:gd name="T11" fmla="*/ 2147483647 h 11"/>
                <a:gd name="T12" fmla="*/ 2147483647 w 9"/>
                <a:gd name="T13" fmla="*/ 0 h 11"/>
                <a:gd name="T14" fmla="*/ 0 w 9"/>
                <a:gd name="T15" fmla="*/ 0 h 11"/>
                <a:gd name="T16" fmla="*/ 0 w 9"/>
                <a:gd name="T17" fmla="*/ 0 h 11"/>
                <a:gd name="T18" fmla="*/ 0 w 9"/>
                <a:gd name="T19" fmla="*/ 2147483647 h 11"/>
                <a:gd name="T20" fmla="*/ 0 w 9"/>
                <a:gd name="T21" fmla="*/ 2147483647 h 11"/>
                <a:gd name="T22" fmla="*/ 0 w 9"/>
                <a:gd name="T23" fmla="*/ 2147483647 h 11"/>
                <a:gd name="T24" fmla="*/ 0 w 9"/>
                <a:gd name="T25" fmla="*/ 2147483647 h 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9"/>
                <a:gd name="T40" fmla="*/ 0 h 11"/>
                <a:gd name="T41" fmla="*/ 9 w 9"/>
                <a:gd name="T42" fmla="*/ 11 h 1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9" h="11">
                  <a:moveTo>
                    <a:pt x="0" y="9"/>
                  </a:moveTo>
                  <a:lnTo>
                    <a:pt x="0" y="9"/>
                  </a:lnTo>
                  <a:lnTo>
                    <a:pt x="6" y="11"/>
                  </a:lnTo>
                  <a:lnTo>
                    <a:pt x="9" y="9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8" name="Freeform 48"/>
            <p:cNvSpPr>
              <a:spLocks/>
            </p:cNvSpPr>
            <p:nvPr/>
          </p:nvSpPr>
          <p:spPr bwMode="auto">
            <a:xfrm>
              <a:off x="7307263" y="3500438"/>
              <a:ext cx="7937" cy="7937"/>
            </a:xfrm>
            <a:custGeom>
              <a:avLst/>
              <a:gdLst>
                <a:gd name="T0" fmla="*/ 2147483647 w 5"/>
                <a:gd name="T1" fmla="*/ 2147483647 h 5"/>
                <a:gd name="T2" fmla="*/ 0 w 5"/>
                <a:gd name="T3" fmla="*/ 2147483647 h 5"/>
                <a:gd name="T4" fmla="*/ 2147483647 w 5"/>
                <a:gd name="T5" fmla="*/ 2147483647 h 5"/>
                <a:gd name="T6" fmla="*/ 2147483647 w 5"/>
                <a:gd name="T7" fmla="*/ 2147483647 h 5"/>
                <a:gd name="T8" fmla="*/ 2147483647 w 5"/>
                <a:gd name="T9" fmla="*/ 0 h 5"/>
                <a:gd name="T10" fmla="*/ 2147483647 w 5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5"/>
                <a:gd name="T20" fmla="*/ 5 w 5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5">
                  <a:moveTo>
                    <a:pt x="2" y="5"/>
                  </a:moveTo>
                  <a:lnTo>
                    <a:pt x="0" y="5"/>
                  </a:lnTo>
                  <a:lnTo>
                    <a:pt x="5" y="5"/>
                  </a:lnTo>
                  <a:lnTo>
                    <a:pt x="5" y="2"/>
                  </a:lnTo>
                  <a:lnTo>
                    <a:pt x="2" y="0"/>
                  </a:lnTo>
                  <a:lnTo>
                    <a:pt x="2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9" name="Freeform 49"/>
            <p:cNvSpPr>
              <a:spLocks/>
            </p:cNvSpPr>
            <p:nvPr/>
          </p:nvSpPr>
          <p:spPr bwMode="auto">
            <a:xfrm>
              <a:off x="7546975" y="3421063"/>
              <a:ext cx="4763" cy="9525"/>
            </a:xfrm>
            <a:custGeom>
              <a:avLst/>
              <a:gdLst>
                <a:gd name="T0" fmla="*/ 0 w 3"/>
                <a:gd name="T1" fmla="*/ 2147483647 h 6"/>
                <a:gd name="T2" fmla="*/ 2147483647 w 3"/>
                <a:gd name="T3" fmla="*/ 2147483647 h 6"/>
                <a:gd name="T4" fmla="*/ 2147483647 w 3"/>
                <a:gd name="T5" fmla="*/ 2147483647 h 6"/>
                <a:gd name="T6" fmla="*/ 0 w 3"/>
                <a:gd name="T7" fmla="*/ 0 h 6"/>
                <a:gd name="T8" fmla="*/ 0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0" y="6"/>
                  </a:moveTo>
                  <a:lnTo>
                    <a:pt x="3" y="6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0" name="Freeform 50"/>
            <p:cNvSpPr>
              <a:spLocks/>
            </p:cNvSpPr>
            <p:nvPr/>
          </p:nvSpPr>
          <p:spPr bwMode="auto">
            <a:xfrm>
              <a:off x="7551738" y="3389313"/>
              <a:ext cx="4762" cy="7937"/>
            </a:xfrm>
            <a:custGeom>
              <a:avLst/>
              <a:gdLst>
                <a:gd name="T0" fmla="*/ 2147483647 w 3"/>
                <a:gd name="T1" fmla="*/ 0 h 5"/>
                <a:gd name="T2" fmla="*/ 0 w 3"/>
                <a:gd name="T3" fmla="*/ 2147483647 h 5"/>
                <a:gd name="T4" fmla="*/ 0 w 3"/>
                <a:gd name="T5" fmla="*/ 2147483647 h 5"/>
                <a:gd name="T6" fmla="*/ 2147483647 w 3"/>
                <a:gd name="T7" fmla="*/ 2147483647 h 5"/>
                <a:gd name="T8" fmla="*/ 2147483647 w 3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3" y="0"/>
                  </a:moveTo>
                  <a:lnTo>
                    <a:pt x="0" y="3"/>
                  </a:lnTo>
                  <a:lnTo>
                    <a:pt x="0" y="5"/>
                  </a:lnTo>
                  <a:lnTo>
                    <a:pt x="3" y="5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1" name="Rectangle 51"/>
            <p:cNvSpPr>
              <a:spLocks noChangeArrowheads="1"/>
            </p:cNvSpPr>
            <p:nvPr/>
          </p:nvSpPr>
          <p:spPr bwMode="auto">
            <a:xfrm>
              <a:off x="7546975" y="3438525"/>
              <a:ext cx="4763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2" name="Freeform 52"/>
            <p:cNvSpPr>
              <a:spLocks/>
            </p:cNvSpPr>
            <p:nvPr/>
          </p:nvSpPr>
          <p:spPr bwMode="auto">
            <a:xfrm>
              <a:off x="7535863" y="3433763"/>
              <a:ext cx="11112" cy="4762"/>
            </a:xfrm>
            <a:custGeom>
              <a:avLst/>
              <a:gdLst>
                <a:gd name="T0" fmla="*/ 0 w 6"/>
                <a:gd name="T1" fmla="*/ 2147483647 h 3"/>
                <a:gd name="T2" fmla="*/ 2147483647 w 6"/>
                <a:gd name="T3" fmla="*/ 0 h 3"/>
                <a:gd name="T4" fmla="*/ 2147483647 w 6"/>
                <a:gd name="T5" fmla="*/ 0 h 3"/>
                <a:gd name="T6" fmla="*/ 2147483647 w 6"/>
                <a:gd name="T7" fmla="*/ 0 h 3"/>
                <a:gd name="T8" fmla="*/ 0 w 6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0" y="3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3" name="Freeform 53"/>
            <p:cNvSpPr>
              <a:spLocks/>
            </p:cNvSpPr>
            <p:nvPr/>
          </p:nvSpPr>
          <p:spPr bwMode="auto">
            <a:xfrm>
              <a:off x="7518400" y="3448050"/>
              <a:ext cx="128588" cy="188913"/>
            </a:xfrm>
            <a:custGeom>
              <a:avLst/>
              <a:gdLst>
                <a:gd name="T0" fmla="*/ 2147483647 w 80"/>
                <a:gd name="T1" fmla="*/ 2147483647 h 118"/>
                <a:gd name="T2" fmla="*/ 2147483647 w 80"/>
                <a:gd name="T3" fmla="*/ 2147483647 h 118"/>
                <a:gd name="T4" fmla="*/ 2147483647 w 80"/>
                <a:gd name="T5" fmla="*/ 2147483647 h 118"/>
                <a:gd name="T6" fmla="*/ 2147483647 w 80"/>
                <a:gd name="T7" fmla="*/ 2147483647 h 118"/>
                <a:gd name="T8" fmla="*/ 2147483647 w 80"/>
                <a:gd name="T9" fmla="*/ 2147483647 h 118"/>
                <a:gd name="T10" fmla="*/ 2147483647 w 80"/>
                <a:gd name="T11" fmla="*/ 2147483647 h 118"/>
                <a:gd name="T12" fmla="*/ 2147483647 w 80"/>
                <a:gd name="T13" fmla="*/ 2147483647 h 118"/>
                <a:gd name="T14" fmla="*/ 2147483647 w 80"/>
                <a:gd name="T15" fmla="*/ 2147483647 h 118"/>
                <a:gd name="T16" fmla="*/ 2147483647 w 80"/>
                <a:gd name="T17" fmla="*/ 2147483647 h 118"/>
                <a:gd name="T18" fmla="*/ 2147483647 w 80"/>
                <a:gd name="T19" fmla="*/ 2147483647 h 118"/>
                <a:gd name="T20" fmla="*/ 2147483647 w 80"/>
                <a:gd name="T21" fmla="*/ 2147483647 h 118"/>
                <a:gd name="T22" fmla="*/ 2147483647 w 80"/>
                <a:gd name="T23" fmla="*/ 2147483647 h 118"/>
                <a:gd name="T24" fmla="*/ 2147483647 w 80"/>
                <a:gd name="T25" fmla="*/ 2147483647 h 118"/>
                <a:gd name="T26" fmla="*/ 2147483647 w 80"/>
                <a:gd name="T27" fmla="*/ 2147483647 h 118"/>
                <a:gd name="T28" fmla="*/ 2147483647 w 80"/>
                <a:gd name="T29" fmla="*/ 2147483647 h 118"/>
                <a:gd name="T30" fmla="*/ 2147483647 w 80"/>
                <a:gd name="T31" fmla="*/ 0 h 118"/>
                <a:gd name="T32" fmla="*/ 2147483647 w 80"/>
                <a:gd name="T33" fmla="*/ 2147483647 h 118"/>
                <a:gd name="T34" fmla="*/ 2147483647 w 80"/>
                <a:gd name="T35" fmla="*/ 2147483647 h 118"/>
                <a:gd name="T36" fmla="*/ 2147483647 w 80"/>
                <a:gd name="T37" fmla="*/ 2147483647 h 118"/>
                <a:gd name="T38" fmla="*/ 2147483647 w 80"/>
                <a:gd name="T39" fmla="*/ 2147483647 h 118"/>
                <a:gd name="T40" fmla="*/ 2147483647 w 80"/>
                <a:gd name="T41" fmla="*/ 2147483647 h 118"/>
                <a:gd name="T42" fmla="*/ 2147483647 w 80"/>
                <a:gd name="T43" fmla="*/ 2147483647 h 118"/>
                <a:gd name="T44" fmla="*/ 0 w 80"/>
                <a:gd name="T45" fmla="*/ 2147483647 h 118"/>
                <a:gd name="T46" fmla="*/ 0 w 80"/>
                <a:gd name="T47" fmla="*/ 2147483647 h 118"/>
                <a:gd name="T48" fmla="*/ 2147483647 w 80"/>
                <a:gd name="T49" fmla="*/ 2147483647 h 118"/>
                <a:gd name="T50" fmla="*/ 2147483647 w 80"/>
                <a:gd name="T51" fmla="*/ 2147483647 h 118"/>
                <a:gd name="T52" fmla="*/ 2147483647 w 80"/>
                <a:gd name="T53" fmla="*/ 2147483647 h 118"/>
                <a:gd name="T54" fmla="*/ 2147483647 w 80"/>
                <a:gd name="T55" fmla="*/ 2147483647 h 118"/>
                <a:gd name="T56" fmla="*/ 2147483647 w 80"/>
                <a:gd name="T57" fmla="*/ 2147483647 h 118"/>
                <a:gd name="T58" fmla="*/ 2147483647 w 80"/>
                <a:gd name="T59" fmla="*/ 2147483647 h 118"/>
                <a:gd name="T60" fmla="*/ 2147483647 w 80"/>
                <a:gd name="T61" fmla="*/ 2147483647 h 118"/>
                <a:gd name="T62" fmla="*/ 2147483647 w 80"/>
                <a:gd name="T63" fmla="*/ 2147483647 h 118"/>
                <a:gd name="T64" fmla="*/ 2147483647 w 80"/>
                <a:gd name="T65" fmla="*/ 2147483647 h 118"/>
                <a:gd name="T66" fmla="*/ 2147483647 w 80"/>
                <a:gd name="T67" fmla="*/ 2147483647 h 118"/>
                <a:gd name="T68" fmla="*/ 2147483647 w 80"/>
                <a:gd name="T69" fmla="*/ 2147483647 h 118"/>
                <a:gd name="T70" fmla="*/ 2147483647 w 80"/>
                <a:gd name="T71" fmla="*/ 2147483647 h 118"/>
                <a:gd name="T72" fmla="*/ 2147483647 w 80"/>
                <a:gd name="T73" fmla="*/ 2147483647 h 118"/>
                <a:gd name="T74" fmla="*/ 2147483647 w 80"/>
                <a:gd name="T75" fmla="*/ 2147483647 h 118"/>
                <a:gd name="T76" fmla="*/ 2147483647 w 80"/>
                <a:gd name="T77" fmla="*/ 2147483647 h 118"/>
                <a:gd name="T78" fmla="*/ 2147483647 w 80"/>
                <a:gd name="T79" fmla="*/ 2147483647 h 118"/>
                <a:gd name="T80" fmla="*/ 2147483647 w 80"/>
                <a:gd name="T81" fmla="*/ 2147483647 h 118"/>
                <a:gd name="T82" fmla="*/ 2147483647 w 80"/>
                <a:gd name="T83" fmla="*/ 2147483647 h 118"/>
                <a:gd name="T84" fmla="*/ 2147483647 w 80"/>
                <a:gd name="T85" fmla="*/ 2147483647 h 118"/>
                <a:gd name="T86" fmla="*/ 2147483647 w 80"/>
                <a:gd name="T87" fmla="*/ 2147483647 h 118"/>
                <a:gd name="T88" fmla="*/ 2147483647 w 80"/>
                <a:gd name="T89" fmla="*/ 2147483647 h 118"/>
                <a:gd name="T90" fmla="*/ 2147483647 w 80"/>
                <a:gd name="T91" fmla="*/ 2147483647 h 118"/>
                <a:gd name="T92" fmla="*/ 2147483647 w 80"/>
                <a:gd name="T93" fmla="*/ 2147483647 h 118"/>
                <a:gd name="T94" fmla="*/ 2147483647 w 80"/>
                <a:gd name="T95" fmla="*/ 2147483647 h 11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0"/>
                <a:gd name="T145" fmla="*/ 0 h 118"/>
                <a:gd name="T146" fmla="*/ 80 w 80"/>
                <a:gd name="T147" fmla="*/ 118 h 11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0" h="118">
                  <a:moveTo>
                    <a:pt x="63" y="86"/>
                  </a:moveTo>
                  <a:lnTo>
                    <a:pt x="63" y="86"/>
                  </a:lnTo>
                  <a:lnTo>
                    <a:pt x="63" y="89"/>
                  </a:lnTo>
                  <a:lnTo>
                    <a:pt x="60" y="89"/>
                  </a:lnTo>
                  <a:lnTo>
                    <a:pt x="57" y="86"/>
                  </a:lnTo>
                  <a:lnTo>
                    <a:pt x="54" y="83"/>
                  </a:lnTo>
                  <a:lnTo>
                    <a:pt x="46" y="83"/>
                  </a:lnTo>
                  <a:lnTo>
                    <a:pt x="43" y="86"/>
                  </a:lnTo>
                  <a:lnTo>
                    <a:pt x="40" y="86"/>
                  </a:lnTo>
                  <a:lnTo>
                    <a:pt x="37" y="86"/>
                  </a:lnTo>
                  <a:lnTo>
                    <a:pt x="34" y="75"/>
                  </a:lnTo>
                  <a:lnTo>
                    <a:pt x="31" y="69"/>
                  </a:lnTo>
                  <a:lnTo>
                    <a:pt x="28" y="60"/>
                  </a:lnTo>
                  <a:lnTo>
                    <a:pt x="28" y="57"/>
                  </a:lnTo>
                  <a:lnTo>
                    <a:pt x="28" y="55"/>
                  </a:lnTo>
                  <a:lnTo>
                    <a:pt x="28" y="52"/>
                  </a:lnTo>
                  <a:lnTo>
                    <a:pt x="34" y="52"/>
                  </a:lnTo>
                  <a:lnTo>
                    <a:pt x="37" y="49"/>
                  </a:lnTo>
                  <a:lnTo>
                    <a:pt x="40" y="43"/>
                  </a:lnTo>
                  <a:lnTo>
                    <a:pt x="43" y="37"/>
                  </a:lnTo>
                  <a:lnTo>
                    <a:pt x="43" y="32"/>
                  </a:lnTo>
                  <a:lnTo>
                    <a:pt x="40" y="26"/>
                  </a:lnTo>
                  <a:lnTo>
                    <a:pt x="37" y="23"/>
                  </a:lnTo>
                  <a:lnTo>
                    <a:pt x="34" y="17"/>
                  </a:lnTo>
                  <a:lnTo>
                    <a:pt x="34" y="6"/>
                  </a:lnTo>
                  <a:lnTo>
                    <a:pt x="34" y="3"/>
                  </a:lnTo>
                  <a:lnTo>
                    <a:pt x="31" y="3"/>
                  </a:lnTo>
                  <a:lnTo>
                    <a:pt x="31" y="6"/>
                  </a:lnTo>
                  <a:lnTo>
                    <a:pt x="28" y="9"/>
                  </a:lnTo>
                  <a:lnTo>
                    <a:pt x="23" y="3"/>
                  </a:lnTo>
                  <a:lnTo>
                    <a:pt x="14" y="0"/>
                  </a:lnTo>
                  <a:lnTo>
                    <a:pt x="8" y="0"/>
                  </a:lnTo>
                  <a:lnTo>
                    <a:pt x="5" y="3"/>
                  </a:lnTo>
                  <a:lnTo>
                    <a:pt x="5" y="17"/>
                  </a:lnTo>
                  <a:lnTo>
                    <a:pt x="5" y="23"/>
                  </a:lnTo>
                  <a:lnTo>
                    <a:pt x="5" y="29"/>
                  </a:lnTo>
                  <a:lnTo>
                    <a:pt x="5" y="34"/>
                  </a:lnTo>
                  <a:lnTo>
                    <a:pt x="5" y="43"/>
                  </a:lnTo>
                  <a:lnTo>
                    <a:pt x="11" y="46"/>
                  </a:lnTo>
                  <a:lnTo>
                    <a:pt x="11" y="49"/>
                  </a:lnTo>
                  <a:lnTo>
                    <a:pt x="8" y="49"/>
                  </a:lnTo>
                  <a:lnTo>
                    <a:pt x="5" y="49"/>
                  </a:lnTo>
                  <a:lnTo>
                    <a:pt x="0" y="46"/>
                  </a:lnTo>
                  <a:lnTo>
                    <a:pt x="0" y="43"/>
                  </a:lnTo>
                  <a:lnTo>
                    <a:pt x="0" y="46"/>
                  </a:lnTo>
                  <a:lnTo>
                    <a:pt x="0" y="55"/>
                  </a:lnTo>
                  <a:lnTo>
                    <a:pt x="3" y="57"/>
                  </a:lnTo>
                  <a:lnTo>
                    <a:pt x="3" y="63"/>
                  </a:lnTo>
                  <a:lnTo>
                    <a:pt x="5" y="66"/>
                  </a:lnTo>
                  <a:lnTo>
                    <a:pt x="8" y="69"/>
                  </a:lnTo>
                  <a:lnTo>
                    <a:pt x="5" y="72"/>
                  </a:lnTo>
                  <a:lnTo>
                    <a:pt x="5" y="75"/>
                  </a:lnTo>
                  <a:lnTo>
                    <a:pt x="11" y="78"/>
                  </a:lnTo>
                  <a:lnTo>
                    <a:pt x="11" y="80"/>
                  </a:lnTo>
                  <a:lnTo>
                    <a:pt x="14" y="83"/>
                  </a:lnTo>
                  <a:lnTo>
                    <a:pt x="17" y="78"/>
                  </a:lnTo>
                  <a:lnTo>
                    <a:pt x="17" y="75"/>
                  </a:lnTo>
                  <a:lnTo>
                    <a:pt x="20" y="78"/>
                  </a:lnTo>
                  <a:lnTo>
                    <a:pt x="20" y="83"/>
                  </a:lnTo>
                  <a:lnTo>
                    <a:pt x="17" y="86"/>
                  </a:lnTo>
                  <a:lnTo>
                    <a:pt x="23" y="95"/>
                  </a:lnTo>
                  <a:lnTo>
                    <a:pt x="31" y="98"/>
                  </a:lnTo>
                  <a:lnTo>
                    <a:pt x="34" y="92"/>
                  </a:lnTo>
                  <a:lnTo>
                    <a:pt x="37" y="89"/>
                  </a:lnTo>
                  <a:lnTo>
                    <a:pt x="46" y="98"/>
                  </a:lnTo>
                  <a:lnTo>
                    <a:pt x="54" y="106"/>
                  </a:lnTo>
                  <a:lnTo>
                    <a:pt x="54" y="103"/>
                  </a:lnTo>
                  <a:lnTo>
                    <a:pt x="51" y="95"/>
                  </a:lnTo>
                  <a:lnTo>
                    <a:pt x="51" y="92"/>
                  </a:lnTo>
                  <a:lnTo>
                    <a:pt x="57" y="98"/>
                  </a:lnTo>
                  <a:lnTo>
                    <a:pt x="60" y="100"/>
                  </a:lnTo>
                  <a:lnTo>
                    <a:pt x="66" y="106"/>
                  </a:lnTo>
                  <a:lnTo>
                    <a:pt x="69" y="109"/>
                  </a:lnTo>
                  <a:lnTo>
                    <a:pt x="71" y="112"/>
                  </a:lnTo>
                  <a:lnTo>
                    <a:pt x="74" y="112"/>
                  </a:lnTo>
                  <a:lnTo>
                    <a:pt x="77" y="115"/>
                  </a:lnTo>
                  <a:lnTo>
                    <a:pt x="80" y="118"/>
                  </a:lnTo>
                  <a:lnTo>
                    <a:pt x="80" y="115"/>
                  </a:lnTo>
                  <a:lnTo>
                    <a:pt x="80" y="112"/>
                  </a:lnTo>
                  <a:lnTo>
                    <a:pt x="80" y="106"/>
                  </a:lnTo>
                  <a:lnTo>
                    <a:pt x="80" y="103"/>
                  </a:lnTo>
                  <a:lnTo>
                    <a:pt x="71" y="100"/>
                  </a:lnTo>
                  <a:lnTo>
                    <a:pt x="69" y="98"/>
                  </a:lnTo>
                  <a:lnTo>
                    <a:pt x="69" y="95"/>
                  </a:lnTo>
                  <a:lnTo>
                    <a:pt x="74" y="95"/>
                  </a:lnTo>
                  <a:lnTo>
                    <a:pt x="71" y="92"/>
                  </a:lnTo>
                  <a:lnTo>
                    <a:pt x="66" y="89"/>
                  </a:lnTo>
                  <a:lnTo>
                    <a:pt x="63" y="8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4" name="Freeform 54"/>
            <p:cNvSpPr>
              <a:spLocks/>
            </p:cNvSpPr>
            <p:nvPr/>
          </p:nvSpPr>
          <p:spPr bwMode="auto">
            <a:xfrm>
              <a:off x="7716838" y="3067050"/>
              <a:ext cx="4762" cy="12700"/>
            </a:xfrm>
            <a:custGeom>
              <a:avLst/>
              <a:gdLst>
                <a:gd name="T0" fmla="*/ 2147483647 w 3"/>
                <a:gd name="T1" fmla="*/ 2147483647 h 8"/>
                <a:gd name="T2" fmla="*/ 2147483647 w 3"/>
                <a:gd name="T3" fmla="*/ 2147483647 h 8"/>
                <a:gd name="T4" fmla="*/ 2147483647 w 3"/>
                <a:gd name="T5" fmla="*/ 0 h 8"/>
                <a:gd name="T6" fmla="*/ 0 w 3"/>
                <a:gd name="T7" fmla="*/ 0 h 8"/>
                <a:gd name="T8" fmla="*/ 0 w 3"/>
                <a:gd name="T9" fmla="*/ 0 h 8"/>
                <a:gd name="T10" fmla="*/ 0 w 3"/>
                <a:gd name="T11" fmla="*/ 2147483647 h 8"/>
                <a:gd name="T12" fmla="*/ 2147483647 w 3"/>
                <a:gd name="T13" fmla="*/ 2147483647 h 8"/>
                <a:gd name="T14" fmla="*/ 2147483647 w 3"/>
                <a:gd name="T15" fmla="*/ 2147483647 h 8"/>
                <a:gd name="T16" fmla="*/ 2147483647 w 3"/>
                <a:gd name="T17" fmla="*/ 2147483647 h 8"/>
                <a:gd name="T18" fmla="*/ 2147483647 w 3"/>
                <a:gd name="T19" fmla="*/ 2147483647 h 8"/>
                <a:gd name="T20" fmla="*/ 2147483647 w 3"/>
                <a:gd name="T21" fmla="*/ 2147483647 h 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"/>
                <a:gd name="T34" fmla="*/ 0 h 8"/>
                <a:gd name="T35" fmla="*/ 3 w 3"/>
                <a:gd name="T36" fmla="*/ 8 h 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" h="8">
                  <a:moveTo>
                    <a:pt x="3" y="5"/>
                  </a:moveTo>
                  <a:lnTo>
                    <a:pt x="3" y="5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3" y="8"/>
                  </a:lnTo>
                  <a:lnTo>
                    <a:pt x="3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5" name="Freeform 55"/>
            <p:cNvSpPr>
              <a:spLocks/>
            </p:cNvSpPr>
            <p:nvPr/>
          </p:nvSpPr>
          <p:spPr bwMode="auto">
            <a:xfrm>
              <a:off x="7583488" y="3605213"/>
              <a:ext cx="9525" cy="12700"/>
            </a:xfrm>
            <a:custGeom>
              <a:avLst/>
              <a:gdLst>
                <a:gd name="T0" fmla="*/ 0 w 6"/>
                <a:gd name="T1" fmla="*/ 2147483647 h 8"/>
                <a:gd name="T2" fmla="*/ 0 w 6"/>
                <a:gd name="T3" fmla="*/ 2147483647 h 8"/>
                <a:gd name="T4" fmla="*/ 2147483647 w 6"/>
                <a:gd name="T5" fmla="*/ 2147483647 h 8"/>
                <a:gd name="T6" fmla="*/ 2147483647 w 6"/>
                <a:gd name="T7" fmla="*/ 0 h 8"/>
                <a:gd name="T8" fmla="*/ 0 w 6"/>
                <a:gd name="T9" fmla="*/ 2147483647 h 8"/>
                <a:gd name="T10" fmla="*/ 0 w 6"/>
                <a:gd name="T11" fmla="*/ 214748364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8"/>
                <a:gd name="T20" fmla="*/ 6 w 6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8">
                  <a:moveTo>
                    <a:pt x="0" y="5"/>
                  </a:moveTo>
                  <a:lnTo>
                    <a:pt x="0" y="8"/>
                  </a:lnTo>
                  <a:lnTo>
                    <a:pt x="6" y="5"/>
                  </a:lnTo>
                  <a:lnTo>
                    <a:pt x="6" y="0"/>
                  </a:lnTo>
                  <a:lnTo>
                    <a:pt x="0" y="2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6" name="Freeform 56"/>
            <p:cNvSpPr>
              <a:spLocks/>
            </p:cNvSpPr>
            <p:nvPr/>
          </p:nvSpPr>
          <p:spPr bwMode="auto">
            <a:xfrm>
              <a:off x="7632700" y="3006725"/>
              <a:ext cx="9525" cy="4763"/>
            </a:xfrm>
            <a:custGeom>
              <a:avLst/>
              <a:gdLst>
                <a:gd name="T0" fmla="*/ 0 w 6"/>
                <a:gd name="T1" fmla="*/ 2147483647 h 3"/>
                <a:gd name="T2" fmla="*/ 2147483647 w 6"/>
                <a:gd name="T3" fmla="*/ 0 h 3"/>
                <a:gd name="T4" fmla="*/ 0 w 6"/>
                <a:gd name="T5" fmla="*/ 0 h 3"/>
                <a:gd name="T6" fmla="*/ 0 w 6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3"/>
                <a:gd name="T14" fmla="*/ 6 w 6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3">
                  <a:moveTo>
                    <a:pt x="0" y="3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7" name="Freeform 57"/>
            <p:cNvSpPr>
              <a:spLocks/>
            </p:cNvSpPr>
            <p:nvPr/>
          </p:nvSpPr>
          <p:spPr bwMode="auto">
            <a:xfrm>
              <a:off x="7600950" y="3617913"/>
              <a:ext cx="4763" cy="1587"/>
            </a:xfrm>
            <a:custGeom>
              <a:avLst/>
              <a:gdLst>
                <a:gd name="T0" fmla="*/ 2147483647 w 3"/>
                <a:gd name="T1" fmla="*/ 0 h 1"/>
                <a:gd name="T2" fmla="*/ 2147483647 w 3"/>
                <a:gd name="T3" fmla="*/ 0 h 1"/>
                <a:gd name="T4" fmla="*/ 2147483647 w 3"/>
                <a:gd name="T5" fmla="*/ 0 h 1"/>
                <a:gd name="T6" fmla="*/ 2147483647 w 3"/>
                <a:gd name="T7" fmla="*/ 0 h 1"/>
                <a:gd name="T8" fmla="*/ 0 w 3"/>
                <a:gd name="T9" fmla="*/ 0 h 1"/>
                <a:gd name="T10" fmla="*/ 2147483647 w 3"/>
                <a:gd name="T11" fmla="*/ 0 h 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1"/>
                <a:gd name="T20" fmla="*/ 3 w 3"/>
                <a:gd name="T21" fmla="*/ 1 h 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1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8" name="Freeform 58"/>
            <p:cNvSpPr>
              <a:spLocks/>
            </p:cNvSpPr>
            <p:nvPr/>
          </p:nvSpPr>
          <p:spPr bwMode="auto">
            <a:xfrm>
              <a:off x="7564438" y="2982913"/>
              <a:ext cx="19050" cy="15875"/>
            </a:xfrm>
            <a:custGeom>
              <a:avLst/>
              <a:gdLst>
                <a:gd name="T0" fmla="*/ 2147483647 w 12"/>
                <a:gd name="T1" fmla="*/ 0 h 9"/>
                <a:gd name="T2" fmla="*/ 2147483647 w 12"/>
                <a:gd name="T3" fmla="*/ 0 h 9"/>
                <a:gd name="T4" fmla="*/ 2147483647 w 12"/>
                <a:gd name="T5" fmla="*/ 0 h 9"/>
                <a:gd name="T6" fmla="*/ 2147483647 w 12"/>
                <a:gd name="T7" fmla="*/ 0 h 9"/>
                <a:gd name="T8" fmla="*/ 0 w 12"/>
                <a:gd name="T9" fmla="*/ 2147483647 h 9"/>
                <a:gd name="T10" fmla="*/ 0 w 12"/>
                <a:gd name="T11" fmla="*/ 2147483647 h 9"/>
                <a:gd name="T12" fmla="*/ 0 w 12"/>
                <a:gd name="T13" fmla="*/ 2147483647 h 9"/>
                <a:gd name="T14" fmla="*/ 2147483647 w 12"/>
                <a:gd name="T15" fmla="*/ 2147483647 h 9"/>
                <a:gd name="T16" fmla="*/ 2147483647 w 12"/>
                <a:gd name="T17" fmla="*/ 2147483647 h 9"/>
                <a:gd name="T18" fmla="*/ 2147483647 w 12"/>
                <a:gd name="T19" fmla="*/ 2147483647 h 9"/>
                <a:gd name="T20" fmla="*/ 2147483647 w 12"/>
                <a:gd name="T21" fmla="*/ 2147483647 h 9"/>
                <a:gd name="T22" fmla="*/ 2147483647 w 12"/>
                <a:gd name="T23" fmla="*/ 2147483647 h 9"/>
                <a:gd name="T24" fmla="*/ 2147483647 w 12"/>
                <a:gd name="T25" fmla="*/ 0 h 9"/>
                <a:gd name="T26" fmla="*/ 2147483647 w 12"/>
                <a:gd name="T27" fmla="*/ 0 h 9"/>
                <a:gd name="T28" fmla="*/ 2147483647 w 12"/>
                <a:gd name="T29" fmla="*/ 0 h 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2"/>
                <a:gd name="T46" fmla="*/ 0 h 9"/>
                <a:gd name="T47" fmla="*/ 12 w 12"/>
                <a:gd name="T48" fmla="*/ 9 h 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2" h="9">
                  <a:moveTo>
                    <a:pt x="9" y="0"/>
                  </a:moveTo>
                  <a:lnTo>
                    <a:pt x="9" y="0"/>
                  </a:lnTo>
                  <a:lnTo>
                    <a:pt x="3" y="0"/>
                  </a:lnTo>
                  <a:lnTo>
                    <a:pt x="0" y="6"/>
                  </a:lnTo>
                  <a:lnTo>
                    <a:pt x="6" y="9"/>
                  </a:lnTo>
                  <a:lnTo>
                    <a:pt x="12" y="6"/>
                  </a:lnTo>
                  <a:lnTo>
                    <a:pt x="12" y="3"/>
                  </a:lnTo>
                  <a:lnTo>
                    <a:pt x="12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9" name="Freeform 59"/>
            <p:cNvSpPr>
              <a:spLocks/>
            </p:cNvSpPr>
            <p:nvPr/>
          </p:nvSpPr>
          <p:spPr bwMode="auto">
            <a:xfrm>
              <a:off x="7169150" y="3360738"/>
              <a:ext cx="1588" cy="4762"/>
            </a:xfrm>
            <a:custGeom>
              <a:avLst/>
              <a:gdLst>
                <a:gd name="T0" fmla="*/ 0 w 1"/>
                <a:gd name="T1" fmla="*/ 2147483647 h 3"/>
                <a:gd name="T2" fmla="*/ 0 w 1"/>
                <a:gd name="T3" fmla="*/ 2147483647 h 3"/>
                <a:gd name="T4" fmla="*/ 0 w 1"/>
                <a:gd name="T5" fmla="*/ 2147483647 h 3"/>
                <a:gd name="T6" fmla="*/ 0 w 1"/>
                <a:gd name="T7" fmla="*/ 0 h 3"/>
                <a:gd name="T8" fmla="*/ 0 w 1"/>
                <a:gd name="T9" fmla="*/ 0 h 3"/>
                <a:gd name="T10" fmla="*/ 0 w 1"/>
                <a:gd name="T11" fmla="*/ 2147483647 h 3"/>
                <a:gd name="T12" fmla="*/ 0 w 1"/>
                <a:gd name="T13" fmla="*/ 2147483647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"/>
                <a:gd name="T22" fmla="*/ 0 h 3"/>
                <a:gd name="T23" fmla="*/ 1 w 1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" h="3">
                  <a:moveTo>
                    <a:pt x="0" y="3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0" name="Freeform 60"/>
            <p:cNvSpPr>
              <a:spLocks/>
            </p:cNvSpPr>
            <p:nvPr/>
          </p:nvSpPr>
          <p:spPr bwMode="auto">
            <a:xfrm>
              <a:off x="6965950" y="3328988"/>
              <a:ext cx="220663" cy="261937"/>
            </a:xfrm>
            <a:custGeom>
              <a:avLst/>
              <a:gdLst>
                <a:gd name="T0" fmla="*/ 2147483647 w 138"/>
                <a:gd name="T1" fmla="*/ 2147483647 h 164"/>
                <a:gd name="T2" fmla="*/ 0 w 138"/>
                <a:gd name="T3" fmla="*/ 2147483647 h 164"/>
                <a:gd name="T4" fmla="*/ 2147483647 w 138"/>
                <a:gd name="T5" fmla="*/ 2147483647 h 164"/>
                <a:gd name="T6" fmla="*/ 2147483647 w 138"/>
                <a:gd name="T7" fmla="*/ 2147483647 h 164"/>
                <a:gd name="T8" fmla="*/ 2147483647 w 138"/>
                <a:gd name="T9" fmla="*/ 2147483647 h 164"/>
                <a:gd name="T10" fmla="*/ 2147483647 w 138"/>
                <a:gd name="T11" fmla="*/ 2147483647 h 164"/>
                <a:gd name="T12" fmla="*/ 2147483647 w 138"/>
                <a:gd name="T13" fmla="*/ 2147483647 h 164"/>
                <a:gd name="T14" fmla="*/ 2147483647 w 138"/>
                <a:gd name="T15" fmla="*/ 2147483647 h 164"/>
                <a:gd name="T16" fmla="*/ 2147483647 w 138"/>
                <a:gd name="T17" fmla="*/ 2147483647 h 164"/>
                <a:gd name="T18" fmla="*/ 2147483647 w 138"/>
                <a:gd name="T19" fmla="*/ 2147483647 h 164"/>
                <a:gd name="T20" fmla="*/ 2147483647 w 138"/>
                <a:gd name="T21" fmla="*/ 2147483647 h 164"/>
                <a:gd name="T22" fmla="*/ 2147483647 w 138"/>
                <a:gd name="T23" fmla="*/ 2147483647 h 164"/>
                <a:gd name="T24" fmla="*/ 2147483647 w 138"/>
                <a:gd name="T25" fmla="*/ 2147483647 h 164"/>
                <a:gd name="T26" fmla="*/ 2147483647 w 138"/>
                <a:gd name="T27" fmla="*/ 2147483647 h 164"/>
                <a:gd name="T28" fmla="*/ 2147483647 w 138"/>
                <a:gd name="T29" fmla="*/ 2147483647 h 164"/>
                <a:gd name="T30" fmla="*/ 2147483647 w 138"/>
                <a:gd name="T31" fmla="*/ 2147483647 h 164"/>
                <a:gd name="T32" fmla="*/ 2147483647 w 138"/>
                <a:gd name="T33" fmla="*/ 2147483647 h 164"/>
                <a:gd name="T34" fmla="*/ 2147483647 w 138"/>
                <a:gd name="T35" fmla="*/ 2147483647 h 164"/>
                <a:gd name="T36" fmla="*/ 2147483647 w 138"/>
                <a:gd name="T37" fmla="*/ 2147483647 h 164"/>
                <a:gd name="T38" fmla="*/ 2147483647 w 138"/>
                <a:gd name="T39" fmla="*/ 2147483647 h 164"/>
                <a:gd name="T40" fmla="*/ 2147483647 w 138"/>
                <a:gd name="T41" fmla="*/ 2147483647 h 164"/>
                <a:gd name="T42" fmla="*/ 2147483647 w 138"/>
                <a:gd name="T43" fmla="*/ 2147483647 h 164"/>
                <a:gd name="T44" fmla="*/ 2147483647 w 138"/>
                <a:gd name="T45" fmla="*/ 2147483647 h 164"/>
                <a:gd name="T46" fmla="*/ 2147483647 w 138"/>
                <a:gd name="T47" fmla="*/ 2147483647 h 164"/>
                <a:gd name="T48" fmla="*/ 2147483647 w 138"/>
                <a:gd name="T49" fmla="*/ 2147483647 h 164"/>
                <a:gd name="T50" fmla="*/ 2147483647 w 138"/>
                <a:gd name="T51" fmla="*/ 2147483647 h 164"/>
                <a:gd name="T52" fmla="*/ 2147483647 w 138"/>
                <a:gd name="T53" fmla="*/ 2147483647 h 164"/>
                <a:gd name="T54" fmla="*/ 2147483647 w 138"/>
                <a:gd name="T55" fmla="*/ 2147483647 h 164"/>
                <a:gd name="T56" fmla="*/ 2147483647 w 138"/>
                <a:gd name="T57" fmla="*/ 2147483647 h 164"/>
                <a:gd name="T58" fmla="*/ 2147483647 w 138"/>
                <a:gd name="T59" fmla="*/ 2147483647 h 164"/>
                <a:gd name="T60" fmla="*/ 2147483647 w 138"/>
                <a:gd name="T61" fmla="*/ 2147483647 h 164"/>
                <a:gd name="T62" fmla="*/ 2147483647 w 138"/>
                <a:gd name="T63" fmla="*/ 2147483647 h 164"/>
                <a:gd name="T64" fmla="*/ 2147483647 w 138"/>
                <a:gd name="T65" fmla="*/ 2147483647 h 164"/>
                <a:gd name="T66" fmla="*/ 2147483647 w 138"/>
                <a:gd name="T67" fmla="*/ 2147483647 h 164"/>
                <a:gd name="T68" fmla="*/ 2147483647 w 138"/>
                <a:gd name="T69" fmla="*/ 2147483647 h 164"/>
                <a:gd name="T70" fmla="*/ 2147483647 w 138"/>
                <a:gd name="T71" fmla="*/ 2147483647 h 164"/>
                <a:gd name="T72" fmla="*/ 2147483647 w 138"/>
                <a:gd name="T73" fmla="*/ 2147483647 h 164"/>
                <a:gd name="T74" fmla="*/ 2147483647 w 138"/>
                <a:gd name="T75" fmla="*/ 2147483647 h 164"/>
                <a:gd name="T76" fmla="*/ 2147483647 w 138"/>
                <a:gd name="T77" fmla="*/ 2147483647 h 164"/>
                <a:gd name="T78" fmla="*/ 2147483647 w 138"/>
                <a:gd name="T79" fmla="*/ 2147483647 h 164"/>
                <a:gd name="T80" fmla="*/ 2147483647 w 138"/>
                <a:gd name="T81" fmla="*/ 2147483647 h 164"/>
                <a:gd name="T82" fmla="*/ 2147483647 w 138"/>
                <a:gd name="T83" fmla="*/ 2147483647 h 164"/>
                <a:gd name="T84" fmla="*/ 2147483647 w 138"/>
                <a:gd name="T85" fmla="*/ 2147483647 h 164"/>
                <a:gd name="T86" fmla="*/ 2147483647 w 138"/>
                <a:gd name="T87" fmla="*/ 2147483647 h 164"/>
                <a:gd name="T88" fmla="*/ 2147483647 w 138"/>
                <a:gd name="T89" fmla="*/ 2147483647 h 164"/>
                <a:gd name="T90" fmla="*/ 2147483647 w 138"/>
                <a:gd name="T91" fmla="*/ 2147483647 h 164"/>
                <a:gd name="T92" fmla="*/ 2147483647 w 138"/>
                <a:gd name="T93" fmla="*/ 2147483647 h 164"/>
                <a:gd name="T94" fmla="*/ 2147483647 w 138"/>
                <a:gd name="T95" fmla="*/ 2147483647 h 164"/>
                <a:gd name="T96" fmla="*/ 2147483647 w 138"/>
                <a:gd name="T97" fmla="*/ 2147483647 h 164"/>
                <a:gd name="T98" fmla="*/ 2147483647 w 138"/>
                <a:gd name="T99" fmla="*/ 2147483647 h 164"/>
                <a:gd name="T100" fmla="*/ 2147483647 w 138"/>
                <a:gd name="T101" fmla="*/ 2147483647 h 164"/>
                <a:gd name="T102" fmla="*/ 2147483647 w 138"/>
                <a:gd name="T103" fmla="*/ 2147483647 h 164"/>
                <a:gd name="T104" fmla="*/ 2147483647 w 138"/>
                <a:gd name="T105" fmla="*/ 2147483647 h 164"/>
                <a:gd name="T106" fmla="*/ 2147483647 w 138"/>
                <a:gd name="T107" fmla="*/ 2147483647 h 164"/>
                <a:gd name="T108" fmla="*/ 2147483647 w 138"/>
                <a:gd name="T109" fmla="*/ 2147483647 h 164"/>
                <a:gd name="T110" fmla="*/ 2147483647 w 138"/>
                <a:gd name="T111" fmla="*/ 2147483647 h 164"/>
                <a:gd name="T112" fmla="*/ 2147483647 w 138"/>
                <a:gd name="T113" fmla="*/ 2147483647 h 164"/>
                <a:gd name="T114" fmla="*/ 2147483647 w 138"/>
                <a:gd name="T115" fmla="*/ 2147483647 h 164"/>
                <a:gd name="T116" fmla="*/ 2147483647 w 138"/>
                <a:gd name="T117" fmla="*/ 2147483647 h 164"/>
                <a:gd name="T118" fmla="*/ 2147483647 w 138"/>
                <a:gd name="T119" fmla="*/ 2147483647 h 16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38"/>
                <a:gd name="T181" fmla="*/ 0 h 164"/>
                <a:gd name="T182" fmla="*/ 138 w 138"/>
                <a:gd name="T183" fmla="*/ 164 h 16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38" h="164">
                  <a:moveTo>
                    <a:pt x="9" y="26"/>
                  </a:moveTo>
                  <a:lnTo>
                    <a:pt x="6" y="35"/>
                  </a:lnTo>
                  <a:lnTo>
                    <a:pt x="0" y="38"/>
                  </a:lnTo>
                  <a:lnTo>
                    <a:pt x="0" y="41"/>
                  </a:lnTo>
                  <a:lnTo>
                    <a:pt x="6" y="41"/>
                  </a:lnTo>
                  <a:lnTo>
                    <a:pt x="9" y="46"/>
                  </a:lnTo>
                  <a:lnTo>
                    <a:pt x="6" y="55"/>
                  </a:lnTo>
                  <a:lnTo>
                    <a:pt x="9" y="55"/>
                  </a:lnTo>
                  <a:lnTo>
                    <a:pt x="15" y="55"/>
                  </a:lnTo>
                  <a:lnTo>
                    <a:pt x="17" y="55"/>
                  </a:lnTo>
                  <a:lnTo>
                    <a:pt x="20" y="58"/>
                  </a:lnTo>
                  <a:lnTo>
                    <a:pt x="23" y="61"/>
                  </a:lnTo>
                  <a:lnTo>
                    <a:pt x="23" y="72"/>
                  </a:lnTo>
                  <a:lnTo>
                    <a:pt x="20" y="78"/>
                  </a:lnTo>
                  <a:lnTo>
                    <a:pt x="23" y="81"/>
                  </a:lnTo>
                  <a:lnTo>
                    <a:pt x="23" y="98"/>
                  </a:lnTo>
                  <a:lnTo>
                    <a:pt x="29" y="89"/>
                  </a:lnTo>
                  <a:lnTo>
                    <a:pt x="32" y="86"/>
                  </a:lnTo>
                  <a:lnTo>
                    <a:pt x="35" y="84"/>
                  </a:lnTo>
                  <a:lnTo>
                    <a:pt x="38" y="81"/>
                  </a:lnTo>
                  <a:lnTo>
                    <a:pt x="38" y="84"/>
                  </a:lnTo>
                  <a:lnTo>
                    <a:pt x="46" y="89"/>
                  </a:lnTo>
                  <a:lnTo>
                    <a:pt x="52" y="89"/>
                  </a:lnTo>
                  <a:lnTo>
                    <a:pt x="60" y="78"/>
                  </a:lnTo>
                  <a:lnTo>
                    <a:pt x="72" y="84"/>
                  </a:lnTo>
                  <a:lnTo>
                    <a:pt x="81" y="95"/>
                  </a:lnTo>
                  <a:lnTo>
                    <a:pt x="86" y="95"/>
                  </a:lnTo>
                  <a:lnTo>
                    <a:pt x="86" y="98"/>
                  </a:lnTo>
                  <a:lnTo>
                    <a:pt x="89" y="101"/>
                  </a:lnTo>
                  <a:lnTo>
                    <a:pt x="86" y="109"/>
                  </a:lnTo>
                  <a:lnTo>
                    <a:pt x="89" y="115"/>
                  </a:lnTo>
                  <a:lnTo>
                    <a:pt x="101" y="127"/>
                  </a:lnTo>
                  <a:lnTo>
                    <a:pt x="106" y="135"/>
                  </a:lnTo>
                  <a:lnTo>
                    <a:pt x="106" y="144"/>
                  </a:lnTo>
                  <a:lnTo>
                    <a:pt x="106" y="153"/>
                  </a:lnTo>
                  <a:lnTo>
                    <a:pt x="101" y="161"/>
                  </a:lnTo>
                  <a:lnTo>
                    <a:pt x="106" y="161"/>
                  </a:lnTo>
                  <a:lnTo>
                    <a:pt x="109" y="161"/>
                  </a:lnTo>
                  <a:lnTo>
                    <a:pt x="115" y="164"/>
                  </a:lnTo>
                  <a:lnTo>
                    <a:pt x="118" y="164"/>
                  </a:lnTo>
                  <a:lnTo>
                    <a:pt x="112" y="158"/>
                  </a:lnTo>
                  <a:lnTo>
                    <a:pt x="121" y="150"/>
                  </a:lnTo>
                  <a:lnTo>
                    <a:pt x="124" y="153"/>
                  </a:lnTo>
                  <a:lnTo>
                    <a:pt x="129" y="158"/>
                  </a:lnTo>
                  <a:lnTo>
                    <a:pt x="132" y="155"/>
                  </a:lnTo>
                  <a:lnTo>
                    <a:pt x="132" y="147"/>
                  </a:lnTo>
                  <a:lnTo>
                    <a:pt x="138" y="141"/>
                  </a:lnTo>
                  <a:lnTo>
                    <a:pt x="129" y="132"/>
                  </a:lnTo>
                  <a:lnTo>
                    <a:pt x="129" y="130"/>
                  </a:lnTo>
                  <a:lnTo>
                    <a:pt x="132" y="127"/>
                  </a:lnTo>
                  <a:lnTo>
                    <a:pt x="127" y="124"/>
                  </a:lnTo>
                  <a:lnTo>
                    <a:pt x="118" y="118"/>
                  </a:lnTo>
                  <a:lnTo>
                    <a:pt x="112" y="107"/>
                  </a:lnTo>
                  <a:lnTo>
                    <a:pt x="101" y="92"/>
                  </a:lnTo>
                  <a:lnTo>
                    <a:pt x="86" y="81"/>
                  </a:lnTo>
                  <a:lnTo>
                    <a:pt x="83" y="72"/>
                  </a:lnTo>
                  <a:lnTo>
                    <a:pt x="78" y="69"/>
                  </a:lnTo>
                  <a:lnTo>
                    <a:pt x="63" y="66"/>
                  </a:lnTo>
                  <a:lnTo>
                    <a:pt x="66" y="52"/>
                  </a:lnTo>
                  <a:lnTo>
                    <a:pt x="75" y="55"/>
                  </a:lnTo>
                  <a:lnTo>
                    <a:pt x="78" y="46"/>
                  </a:lnTo>
                  <a:lnTo>
                    <a:pt x="69" y="41"/>
                  </a:lnTo>
                  <a:lnTo>
                    <a:pt x="72" y="38"/>
                  </a:lnTo>
                  <a:lnTo>
                    <a:pt x="69" y="35"/>
                  </a:lnTo>
                  <a:lnTo>
                    <a:pt x="63" y="32"/>
                  </a:lnTo>
                  <a:lnTo>
                    <a:pt x="58" y="38"/>
                  </a:lnTo>
                  <a:lnTo>
                    <a:pt x="49" y="35"/>
                  </a:lnTo>
                  <a:lnTo>
                    <a:pt x="46" y="32"/>
                  </a:lnTo>
                  <a:lnTo>
                    <a:pt x="40" y="23"/>
                  </a:lnTo>
                  <a:lnTo>
                    <a:pt x="40" y="15"/>
                  </a:lnTo>
                  <a:lnTo>
                    <a:pt x="38" y="18"/>
                  </a:lnTo>
                  <a:lnTo>
                    <a:pt x="32" y="9"/>
                  </a:lnTo>
                  <a:lnTo>
                    <a:pt x="26" y="3"/>
                  </a:lnTo>
                  <a:lnTo>
                    <a:pt x="20" y="0"/>
                  </a:lnTo>
                  <a:lnTo>
                    <a:pt x="20" y="6"/>
                  </a:lnTo>
                  <a:lnTo>
                    <a:pt x="26" y="18"/>
                  </a:lnTo>
                  <a:lnTo>
                    <a:pt x="23" y="26"/>
                  </a:lnTo>
                  <a:lnTo>
                    <a:pt x="15" y="26"/>
                  </a:lnTo>
                  <a:lnTo>
                    <a:pt x="15" y="23"/>
                  </a:lnTo>
                  <a:lnTo>
                    <a:pt x="9" y="2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1" name="Freeform 61"/>
            <p:cNvSpPr>
              <a:spLocks/>
            </p:cNvSpPr>
            <p:nvPr/>
          </p:nvSpPr>
          <p:spPr bwMode="auto">
            <a:xfrm>
              <a:off x="7486650" y="3236913"/>
              <a:ext cx="39688" cy="111125"/>
            </a:xfrm>
            <a:custGeom>
              <a:avLst/>
              <a:gdLst>
                <a:gd name="T0" fmla="*/ 2147483647 w 25"/>
                <a:gd name="T1" fmla="*/ 2147483647 h 69"/>
                <a:gd name="T2" fmla="*/ 2147483647 w 25"/>
                <a:gd name="T3" fmla="*/ 0 h 69"/>
                <a:gd name="T4" fmla="*/ 2147483647 w 25"/>
                <a:gd name="T5" fmla="*/ 0 h 69"/>
                <a:gd name="T6" fmla="*/ 2147483647 w 25"/>
                <a:gd name="T7" fmla="*/ 2147483647 h 69"/>
                <a:gd name="T8" fmla="*/ 2147483647 w 25"/>
                <a:gd name="T9" fmla="*/ 2147483647 h 69"/>
                <a:gd name="T10" fmla="*/ 2147483647 w 25"/>
                <a:gd name="T11" fmla="*/ 2147483647 h 69"/>
                <a:gd name="T12" fmla="*/ 2147483647 w 25"/>
                <a:gd name="T13" fmla="*/ 2147483647 h 69"/>
                <a:gd name="T14" fmla="*/ 2147483647 w 25"/>
                <a:gd name="T15" fmla="*/ 2147483647 h 69"/>
                <a:gd name="T16" fmla="*/ 0 w 25"/>
                <a:gd name="T17" fmla="*/ 2147483647 h 69"/>
                <a:gd name="T18" fmla="*/ 0 w 25"/>
                <a:gd name="T19" fmla="*/ 2147483647 h 69"/>
                <a:gd name="T20" fmla="*/ 0 w 25"/>
                <a:gd name="T21" fmla="*/ 2147483647 h 69"/>
                <a:gd name="T22" fmla="*/ 0 w 25"/>
                <a:gd name="T23" fmla="*/ 2147483647 h 69"/>
                <a:gd name="T24" fmla="*/ 2147483647 w 25"/>
                <a:gd name="T25" fmla="*/ 2147483647 h 69"/>
                <a:gd name="T26" fmla="*/ 2147483647 w 25"/>
                <a:gd name="T27" fmla="*/ 2147483647 h 69"/>
                <a:gd name="T28" fmla="*/ 2147483647 w 25"/>
                <a:gd name="T29" fmla="*/ 2147483647 h 69"/>
                <a:gd name="T30" fmla="*/ 2147483647 w 25"/>
                <a:gd name="T31" fmla="*/ 2147483647 h 69"/>
                <a:gd name="T32" fmla="*/ 2147483647 w 25"/>
                <a:gd name="T33" fmla="*/ 2147483647 h 69"/>
                <a:gd name="T34" fmla="*/ 2147483647 w 25"/>
                <a:gd name="T35" fmla="*/ 2147483647 h 69"/>
                <a:gd name="T36" fmla="*/ 2147483647 w 25"/>
                <a:gd name="T37" fmla="*/ 2147483647 h 69"/>
                <a:gd name="T38" fmla="*/ 2147483647 w 25"/>
                <a:gd name="T39" fmla="*/ 2147483647 h 69"/>
                <a:gd name="T40" fmla="*/ 2147483647 w 25"/>
                <a:gd name="T41" fmla="*/ 2147483647 h 69"/>
                <a:gd name="T42" fmla="*/ 2147483647 w 25"/>
                <a:gd name="T43" fmla="*/ 2147483647 h 69"/>
                <a:gd name="T44" fmla="*/ 2147483647 w 25"/>
                <a:gd name="T45" fmla="*/ 2147483647 h 69"/>
                <a:gd name="T46" fmla="*/ 2147483647 w 25"/>
                <a:gd name="T47" fmla="*/ 2147483647 h 69"/>
                <a:gd name="T48" fmla="*/ 2147483647 w 25"/>
                <a:gd name="T49" fmla="*/ 2147483647 h 69"/>
                <a:gd name="T50" fmla="*/ 2147483647 w 25"/>
                <a:gd name="T51" fmla="*/ 2147483647 h 69"/>
                <a:gd name="T52" fmla="*/ 2147483647 w 25"/>
                <a:gd name="T53" fmla="*/ 2147483647 h 69"/>
                <a:gd name="T54" fmla="*/ 2147483647 w 25"/>
                <a:gd name="T55" fmla="*/ 2147483647 h 69"/>
                <a:gd name="T56" fmla="*/ 2147483647 w 25"/>
                <a:gd name="T57" fmla="*/ 2147483647 h 69"/>
                <a:gd name="T58" fmla="*/ 2147483647 w 25"/>
                <a:gd name="T59" fmla="*/ 2147483647 h 69"/>
                <a:gd name="T60" fmla="*/ 2147483647 w 25"/>
                <a:gd name="T61" fmla="*/ 2147483647 h 69"/>
                <a:gd name="T62" fmla="*/ 2147483647 w 25"/>
                <a:gd name="T63" fmla="*/ 2147483647 h 69"/>
                <a:gd name="T64" fmla="*/ 2147483647 w 25"/>
                <a:gd name="T65" fmla="*/ 2147483647 h 69"/>
                <a:gd name="T66" fmla="*/ 2147483647 w 25"/>
                <a:gd name="T67" fmla="*/ 2147483647 h 69"/>
                <a:gd name="T68" fmla="*/ 2147483647 w 25"/>
                <a:gd name="T69" fmla="*/ 2147483647 h 69"/>
                <a:gd name="T70" fmla="*/ 2147483647 w 25"/>
                <a:gd name="T71" fmla="*/ 2147483647 h 69"/>
                <a:gd name="T72" fmla="*/ 2147483647 w 25"/>
                <a:gd name="T73" fmla="*/ 2147483647 h 69"/>
                <a:gd name="T74" fmla="*/ 2147483647 w 25"/>
                <a:gd name="T75" fmla="*/ 2147483647 h 69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5"/>
                <a:gd name="T115" fmla="*/ 0 h 69"/>
                <a:gd name="T116" fmla="*/ 25 w 25"/>
                <a:gd name="T117" fmla="*/ 69 h 69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5" h="69">
                  <a:moveTo>
                    <a:pt x="20" y="3"/>
                  </a:moveTo>
                  <a:lnTo>
                    <a:pt x="17" y="0"/>
                  </a:lnTo>
                  <a:lnTo>
                    <a:pt x="14" y="3"/>
                  </a:lnTo>
                  <a:lnTo>
                    <a:pt x="5" y="20"/>
                  </a:lnTo>
                  <a:lnTo>
                    <a:pt x="2" y="23"/>
                  </a:lnTo>
                  <a:lnTo>
                    <a:pt x="0" y="29"/>
                  </a:lnTo>
                  <a:lnTo>
                    <a:pt x="0" y="34"/>
                  </a:lnTo>
                  <a:lnTo>
                    <a:pt x="0" y="46"/>
                  </a:lnTo>
                  <a:lnTo>
                    <a:pt x="5" y="52"/>
                  </a:lnTo>
                  <a:lnTo>
                    <a:pt x="11" y="60"/>
                  </a:lnTo>
                  <a:lnTo>
                    <a:pt x="17" y="69"/>
                  </a:lnTo>
                  <a:lnTo>
                    <a:pt x="17" y="63"/>
                  </a:lnTo>
                  <a:lnTo>
                    <a:pt x="20" y="57"/>
                  </a:lnTo>
                  <a:lnTo>
                    <a:pt x="23" y="52"/>
                  </a:lnTo>
                  <a:lnTo>
                    <a:pt x="23" y="46"/>
                  </a:lnTo>
                  <a:lnTo>
                    <a:pt x="23" y="37"/>
                  </a:lnTo>
                  <a:lnTo>
                    <a:pt x="23" y="26"/>
                  </a:lnTo>
                  <a:lnTo>
                    <a:pt x="25" y="17"/>
                  </a:lnTo>
                  <a:lnTo>
                    <a:pt x="23" y="14"/>
                  </a:lnTo>
                  <a:lnTo>
                    <a:pt x="25" y="9"/>
                  </a:lnTo>
                  <a:lnTo>
                    <a:pt x="25" y="6"/>
                  </a:lnTo>
                  <a:lnTo>
                    <a:pt x="25" y="3"/>
                  </a:lnTo>
                  <a:lnTo>
                    <a:pt x="23" y="3"/>
                  </a:lnTo>
                  <a:lnTo>
                    <a:pt x="2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2" name="Freeform 62"/>
            <p:cNvSpPr>
              <a:spLocks/>
            </p:cNvSpPr>
            <p:nvPr/>
          </p:nvSpPr>
          <p:spPr bwMode="auto">
            <a:xfrm>
              <a:off x="7053263" y="3576638"/>
              <a:ext cx="138112" cy="142875"/>
            </a:xfrm>
            <a:custGeom>
              <a:avLst/>
              <a:gdLst>
                <a:gd name="T0" fmla="*/ 2147483647 w 86"/>
                <a:gd name="T1" fmla="*/ 2147483647 h 89"/>
                <a:gd name="T2" fmla="*/ 2147483647 w 86"/>
                <a:gd name="T3" fmla="*/ 2147483647 h 89"/>
                <a:gd name="T4" fmla="*/ 2147483647 w 86"/>
                <a:gd name="T5" fmla="*/ 2147483647 h 89"/>
                <a:gd name="T6" fmla="*/ 2147483647 w 86"/>
                <a:gd name="T7" fmla="*/ 2147483647 h 89"/>
                <a:gd name="T8" fmla="*/ 2147483647 w 86"/>
                <a:gd name="T9" fmla="*/ 2147483647 h 89"/>
                <a:gd name="T10" fmla="*/ 2147483647 w 86"/>
                <a:gd name="T11" fmla="*/ 2147483647 h 89"/>
                <a:gd name="T12" fmla="*/ 2147483647 w 86"/>
                <a:gd name="T13" fmla="*/ 2147483647 h 89"/>
                <a:gd name="T14" fmla="*/ 2147483647 w 86"/>
                <a:gd name="T15" fmla="*/ 0 h 89"/>
                <a:gd name="T16" fmla="*/ 2147483647 w 86"/>
                <a:gd name="T17" fmla="*/ 2147483647 h 89"/>
                <a:gd name="T18" fmla="*/ 2147483647 w 86"/>
                <a:gd name="T19" fmla="*/ 2147483647 h 89"/>
                <a:gd name="T20" fmla="*/ 2147483647 w 86"/>
                <a:gd name="T21" fmla="*/ 2147483647 h 89"/>
                <a:gd name="T22" fmla="*/ 2147483647 w 86"/>
                <a:gd name="T23" fmla="*/ 2147483647 h 89"/>
                <a:gd name="T24" fmla="*/ 2147483647 w 86"/>
                <a:gd name="T25" fmla="*/ 2147483647 h 89"/>
                <a:gd name="T26" fmla="*/ 2147483647 w 86"/>
                <a:gd name="T27" fmla="*/ 2147483647 h 89"/>
                <a:gd name="T28" fmla="*/ 2147483647 w 86"/>
                <a:gd name="T29" fmla="*/ 2147483647 h 89"/>
                <a:gd name="T30" fmla="*/ 0 w 86"/>
                <a:gd name="T31" fmla="*/ 2147483647 h 89"/>
                <a:gd name="T32" fmla="*/ 2147483647 w 86"/>
                <a:gd name="T33" fmla="*/ 2147483647 h 89"/>
                <a:gd name="T34" fmla="*/ 2147483647 w 86"/>
                <a:gd name="T35" fmla="*/ 2147483647 h 89"/>
                <a:gd name="T36" fmla="*/ 2147483647 w 86"/>
                <a:gd name="T37" fmla="*/ 2147483647 h 89"/>
                <a:gd name="T38" fmla="*/ 2147483647 w 86"/>
                <a:gd name="T39" fmla="*/ 2147483647 h 89"/>
                <a:gd name="T40" fmla="*/ 2147483647 w 86"/>
                <a:gd name="T41" fmla="*/ 2147483647 h 89"/>
                <a:gd name="T42" fmla="*/ 2147483647 w 86"/>
                <a:gd name="T43" fmla="*/ 2147483647 h 89"/>
                <a:gd name="T44" fmla="*/ 2147483647 w 86"/>
                <a:gd name="T45" fmla="*/ 2147483647 h 89"/>
                <a:gd name="T46" fmla="*/ 2147483647 w 86"/>
                <a:gd name="T47" fmla="*/ 2147483647 h 89"/>
                <a:gd name="T48" fmla="*/ 2147483647 w 86"/>
                <a:gd name="T49" fmla="*/ 2147483647 h 89"/>
                <a:gd name="T50" fmla="*/ 2147483647 w 86"/>
                <a:gd name="T51" fmla="*/ 2147483647 h 89"/>
                <a:gd name="T52" fmla="*/ 2147483647 w 86"/>
                <a:gd name="T53" fmla="*/ 2147483647 h 89"/>
                <a:gd name="T54" fmla="*/ 2147483647 w 86"/>
                <a:gd name="T55" fmla="*/ 2147483647 h 89"/>
                <a:gd name="T56" fmla="*/ 2147483647 w 86"/>
                <a:gd name="T57" fmla="*/ 2147483647 h 89"/>
                <a:gd name="T58" fmla="*/ 2147483647 w 86"/>
                <a:gd name="T59" fmla="*/ 2147483647 h 89"/>
                <a:gd name="T60" fmla="*/ 2147483647 w 86"/>
                <a:gd name="T61" fmla="*/ 2147483647 h 89"/>
                <a:gd name="T62" fmla="*/ 2147483647 w 86"/>
                <a:gd name="T63" fmla="*/ 2147483647 h 89"/>
                <a:gd name="T64" fmla="*/ 2147483647 w 86"/>
                <a:gd name="T65" fmla="*/ 2147483647 h 89"/>
                <a:gd name="T66" fmla="*/ 2147483647 w 86"/>
                <a:gd name="T67" fmla="*/ 2147483647 h 89"/>
                <a:gd name="T68" fmla="*/ 2147483647 w 86"/>
                <a:gd name="T69" fmla="*/ 2147483647 h 89"/>
                <a:gd name="T70" fmla="*/ 2147483647 w 86"/>
                <a:gd name="T71" fmla="*/ 2147483647 h 89"/>
                <a:gd name="T72" fmla="*/ 2147483647 w 86"/>
                <a:gd name="T73" fmla="*/ 2147483647 h 89"/>
                <a:gd name="T74" fmla="*/ 2147483647 w 86"/>
                <a:gd name="T75" fmla="*/ 2147483647 h 89"/>
                <a:gd name="T76" fmla="*/ 2147483647 w 86"/>
                <a:gd name="T77" fmla="*/ 2147483647 h 89"/>
                <a:gd name="T78" fmla="*/ 2147483647 w 86"/>
                <a:gd name="T79" fmla="*/ 2147483647 h 89"/>
                <a:gd name="T80" fmla="*/ 2147483647 w 86"/>
                <a:gd name="T81" fmla="*/ 2147483647 h 89"/>
                <a:gd name="T82" fmla="*/ 2147483647 w 86"/>
                <a:gd name="T83" fmla="*/ 2147483647 h 89"/>
                <a:gd name="T84" fmla="*/ 2147483647 w 86"/>
                <a:gd name="T85" fmla="*/ 2147483647 h 89"/>
                <a:gd name="T86" fmla="*/ 2147483647 w 86"/>
                <a:gd name="T87" fmla="*/ 2147483647 h 89"/>
                <a:gd name="T88" fmla="*/ 2147483647 w 86"/>
                <a:gd name="T89" fmla="*/ 2147483647 h 89"/>
                <a:gd name="T90" fmla="*/ 2147483647 w 86"/>
                <a:gd name="T91" fmla="*/ 2147483647 h 89"/>
                <a:gd name="T92" fmla="*/ 2147483647 w 86"/>
                <a:gd name="T93" fmla="*/ 2147483647 h 89"/>
                <a:gd name="T94" fmla="*/ 2147483647 w 86"/>
                <a:gd name="T95" fmla="*/ 2147483647 h 89"/>
                <a:gd name="T96" fmla="*/ 2147483647 w 86"/>
                <a:gd name="T97" fmla="*/ 2147483647 h 89"/>
                <a:gd name="T98" fmla="*/ 2147483647 w 86"/>
                <a:gd name="T99" fmla="*/ 2147483647 h 89"/>
                <a:gd name="T100" fmla="*/ 2147483647 w 86"/>
                <a:gd name="T101" fmla="*/ 2147483647 h 8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6"/>
                <a:gd name="T154" fmla="*/ 0 h 89"/>
                <a:gd name="T155" fmla="*/ 86 w 86"/>
                <a:gd name="T156" fmla="*/ 89 h 8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6" h="89">
                  <a:moveTo>
                    <a:pt x="86" y="20"/>
                  </a:moveTo>
                  <a:lnTo>
                    <a:pt x="86" y="20"/>
                  </a:lnTo>
                  <a:lnTo>
                    <a:pt x="80" y="9"/>
                  </a:lnTo>
                  <a:lnTo>
                    <a:pt x="80" y="6"/>
                  </a:lnTo>
                  <a:lnTo>
                    <a:pt x="80" y="3"/>
                  </a:lnTo>
                  <a:lnTo>
                    <a:pt x="74" y="6"/>
                  </a:lnTo>
                  <a:lnTo>
                    <a:pt x="72" y="6"/>
                  </a:lnTo>
                  <a:lnTo>
                    <a:pt x="69" y="3"/>
                  </a:lnTo>
                  <a:lnTo>
                    <a:pt x="66" y="0"/>
                  </a:lnTo>
                  <a:lnTo>
                    <a:pt x="63" y="3"/>
                  </a:lnTo>
                  <a:lnTo>
                    <a:pt x="66" y="9"/>
                  </a:lnTo>
                  <a:lnTo>
                    <a:pt x="63" y="15"/>
                  </a:lnTo>
                  <a:lnTo>
                    <a:pt x="54" y="9"/>
                  </a:lnTo>
                  <a:lnTo>
                    <a:pt x="51" y="12"/>
                  </a:lnTo>
                  <a:lnTo>
                    <a:pt x="43" y="6"/>
                  </a:lnTo>
                  <a:lnTo>
                    <a:pt x="34" y="3"/>
                  </a:lnTo>
                  <a:lnTo>
                    <a:pt x="28" y="3"/>
                  </a:lnTo>
                  <a:lnTo>
                    <a:pt x="17" y="3"/>
                  </a:lnTo>
                  <a:lnTo>
                    <a:pt x="8" y="9"/>
                  </a:lnTo>
                  <a:lnTo>
                    <a:pt x="0" y="20"/>
                  </a:lnTo>
                  <a:lnTo>
                    <a:pt x="0" y="26"/>
                  </a:lnTo>
                  <a:lnTo>
                    <a:pt x="8" y="38"/>
                  </a:lnTo>
                  <a:lnTo>
                    <a:pt x="8" y="46"/>
                  </a:lnTo>
                  <a:lnTo>
                    <a:pt x="14" y="55"/>
                  </a:lnTo>
                  <a:lnTo>
                    <a:pt x="8" y="61"/>
                  </a:lnTo>
                  <a:lnTo>
                    <a:pt x="14" y="72"/>
                  </a:lnTo>
                  <a:lnTo>
                    <a:pt x="17" y="75"/>
                  </a:lnTo>
                  <a:lnTo>
                    <a:pt x="23" y="69"/>
                  </a:lnTo>
                  <a:lnTo>
                    <a:pt x="23" y="72"/>
                  </a:lnTo>
                  <a:lnTo>
                    <a:pt x="23" y="75"/>
                  </a:lnTo>
                  <a:lnTo>
                    <a:pt x="20" y="75"/>
                  </a:lnTo>
                  <a:lnTo>
                    <a:pt x="23" y="75"/>
                  </a:lnTo>
                  <a:lnTo>
                    <a:pt x="26" y="78"/>
                  </a:lnTo>
                  <a:lnTo>
                    <a:pt x="28" y="78"/>
                  </a:lnTo>
                  <a:lnTo>
                    <a:pt x="28" y="81"/>
                  </a:lnTo>
                  <a:lnTo>
                    <a:pt x="28" y="84"/>
                  </a:lnTo>
                  <a:lnTo>
                    <a:pt x="31" y="89"/>
                  </a:lnTo>
                  <a:lnTo>
                    <a:pt x="34" y="87"/>
                  </a:lnTo>
                  <a:lnTo>
                    <a:pt x="37" y="84"/>
                  </a:lnTo>
                  <a:lnTo>
                    <a:pt x="37" y="78"/>
                  </a:lnTo>
                  <a:lnTo>
                    <a:pt x="46" y="75"/>
                  </a:lnTo>
                  <a:lnTo>
                    <a:pt x="49" y="69"/>
                  </a:lnTo>
                  <a:lnTo>
                    <a:pt x="57" y="66"/>
                  </a:lnTo>
                  <a:lnTo>
                    <a:pt x="60" y="66"/>
                  </a:lnTo>
                  <a:lnTo>
                    <a:pt x="66" y="72"/>
                  </a:lnTo>
                  <a:lnTo>
                    <a:pt x="66" y="69"/>
                  </a:lnTo>
                  <a:lnTo>
                    <a:pt x="63" y="66"/>
                  </a:lnTo>
                  <a:lnTo>
                    <a:pt x="60" y="61"/>
                  </a:lnTo>
                  <a:lnTo>
                    <a:pt x="57" y="58"/>
                  </a:lnTo>
                  <a:lnTo>
                    <a:pt x="60" y="55"/>
                  </a:lnTo>
                  <a:lnTo>
                    <a:pt x="63" y="52"/>
                  </a:lnTo>
                  <a:lnTo>
                    <a:pt x="69" y="55"/>
                  </a:lnTo>
                  <a:lnTo>
                    <a:pt x="69" y="49"/>
                  </a:lnTo>
                  <a:lnTo>
                    <a:pt x="74" y="49"/>
                  </a:lnTo>
                  <a:lnTo>
                    <a:pt x="80" y="43"/>
                  </a:lnTo>
                  <a:lnTo>
                    <a:pt x="83" y="41"/>
                  </a:lnTo>
                  <a:lnTo>
                    <a:pt x="86" y="41"/>
                  </a:lnTo>
                  <a:lnTo>
                    <a:pt x="86" y="29"/>
                  </a:lnTo>
                  <a:lnTo>
                    <a:pt x="86" y="26"/>
                  </a:lnTo>
                  <a:lnTo>
                    <a:pt x="86" y="2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3" name="Rectangle 63"/>
            <p:cNvSpPr>
              <a:spLocks noChangeArrowheads="1"/>
            </p:cNvSpPr>
            <p:nvPr/>
          </p:nvSpPr>
          <p:spPr bwMode="auto">
            <a:xfrm>
              <a:off x="7561263" y="3433763"/>
              <a:ext cx="3175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4" name="Freeform 64"/>
            <p:cNvSpPr>
              <a:spLocks/>
            </p:cNvSpPr>
            <p:nvPr/>
          </p:nvSpPr>
          <p:spPr bwMode="auto">
            <a:xfrm>
              <a:off x="7573963" y="3554413"/>
              <a:ext cx="19050" cy="19050"/>
            </a:xfrm>
            <a:custGeom>
              <a:avLst/>
              <a:gdLst>
                <a:gd name="T0" fmla="*/ 2147483647 w 12"/>
                <a:gd name="T1" fmla="*/ 0 h 12"/>
                <a:gd name="T2" fmla="*/ 0 w 12"/>
                <a:gd name="T3" fmla="*/ 0 h 12"/>
                <a:gd name="T4" fmla="*/ 0 w 12"/>
                <a:gd name="T5" fmla="*/ 2147483647 h 12"/>
                <a:gd name="T6" fmla="*/ 2147483647 w 12"/>
                <a:gd name="T7" fmla="*/ 2147483647 h 12"/>
                <a:gd name="T8" fmla="*/ 2147483647 w 12"/>
                <a:gd name="T9" fmla="*/ 2147483647 h 12"/>
                <a:gd name="T10" fmla="*/ 2147483647 w 12"/>
                <a:gd name="T11" fmla="*/ 2147483647 h 12"/>
                <a:gd name="T12" fmla="*/ 2147483647 w 12"/>
                <a:gd name="T13" fmla="*/ 2147483647 h 12"/>
                <a:gd name="T14" fmla="*/ 2147483647 w 12"/>
                <a:gd name="T15" fmla="*/ 0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"/>
                <a:gd name="T25" fmla="*/ 0 h 12"/>
                <a:gd name="T26" fmla="*/ 12 w 12"/>
                <a:gd name="T27" fmla="*/ 12 h 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" h="12">
                  <a:moveTo>
                    <a:pt x="6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3" y="9"/>
                  </a:lnTo>
                  <a:lnTo>
                    <a:pt x="6" y="9"/>
                  </a:lnTo>
                  <a:lnTo>
                    <a:pt x="12" y="12"/>
                  </a:lnTo>
                  <a:lnTo>
                    <a:pt x="9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5" name="Freeform 65"/>
            <p:cNvSpPr>
              <a:spLocks/>
            </p:cNvSpPr>
            <p:nvPr/>
          </p:nvSpPr>
          <p:spPr bwMode="auto">
            <a:xfrm>
              <a:off x="7551738" y="3608388"/>
              <a:ext cx="22225" cy="42862"/>
            </a:xfrm>
            <a:custGeom>
              <a:avLst/>
              <a:gdLst>
                <a:gd name="T0" fmla="*/ 2147483647 w 14"/>
                <a:gd name="T1" fmla="*/ 2147483647 h 26"/>
                <a:gd name="T2" fmla="*/ 2147483647 w 14"/>
                <a:gd name="T3" fmla="*/ 0 h 26"/>
                <a:gd name="T4" fmla="*/ 0 w 14"/>
                <a:gd name="T5" fmla="*/ 0 h 26"/>
                <a:gd name="T6" fmla="*/ 0 w 14"/>
                <a:gd name="T7" fmla="*/ 0 h 26"/>
                <a:gd name="T8" fmla="*/ 2147483647 w 14"/>
                <a:gd name="T9" fmla="*/ 2147483647 h 26"/>
                <a:gd name="T10" fmla="*/ 2147483647 w 14"/>
                <a:gd name="T11" fmla="*/ 2147483647 h 26"/>
                <a:gd name="T12" fmla="*/ 2147483647 w 14"/>
                <a:gd name="T13" fmla="*/ 2147483647 h 26"/>
                <a:gd name="T14" fmla="*/ 2147483647 w 14"/>
                <a:gd name="T15" fmla="*/ 2147483647 h 26"/>
                <a:gd name="T16" fmla="*/ 2147483647 w 14"/>
                <a:gd name="T17" fmla="*/ 2147483647 h 26"/>
                <a:gd name="T18" fmla="*/ 2147483647 w 14"/>
                <a:gd name="T19" fmla="*/ 2147483647 h 26"/>
                <a:gd name="T20" fmla="*/ 2147483647 w 14"/>
                <a:gd name="T21" fmla="*/ 2147483647 h 26"/>
                <a:gd name="T22" fmla="*/ 2147483647 w 14"/>
                <a:gd name="T23" fmla="*/ 2147483647 h 26"/>
                <a:gd name="T24" fmla="*/ 2147483647 w 14"/>
                <a:gd name="T25" fmla="*/ 2147483647 h 26"/>
                <a:gd name="T26" fmla="*/ 2147483647 w 14"/>
                <a:gd name="T27" fmla="*/ 2147483647 h 26"/>
                <a:gd name="T28" fmla="*/ 2147483647 w 14"/>
                <a:gd name="T29" fmla="*/ 2147483647 h 2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4"/>
                <a:gd name="T46" fmla="*/ 0 h 26"/>
                <a:gd name="T47" fmla="*/ 14 w 14"/>
                <a:gd name="T48" fmla="*/ 26 h 2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4" h="26">
                  <a:moveTo>
                    <a:pt x="8" y="6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3" y="12"/>
                  </a:lnTo>
                  <a:lnTo>
                    <a:pt x="11" y="26"/>
                  </a:lnTo>
                  <a:lnTo>
                    <a:pt x="14" y="23"/>
                  </a:lnTo>
                  <a:lnTo>
                    <a:pt x="14" y="21"/>
                  </a:lnTo>
                  <a:lnTo>
                    <a:pt x="14" y="12"/>
                  </a:lnTo>
                  <a:lnTo>
                    <a:pt x="8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6" name="Freeform 66"/>
            <p:cNvSpPr>
              <a:spLocks/>
            </p:cNvSpPr>
            <p:nvPr/>
          </p:nvSpPr>
          <p:spPr bwMode="auto">
            <a:xfrm>
              <a:off x="7615238" y="3617913"/>
              <a:ext cx="14287" cy="14287"/>
            </a:xfrm>
            <a:custGeom>
              <a:avLst/>
              <a:gdLst>
                <a:gd name="T0" fmla="*/ 2147483647 w 9"/>
                <a:gd name="T1" fmla="*/ 2147483647 h 9"/>
                <a:gd name="T2" fmla="*/ 2147483647 w 9"/>
                <a:gd name="T3" fmla="*/ 2147483647 h 9"/>
                <a:gd name="T4" fmla="*/ 0 w 9"/>
                <a:gd name="T5" fmla="*/ 0 h 9"/>
                <a:gd name="T6" fmla="*/ 0 w 9"/>
                <a:gd name="T7" fmla="*/ 2147483647 h 9"/>
                <a:gd name="T8" fmla="*/ 0 w 9"/>
                <a:gd name="T9" fmla="*/ 2147483647 h 9"/>
                <a:gd name="T10" fmla="*/ 2147483647 w 9"/>
                <a:gd name="T11" fmla="*/ 2147483647 h 9"/>
                <a:gd name="T12" fmla="*/ 2147483647 w 9"/>
                <a:gd name="T13" fmla="*/ 2147483647 h 9"/>
                <a:gd name="T14" fmla="*/ 2147483647 w 9"/>
                <a:gd name="T15" fmla="*/ 2147483647 h 9"/>
                <a:gd name="T16" fmla="*/ 2147483647 w 9"/>
                <a:gd name="T17" fmla="*/ 2147483647 h 9"/>
                <a:gd name="T18" fmla="*/ 2147483647 w 9"/>
                <a:gd name="T19" fmla="*/ 2147483647 h 9"/>
                <a:gd name="T20" fmla="*/ 2147483647 w 9"/>
                <a:gd name="T21" fmla="*/ 2147483647 h 9"/>
                <a:gd name="T22" fmla="*/ 2147483647 w 9"/>
                <a:gd name="T23" fmla="*/ 2147483647 h 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9"/>
                <a:gd name="T37" fmla="*/ 0 h 9"/>
                <a:gd name="T38" fmla="*/ 9 w 9"/>
                <a:gd name="T39" fmla="*/ 9 h 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9" h="9">
                  <a:moveTo>
                    <a:pt x="3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9" y="9"/>
                  </a:lnTo>
                  <a:lnTo>
                    <a:pt x="9" y="6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7" name="Rectangle 67"/>
            <p:cNvSpPr>
              <a:spLocks noChangeArrowheads="1"/>
            </p:cNvSpPr>
            <p:nvPr/>
          </p:nvSpPr>
          <p:spPr bwMode="auto">
            <a:xfrm>
              <a:off x="7569200" y="3651250"/>
              <a:ext cx="9525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8" name="Rectangle 68"/>
            <p:cNvSpPr>
              <a:spLocks noChangeArrowheads="1"/>
            </p:cNvSpPr>
            <p:nvPr/>
          </p:nvSpPr>
          <p:spPr bwMode="auto">
            <a:xfrm>
              <a:off x="7275513" y="3532188"/>
              <a:ext cx="3175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9" name="Freeform 69"/>
            <p:cNvSpPr>
              <a:spLocks/>
            </p:cNvSpPr>
            <p:nvPr/>
          </p:nvSpPr>
          <p:spPr bwMode="auto">
            <a:xfrm>
              <a:off x="7588250" y="3643313"/>
              <a:ext cx="7938" cy="7937"/>
            </a:xfrm>
            <a:custGeom>
              <a:avLst/>
              <a:gdLst>
                <a:gd name="T0" fmla="*/ 0 w 5"/>
                <a:gd name="T1" fmla="*/ 0 h 5"/>
                <a:gd name="T2" fmla="*/ 0 w 5"/>
                <a:gd name="T3" fmla="*/ 2147483647 h 5"/>
                <a:gd name="T4" fmla="*/ 2147483647 w 5"/>
                <a:gd name="T5" fmla="*/ 2147483647 h 5"/>
                <a:gd name="T6" fmla="*/ 2147483647 w 5"/>
                <a:gd name="T7" fmla="*/ 0 h 5"/>
                <a:gd name="T8" fmla="*/ 0 w 5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5"/>
                <a:gd name="T17" fmla="*/ 5 w 5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5">
                  <a:moveTo>
                    <a:pt x="0" y="0"/>
                  </a:moveTo>
                  <a:lnTo>
                    <a:pt x="0" y="5"/>
                  </a:lnTo>
                  <a:lnTo>
                    <a:pt x="5" y="2"/>
                  </a:lnTo>
                  <a:lnTo>
                    <a:pt x="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0" name="Rectangle 70"/>
            <p:cNvSpPr>
              <a:spLocks noChangeArrowheads="1"/>
            </p:cNvSpPr>
            <p:nvPr/>
          </p:nvSpPr>
          <p:spPr bwMode="auto">
            <a:xfrm>
              <a:off x="7531100" y="3670300"/>
              <a:ext cx="4763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1" name="Freeform 71"/>
            <p:cNvSpPr>
              <a:spLocks/>
            </p:cNvSpPr>
            <p:nvPr/>
          </p:nvSpPr>
          <p:spPr bwMode="auto">
            <a:xfrm>
              <a:off x="7646988" y="2735263"/>
              <a:ext cx="268287" cy="327025"/>
            </a:xfrm>
            <a:custGeom>
              <a:avLst/>
              <a:gdLst>
                <a:gd name="T0" fmla="*/ 2147483647 w 167"/>
                <a:gd name="T1" fmla="*/ 2147483647 h 204"/>
                <a:gd name="T2" fmla="*/ 2147483647 w 167"/>
                <a:gd name="T3" fmla="*/ 2147483647 h 204"/>
                <a:gd name="T4" fmla="*/ 2147483647 w 167"/>
                <a:gd name="T5" fmla="*/ 2147483647 h 204"/>
                <a:gd name="T6" fmla="*/ 2147483647 w 167"/>
                <a:gd name="T7" fmla="*/ 2147483647 h 204"/>
                <a:gd name="T8" fmla="*/ 2147483647 w 167"/>
                <a:gd name="T9" fmla="*/ 2147483647 h 204"/>
                <a:gd name="T10" fmla="*/ 2147483647 w 167"/>
                <a:gd name="T11" fmla="*/ 2147483647 h 204"/>
                <a:gd name="T12" fmla="*/ 2147483647 w 167"/>
                <a:gd name="T13" fmla="*/ 2147483647 h 204"/>
                <a:gd name="T14" fmla="*/ 2147483647 w 167"/>
                <a:gd name="T15" fmla="*/ 2147483647 h 204"/>
                <a:gd name="T16" fmla="*/ 2147483647 w 167"/>
                <a:gd name="T17" fmla="*/ 2147483647 h 204"/>
                <a:gd name="T18" fmla="*/ 2147483647 w 167"/>
                <a:gd name="T19" fmla="*/ 2147483647 h 204"/>
                <a:gd name="T20" fmla="*/ 2147483647 w 167"/>
                <a:gd name="T21" fmla="*/ 2147483647 h 204"/>
                <a:gd name="T22" fmla="*/ 2147483647 w 167"/>
                <a:gd name="T23" fmla="*/ 2147483647 h 204"/>
                <a:gd name="T24" fmla="*/ 2147483647 w 167"/>
                <a:gd name="T25" fmla="*/ 2147483647 h 204"/>
                <a:gd name="T26" fmla="*/ 2147483647 w 167"/>
                <a:gd name="T27" fmla="*/ 2147483647 h 204"/>
                <a:gd name="T28" fmla="*/ 2147483647 w 167"/>
                <a:gd name="T29" fmla="*/ 2147483647 h 204"/>
                <a:gd name="T30" fmla="*/ 2147483647 w 167"/>
                <a:gd name="T31" fmla="*/ 2147483647 h 204"/>
                <a:gd name="T32" fmla="*/ 2147483647 w 167"/>
                <a:gd name="T33" fmla="*/ 2147483647 h 204"/>
                <a:gd name="T34" fmla="*/ 2147483647 w 167"/>
                <a:gd name="T35" fmla="*/ 2147483647 h 204"/>
                <a:gd name="T36" fmla="*/ 2147483647 w 167"/>
                <a:gd name="T37" fmla="*/ 2147483647 h 204"/>
                <a:gd name="T38" fmla="*/ 2147483647 w 167"/>
                <a:gd name="T39" fmla="*/ 2147483647 h 204"/>
                <a:gd name="T40" fmla="*/ 2147483647 w 167"/>
                <a:gd name="T41" fmla="*/ 2147483647 h 204"/>
                <a:gd name="T42" fmla="*/ 2147483647 w 167"/>
                <a:gd name="T43" fmla="*/ 2147483647 h 204"/>
                <a:gd name="T44" fmla="*/ 2147483647 w 167"/>
                <a:gd name="T45" fmla="*/ 2147483647 h 204"/>
                <a:gd name="T46" fmla="*/ 2147483647 w 167"/>
                <a:gd name="T47" fmla="*/ 2147483647 h 204"/>
                <a:gd name="T48" fmla="*/ 2147483647 w 167"/>
                <a:gd name="T49" fmla="*/ 2147483647 h 204"/>
                <a:gd name="T50" fmla="*/ 2147483647 w 167"/>
                <a:gd name="T51" fmla="*/ 2147483647 h 204"/>
                <a:gd name="T52" fmla="*/ 2147483647 w 167"/>
                <a:gd name="T53" fmla="*/ 2147483647 h 204"/>
                <a:gd name="T54" fmla="*/ 2147483647 w 167"/>
                <a:gd name="T55" fmla="*/ 2147483647 h 204"/>
                <a:gd name="T56" fmla="*/ 2147483647 w 167"/>
                <a:gd name="T57" fmla="*/ 2147483647 h 204"/>
                <a:gd name="T58" fmla="*/ 2147483647 w 167"/>
                <a:gd name="T59" fmla="*/ 2147483647 h 204"/>
                <a:gd name="T60" fmla="*/ 2147483647 w 167"/>
                <a:gd name="T61" fmla="*/ 2147483647 h 204"/>
                <a:gd name="T62" fmla="*/ 2147483647 w 167"/>
                <a:gd name="T63" fmla="*/ 2147483647 h 204"/>
                <a:gd name="T64" fmla="*/ 2147483647 w 167"/>
                <a:gd name="T65" fmla="*/ 2147483647 h 204"/>
                <a:gd name="T66" fmla="*/ 2147483647 w 167"/>
                <a:gd name="T67" fmla="*/ 2147483647 h 204"/>
                <a:gd name="T68" fmla="*/ 2147483647 w 167"/>
                <a:gd name="T69" fmla="*/ 2147483647 h 204"/>
                <a:gd name="T70" fmla="*/ 2147483647 w 167"/>
                <a:gd name="T71" fmla="*/ 2147483647 h 204"/>
                <a:gd name="T72" fmla="*/ 2147483647 w 167"/>
                <a:gd name="T73" fmla="*/ 2147483647 h 204"/>
                <a:gd name="T74" fmla="*/ 2147483647 w 167"/>
                <a:gd name="T75" fmla="*/ 2147483647 h 204"/>
                <a:gd name="T76" fmla="*/ 2147483647 w 167"/>
                <a:gd name="T77" fmla="*/ 2147483647 h 204"/>
                <a:gd name="T78" fmla="*/ 2147483647 w 167"/>
                <a:gd name="T79" fmla="*/ 2147483647 h 204"/>
                <a:gd name="T80" fmla="*/ 2147483647 w 167"/>
                <a:gd name="T81" fmla="*/ 2147483647 h 204"/>
                <a:gd name="T82" fmla="*/ 2147483647 w 167"/>
                <a:gd name="T83" fmla="*/ 2147483647 h 204"/>
                <a:gd name="T84" fmla="*/ 2147483647 w 167"/>
                <a:gd name="T85" fmla="*/ 2147483647 h 204"/>
                <a:gd name="T86" fmla="*/ 2147483647 w 167"/>
                <a:gd name="T87" fmla="*/ 2147483647 h 204"/>
                <a:gd name="T88" fmla="*/ 2147483647 w 167"/>
                <a:gd name="T89" fmla="*/ 2147483647 h 204"/>
                <a:gd name="T90" fmla="*/ 2147483647 w 167"/>
                <a:gd name="T91" fmla="*/ 2147483647 h 204"/>
                <a:gd name="T92" fmla="*/ 2147483647 w 167"/>
                <a:gd name="T93" fmla="*/ 2147483647 h 204"/>
                <a:gd name="T94" fmla="*/ 2147483647 w 167"/>
                <a:gd name="T95" fmla="*/ 2147483647 h 204"/>
                <a:gd name="T96" fmla="*/ 2147483647 w 167"/>
                <a:gd name="T97" fmla="*/ 2147483647 h 204"/>
                <a:gd name="T98" fmla="*/ 2147483647 w 167"/>
                <a:gd name="T99" fmla="*/ 2147483647 h 204"/>
                <a:gd name="T100" fmla="*/ 2147483647 w 167"/>
                <a:gd name="T101" fmla="*/ 2147483647 h 204"/>
                <a:gd name="T102" fmla="*/ 2147483647 w 167"/>
                <a:gd name="T103" fmla="*/ 2147483647 h 204"/>
                <a:gd name="T104" fmla="*/ 2147483647 w 167"/>
                <a:gd name="T105" fmla="*/ 2147483647 h 204"/>
                <a:gd name="T106" fmla="*/ 2147483647 w 167"/>
                <a:gd name="T107" fmla="*/ 2147483647 h 204"/>
                <a:gd name="T108" fmla="*/ 2147483647 w 167"/>
                <a:gd name="T109" fmla="*/ 2147483647 h 204"/>
                <a:gd name="T110" fmla="*/ 2147483647 w 167"/>
                <a:gd name="T111" fmla="*/ 2147483647 h 20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67"/>
                <a:gd name="T169" fmla="*/ 0 h 204"/>
                <a:gd name="T170" fmla="*/ 167 w 167"/>
                <a:gd name="T171" fmla="*/ 204 h 20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67" h="204">
                  <a:moveTo>
                    <a:pt x="6" y="164"/>
                  </a:moveTo>
                  <a:lnTo>
                    <a:pt x="6" y="164"/>
                  </a:lnTo>
                  <a:lnTo>
                    <a:pt x="12" y="172"/>
                  </a:lnTo>
                  <a:lnTo>
                    <a:pt x="14" y="167"/>
                  </a:lnTo>
                  <a:lnTo>
                    <a:pt x="14" y="161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7" y="172"/>
                  </a:lnTo>
                  <a:lnTo>
                    <a:pt x="17" y="178"/>
                  </a:lnTo>
                  <a:lnTo>
                    <a:pt x="20" y="181"/>
                  </a:lnTo>
                  <a:lnTo>
                    <a:pt x="23" y="175"/>
                  </a:lnTo>
                  <a:lnTo>
                    <a:pt x="20" y="172"/>
                  </a:lnTo>
                  <a:lnTo>
                    <a:pt x="23" y="169"/>
                  </a:lnTo>
                  <a:lnTo>
                    <a:pt x="26" y="175"/>
                  </a:lnTo>
                  <a:lnTo>
                    <a:pt x="26" y="181"/>
                  </a:lnTo>
                  <a:lnTo>
                    <a:pt x="23" y="184"/>
                  </a:lnTo>
                  <a:lnTo>
                    <a:pt x="26" y="187"/>
                  </a:lnTo>
                  <a:lnTo>
                    <a:pt x="32" y="201"/>
                  </a:lnTo>
                  <a:lnTo>
                    <a:pt x="34" y="201"/>
                  </a:lnTo>
                  <a:lnTo>
                    <a:pt x="34" y="192"/>
                  </a:lnTo>
                  <a:lnTo>
                    <a:pt x="37" y="189"/>
                  </a:lnTo>
                  <a:lnTo>
                    <a:pt x="34" y="192"/>
                  </a:lnTo>
                  <a:lnTo>
                    <a:pt x="37" y="198"/>
                  </a:lnTo>
                  <a:lnTo>
                    <a:pt x="37" y="204"/>
                  </a:lnTo>
                  <a:lnTo>
                    <a:pt x="46" y="198"/>
                  </a:lnTo>
                  <a:lnTo>
                    <a:pt x="46" y="192"/>
                  </a:lnTo>
                  <a:lnTo>
                    <a:pt x="46" y="187"/>
                  </a:lnTo>
                  <a:lnTo>
                    <a:pt x="43" y="181"/>
                  </a:lnTo>
                  <a:lnTo>
                    <a:pt x="46" y="175"/>
                  </a:lnTo>
                  <a:lnTo>
                    <a:pt x="46" y="169"/>
                  </a:lnTo>
                  <a:lnTo>
                    <a:pt x="46" y="167"/>
                  </a:lnTo>
                  <a:lnTo>
                    <a:pt x="43" y="161"/>
                  </a:lnTo>
                  <a:lnTo>
                    <a:pt x="40" y="158"/>
                  </a:lnTo>
                  <a:lnTo>
                    <a:pt x="37" y="161"/>
                  </a:lnTo>
                  <a:lnTo>
                    <a:pt x="37" y="155"/>
                  </a:lnTo>
                  <a:lnTo>
                    <a:pt x="37" y="152"/>
                  </a:lnTo>
                  <a:lnTo>
                    <a:pt x="34" y="152"/>
                  </a:lnTo>
                  <a:lnTo>
                    <a:pt x="29" y="152"/>
                  </a:lnTo>
                  <a:lnTo>
                    <a:pt x="26" y="149"/>
                  </a:lnTo>
                  <a:lnTo>
                    <a:pt x="23" y="149"/>
                  </a:lnTo>
                  <a:lnTo>
                    <a:pt x="26" y="149"/>
                  </a:lnTo>
                  <a:lnTo>
                    <a:pt x="32" y="146"/>
                  </a:lnTo>
                  <a:lnTo>
                    <a:pt x="37" y="146"/>
                  </a:lnTo>
                  <a:lnTo>
                    <a:pt x="40" y="146"/>
                  </a:lnTo>
                  <a:lnTo>
                    <a:pt x="43" y="146"/>
                  </a:lnTo>
                  <a:lnTo>
                    <a:pt x="49" y="144"/>
                  </a:lnTo>
                  <a:lnTo>
                    <a:pt x="52" y="141"/>
                  </a:lnTo>
                  <a:lnTo>
                    <a:pt x="49" y="146"/>
                  </a:lnTo>
                  <a:lnTo>
                    <a:pt x="49" y="155"/>
                  </a:lnTo>
                  <a:lnTo>
                    <a:pt x="43" y="158"/>
                  </a:lnTo>
                  <a:lnTo>
                    <a:pt x="46" y="158"/>
                  </a:lnTo>
                  <a:lnTo>
                    <a:pt x="49" y="158"/>
                  </a:lnTo>
                  <a:lnTo>
                    <a:pt x="55" y="167"/>
                  </a:lnTo>
                  <a:lnTo>
                    <a:pt x="60" y="169"/>
                  </a:lnTo>
                  <a:lnTo>
                    <a:pt x="63" y="169"/>
                  </a:lnTo>
                  <a:lnTo>
                    <a:pt x="63" y="161"/>
                  </a:lnTo>
                  <a:lnTo>
                    <a:pt x="69" y="152"/>
                  </a:lnTo>
                  <a:lnTo>
                    <a:pt x="75" y="155"/>
                  </a:lnTo>
                  <a:lnTo>
                    <a:pt x="78" y="158"/>
                  </a:lnTo>
                  <a:lnTo>
                    <a:pt x="78" y="161"/>
                  </a:lnTo>
                  <a:lnTo>
                    <a:pt x="80" y="158"/>
                  </a:lnTo>
                  <a:lnTo>
                    <a:pt x="80" y="152"/>
                  </a:lnTo>
                  <a:lnTo>
                    <a:pt x="83" y="149"/>
                  </a:lnTo>
                  <a:lnTo>
                    <a:pt x="83" y="146"/>
                  </a:lnTo>
                  <a:lnTo>
                    <a:pt x="78" y="144"/>
                  </a:lnTo>
                  <a:lnTo>
                    <a:pt x="78" y="141"/>
                  </a:lnTo>
                  <a:lnTo>
                    <a:pt x="72" y="138"/>
                  </a:lnTo>
                  <a:lnTo>
                    <a:pt x="66" y="138"/>
                  </a:lnTo>
                  <a:lnTo>
                    <a:pt x="63" y="141"/>
                  </a:lnTo>
                  <a:lnTo>
                    <a:pt x="66" y="144"/>
                  </a:lnTo>
                  <a:lnTo>
                    <a:pt x="63" y="144"/>
                  </a:lnTo>
                  <a:lnTo>
                    <a:pt x="60" y="146"/>
                  </a:lnTo>
                  <a:lnTo>
                    <a:pt x="57" y="146"/>
                  </a:lnTo>
                  <a:lnTo>
                    <a:pt x="52" y="141"/>
                  </a:lnTo>
                  <a:lnTo>
                    <a:pt x="63" y="135"/>
                  </a:lnTo>
                  <a:lnTo>
                    <a:pt x="72" y="129"/>
                  </a:lnTo>
                  <a:lnTo>
                    <a:pt x="75" y="132"/>
                  </a:lnTo>
                  <a:lnTo>
                    <a:pt x="80" y="132"/>
                  </a:lnTo>
                  <a:lnTo>
                    <a:pt x="86" y="132"/>
                  </a:lnTo>
                  <a:lnTo>
                    <a:pt x="89" y="132"/>
                  </a:lnTo>
                  <a:lnTo>
                    <a:pt x="89" y="135"/>
                  </a:lnTo>
                  <a:lnTo>
                    <a:pt x="89" y="141"/>
                  </a:lnTo>
                  <a:lnTo>
                    <a:pt x="89" y="149"/>
                  </a:lnTo>
                  <a:lnTo>
                    <a:pt x="92" y="152"/>
                  </a:lnTo>
                  <a:lnTo>
                    <a:pt x="95" y="152"/>
                  </a:lnTo>
                  <a:lnTo>
                    <a:pt x="101" y="158"/>
                  </a:lnTo>
                  <a:lnTo>
                    <a:pt x="103" y="158"/>
                  </a:lnTo>
                  <a:lnTo>
                    <a:pt x="103" y="155"/>
                  </a:lnTo>
                  <a:lnTo>
                    <a:pt x="106" y="152"/>
                  </a:lnTo>
                  <a:lnTo>
                    <a:pt x="109" y="146"/>
                  </a:lnTo>
                  <a:lnTo>
                    <a:pt x="115" y="141"/>
                  </a:lnTo>
                  <a:lnTo>
                    <a:pt x="115" y="138"/>
                  </a:lnTo>
                  <a:lnTo>
                    <a:pt x="112" y="135"/>
                  </a:lnTo>
                  <a:lnTo>
                    <a:pt x="109" y="135"/>
                  </a:lnTo>
                  <a:lnTo>
                    <a:pt x="106" y="129"/>
                  </a:lnTo>
                  <a:lnTo>
                    <a:pt x="106" y="126"/>
                  </a:lnTo>
                  <a:lnTo>
                    <a:pt x="106" y="123"/>
                  </a:lnTo>
                  <a:lnTo>
                    <a:pt x="109" y="129"/>
                  </a:lnTo>
                  <a:lnTo>
                    <a:pt x="115" y="129"/>
                  </a:lnTo>
                  <a:lnTo>
                    <a:pt x="118" y="132"/>
                  </a:lnTo>
                  <a:lnTo>
                    <a:pt x="123" y="135"/>
                  </a:lnTo>
                  <a:lnTo>
                    <a:pt x="132" y="135"/>
                  </a:lnTo>
                  <a:lnTo>
                    <a:pt x="135" y="132"/>
                  </a:lnTo>
                  <a:lnTo>
                    <a:pt x="132" y="129"/>
                  </a:lnTo>
                  <a:lnTo>
                    <a:pt x="135" y="126"/>
                  </a:lnTo>
                  <a:lnTo>
                    <a:pt x="138" y="123"/>
                  </a:lnTo>
                  <a:lnTo>
                    <a:pt x="141" y="121"/>
                  </a:lnTo>
                  <a:lnTo>
                    <a:pt x="141" y="123"/>
                  </a:lnTo>
                  <a:lnTo>
                    <a:pt x="141" y="126"/>
                  </a:lnTo>
                  <a:lnTo>
                    <a:pt x="141" y="129"/>
                  </a:lnTo>
                  <a:lnTo>
                    <a:pt x="144" y="132"/>
                  </a:lnTo>
                  <a:lnTo>
                    <a:pt x="146" y="132"/>
                  </a:lnTo>
                  <a:lnTo>
                    <a:pt x="146" y="123"/>
                  </a:lnTo>
                  <a:lnTo>
                    <a:pt x="146" y="121"/>
                  </a:lnTo>
                  <a:lnTo>
                    <a:pt x="152" y="118"/>
                  </a:lnTo>
                  <a:lnTo>
                    <a:pt x="152" y="115"/>
                  </a:lnTo>
                  <a:lnTo>
                    <a:pt x="155" y="112"/>
                  </a:lnTo>
                  <a:lnTo>
                    <a:pt x="155" y="115"/>
                  </a:lnTo>
                  <a:lnTo>
                    <a:pt x="155" y="118"/>
                  </a:lnTo>
                  <a:lnTo>
                    <a:pt x="158" y="123"/>
                  </a:lnTo>
                  <a:lnTo>
                    <a:pt x="158" y="129"/>
                  </a:lnTo>
                  <a:lnTo>
                    <a:pt x="161" y="132"/>
                  </a:lnTo>
                  <a:lnTo>
                    <a:pt x="164" y="126"/>
                  </a:lnTo>
                  <a:lnTo>
                    <a:pt x="164" y="121"/>
                  </a:lnTo>
                  <a:lnTo>
                    <a:pt x="164" y="115"/>
                  </a:lnTo>
                  <a:lnTo>
                    <a:pt x="167" y="112"/>
                  </a:lnTo>
                  <a:lnTo>
                    <a:pt x="164" y="109"/>
                  </a:lnTo>
                  <a:lnTo>
                    <a:pt x="161" y="103"/>
                  </a:lnTo>
                  <a:lnTo>
                    <a:pt x="158" y="92"/>
                  </a:lnTo>
                  <a:lnTo>
                    <a:pt x="158" y="83"/>
                  </a:lnTo>
                  <a:lnTo>
                    <a:pt x="152" y="72"/>
                  </a:lnTo>
                  <a:lnTo>
                    <a:pt x="149" y="66"/>
                  </a:lnTo>
                  <a:lnTo>
                    <a:pt x="146" y="63"/>
                  </a:lnTo>
                  <a:lnTo>
                    <a:pt x="146" y="60"/>
                  </a:lnTo>
                  <a:lnTo>
                    <a:pt x="152" y="60"/>
                  </a:lnTo>
                  <a:lnTo>
                    <a:pt x="152" y="63"/>
                  </a:lnTo>
                  <a:lnTo>
                    <a:pt x="152" y="57"/>
                  </a:lnTo>
                  <a:lnTo>
                    <a:pt x="149" y="55"/>
                  </a:lnTo>
                  <a:lnTo>
                    <a:pt x="152" y="49"/>
                  </a:lnTo>
                  <a:lnTo>
                    <a:pt x="152" y="40"/>
                  </a:lnTo>
                  <a:lnTo>
                    <a:pt x="149" y="34"/>
                  </a:lnTo>
                  <a:lnTo>
                    <a:pt x="144" y="29"/>
                  </a:lnTo>
                  <a:lnTo>
                    <a:pt x="132" y="17"/>
                  </a:lnTo>
                  <a:lnTo>
                    <a:pt x="126" y="9"/>
                  </a:lnTo>
                  <a:lnTo>
                    <a:pt x="121" y="3"/>
                  </a:lnTo>
                  <a:lnTo>
                    <a:pt x="115" y="0"/>
                  </a:lnTo>
                  <a:lnTo>
                    <a:pt x="112" y="0"/>
                  </a:lnTo>
                  <a:lnTo>
                    <a:pt x="109" y="6"/>
                  </a:lnTo>
                  <a:lnTo>
                    <a:pt x="103" y="6"/>
                  </a:lnTo>
                  <a:lnTo>
                    <a:pt x="109" y="11"/>
                  </a:lnTo>
                  <a:lnTo>
                    <a:pt x="109" y="14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9" y="26"/>
                  </a:lnTo>
                  <a:lnTo>
                    <a:pt x="106" y="29"/>
                  </a:lnTo>
                  <a:lnTo>
                    <a:pt x="106" y="32"/>
                  </a:lnTo>
                  <a:lnTo>
                    <a:pt x="112" y="32"/>
                  </a:lnTo>
                  <a:lnTo>
                    <a:pt x="115" y="32"/>
                  </a:lnTo>
                  <a:lnTo>
                    <a:pt x="118" y="34"/>
                  </a:lnTo>
                  <a:lnTo>
                    <a:pt x="121" y="43"/>
                  </a:lnTo>
                  <a:lnTo>
                    <a:pt x="121" y="52"/>
                  </a:lnTo>
                  <a:lnTo>
                    <a:pt x="123" y="63"/>
                  </a:lnTo>
                  <a:lnTo>
                    <a:pt x="123" y="66"/>
                  </a:lnTo>
                  <a:lnTo>
                    <a:pt x="121" y="66"/>
                  </a:lnTo>
                  <a:lnTo>
                    <a:pt x="118" y="69"/>
                  </a:lnTo>
                  <a:lnTo>
                    <a:pt x="118" y="75"/>
                  </a:lnTo>
                  <a:lnTo>
                    <a:pt x="118" y="80"/>
                  </a:lnTo>
                  <a:lnTo>
                    <a:pt x="112" y="83"/>
                  </a:lnTo>
                  <a:lnTo>
                    <a:pt x="106" y="86"/>
                  </a:lnTo>
                  <a:lnTo>
                    <a:pt x="103" y="89"/>
                  </a:lnTo>
                  <a:lnTo>
                    <a:pt x="103" y="92"/>
                  </a:lnTo>
                  <a:lnTo>
                    <a:pt x="101" y="95"/>
                  </a:lnTo>
                  <a:lnTo>
                    <a:pt x="101" y="92"/>
                  </a:lnTo>
                  <a:lnTo>
                    <a:pt x="95" y="89"/>
                  </a:lnTo>
                  <a:lnTo>
                    <a:pt x="95" y="86"/>
                  </a:lnTo>
                  <a:lnTo>
                    <a:pt x="98" y="80"/>
                  </a:lnTo>
                  <a:lnTo>
                    <a:pt x="98" y="75"/>
                  </a:lnTo>
                  <a:lnTo>
                    <a:pt x="95" y="75"/>
                  </a:lnTo>
                  <a:lnTo>
                    <a:pt x="89" y="78"/>
                  </a:lnTo>
                  <a:lnTo>
                    <a:pt x="86" y="80"/>
                  </a:lnTo>
                  <a:lnTo>
                    <a:pt x="92" y="86"/>
                  </a:lnTo>
                  <a:lnTo>
                    <a:pt x="92" y="89"/>
                  </a:lnTo>
                  <a:lnTo>
                    <a:pt x="92" y="92"/>
                  </a:lnTo>
                  <a:lnTo>
                    <a:pt x="86" y="98"/>
                  </a:lnTo>
                  <a:lnTo>
                    <a:pt x="86" y="100"/>
                  </a:lnTo>
                  <a:lnTo>
                    <a:pt x="86" y="106"/>
                  </a:lnTo>
                  <a:lnTo>
                    <a:pt x="92" y="112"/>
                  </a:lnTo>
                  <a:lnTo>
                    <a:pt x="92" y="115"/>
                  </a:lnTo>
                  <a:lnTo>
                    <a:pt x="89" y="115"/>
                  </a:lnTo>
                  <a:lnTo>
                    <a:pt x="80" y="115"/>
                  </a:lnTo>
                  <a:lnTo>
                    <a:pt x="78" y="115"/>
                  </a:lnTo>
                  <a:lnTo>
                    <a:pt x="78" y="112"/>
                  </a:lnTo>
                  <a:lnTo>
                    <a:pt x="78" y="109"/>
                  </a:lnTo>
                  <a:lnTo>
                    <a:pt x="63" y="115"/>
                  </a:lnTo>
                  <a:lnTo>
                    <a:pt x="52" y="118"/>
                  </a:lnTo>
                  <a:lnTo>
                    <a:pt x="46" y="115"/>
                  </a:lnTo>
                  <a:lnTo>
                    <a:pt x="40" y="115"/>
                  </a:lnTo>
                  <a:lnTo>
                    <a:pt x="37" y="121"/>
                  </a:lnTo>
                  <a:lnTo>
                    <a:pt x="34" y="123"/>
                  </a:lnTo>
                  <a:lnTo>
                    <a:pt x="26" y="132"/>
                  </a:lnTo>
                  <a:lnTo>
                    <a:pt x="23" y="138"/>
                  </a:lnTo>
                  <a:lnTo>
                    <a:pt x="20" y="138"/>
                  </a:lnTo>
                  <a:lnTo>
                    <a:pt x="17" y="141"/>
                  </a:lnTo>
                  <a:lnTo>
                    <a:pt x="20" y="146"/>
                  </a:lnTo>
                  <a:lnTo>
                    <a:pt x="17" y="149"/>
                  </a:lnTo>
                  <a:lnTo>
                    <a:pt x="14" y="152"/>
                  </a:lnTo>
                  <a:lnTo>
                    <a:pt x="9" y="155"/>
                  </a:lnTo>
                  <a:lnTo>
                    <a:pt x="0" y="161"/>
                  </a:lnTo>
                  <a:lnTo>
                    <a:pt x="6" y="16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2" name="Freeform 72"/>
            <p:cNvSpPr>
              <a:spLocks/>
            </p:cNvSpPr>
            <p:nvPr/>
          </p:nvSpPr>
          <p:spPr bwMode="auto">
            <a:xfrm>
              <a:off x="7518400" y="2825750"/>
              <a:ext cx="106363" cy="134938"/>
            </a:xfrm>
            <a:custGeom>
              <a:avLst/>
              <a:gdLst>
                <a:gd name="T0" fmla="*/ 2147483647 w 66"/>
                <a:gd name="T1" fmla="*/ 2147483647 h 84"/>
                <a:gd name="T2" fmla="*/ 2147483647 w 66"/>
                <a:gd name="T3" fmla="*/ 2147483647 h 84"/>
                <a:gd name="T4" fmla="*/ 2147483647 w 66"/>
                <a:gd name="T5" fmla="*/ 2147483647 h 84"/>
                <a:gd name="T6" fmla="*/ 2147483647 w 66"/>
                <a:gd name="T7" fmla="*/ 2147483647 h 84"/>
                <a:gd name="T8" fmla="*/ 2147483647 w 66"/>
                <a:gd name="T9" fmla="*/ 2147483647 h 84"/>
                <a:gd name="T10" fmla="*/ 2147483647 w 66"/>
                <a:gd name="T11" fmla="*/ 2147483647 h 84"/>
                <a:gd name="T12" fmla="*/ 2147483647 w 66"/>
                <a:gd name="T13" fmla="*/ 2147483647 h 84"/>
                <a:gd name="T14" fmla="*/ 2147483647 w 66"/>
                <a:gd name="T15" fmla="*/ 2147483647 h 84"/>
                <a:gd name="T16" fmla="*/ 2147483647 w 66"/>
                <a:gd name="T17" fmla="*/ 2147483647 h 84"/>
                <a:gd name="T18" fmla="*/ 0 w 66"/>
                <a:gd name="T19" fmla="*/ 2147483647 h 84"/>
                <a:gd name="T20" fmla="*/ 2147483647 w 66"/>
                <a:gd name="T21" fmla="*/ 2147483647 h 84"/>
                <a:gd name="T22" fmla="*/ 2147483647 w 66"/>
                <a:gd name="T23" fmla="*/ 2147483647 h 84"/>
                <a:gd name="T24" fmla="*/ 0 w 66"/>
                <a:gd name="T25" fmla="*/ 2147483647 h 84"/>
                <a:gd name="T26" fmla="*/ 0 w 66"/>
                <a:gd name="T27" fmla="*/ 2147483647 h 84"/>
                <a:gd name="T28" fmla="*/ 0 w 66"/>
                <a:gd name="T29" fmla="*/ 2147483647 h 84"/>
                <a:gd name="T30" fmla="*/ 2147483647 w 66"/>
                <a:gd name="T31" fmla="*/ 2147483647 h 84"/>
                <a:gd name="T32" fmla="*/ 2147483647 w 66"/>
                <a:gd name="T33" fmla="*/ 2147483647 h 84"/>
                <a:gd name="T34" fmla="*/ 2147483647 w 66"/>
                <a:gd name="T35" fmla="*/ 2147483647 h 84"/>
                <a:gd name="T36" fmla="*/ 2147483647 w 66"/>
                <a:gd name="T37" fmla="*/ 2147483647 h 84"/>
                <a:gd name="T38" fmla="*/ 2147483647 w 66"/>
                <a:gd name="T39" fmla="*/ 2147483647 h 84"/>
                <a:gd name="T40" fmla="*/ 2147483647 w 66"/>
                <a:gd name="T41" fmla="*/ 2147483647 h 84"/>
                <a:gd name="T42" fmla="*/ 2147483647 w 66"/>
                <a:gd name="T43" fmla="*/ 2147483647 h 84"/>
                <a:gd name="T44" fmla="*/ 2147483647 w 66"/>
                <a:gd name="T45" fmla="*/ 2147483647 h 84"/>
                <a:gd name="T46" fmla="*/ 2147483647 w 66"/>
                <a:gd name="T47" fmla="*/ 2147483647 h 84"/>
                <a:gd name="T48" fmla="*/ 2147483647 w 66"/>
                <a:gd name="T49" fmla="*/ 2147483647 h 84"/>
                <a:gd name="T50" fmla="*/ 2147483647 w 66"/>
                <a:gd name="T51" fmla="*/ 2147483647 h 84"/>
                <a:gd name="T52" fmla="*/ 2147483647 w 66"/>
                <a:gd name="T53" fmla="*/ 2147483647 h 84"/>
                <a:gd name="T54" fmla="*/ 2147483647 w 66"/>
                <a:gd name="T55" fmla="*/ 2147483647 h 84"/>
                <a:gd name="T56" fmla="*/ 2147483647 w 66"/>
                <a:gd name="T57" fmla="*/ 2147483647 h 84"/>
                <a:gd name="T58" fmla="*/ 2147483647 w 66"/>
                <a:gd name="T59" fmla="*/ 2147483647 h 84"/>
                <a:gd name="T60" fmla="*/ 2147483647 w 66"/>
                <a:gd name="T61" fmla="*/ 2147483647 h 84"/>
                <a:gd name="T62" fmla="*/ 2147483647 w 66"/>
                <a:gd name="T63" fmla="*/ 2147483647 h 84"/>
                <a:gd name="T64" fmla="*/ 2147483647 w 66"/>
                <a:gd name="T65" fmla="*/ 2147483647 h 8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66"/>
                <a:gd name="T100" fmla="*/ 0 h 84"/>
                <a:gd name="T101" fmla="*/ 66 w 66"/>
                <a:gd name="T102" fmla="*/ 84 h 8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66" h="84">
                  <a:moveTo>
                    <a:pt x="63" y="49"/>
                  </a:moveTo>
                  <a:lnTo>
                    <a:pt x="63" y="49"/>
                  </a:lnTo>
                  <a:lnTo>
                    <a:pt x="60" y="46"/>
                  </a:lnTo>
                  <a:lnTo>
                    <a:pt x="57" y="43"/>
                  </a:lnTo>
                  <a:lnTo>
                    <a:pt x="54" y="35"/>
                  </a:lnTo>
                  <a:lnTo>
                    <a:pt x="51" y="26"/>
                  </a:lnTo>
                  <a:lnTo>
                    <a:pt x="43" y="18"/>
                  </a:lnTo>
                  <a:lnTo>
                    <a:pt x="37" y="12"/>
                  </a:lnTo>
                  <a:lnTo>
                    <a:pt x="28" y="6"/>
                  </a:lnTo>
                  <a:lnTo>
                    <a:pt x="26" y="0"/>
                  </a:lnTo>
                  <a:lnTo>
                    <a:pt x="23" y="6"/>
                  </a:lnTo>
                  <a:lnTo>
                    <a:pt x="14" y="3"/>
                  </a:lnTo>
                  <a:lnTo>
                    <a:pt x="5" y="6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5" y="18"/>
                  </a:lnTo>
                  <a:lnTo>
                    <a:pt x="8" y="26"/>
                  </a:lnTo>
                  <a:lnTo>
                    <a:pt x="11" y="29"/>
                  </a:lnTo>
                  <a:lnTo>
                    <a:pt x="5" y="32"/>
                  </a:lnTo>
                  <a:lnTo>
                    <a:pt x="0" y="32"/>
                  </a:lnTo>
                  <a:lnTo>
                    <a:pt x="0" y="35"/>
                  </a:lnTo>
                  <a:lnTo>
                    <a:pt x="8" y="38"/>
                  </a:lnTo>
                  <a:lnTo>
                    <a:pt x="8" y="41"/>
                  </a:lnTo>
                  <a:lnTo>
                    <a:pt x="11" y="46"/>
                  </a:lnTo>
                  <a:lnTo>
                    <a:pt x="17" y="49"/>
                  </a:lnTo>
                  <a:lnTo>
                    <a:pt x="17" y="55"/>
                  </a:lnTo>
                  <a:lnTo>
                    <a:pt x="20" y="61"/>
                  </a:lnTo>
                  <a:lnTo>
                    <a:pt x="17" y="66"/>
                  </a:lnTo>
                  <a:lnTo>
                    <a:pt x="23" y="72"/>
                  </a:lnTo>
                  <a:lnTo>
                    <a:pt x="20" y="81"/>
                  </a:lnTo>
                  <a:lnTo>
                    <a:pt x="23" y="81"/>
                  </a:lnTo>
                  <a:lnTo>
                    <a:pt x="26" y="81"/>
                  </a:lnTo>
                  <a:lnTo>
                    <a:pt x="28" y="84"/>
                  </a:lnTo>
                  <a:lnTo>
                    <a:pt x="28" y="78"/>
                  </a:lnTo>
                  <a:lnTo>
                    <a:pt x="34" y="78"/>
                  </a:lnTo>
                  <a:lnTo>
                    <a:pt x="37" y="78"/>
                  </a:lnTo>
                  <a:lnTo>
                    <a:pt x="40" y="75"/>
                  </a:lnTo>
                  <a:lnTo>
                    <a:pt x="43" y="72"/>
                  </a:lnTo>
                  <a:lnTo>
                    <a:pt x="48" y="75"/>
                  </a:lnTo>
                  <a:lnTo>
                    <a:pt x="48" y="69"/>
                  </a:lnTo>
                  <a:lnTo>
                    <a:pt x="51" y="72"/>
                  </a:lnTo>
                  <a:lnTo>
                    <a:pt x="57" y="75"/>
                  </a:lnTo>
                  <a:lnTo>
                    <a:pt x="60" y="69"/>
                  </a:lnTo>
                  <a:lnTo>
                    <a:pt x="60" y="66"/>
                  </a:lnTo>
                  <a:lnTo>
                    <a:pt x="63" y="66"/>
                  </a:lnTo>
                  <a:lnTo>
                    <a:pt x="66" y="66"/>
                  </a:lnTo>
                  <a:lnTo>
                    <a:pt x="66" y="55"/>
                  </a:lnTo>
                  <a:lnTo>
                    <a:pt x="66" y="52"/>
                  </a:lnTo>
                  <a:lnTo>
                    <a:pt x="63" y="4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3" name="Freeform 73"/>
            <p:cNvSpPr>
              <a:spLocks/>
            </p:cNvSpPr>
            <p:nvPr/>
          </p:nvSpPr>
          <p:spPr bwMode="auto">
            <a:xfrm>
              <a:off x="7646988" y="2968625"/>
              <a:ext cx="4762" cy="9525"/>
            </a:xfrm>
            <a:custGeom>
              <a:avLst/>
              <a:gdLst>
                <a:gd name="T0" fmla="*/ 2147483647 w 3"/>
                <a:gd name="T1" fmla="*/ 0 h 6"/>
                <a:gd name="T2" fmla="*/ 0 w 3"/>
                <a:gd name="T3" fmla="*/ 2147483647 h 6"/>
                <a:gd name="T4" fmla="*/ 2147483647 w 3"/>
                <a:gd name="T5" fmla="*/ 2147483647 h 6"/>
                <a:gd name="T6" fmla="*/ 2147483647 w 3"/>
                <a:gd name="T7" fmla="*/ 2147483647 h 6"/>
                <a:gd name="T8" fmla="*/ 2147483647 w 3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3" y="0"/>
                  </a:moveTo>
                  <a:lnTo>
                    <a:pt x="0" y="6"/>
                  </a:lnTo>
                  <a:lnTo>
                    <a:pt x="3" y="6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4" name="Freeform 74"/>
            <p:cNvSpPr>
              <a:spLocks/>
            </p:cNvSpPr>
            <p:nvPr/>
          </p:nvSpPr>
          <p:spPr bwMode="auto">
            <a:xfrm>
              <a:off x="7346950" y="2476500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0 w 1"/>
                <a:gd name="T5" fmla="*/ 0 h 1"/>
                <a:gd name="T6" fmla="*/ 0 w 1"/>
                <a:gd name="T7" fmla="*/ 0 h 1"/>
                <a:gd name="T8" fmla="*/ 0 w 1"/>
                <a:gd name="T9" fmla="*/ 0 h 1"/>
                <a:gd name="T10" fmla="*/ 0 w 1"/>
                <a:gd name="T11" fmla="*/ 0 h 1"/>
                <a:gd name="T12" fmla="*/ 0 w 1"/>
                <a:gd name="T13" fmla="*/ 0 h 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"/>
                <a:gd name="T22" fmla="*/ 0 h 1"/>
                <a:gd name="T23" fmla="*/ 1 w 1"/>
                <a:gd name="T24" fmla="*/ 1 h 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" h="1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5" name="Rectangle 75"/>
            <p:cNvSpPr>
              <a:spLocks noChangeArrowheads="1"/>
            </p:cNvSpPr>
            <p:nvPr/>
          </p:nvSpPr>
          <p:spPr bwMode="auto">
            <a:xfrm>
              <a:off x="7642225" y="2994025"/>
              <a:ext cx="4763" cy="9525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6" name="Freeform 76"/>
            <p:cNvSpPr>
              <a:spLocks/>
            </p:cNvSpPr>
            <p:nvPr/>
          </p:nvSpPr>
          <p:spPr bwMode="auto">
            <a:xfrm>
              <a:off x="6403975" y="2413000"/>
              <a:ext cx="800100" cy="317500"/>
            </a:xfrm>
            <a:custGeom>
              <a:avLst/>
              <a:gdLst>
                <a:gd name="T0" fmla="*/ 2147483647 w 499"/>
                <a:gd name="T1" fmla="*/ 2147483647 h 198"/>
                <a:gd name="T2" fmla="*/ 2147483647 w 499"/>
                <a:gd name="T3" fmla="*/ 2147483647 h 198"/>
                <a:gd name="T4" fmla="*/ 0 w 499"/>
                <a:gd name="T5" fmla="*/ 2147483647 h 198"/>
                <a:gd name="T6" fmla="*/ 2147483647 w 499"/>
                <a:gd name="T7" fmla="*/ 2147483647 h 198"/>
                <a:gd name="T8" fmla="*/ 2147483647 w 499"/>
                <a:gd name="T9" fmla="*/ 2147483647 h 198"/>
                <a:gd name="T10" fmla="*/ 2147483647 w 499"/>
                <a:gd name="T11" fmla="*/ 2147483647 h 198"/>
                <a:gd name="T12" fmla="*/ 2147483647 w 499"/>
                <a:gd name="T13" fmla="*/ 2147483647 h 198"/>
                <a:gd name="T14" fmla="*/ 2147483647 w 499"/>
                <a:gd name="T15" fmla="*/ 2147483647 h 198"/>
                <a:gd name="T16" fmla="*/ 2147483647 w 499"/>
                <a:gd name="T17" fmla="*/ 2147483647 h 198"/>
                <a:gd name="T18" fmla="*/ 2147483647 w 499"/>
                <a:gd name="T19" fmla="*/ 2147483647 h 198"/>
                <a:gd name="T20" fmla="*/ 2147483647 w 499"/>
                <a:gd name="T21" fmla="*/ 2147483647 h 198"/>
                <a:gd name="T22" fmla="*/ 2147483647 w 499"/>
                <a:gd name="T23" fmla="*/ 2147483647 h 198"/>
                <a:gd name="T24" fmla="*/ 2147483647 w 499"/>
                <a:gd name="T25" fmla="*/ 2147483647 h 198"/>
                <a:gd name="T26" fmla="*/ 2147483647 w 499"/>
                <a:gd name="T27" fmla="*/ 2147483647 h 198"/>
                <a:gd name="T28" fmla="*/ 2147483647 w 499"/>
                <a:gd name="T29" fmla="*/ 2147483647 h 198"/>
                <a:gd name="T30" fmla="*/ 2147483647 w 499"/>
                <a:gd name="T31" fmla="*/ 2147483647 h 198"/>
                <a:gd name="T32" fmla="*/ 2147483647 w 499"/>
                <a:gd name="T33" fmla="*/ 2147483647 h 198"/>
                <a:gd name="T34" fmla="*/ 2147483647 w 499"/>
                <a:gd name="T35" fmla="*/ 2147483647 h 198"/>
                <a:gd name="T36" fmla="*/ 2147483647 w 499"/>
                <a:gd name="T37" fmla="*/ 2147483647 h 198"/>
                <a:gd name="T38" fmla="*/ 2147483647 w 499"/>
                <a:gd name="T39" fmla="*/ 2147483647 h 198"/>
                <a:gd name="T40" fmla="*/ 2147483647 w 499"/>
                <a:gd name="T41" fmla="*/ 2147483647 h 198"/>
                <a:gd name="T42" fmla="*/ 2147483647 w 499"/>
                <a:gd name="T43" fmla="*/ 2147483647 h 198"/>
                <a:gd name="T44" fmla="*/ 2147483647 w 499"/>
                <a:gd name="T45" fmla="*/ 2147483647 h 198"/>
                <a:gd name="T46" fmla="*/ 2147483647 w 499"/>
                <a:gd name="T47" fmla="*/ 2147483647 h 198"/>
                <a:gd name="T48" fmla="*/ 2147483647 w 499"/>
                <a:gd name="T49" fmla="*/ 2147483647 h 198"/>
                <a:gd name="T50" fmla="*/ 2147483647 w 499"/>
                <a:gd name="T51" fmla="*/ 2147483647 h 198"/>
                <a:gd name="T52" fmla="*/ 2147483647 w 499"/>
                <a:gd name="T53" fmla="*/ 2147483647 h 198"/>
                <a:gd name="T54" fmla="*/ 2147483647 w 499"/>
                <a:gd name="T55" fmla="*/ 2147483647 h 198"/>
                <a:gd name="T56" fmla="*/ 2147483647 w 499"/>
                <a:gd name="T57" fmla="*/ 2147483647 h 198"/>
                <a:gd name="T58" fmla="*/ 2147483647 w 499"/>
                <a:gd name="T59" fmla="*/ 2147483647 h 198"/>
                <a:gd name="T60" fmla="*/ 2147483647 w 499"/>
                <a:gd name="T61" fmla="*/ 2147483647 h 198"/>
                <a:gd name="T62" fmla="*/ 2147483647 w 499"/>
                <a:gd name="T63" fmla="*/ 2147483647 h 198"/>
                <a:gd name="T64" fmla="*/ 2147483647 w 499"/>
                <a:gd name="T65" fmla="*/ 2147483647 h 198"/>
                <a:gd name="T66" fmla="*/ 2147483647 w 499"/>
                <a:gd name="T67" fmla="*/ 2147483647 h 198"/>
                <a:gd name="T68" fmla="*/ 2147483647 w 499"/>
                <a:gd name="T69" fmla="*/ 2147483647 h 198"/>
                <a:gd name="T70" fmla="*/ 2147483647 w 499"/>
                <a:gd name="T71" fmla="*/ 2147483647 h 198"/>
                <a:gd name="T72" fmla="*/ 2147483647 w 499"/>
                <a:gd name="T73" fmla="*/ 2147483647 h 198"/>
                <a:gd name="T74" fmla="*/ 2147483647 w 499"/>
                <a:gd name="T75" fmla="*/ 2147483647 h 198"/>
                <a:gd name="T76" fmla="*/ 2147483647 w 499"/>
                <a:gd name="T77" fmla="*/ 2147483647 h 198"/>
                <a:gd name="T78" fmla="*/ 2147483647 w 499"/>
                <a:gd name="T79" fmla="*/ 2147483647 h 198"/>
                <a:gd name="T80" fmla="*/ 2147483647 w 499"/>
                <a:gd name="T81" fmla="*/ 2147483647 h 198"/>
                <a:gd name="T82" fmla="*/ 2147483647 w 499"/>
                <a:gd name="T83" fmla="*/ 2147483647 h 198"/>
                <a:gd name="T84" fmla="*/ 2147483647 w 499"/>
                <a:gd name="T85" fmla="*/ 2147483647 h 198"/>
                <a:gd name="T86" fmla="*/ 2147483647 w 499"/>
                <a:gd name="T87" fmla="*/ 2147483647 h 198"/>
                <a:gd name="T88" fmla="*/ 2147483647 w 499"/>
                <a:gd name="T89" fmla="*/ 0 h 198"/>
                <a:gd name="T90" fmla="*/ 2147483647 w 499"/>
                <a:gd name="T91" fmla="*/ 2147483647 h 198"/>
                <a:gd name="T92" fmla="*/ 2147483647 w 499"/>
                <a:gd name="T93" fmla="*/ 2147483647 h 198"/>
                <a:gd name="T94" fmla="*/ 2147483647 w 499"/>
                <a:gd name="T95" fmla="*/ 2147483647 h 198"/>
                <a:gd name="T96" fmla="*/ 2147483647 w 499"/>
                <a:gd name="T97" fmla="*/ 2147483647 h 198"/>
                <a:gd name="T98" fmla="*/ 2147483647 w 499"/>
                <a:gd name="T99" fmla="*/ 2147483647 h 198"/>
                <a:gd name="T100" fmla="*/ 2147483647 w 499"/>
                <a:gd name="T101" fmla="*/ 2147483647 h 198"/>
                <a:gd name="T102" fmla="*/ 2147483647 w 499"/>
                <a:gd name="T103" fmla="*/ 2147483647 h 198"/>
                <a:gd name="T104" fmla="*/ 2147483647 w 499"/>
                <a:gd name="T105" fmla="*/ 2147483647 h 198"/>
                <a:gd name="T106" fmla="*/ 2147483647 w 499"/>
                <a:gd name="T107" fmla="*/ 2147483647 h 19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499"/>
                <a:gd name="T163" fmla="*/ 0 h 198"/>
                <a:gd name="T164" fmla="*/ 499 w 499"/>
                <a:gd name="T165" fmla="*/ 198 h 19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499" h="198">
                  <a:moveTo>
                    <a:pt x="40" y="32"/>
                  </a:moveTo>
                  <a:lnTo>
                    <a:pt x="40" y="32"/>
                  </a:lnTo>
                  <a:lnTo>
                    <a:pt x="34" y="34"/>
                  </a:lnTo>
                  <a:lnTo>
                    <a:pt x="32" y="34"/>
                  </a:lnTo>
                  <a:lnTo>
                    <a:pt x="29" y="37"/>
                  </a:lnTo>
                  <a:lnTo>
                    <a:pt x="26" y="34"/>
                  </a:lnTo>
                  <a:lnTo>
                    <a:pt x="23" y="37"/>
                  </a:lnTo>
                  <a:lnTo>
                    <a:pt x="20" y="40"/>
                  </a:lnTo>
                  <a:lnTo>
                    <a:pt x="17" y="43"/>
                  </a:lnTo>
                  <a:lnTo>
                    <a:pt x="11" y="49"/>
                  </a:lnTo>
                  <a:lnTo>
                    <a:pt x="3" y="49"/>
                  </a:lnTo>
                  <a:lnTo>
                    <a:pt x="0" y="49"/>
                  </a:lnTo>
                  <a:lnTo>
                    <a:pt x="0" y="55"/>
                  </a:lnTo>
                  <a:lnTo>
                    <a:pt x="0" y="60"/>
                  </a:lnTo>
                  <a:lnTo>
                    <a:pt x="6" y="63"/>
                  </a:lnTo>
                  <a:lnTo>
                    <a:pt x="9" y="66"/>
                  </a:lnTo>
                  <a:lnTo>
                    <a:pt x="11" y="69"/>
                  </a:lnTo>
                  <a:lnTo>
                    <a:pt x="20" y="72"/>
                  </a:lnTo>
                  <a:lnTo>
                    <a:pt x="32" y="75"/>
                  </a:lnTo>
                  <a:lnTo>
                    <a:pt x="34" y="78"/>
                  </a:lnTo>
                  <a:lnTo>
                    <a:pt x="40" y="80"/>
                  </a:lnTo>
                  <a:lnTo>
                    <a:pt x="46" y="83"/>
                  </a:lnTo>
                  <a:lnTo>
                    <a:pt x="52" y="86"/>
                  </a:lnTo>
                  <a:lnTo>
                    <a:pt x="57" y="95"/>
                  </a:lnTo>
                  <a:lnTo>
                    <a:pt x="63" y="98"/>
                  </a:lnTo>
                  <a:lnTo>
                    <a:pt x="66" y="103"/>
                  </a:lnTo>
                  <a:lnTo>
                    <a:pt x="69" y="112"/>
                  </a:lnTo>
                  <a:lnTo>
                    <a:pt x="69" y="115"/>
                  </a:lnTo>
                  <a:lnTo>
                    <a:pt x="72" y="115"/>
                  </a:lnTo>
                  <a:lnTo>
                    <a:pt x="69" y="118"/>
                  </a:lnTo>
                  <a:lnTo>
                    <a:pt x="69" y="121"/>
                  </a:lnTo>
                  <a:lnTo>
                    <a:pt x="69" y="123"/>
                  </a:lnTo>
                  <a:lnTo>
                    <a:pt x="75" y="129"/>
                  </a:lnTo>
                  <a:lnTo>
                    <a:pt x="83" y="129"/>
                  </a:lnTo>
                  <a:lnTo>
                    <a:pt x="98" y="132"/>
                  </a:lnTo>
                  <a:lnTo>
                    <a:pt x="109" y="135"/>
                  </a:lnTo>
                  <a:lnTo>
                    <a:pt x="112" y="135"/>
                  </a:lnTo>
                  <a:lnTo>
                    <a:pt x="121" y="135"/>
                  </a:lnTo>
                  <a:lnTo>
                    <a:pt x="129" y="138"/>
                  </a:lnTo>
                  <a:lnTo>
                    <a:pt x="141" y="144"/>
                  </a:lnTo>
                  <a:lnTo>
                    <a:pt x="144" y="146"/>
                  </a:lnTo>
                  <a:lnTo>
                    <a:pt x="149" y="146"/>
                  </a:lnTo>
                  <a:lnTo>
                    <a:pt x="149" y="144"/>
                  </a:lnTo>
                  <a:lnTo>
                    <a:pt x="149" y="146"/>
                  </a:lnTo>
                  <a:lnTo>
                    <a:pt x="152" y="152"/>
                  </a:lnTo>
                  <a:lnTo>
                    <a:pt x="155" y="155"/>
                  </a:lnTo>
                  <a:lnTo>
                    <a:pt x="161" y="161"/>
                  </a:lnTo>
                  <a:lnTo>
                    <a:pt x="166" y="167"/>
                  </a:lnTo>
                  <a:lnTo>
                    <a:pt x="175" y="172"/>
                  </a:lnTo>
                  <a:lnTo>
                    <a:pt x="184" y="175"/>
                  </a:lnTo>
                  <a:lnTo>
                    <a:pt x="192" y="175"/>
                  </a:lnTo>
                  <a:lnTo>
                    <a:pt x="218" y="178"/>
                  </a:lnTo>
                  <a:lnTo>
                    <a:pt x="227" y="178"/>
                  </a:lnTo>
                  <a:lnTo>
                    <a:pt x="233" y="178"/>
                  </a:lnTo>
                  <a:lnTo>
                    <a:pt x="241" y="178"/>
                  </a:lnTo>
                  <a:lnTo>
                    <a:pt x="250" y="178"/>
                  </a:lnTo>
                  <a:lnTo>
                    <a:pt x="253" y="178"/>
                  </a:lnTo>
                  <a:lnTo>
                    <a:pt x="261" y="178"/>
                  </a:lnTo>
                  <a:lnTo>
                    <a:pt x="264" y="178"/>
                  </a:lnTo>
                  <a:lnTo>
                    <a:pt x="267" y="181"/>
                  </a:lnTo>
                  <a:lnTo>
                    <a:pt x="270" y="187"/>
                  </a:lnTo>
                  <a:lnTo>
                    <a:pt x="278" y="190"/>
                  </a:lnTo>
                  <a:lnTo>
                    <a:pt x="301" y="192"/>
                  </a:lnTo>
                  <a:lnTo>
                    <a:pt x="310" y="192"/>
                  </a:lnTo>
                  <a:lnTo>
                    <a:pt x="313" y="192"/>
                  </a:lnTo>
                  <a:lnTo>
                    <a:pt x="319" y="198"/>
                  </a:lnTo>
                  <a:lnTo>
                    <a:pt x="327" y="195"/>
                  </a:lnTo>
                  <a:lnTo>
                    <a:pt x="333" y="190"/>
                  </a:lnTo>
                  <a:lnTo>
                    <a:pt x="344" y="184"/>
                  </a:lnTo>
                  <a:lnTo>
                    <a:pt x="359" y="181"/>
                  </a:lnTo>
                  <a:lnTo>
                    <a:pt x="379" y="181"/>
                  </a:lnTo>
                  <a:lnTo>
                    <a:pt x="388" y="175"/>
                  </a:lnTo>
                  <a:lnTo>
                    <a:pt x="393" y="172"/>
                  </a:lnTo>
                  <a:lnTo>
                    <a:pt x="399" y="164"/>
                  </a:lnTo>
                  <a:lnTo>
                    <a:pt x="408" y="155"/>
                  </a:lnTo>
                  <a:lnTo>
                    <a:pt x="393" y="146"/>
                  </a:lnTo>
                  <a:lnTo>
                    <a:pt x="393" y="138"/>
                  </a:lnTo>
                  <a:lnTo>
                    <a:pt x="393" y="135"/>
                  </a:lnTo>
                  <a:lnTo>
                    <a:pt x="396" y="129"/>
                  </a:lnTo>
                  <a:lnTo>
                    <a:pt x="402" y="129"/>
                  </a:lnTo>
                  <a:lnTo>
                    <a:pt x="410" y="132"/>
                  </a:lnTo>
                  <a:lnTo>
                    <a:pt x="425" y="138"/>
                  </a:lnTo>
                  <a:lnTo>
                    <a:pt x="425" y="135"/>
                  </a:lnTo>
                  <a:lnTo>
                    <a:pt x="433" y="126"/>
                  </a:lnTo>
                  <a:lnTo>
                    <a:pt x="436" y="126"/>
                  </a:lnTo>
                  <a:lnTo>
                    <a:pt x="439" y="126"/>
                  </a:lnTo>
                  <a:lnTo>
                    <a:pt x="445" y="126"/>
                  </a:lnTo>
                  <a:lnTo>
                    <a:pt x="454" y="118"/>
                  </a:lnTo>
                  <a:lnTo>
                    <a:pt x="454" y="112"/>
                  </a:lnTo>
                  <a:lnTo>
                    <a:pt x="454" y="109"/>
                  </a:lnTo>
                  <a:lnTo>
                    <a:pt x="465" y="106"/>
                  </a:lnTo>
                  <a:lnTo>
                    <a:pt x="471" y="98"/>
                  </a:lnTo>
                  <a:lnTo>
                    <a:pt x="471" y="101"/>
                  </a:lnTo>
                  <a:lnTo>
                    <a:pt x="474" y="101"/>
                  </a:lnTo>
                  <a:lnTo>
                    <a:pt x="485" y="98"/>
                  </a:lnTo>
                  <a:lnTo>
                    <a:pt x="488" y="101"/>
                  </a:lnTo>
                  <a:lnTo>
                    <a:pt x="494" y="101"/>
                  </a:lnTo>
                  <a:lnTo>
                    <a:pt x="497" y="101"/>
                  </a:lnTo>
                  <a:lnTo>
                    <a:pt x="499" y="101"/>
                  </a:lnTo>
                  <a:lnTo>
                    <a:pt x="491" y="92"/>
                  </a:lnTo>
                  <a:lnTo>
                    <a:pt x="477" y="83"/>
                  </a:lnTo>
                  <a:lnTo>
                    <a:pt x="471" y="78"/>
                  </a:lnTo>
                  <a:lnTo>
                    <a:pt x="465" y="78"/>
                  </a:lnTo>
                  <a:lnTo>
                    <a:pt x="456" y="80"/>
                  </a:lnTo>
                  <a:lnTo>
                    <a:pt x="454" y="83"/>
                  </a:lnTo>
                  <a:lnTo>
                    <a:pt x="451" y="80"/>
                  </a:lnTo>
                  <a:lnTo>
                    <a:pt x="445" y="80"/>
                  </a:lnTo>
                  <a:lnTo>
                    <a:pt x="442" y="80"/>
                  </a:lnTo>
                  <a:lnTo>
                    <a:pt x="431" y="83"/>
                  </a:lnTo>
                  <a:lnTo>
                    <a:pt x="419" y="75"/>
                  </a:lnTo>
                  <a:lnTo>
                    <a:pt x="419" y="72"/>
                  </a:lnTo>
                  <a:lnTo>
                    <a:pt x="422" y="69"/>
                  </a:lnTo>
                  <a:lnTo>
                    <a:pt x="419" y="66"/>
                  </a:lnTo>
                  <a:lnTo>
                    <a:pt x="419" y="43"/>
                  </a:lnTo>
                  <a:lnTo>
                    <a:pt x="410" y="37"/>
                  </a:lnTo>
                  <a:lnTo>
                    <a:pt x="408" y="40"/>
                  </a:lnTo>
                  <a:lnTo>
                    <a:pt x="402" y="43"/>
                  </a:lnTo>
                  <a:lnTo>
                    <a:pt x="393" y="37"/>
                  </a:lnTo>
                  <a:lnTo>
                    <a:pt x="390" y="37"/>
                  </a:lnTo>
                  <a:lnTo>
                    <a:pt x="388" y="34"/>
                  </a:lnTo>
                  <a:lnTo>
                    <a:pt x="376" y="37"/>
                  </a:lnTo>
                  <a:lnTo>
                    <a:pt x="370" y="43"/>
                  </a:lnTo>
                  <a:lnTo>
                    <a:pt x="370" y="46"/>
                  </a:lnTo>
                  <a:lnTo>
                    <a:pt x="362" y="52"/>
                  </a:lnTo>
                  <a:lnTo>
                    <a:pt x="344" y="55"/>
                  </a:lnTo>
                  <a:lnTo>
                    <a:pt x="339" y="57"/>
                  </a:lnTo>
                  <a:lnTo>
                    <a:pt x="333" y="57"/>
                  </a:lnTo>
                  <a:lnTo>
                    <a:pt x="321" y="55"/>
                  </a:lnTo>
                  <a:lnTo>
                    <a:pt x="307" y="52"/>
                  </a:lnTo>
                  <a:lnTo>
                    <a:pt x="304" y="52"/>
                  </a:lnTo>
                  <a:lnTo>
                    <a:pt x="290" y="40"/>
                  </a:lnTo>
                  <a:lnTo>
                    <a:pt x="287" y="40"/>
                  </a:lnTo>
                  <a:lnTo>
                    <a:pt x="281" y="40"/>
                  </a:lnTo>
                  <a:lnTo>
                    <a:pt x="276" y="37"/>
                  </a:lnTo>
                  <a:lnTo>
                    <a:pt x="270" y="34"/>
                  </a:lnTo>
                  <a:lnTo>
                    <a:pt x="267" y="34"/>
                  </a:lnTo>
                  <a:lnTo>
                    <a:pt x="258" y="32"/>
                  </a:lnTo>
                  <a:lnTo>
                    <a:pt x="247" y="32"/>
                  </a:lnTo>
                  <a:lnTo>
                    <a:pt x="244" y="32"/>
                  </a:lnTo>
                  <a:lnTo>
                    <a:pt x="233" y="34"/>
                  </a:lnTo>
                  <a:lnTo>
                    <a:pt x="230" y="37"/>
                  </a:lnTo>
                  <a:lnTo>
                    <a:pt x="221" y="34"/>
                  </a:lnTo>
                  <a:lnTo>
                    <a:pt x="210" y="32"/>
                  </a:lnTo>
                  <a:lnTo>
                    <a:pt x="204" y="26"/>
                  </a:lnTo>
                  <a:lnTo>
                    <a:pt x="192" y="20"/>
                  </a:lnTo>
                  <a:lnTo>
                    <a:pt x="189" y="14"/>
                  </a:lnTo>
                  <a:lnTo>
                    <a:pt x="181" y="14"/>
                  </a:lnTo>
                  <a:lnTo>
                    <a:pt x="158" y="9"/>
                  </a:lnTo>
                  <a:lnTo>
                    <a:pt x="146" y="6"/>
                  </a:lnTo>
                  <a:lnTo>
                    <a:pt x="135" y="0"/>
                  </a:lnTo>
                  <a:lnTo>
                    <a:pt x="132" y="6"/>
                  </a:lnTo>
                  <a:lnTo>
                    <a:pt x="132" y="9"/>
                  </a:lnTo>
                  <a:lnTo>
                    <a:pt x="129" y="12"/>
                  </a:lnTo>
                  <a:lnTo>
                    <a:pt x="129" y="14"/>
                  </a:lnTo>
                  <a:lnTo>
                    <a:pt x="135" y="23"/>
                  </a:lnTo>
                  <a:lnTo>
                    <a:pt x="138" y="26"/>
                  </a:lnTo>
                  <a:lnTo>
                    <a:pt x="144" y="29"/>
                  </a:lnTo>
                  <a:lnTo>
                    <a:pt x="146" y="37"/>
                  </a:lnTo>
                  <a:lnTo>
                    <a:pt x="144" y="37"/>
                  </a:lnTo>
                  <a:lnTo>
                    <a:pt x="144" y="40"/>
                  </a:lnTo>
                  <a:lnTo>
                    <a:pt x="141" y="43"/>
                  </a:lnTo>
                  <a:lnTo>
                    <a:pt x="132" y="46"/>
                  </a:lnTo>
                  <a:lnTo>
                    <a:pt x="123" y="40"/>
                  </a:lnTo>
                  <a:lnTo>
                    <a:pt x="109" y="40"/>
                  </a:lnTo>
                  <a:lnTo>
                    <a:pt x="106" y="40"/>
                  </a:lnTo>
                  <a:lnTo>
                    <a:pt x="103" y="40"/>
                  </a:lnTo>
                  <a:lnTo>
                    <a:pt x="95" y="40"/>
                  </a:lnTo>
                  <a:lnTo>
                    <a:pt x="86" y="37"/>
                  </a:lnTo>
                  <a:lnTo>
                    <a:pt x="83" y="32"/>
                  </a:lnTo>
                  <a:lnTo>
                    <a:pt x="78" y="29"/>
                  </a:lnTo>
                  <a:lnTo>
                    <a:pt x="63" y="26"/>
                  </a:lnTo>
                  <a:lnTo>
                    <a:pt x="57" y="23"/>
                  </a:lnTo>
                  <a:lnTo>
                    <a:pt x="55" y="26"/>
                  </a:lnTo>
                  <a:lnTo>
                    <a:pt x="49" y="26"/>
                  </a:lnTo>
                  <a:lnTo>
                    <a:pt x="46" y="26"/>
                  </a:lnTo>
                  <a:lnTo>
                    <a:pt x="43" y="26"/>
                  </a:lnTo>
                  <a:lnTo>
                    <a:pt x="43" y="29"/>
                  </a:lnTo>
                  <a:lnTo>
                    <a:pt x="40" y="3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7" name="Freeform 77"/>
            <p:cNvSpPr>
              <a:spLocks/>
            </p:cNvSpPr>
            <p:nvPr/>
          </p:nvSpPr>
          <p:spPr bwMode="auto">
            <a:xfrm>
              <a:off x="5664200" y="2609850"/>
              <a:ext cx="354013" cy="258763"/>
            </a:xfrm>
            <a:custGeom>
              <a:avLst/>
              <a:gdLst>
                <a:gd name="T0" fmla="*/ 2147483647 w 221"/>
                <a:gd name="T1" fmla="*/ 2147483647 h 161"/>
                <a:gd name="T2" fmla="*/ 2147483647 w 221"/>
                <a:gd name="T3" fmla="*/ 2147483647 h 161"/>
                <a:gd name="T4" fmla="*/ 2147483647 w 221"/>
                <a:gd name="T5" fmla="*/ 2147483647 h 161"/>
                <a:gd name="T6" fmla="*/ 2147483647 w 221"/>
                <a:gd name="T7" fmla="*/ 2147483647 h 161"/>
                <a:gd name="T8" fmla="*/ 2147483647 w 221"/>
                <a:gd name="T9" fmla="*/ 2147483647 h 161"/>
                <a:gd name="T10" fmla="*/ 2147483647 w 221"/>
                <a:gd name="T11" fmla="*/ 2147483647 h 161"/>
                <a:gd name="T12" fmla="*/ 2147483647 w 221"/>
                <a:gd name="T13" fmla="*/ 2147483647 h 161"/>
                <a:gd name="T14" fmla="*/ 2147483647 w 221"/>
                <a:gd name="T15" fmla="*/ 2147483647 h 161"/>
                <a:gd name="T16" fmla="*/ 2147483647 w 221"/>
                <a:gd name="T17" fmla="*/ 2147483647 h 161"/>
                <a:gd name="T18" fmla="*/ 2147483647 w 221"/>
                <a:gd name="T19" fmla="*/ 2147483647 h 161"/>
                <a:gd name="T20" fmla="*/ 2147483647 w 221"/>
                <a:gd name="T21" fmla="*/ 2147483647 h 161"/>
                <a:gd name="T22" fmla="*/ 2147483647 w 221"/>
                <a:gd name="T23" fmla="*/ 2147483647 h 161"/>
                <a:gd name="T24" fmla="*/ 2147483647 w 221"/>
                <a:gd name="T25" fmla="*/ 2147483647 h 161"/>
                <a:gd name="T26" fmla="*/ 2147483647 w 221"/>
                <a:gd name="T27" fmla="*/ 2147483647 h 161"/>
                <a:gd name="T28" fmla="*/ 2147483647 w 221"/>
                <a:gd name="T29" fmla="*/ 2147483647 h 161"/>
                <a:gd name="T30" fmla="*/ 2147483647 w 221"/>
                <a:gd name="T31" fmla="*/ 2147483647 h 161"/>
                <a:gd name="T32" fmla="*/ 2147483647 w 221"/>
                <a:gd name="T33" fmla="*/ 2147483647 h 161"/>
                <a:gd name="T34" fmla="*/ 2147483647 w 221"/>
                <a:gd name="T35" fmla="*/ 2147483647 h 161"/>
                <a:gd name="T36" fmla="*/ 2147483647 w 221"/>
                <a:gd name="T37" fmla="*/ 2147483647 h 161"/>
                <a:gd name="T38" fmla="*/ 2147483647 w 221"/>
                <a:gd name="T39" fmla="*/ 2147483647 h 161"/>
                <a:gd name="T40" fmla="*/ 2147483647 w 221"/>
                <a:gd name="T41" fmla="*/ 2147483647 h 161"/>
                <a:gd name="T42" fmla="*/ 2147483647 w 221"/>
                <a:gd name="T43" fmla="*/ 2147483647 h 161"/>
                <a:gd name="T44" fmla="*/ 2147483647 w 221"/>
                <a:gd name="T45" fmla="*/ 2147483647 h 161"/>
                <a:gd name="T46" fmla="*/ 2147483647 w 221"/>
                <a:gd name="T47" fmla="*/ 2147483647 h 161"/>
                <a:gd name="T48" fmla="*/ 2147483647 w 221"/>
                <a:gd name="T49" fmla="*/ 0 h 161"/>
                <a:gd name="T50" fmla="*/ 2147483647 w 221"/>
                <a:gd name="T51" fmla="*/ 2147483647 h 161"/>
                <a:gd name="T52" fmla="*/ 2147483647 w 221"/>
                <a:gd name="T53" fmla="*/ 2147483647 h 161"/>
                <a:gd name="T54" fmla="*/ 2147483647 w 221"/>
                <a:gd name="T55" fmla="*/ 2147483647 h 161"/>
                <a:gd name="T56" fmla="*/ 2147483647 w 221"/>
                <a:gd name="T57" fmla="*/ 2147483647 h 161"/>
                <a:gd name="T58" fmla="*/ 2147483647 w 221"/>
                <a:gd name="T59" fmla="*/ 2147483647 h 161"/>
                <a:gd name="T60" fmla="*/ 2147483647 w 221"/>
                <a:gd name="T61" fmla="*/ 2147483647 h 161"/>
                <a:gd name="T62" fmla="*/ 2147483647 w 221"/>
                <a:gd name="T63" fmla="*/ 2147483647 h 161"/>
                <a:gd name="T64" fmla="*/ 2147483647 w 221"/>
                <a:gd name="T65" fmla="*/ 2147483647 h 161"/>
                <a:gd name="T66" fmla="*/ 2147483647 w 221"/>
                <a:gd name="T67" fmla="*/ 2147483647 h 161"/>
                <a:gd name="T68" fmla="*/ 2147483647 w 221"/>
                <a:gd name="T69" fmla="*/ 2147483647 h 161"/>
                <a:gd name="T70" fmla="*/ 2147483647 w 221"/>
                <a:gd name="T71" fmla="*/ 2147483647 h 161"/>
                <a:gd name="T72" fmla="*/ 2147483647 w 221"/>
                <a:gd name="T73" fmla="*/ 2147483647 h 161"/>
                <a:gd name="T74" fmla="*/ 2147483647 w 221"/>
                <a:gd name="T75" fmla="*/ 2147483647 h 161"/>
                <a:gd name="T76" fmla="*/ 2147483647 w 221"/>
                <a:gd name="T77" fmla="*/ 2147483647 h 161"/>
                <a:gd name="T78" fmla="*/ 2147483647 w 221"/>
                <a:gd name="T79" fmla="*/ 2147483647 h 161"/>
                <a:gd name="T80" fmla="*/ 2147483647 w 221"/>
                <a:gd name="T81" fmla="*/ 2147483647 h 161"/>
                <a:gd name="T82" fmla="*/ 2147483647 w 221"/>
                <a:gd name="T83" fmla="*/ 2147483647 h 161"/>
                <a:gd name="T84" fmla="*/ 2147483647 w 221"/>
                <a:gd name="T85" fmla="*/ 2147483647 h 161"/>
                <a:gd name="T86" fmla="*/ 2147483647 w 221"/>
                <a:gd name="T87" fmla="*/ 2147483647 h 161"/>
                <a:gd name="T88" fmla="*/ 2147483647 w 221"/>
                <a:gd name="T89" fmla="*/ 2147483647 h 161"/>
                <a:gd name="T90" fmla="*/ 2147483647 w 221"/>
                <a:gd name="T91" fmla="*/ 2147483647 h 161"/>
                <a:gd name="T92" fmla="*/ 2147483647 w 221"/>
                <a:gd name="T93" fmla="*/ 2147483647 h 161"/>
                <a:gd name="T94" fmla="*/ 2147483647 w 221"/>
                <a:gd name="T95" fmla="*/ 2147483647 h 161"/>
                <a:gd name="T96" fmla="*/ 2147483647 w 221"/>
                <a:gd name="T97" fmla="*/ 2147483647 h 161"/>
                <a:gd name="T98" fmla="*/ 2147483647 w 221"/>
                <a:gd name="T99" fmla="*/ 2147483647 h 161"/>
                <a:gd name="T100" fmla="*/ 2147483647 w 221"/>
                <a:gd name="T101" fmla="*/ 2147483647 h 16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21"/>
                <a:gd name="T154" fmla="*/ 0 h 161"/>
                <a:gd name="T155" fmla="*/ 221 w 221"/>
                <a:gd name="T156" fmla="*/ 161 h 16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21" h="161">
                  <a:moveTo>
                    <a:pt x="207" y="112"/>
                  </a:moveTo>
                  <a:lnTo>
                    <a:pt x="207" y="112"/>
                  </a:lnTo>
                  <a:lnTo>
                    <a:pt x="218" y="112"/>
                  </a:lnTo>
                  <a:lnTo>
                    <a:pt x="218" y="110"/>
                  </a:lnTo>
                  <a:lnTo>
                    <a:pt x="221" y="107"/>
                  </a:lnTo>
                  <a:lnTo>
                    <a:pt x="218" y="107"/>
                  </a:lnTo>
                  <a:lnTo>
                    <a:pt x="212" y="104"/>
                  </a:lnTo>
                  <a:lnTo>
                    <a:pt x="215" y="104"/>
                  </a:lnTo>
                  <a:lnTo>
                    <a:pt x="209" y="104"/>
                  </a:lnTo>
                  <a:lnTo>
                    <a:pt x="212" y="98"/>
                  </a:lnTo>
                  <a:lnTo>
                    <a:pt x="204" y="95"/>
                  </a:lnTo>
                  <a:lnTo>
                    <a:pt x="204" y="89"/>
                  </a:lnTo>
                  <a:lnTo>
                    <a:pt x="204" y="84"/>
                  </a:lnTo>
                  <a:lnTo>
                    <a:pt x="192" y="84"/>
                  </a:lnTo>
                  <a:lnTo>
                    <a:pt x="186" y="84"/>
                  </a:lnTo>
                  <a:lnTo>
                    <a:pt x="181" y="84"/>
                  </a:lnTo>
                  <a:lnTo>
                    <a:pt x="178" y="81"/>
                  </a:lnTo>
                  <a:lnTo>
                    <a:pt x="175" y="75"/>
                  </a:lnTo>
                  <a:lnTo>
                    <a:pt x="175" y="69"/>
                  </a:lnTo>
                  <a:lnTo>
                    <a:pt x="172" y="69"/>
                  </a:lnTo>
                  <a:lnTo>
                    <a:pt x="169" y="69"/>
                  </a:lnTo>
                  <a:lnTo>
                    <a:pt x="166" y="67"/>
                  </a:lnTo>
                  <a:lnTo>
                    <a:pt x="166" y="64"/>
                  </a:lnTo>
                  <a:lnTo>
                    <a:pt x="166" y="61"/>
                  </a:lnTo>
                  <a:lnTo>
                    <a:pt x="163" y="49"/>
                  </a:lnTo>
                  <a:lnTo>
                    <a:pt x="158" y="52"/>
                  </a:lnTo>
                  <a:lnTo>
                    <a:pt x="158" y="49"/>
                  </a:lnTo>
                  <a:lnTo>
                    <a:pt x="155" y="46"/>
                  </a:lnTo>
                  <a:lnTo>
                    <a:pt x="149" y="44"/>
                  </a:lnTo>
                  <a:lnTo>
                    <a:pt x="143" y="38"/>
                  </a:lnTo>
                  <a:lnTo>
                    <a:pt x="135" y="41"/>
                  </a:lnTo>
                  <a:lnTo>
                    <a:pt x="115" y="38"/>
                  </a:lnTo>
                  <a:lnTo>
                    <a:pt x="97" y="44"/>
                  </a:lnTo>
                  <a:lnTo>
                    <a:pt x="77" y="23"/>
                  </a:lnTo>
                  <a:lnTo>
                    <a:pt x="69" y="18"/>
                  </a:lnTo>
                  <a:lnTo>
                    <a:pt x="69" y="23"/>
                  </a:lnTo>
                  <a:lnTo>
                    <a:pt x="66" y="26"/>
                  </a:lnTo>
                  <a:lnTo>
                    <a:pt x="63" y="26"/>
                  </a:lnTo>
                  <a:lnTo>
                    <a:pt x="49" y="26"/>
                  </a:lnTo>
                  <a:lnTo>
                    <a:pt x="46" y="21"/>
                  </a:lnTo>
                  <a:lnTo>
                    <a:pt x="49" y="18"/>
                  </a:lnTo>
                  <a:lnTo>
                    <a:pt x="49" y="12"/>
                  </a:lnTo>
                  <a:lnTo>
                    <a:pt x="49" y="9"/>
                  </a:lnTo>
                  <a:lnTo>
                    <a:pt x="40" y="3"/>
                  </a:lnTo>
                  <a:lnTo>
                    <a:pt x="40" y="6"/>
                  </a:lnTo>
                  <a:lnTo>
                    <a:pt x="40" y="9"/>
                  </a:lnTo>
                  <a:lnTo>
                    <a:pt x="40" y="18"/>
                  </a:lnTo>
                  <a:lnTo>
                    <a:pt x="43" y="23"/>
                  </a:lnTo>
                  <a:lnTo>
                    <a:pt x="40" y="26"/>
                  </a:lnTo>
                  <a:lnTo>
                    <a:pt x="34" y="21"/>
                  </a:lnTo>
                  <a:lnTo>
                    <a:pt x="34" y="6"/>
                  </a:lnTo>
                  <a:lnTo>
                    <a:pt x="34" y="0"/>
                  </a:lnTo>
                  <a:lnTo>
                    <a:pt x="0" y="12"/>
                  </a:lnTo>
                  <a:lnTo>
                    <a:pt x="14" y="81"/>
                  </a:lnTo>
                  <a:lnTo>
                    <a:pt x="29" y="81"/>
                  </a:lnTo>
                  <a:lnTo>
                    <a:pt x="26" y="75"/>
                  </a:lnTo>
                  <a:lnTo>
                    <a:pt x="29" y="67"/>
                  </a:lnTo>
                  <a:lnTo>
                    <a:pt x="31" y="64"/>
                  </a:lnTo>
                  <a:lnTo>
                    <a:pt x="34" y="64"/>
                  </a:lnTo>
                  <a:lnTo>
                    <a:pt x="37" y="64"/>
                  </a:lnTo>
                  <a:lnTo>
                    <a:pt x="37" y="58"/>
                  </a:lnTo>
                  <a:lnTo>
                    <a:pt x="40" y="58"/>
                  </a:lnTo>
                  <a:lnTo>
                    <a:pt x="43" y="58"/>
                  </a:lnTo>
                  <a:lnTo>
                    <a:pt x="40" y="55"/>
                  </a:lnTo>
                  <a:lnTo>
                    <a:pt x="46" y="52"/>
                  </a:lnTo>
                  <a:lnTo>
                    <a:pt x="63" y="61"/>
                  </a:lnTo>
                  <a:lnTo>
                    <a:pt x="74" y="67"/>
                  </a:lnTo>
                  <a:lnTo>
                    <a:pt x="77" y="72"/>
                  </a:lnTo>
                  <a:lnTo>
                    <a:pt x="77" y="81"/>
                  </a:lnTo>
                  <a:lnTo>
                    <a:pt x="95" y="84"/>
                  </a:lnTo>
                  <a:lnTo>
                    <a:pt x="100" y="81"/>
                  </a:lnTo>
                  <a:lnTo>
                    <a:pt x="106" y="81"/>
                  </a:lnTo>
                  <a:lnTo>
                    <a:pt x="106" y="84"/>
                  </a:lnTo>
                  <a:lnTo>
                    <a:pt x="112" y="89"/>
                  </a:lnTo>
                  <a:lnTo>
                    <a:pt x="118" y="98"/>
                  </a:lnTo>
                  <a:lnTo>
                    <a:pt x="120" y="107"/>
                  </a:lnTo>
                  <a:lnTo>
                    <a:pt x="123" y="110"/>
                  </a:lnTo>
                  <a:lnTo>
                    <a:pt x="129" y="112"/>
                  </a:lnTo>
                  <a:lnTo>
                    <a:pt x="138" y="115"/>
                  </a:lnTo>
                  <a:lnTo>
                    <a:pt x="146" y="121"/>
                  </a:lnTo>
                  <a:lnTo>
                    <a:pt x="152" y="127"/>
                  </a:lnTo>
                  <a:lnTo>
                    <a:pt x="166" y="133"/>
                  </a:lnTo>
                  <a:lnTo>
                    <a:pt x="184" y="141"/>
                  </a:lnTo>
                  <a:lnTo>
                    <a:pt x="192" y="141"/>
                  </a:lnTo>
                  <a:lnTo>
                    <a:pt x="195" y="144"/>
                  </a:lnTo>
                  <a:lnTo>
                    <a:pt x="198" y="144"/>
                  </a:lnTo>
                  <a:lnTo>
                    <a:pt x="198" y="158"/>
                  </a:lnTo>
                  <a:lnTo>
                    <a:pt x="204" y="158"/>
                  </a:lnTo>
                  <a:lnTo>
                    <a:pt x="215" y="161"/>
                  </a:lnTo>
                  <a:lnTo>
                    <a:pt x="215" y="153"/>
                  </a:lnTo>
                  <a:lnTo>
                    <a:pt x="221" y="144"/>
                  </a:lnTo>
                  <a:lnTo>
                    <a:pt x="215" y="135"/>
                  </a:lnTo>
                  <a:lnTo>
                    <a:pt x="215" y="130"/>
                  </a:lnTo>
                  <a:lnTo>
                    <a:pt x="207" y="127"/>
                  </a:lnTo>
                  <a:lnTo>
                    <a:pt x="204" y="124"/>
                  </a:lnTo>
                  <a:lnTo>
                    <a:pt x="201" y="118"/>
                  </a:lnTo>
                  <a:lnTo>
                    <a:pt x="204" y="115"/>
                  </a:lnTo>
                  <a:lnTo>
                    <a:pt x="207" y="11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8" name="Freeform 78"/>
            <p:cNvSpPr>
              <a:spLocks/>
            </p:cNvSpPr>
            <p:nvPr/>
          </p:nvSpPr>
          <p:spPr bwMode="auto">
            <a:xfrm>
              <a:off x="5727700" y="2609850"/>
              <a:ext cx="14288" cy="4763"/>
            </a:xfrm>
            <a:custGeom>
              <a:avLst/>
              <a:gdLst>
                <a:gd name="T0" fmla="*/ 0 w 9"/>
                <a:gd name="T1" fmla="*/ 0 h 3"/>
                <a:gd name="T2" fmla="*/ 0 w 9"/>
                <a:gd name="T3" fmla="*/ 0 h 3"/>
                <a:gd name="T4" fmla="*/ 2147483647 w 9"/>
                <a:gd name="T5" fmla="*/ 2147483647 h 3"/>
                <a:gd name="T6" fmla="*/ 2147483647 w 9"/>
                <a:gd name="T7" fmla="*/ 0 h 3"/>
                <a:gd name="T8" fmla="*/ 0 w 9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3"/>
                <a:gd name="T17" fmla="*/ 9 w 9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3">
                  <a:moveTo>
                    <a:pt x="0" y="0"/>
                  </a:moveTo>
                  <a:lnTo>
                    <a:pt x="0" y="0"/>
                  </a:lnTo>
                  <a:lnTo>
                    <a:pt x="9" y="3"/>
                  </a:lnTo>
                  <a:lnTo>
                    <a:pt x="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9" name="Freeform 79"/>
            <p:cNvSpPr>
              <a:spLocks/>
            </p:cNvSpPr>
            <p:nvPr/>
          </p:nvSpPr>
          <p:spPr bwMode="auto">
            <a:xfrm>
              <a:off x="5991225" y="2752725"/>
              <a:ext cx="206375" cy="125413"/>
            </a:xfrm>
            <a:custGeom>
              <a:avLst/>
              <a:gdLst>
                <a:gd name="T0" fmla="*/ 2147483647 w 129"/>
                <a:gd name="T1" fmla="*/ 2147483647 h 78"/>
                <a:gd name="T2" fmla="*/ 2147483647 w 129"/>
                <a:gd name="T3" fmla="*/ 2147483647 h 78"/>
                <a:gd name="T4" fmla="*/ 2147483647 w 129"/>
                <a:gd name="T5" fmla="*/ 2147483647 h 78"/>
                <a:gd name="T6" fmla="*/ 2147483647 w 129"/>
                <a:gd name="T7" fmla="*/ 2147483647 h 78"/>
                <a:gd name="T8" fmla="*/ 2147483647 w 129"/>
                <a:gd name="T9" fmla="*/ 2147483647 h 78"/>
                <a:gd name="T10" fmla="*/ 2147483647 w 129"/>
                <a:gd name="T11" fmla="*/ 2147483647 h 78"/>
                <a:gd name="T12" fmla="*/ 2147483647 w 129"/>
                <a:gd name="T13" fmla="*/ 2147483647 h 78"/>
                <a:gd name="T14" fmla="*/ 2147483647 w 129"/>
                <a:gd name="T15" fmla="*/ 2147483647 h 78"/>
                <a:gd name="T16" fmla="*/ 2147483647 w 129"/>
                <a:gd name="T17" fmla="*/ 2147483647 h 78"/>
                <a:gd name="T18" fmla="*/ 2147483647 w 129"/>
                <a:gd name="T19" fmla="*/ 2147483647 h 78"/>
                <a:gd name="T20" fmla="*/ 2147483647 w 129"/>
                <a:gd name="T21" fmla="*/ 2147483647 h 78"/>
                <a:gd name="T22" fmla="*/ 2147483647 w 129"/>
                <a:gd name="T23" fmla="*/ 2147483647 h 78"/>
                <a:gd name="T24" fmla="*/ 2147483647 w 129"/>
                <a:gd name="T25" fmla="*/ 2147483647 h 78"/>
                <a:gd name="T26" fmla="*/ 2147483647 w 129"/>
                <a:gd name="T27" fmla="*/ 2147483647 h 78"/>
                <a:gd name="T28" fmla="*/ 2147483647 w 129"/>
                <a:gd name="T29" fmla="*/ 2147483647 h 78"/>
                <a:gd name="T30" fmla="*/ 2147483647 w 129"/>
                <a:gd name="T31" fmla="*/ 2147483647 h 78"/>
                <a:gd name="T32" fmla="*/ 2147483647 w 129"/>
                <a:gd name="T33" fmla="*/ 2147483647 h 78"/>
                <a:gd name="T34" fmla="*/ 2147483647 w 129"/>
                <a:gd name="T35" fmla="*/ 2147483647 h 78"/>
                <a:gd name="T36" fmla="*/ 2147483647 w 129"/>
                <a:gd name="T37" fmla="*/ 2147483647 h 78"/>
                <a:gd name="T38" fmla="*/ 2147483647 w 129"/>
                <a:gd name="T39" fmla="*/ 2147483647 h 78"/>
                <a:gd name="T40" fmla="*/ 2147483647 w 129"/>
                <a:gd name="T41" fmla="*/ 2147483647 h 78"/>
                <a:gd name="T42" fmla="*/ 0 w 129"/>
                <a:gd name="T43" fmla="*/ 2147483647 h 78"/>
                <a:gd name="T44" fmla="*/ 0 w 129"/>
                <a:gd name="T45" fmla="*/ 2147483647 h 78"/>
                <a:gd name="T46" fmla="*/ 2147483647 w 129"/>
                <a:gd name="T47" fmla="*/ 2147483647 h 78"/>
                <a:gd name="T48" fmla="*/ 2147483647 w 129"/>
                <a:gd name="T49" fmla="*/ 2147483647 h 78"/>
                <a:gd name="T50" fmla="*/ 2147483647 w 129"/>
                <a:gd name="T51" fmla="*/ 2147483647 h 78"/>
                <a:gd name="T52" fmla="*/ 2147483647 w 129"/>
                <a:gd name="T53" fmla="*/ 2147483647 h 78"/>
                <a:gd name="T54" fmla="*/ 2147483647 w 129"/>
                <a:gd name="T55" fmla="*/ 2147483647 h 78"/>
                <a:gd name="T56" fmla="*/ 2147483647 w 129"/>
                <a:gd name="T57" fmla="*/ 2147483647 h 78"/>
                <a:gd name="T58" fmla="*/ 2147483647 w 129"/>
                <a:gd name="T59" fmla="*/ 2147483647 h 78"/>
                <a:gd name="T60" fmla="*/ 2147483647 w 129"/>
                <a:gd name="T61" fmla="*/ 2147483647 h 78"/>
                <a:gd name="T62" fmla="*/ 2147483647 w 129"/>
                <a:gd name="T63" fmla="*/ 2147483647 h 78"/>
                <a:gd name="T64" fmla="*/ 2147483647 w 129"/>
                <a:gd name="T65" fmla="*/ 2147483647 h 78"/>
                <a:gd name="T66" fmla="*/ 2147483647 w 129"/>
                <a:gd name="T67" fmla="*/ 2147483647 h 78"/>
                <a:gd name="T68" fmla="*/ 2147483647 w 129"/>
                <a:gd name="T69" fmla="*/ 2147483647 h 78"/>
                <a:gd name="T70" fmla="*/ 2147483647 w 129"/>
                <a:gd name="T71" fmla="*/ 2147483647 h 78"/>
                <a:gd name="T72" fmla="*/ 2147483647 w 129"/>
                <a:gd name="T73" fmla="*/ 2147483647 h 78"/>
                <a:gd name="T74" fmla="*/ 2147483647 w 129"/>
                <a:gd name="T75" fmla="*/ 2147483647 h 78"/>
                <a:gd name="T76" fmla="*/ 2147483647 w 129"/>
                <a:gd name="T77" fmla="*/ 2147483647 h 78"/>
                <a:gd name="T78" fmla="*/ 2147483647 w 129"/>
                <a:gd name="T79" fmla="*/ 2147483647 h 78"/>
                <a:gd name="T80" fmla="*/ 2147483647 w 129"/>
                <a:gd name="T81" fmla="*/ 2147483647 h 78"/>
                <a:gd name="T82" fmla="*/ 2147483647 w 129"/>
                <a:gd name="T83" fmla="*/ 2147483647 h 78"/>
                <a:gd name="T84" fmla="*/ 2147483647 w 129"/>
                <a:gd name="T85" fmla="*/ 2147483647 h 7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29"/>
                <a:gd name="T130" fmla="*/ 0 h 78"/>
                <a:gd name="T131" fmla="*/ 129 w 129"/>
                <a:gd name="T132" fmla="*/ 78 h 7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29" h="78">
                  <a:moveTo>
                    <a:pt x="123" y="69"/>
                  </a:moveTo>
                  <a:lnTo>
                    <a:pt x="129" y="69"/>
                  </a:lnTo>
                  <a:lnTo>
                    <a:pt x="123" y="64"/>
                  </a:lnTo>
                  <a:lnTo>
                    <a:pt x="117" y="55"/>
                  </a:lnTo>
                  <a:lnTo>
                    <a:pt x="117" y="49"/>
                  </a:lnTo>
                  <a:lnTo>
                    <a:pt x="109" y="44"/>
                  </a:lnTo>
                  <a:lnTo>
                    <a:pt x="106" y="49"/>
                  </a:lnTo>
                  <a:lnTo>
                    <a:pt x="97" y="44"/>
                  </a:lnTo>
                  <a:lnTo>
                    <a:pt x="100" y="38"/>
                  </a:lnTo>
                  <a:lnTo>
                    <a:pt x="97" y="32"/>
                  </a:lnTo>
                  <a:lnTo>
                    <a:pt x="92" y="32"/>
                  </a:lnTo>
                  <a:lnTo>
                    <a:pt x="80" y="32"/>
                  </a:lnTo>
                  <a:lnTo>
                    <a:pt x="74" y="35"/>
                  </a:lnTo>
                  <a:lnTo>
                    <a:pt x="66" y="32"/>
                  </a:lnTo>
                  <a:lnTo>
                    <a:pt x="60" y="26"/>
                  </a:lnTo>
                  <a:lnTo>
                    <a:pt x="60" y="29"/>
                  </a:lnTo>
                  <a:lnTo>
                    <a:pt x="54" y="32"/>
                  </a:lnTo>
                  <a:lnTo>
                    <a:pt x="51" y="32"/>
                  </a:lnTo>
                  <a:lnTo>
                    <a:pt x="51" y="29"/>
                  </a:lnTo>
                  <a:lnTo>
                    <a:pt x="46" y="29"/>
                  </a:lnTo>
                  <a:lnTo>
                    <a:pt x="43" y="29"/>
                  </a:lnTo>
                  <a:lnTo>
                    <a:pt x="34" y="29"/>
                  </a:lnTo>
                  <a:lnTo>
                    <a:pt x="31" y="29"/>
                  </a:lnTo>
                  <a:lnTo>
                    <a:pt x="25" y="23"/>
                  </a:lnTo>
                  <a:lnTo>
                    <a:pt x="23" y="21"/>
                  </a:lnTo>
                  <a:lnTo>
                    <a:pt x="28" y="15"/>
                  </a:lnTo>
                  <a:lnTo>
                    <a:pt x="37" y="12"/>
                  </a:lnTo>
                  <a:lnTo>
                    <a:pt x="43" y="18"/>
                  </a:lnTo>
                  <a:lnTo>
                    <a:pt x="46" y="18"/>
                  </a:lnTo>
                  <a:lnTo>
                    <a:pt x="37" y="12"/>
                  </a:lnTo>
                  <a:lnTo>
                    <a:pt x="43" y="3"/>
                  </a:lnTo>
                  <a:lnTo>
                    <a:pt x="40" y="0"/>
                  </a:lnTo>
                  <a:lnTo>
                    <a:pt x="31" y="6"/>
                  </a:lnTo>
                  <a:lnTo>
                    <a:pt x="23" y="3"/>
                  </a:lnTo>
                  <a:lnTo>
                    <a:pt x="25" y="12"/>
                  </a:lnTo>
                  <a:lnTo>
                    <a:pt x="20" y="15"/>
                  </a:lnTo>
                  <a:lnTo>
                    <a:pt x="20" y="18"/>
                  </a:lnTo>
                  <a:lnTo>
                    <a:pt x="17" y="21"/>
                  </a:lnTo>
                  <a:lnTo>
                    <a:pt x="17" y="23"/>
                  </a:lnTo>
                  <a:lnTo>
                    <a:pt x="17" y="26"/>
                  </a:lnTo>
                  <a:lnTo>
                    <a:pt x="17" y="29"/>
                  </a:lnTo>
                  <a:lnTo>
                    <a:pt x="3" y="26"/>
                  </a:lnTo>
                  <a:lnTo>
                    <a:pt x="0" y="29"/>
                  </a:lnTo>
                  <a:lnTo>
                    <a:pt x="0" y="32"/>
                  </a:lnTo>
                  <a:lnTo>
                    <a:pt x="3" y="35"/>
                  </a:lnTo>
                  <a:lnTo>
                    <a:pt x="14" y="38"/>
                  </a:lnTo>
                  <a:lnTo>
                    <a:pt x="14" y="46"/>
                  </a:lnTo>
                  <a:lnTo>
                    <a:pt x="23" y="52"/>
                  </a:lnTo>
                  <a:lnTo>
                    <a:pt x="23" y="55"/>
                  </a:lnTo>
                  <a:lnTo>
                    <a:pt x="14" y="64"/>
                  </a:lnTo>
                  <a:lnTo>
                    <a:pt x="14" y="72"/>
                  </a:lnTo>
                  <a:lnTo>
                    <a:pt x="20" y="78"/>
                  </a:lnTo>
                  <a:lnTo>
                    <a:pt x="28" y="69"/>
                  </a:lnTo>
                  <a:lnTo>
                    <a:pt x="34" y="72"/>
                  </a:lnTo>
                  <a:lnTo>
                    <a:pt x="37" y="72"/>
                  </a:lnTo>
                  <a:lnTo>
                    <a:pt x="34" y="67"/>
                  </a:lnTo>
                  <a:lnTo>
                    <a:pt x="37" y="67"/>
                  </a:lnTo>
                  <a:lnTo>
                    <a:pt x="43" y="64"/>
                  </a:lnTo>
                  <a:lnTo>
                    <a:pt x="46" y="64"/>
                  </a:lnTo>
                  <a:lnTo>
                    <a:pt x="48" y="67"/>
                  </a:lnTo>
                  <a:lnTo>
                    <a:pt x="46" y="58"/>
                  </a:lnTo>
                  <a:lnTo>
                    <a:pt x="54" y="46"/>
                  </a:lnTo>
                  <a:lnTo>
                    <a:pt x="60" y="46"/>
                  </a:lnTo>
                  <a:lnTo>
                    <a:pt x="63" y="46"/>
                  </a:lnTo>
                  <a:lnTo>
                    <a:pt x="66" y="52"/>
                  </a:lnTo>
                  <a:lnTo>
                    <a:pt x="69" y="58"/>
                  </a:lnTo>
                  <a:lnTo>
                    <a:pt x="71" y="55"/>
                  </a:lnTo>
                  <a:lnTo>
                    <a:pt x="71" y="58"/>
                  </a:lnTo>
                  <a:lnTo>
                    <a:pt x="77" y="75"/>
                  </a:lnTo>
                  <a:lnTo>
                    <a:pt x="80" y="78"/>
                  </a:lnTo>
                  <a:lnTo>
                    <a:pt x="86" y="72"/>
                  </a:lnTo>
                  <a:lnTo>
                    <a:pt x="92" y="75"/>
                  </a:lnTo>
                  <a:lnTo>
                    <a:pt x="97" y="67"/>
                  </a:lnTo>
                  <a:lnTo>
                    <a:pt x="109" y="67"/>
                  </a:lnTo>
                  <a:lnTo>
                    <a:pt x="112" y="69"/>
                  </a:lnTo>
                  <a:lnTo>
                    <a:pt x="117" y="67"/>
                  </a:lnTo>
                  <a:lnTo>
                    <a:pt x="120" y="67"/>
                  </a:lnTo>
                  <a:lnTo>
                    <a:pt x="123" y="6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80" name="Freeform 80"/>
            <p:cNvSpPr>
              <a:spLocks/>
            </p:cNvSpPr>
            <p:nvPr/>
          </p:nvSpPr>
          <p:spPr bwMode="auto">
            <a:xfrm>
              <a:off x="7808913" y="2836863"/>
              <a:ext cx="12700" cy="14287"/>
            </a:xfrm>
            <a:custGeom>
              <a:avLst/>
              <a:gdLst>
                <a:gd name="T0" fmla="*/ 2147483647 w 8"/>
                <a:gd name="T1" fmla="*/ 2147483647 h 9"/>
                <a:gd name="T2" fmla="*/ 2147483647 w 8"/>
                <a:gd name="T3" fmla="*/ 2147483647 h 9"/>
                <a:gd name="T4" fmla="*/ 2147483647 w 8"/>
                <a:gd name="T5" fmla="*/ 2147483647 h 9"/>
                <a:gd name="T6" fmla="*/ 2147483647 w 8"/>
                <a:gd name="T7" fmla="*/ 2147483647 h 9"/>
                <a:gd name="T8" fmla="*/ 2147483647 w 8"/>
                <a:gd name="T9" fmla="*/ 2147483647 h 9"/>
                <a:gd name="T10" fmla="*/ 2147483647 w 8"/>
                <a:gd name="T11" fmla="*/ 0 h 9"/>
                <a:gd name="T12" fmla="*/ 2147483647 w 8"/>
                <a:gd name="T13" fmla="*/ 0 h 9"/>
                <a:gd name="T14" fmla="*/ 0 w 8"/>
                <a:gd name="T15" fmla="*/ 2147483647 h 9"/>
                <a:gd name="T16" fmla="*/ 0 w 8"/>
                <a:gd name="T17" fmla="*/ 2147483647 h 9"/>
                <a:gd name="T18" fmla="*/ 2147483647 w 8"/>
                <a:gd name="T19" fmla="*/ 2147483647 h 9"/>
                <a:gd name="T20" fmla="*/ 2147483647 w 8"/>
                <a:gd name="T21" fmla="*/ 2147483647 h 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8"/>
                <a:gd name="T34" fmla="*/ 0 h 9"/>
                <a:gd name="T35" fmla="*/ 8 w 8"/>
                <a:gd name="T36" fmla="*/ 9 h 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8" h="9">
                  <a:moveTo>
                    <a:pt x="5" y="9"/>
                  </a:moveTo>
                  <a:lnTo>
                    <a:pt x="8" y="9"/>
                  </a:lnTo>
                  <a:lnTo>
                    <a:pt x="8" y="3"/>
                  </a:lnTo>
                  <a:lnTo>
                    <a:pt x="5" y="0"/>
                  </a:lnTo>
                  <a:lnTo>
                    <a:pt x="0" y="3"/>
                  </a:lnTo>
                  <a:lnTo>
                    <a:pt x="5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81" name="Freeform 81"/>
            <p:cNvSpPr>
              <a:spLocks/>
            </p:cNvSpPr>
            <p:nvPr/>
          </p:nvSpPr>
          <p:spPr bwMode="auto">
            <a:xfrm>
              <a:off x="7707313" y="2895600"/>
              <a:ext cx="9525" cy="9525"/>
            </a:xfrm>
            <a:custGeom>
              <a:avLst/>
              <a:gdLst>
                <a:gd name="T0" fmla="*/ 2147483647 w 6"/>
                <a:gd name="T1" fmla="*/ 0 h 6"/>
                <a:gd name="T2" fmla="*/ 2147483647 w 6"/>
                <a:gd name="T3" fmla="*/ 0 h 6"/>
                <a:gd name="T4" fmla="*/ 0 w 6"/>
                <a:gd name="T5" fmla="*/ 2147483647 h 6"/>
                <a:gd name="T6" fmla="*/ 0 w 6"/>
                <a:gd name="T7" fmla="*/ 2147483647 h 6"/>
                <a:gd name="T8" fmla="*/ 0 w 6"/>
                <a:gd name="T9" fmla="*/ 2147483647 h 6"/>
                <a:gd name="T10" fmla="*/ 2147483647 w 6"/>
                <a:gd name="T11" fmla="*/ 2147483647 h 6"/>
                <a:gd name="T12" fmla="*/ 2147483647 w 6"/>
                <a:gd name="T13" fmla="*/ 2147483647 h 6"/>
                <a:gd name="T14" fmla="*/ 2147483647 w 6"/>
                <a:gd name="T15" fmla="*/ 2147483647 h 6"/>
                <a:gd name="T16" fmla="*/ 2147483647 w 6"/>
                <a:gd name="T17" fmla="*/ 0 h 6"/>
                <a:gd name="T18" fmla="*/ 2147483647 w 6"/>
                <a:gd name="T19" fmla="*/ 0 h 6"/>
                <a:gd name="T20" fmla="*/ 2147483647 w 6"/>
                <a:gd name="T21" fmla="*/ 0 h 6"/>
                <a:gd name="T22" fmla="*/ 2147483647 w 6"/>
                <a:gd name="T23" fmla="*/ 0 h 6"/>
                <a:gd name="T24" fmla="*/ 2147483647 w 6"/>
                <a:gd name="T25" fmla="*/ 0 h 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"/>
                <a:gd name="T40" fmla="*/ 0 h 6"/>
                <a:gd name="T41" fmla="*/ 6 w 6"/>
                <a:gd name="T42" fmla="*/ 6 h 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3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82" name="Freeform 82"/>
            <p:cNvSpPr>
              <a:spLocks/>
            </p:cNvSpPr>
            <p:nvPr/>
          </p:nvSpPr>
          <p:spPr bwMode="auto">
            <a:xfrm>
              <a:off x="6008688" y="2713038"/>
              <a:ext cx="106362" cy="63500"/>
            </a:xfrm>
            <a:custGeom>
              <a:avLst/>
              <a:gdLst>
                <a:gd name="T0" fmla="*/ 2147483647 w 66"/>
                <a:gd name="T1" fmla="*/ 2147483647 h 40"/>
                <a:gd name="T2" fmla="*/ 2147483647 w 66"/>
                <a:gd name="T3" fmla="*/ 2147483647 h 40"/>
                <a:gd name="T4" fmla="*/ 2147483647 w 66"/>
                <a:gd name="T5" fmla="*/ 2147483647 h 40"/>
                <a:gd name="T6" fmla="*/ 2147483647 w 66"/>
                <a:gd name="T7" fmla="*/ 2147483647 h 40"/>
                <a:gd name="T8" fmla="*/ 2147483647 w 66"/>
                <a:gd name="T9" fmla="*/ 2147483647 h 40"/>
                <a:gd name="T10" fmla="*/ 2147483647 w 66"/>
                <a:gd name="T11" fmla="*/ 2147483647 h 40"/>
                <a:gd name="T12" fmla="*/ 2147483647 w 66"/>
                <a:gd name="T13" fmla="*/ 2147483647 h 40"/>
                <a:gd name="T14" fmla="*/ 2147483647 w 66"/>
                <a:gd name="T15" fmla="*/ 2147483647 h 40"/>
                <a:gd name="T16" fmla="*/ 2147483647 w 66"/>
                <a:gd name="T17" fmla="*/ 2147483647 h 40"/>
                <a:gd name="T18" fmla="*/ 2147483647 w 66"/>
                <a:gd name="T19" fmla="*/ 2147483647 h 40"/>
                <a:gd name="T20" fmla="*/ 2147483647 w 66"/>
                <a:gd name="T21" fmla="*/ 2147483647 h 40"/>
                <a:gd name="T22" fmla="*/ 2147483647 w 66"/>
                <a:gd name="T23" fmla="*/ 2147483647 h 40"/>
                <a:gd name="T24" fmla="*/ 2147483647 w 66"/>
                <a:gd name="T25" fmla="*/ 2147483647 h 40"/>
                <a:gd name="T26" fmla="*/ 2147483647 w 66"/>
                <a:gd name="T27" fmla="*/ 2147483647 h 40"/>
                <a:gd name="T28" fmla="*/ 2147483647 w 66"/>
                <a:gd name="T29" fmla="*/ 2147483647 h 40"/>
                <a:gd name="T30" fmla="*/ 2147483647 w 66"/>
                <a:gd name="T31" fmla="*/ 2147483647 h 40"/>
                <a:gd name="T32" fmla="*/ 2147483647 w 66"/>
                <a:gd name="T33" fmla="*/ 2147483647 h 40"/>
                <a:gd name="T34" fmla="*/ 2147483647 w 66"/>
                <a:gd name="T35" fmla="*/ 2147483647 h 40"/>
                <a:gd name="T36" fmla="*/ 2147483647 w 66"/>
                <a:gd name="T37" fmla="*/ 2147483647 h 40"/>
                <a:gd name="T38" fmla="*/ 2147483647 w 66"/>
                <a:gd name="T39" fmla="*/ 0 h 40"/>
                <a:gd name="T40" fmla="*/ 2147483647 w 66"/>
                <a:gd name="T41" fmla="*/ 2147483647 h 40"/>
                <a:gd name="T42" fmla="*/ 2147483647 w 66"/>
                <a:gd name="T43" fmla="*/ 2147483647 h 40"/>
                <a:gd name="T44" fmla="*/ 2147483647 w 66"/>
                <a:gd name="T45" fmla="*/ 2147483647 h 40"/>
                <a:gd name="T46" fmla="*/ 2147483647 w 66"/>
                <a:gd name="T47" fmla="*/ 2147483647 h 40"/>
                <a:gd name="T48" fmla="*/ 2147483647 w 66"/>
                <a:gd name="T49" fmla="*/ 2147483647 h 40"/>
                <a:gd name="T50" fmla="*/ 2147483647 w 66"/>
                <a:gd name="T51" fmla="*/ 2147483647 h 40"/>
                <a:gd name="T52" fmla="*/ 2147483647 w 66"/>
                <a:gd name="T53" fmla="*/ 2147483647 h 40"/>
                <a:gd name="T54" fmla="*/ 0 w 66"/>
                <a:gd name="T55" fmla="*/ 2147483647 h 40"/>
                <a:gd name="T56" fmla="*/ 0 w 66"/>
                <a:gd name="T57" fmla="*/ 2147483647 h 40"/>
                <a:gd name="T58" fmla="*/ 0 w 66"/>
                <a:gd name="T59" fmla="*/ 2147483647 h 40"/>
                <a:gd name="T60" fmla="*/ 2147483647 w 66"/>
                <a:gd name="T61" fmla="*/ 2147483647 h 40"/>
                <a:gd name="T62" fmla="*/ 0 w 66"/>
                <a:gd name="T63" fmla="*/ 2147483647 h 40"/>
                <a:gd name="T64" fmla="*/ 2147483647 w 66"/>
                <a:gd name="T65" fmla="*/ 2147483647 h 40"/>
                <a:gd name="T66" fmla="*/ 2147483647 w 66"/>
                <a:gd name="T67" fmla="*/ 2147483647 h 40"/>
                <a:gd name="T68" fmla="*/ 2147483647 w 66"/>
                <a:gd name="T69" fmla="*/ 2147483647 h 40"/>
                <a:gd name="T70" fmla="*/ 2147483647 w 66"/>
                <a:gd name="T71" fmla="*/ 2147483647 h 40"/>
                <a:gd name="T72" fmla="*/ 2147483647 w 66"/>
                <a:gd name="T73" fmla="*/ 2147483647 h 40"/>
                <a:gd name="T74" fmla="*/ 2147483647 w 66"/>
                <a:gd name="T75" fmla="*/ 2147483647 h 40"/>
                <a:gd name="T76" fmla="*/ 2147483647 w 66"/>
                <a:gd name="T77" fmla="*/ 2147483647 h 4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66"/>
                <a:gd name="T118" fmla="*/ 0 h 40"/>
                <a:gd name="T119" fmla="*/ 66 w 66"/>
                <a:gd name="T120" fmla="*/ 40 h 4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66" h="40">
                  <a:moveTo>
                    <a:pt x="29" y="23"/>
                  </a:moveTo>
                  <a:lnTo>
                    <a:pt x="35" y="28"/>
                  </a:lnTo>
                  <a:lnTo>
                    <a:pt x="32" y="34"/>
                  </a:lnTo>
                  <a:lnTo>
                    <a:pt x="37" y="40"/>
                  </a:lnTo>
                  <a:lnTo>
                    <a:pt x="43" y="37"/>
                  </a:lnTo>
                  <a:lnTo>
                    <a:pt x="52" y="40"/>
                  </a:lnTo>
                  <a:lnTo>
                    <a:pt x="58" y="34"/>
                  </a:lnTo>
                  <a:lnTo>
                    <a:pt x="66" y="28"/>
                  </a:lnTo>
                  <a:lnTo>
                    <a:pt x="60" y="25"/>
                  </a:lnTo>
                  <a:lnTo>
                    <a:pt x="55" y="25"/>
                  </a:lnTo>
                  <a:lnTo>
                    <a:pt x="52" y="20"/>
                  </a:lnTo>
                  <a:lnTo>
                    <a:pt x="43" y="14"/>
                  </a:lnTo>
                  <a:lnTo>
                    <a:pt x="43" y="20"/>
                  </a:lnTo>
                  <a:lnTo>
                    <a:pt x="35" y="20"/>
                  </a:lnTo>
                  <a:lnTo>
                    <a:pt x="26" y="14"/>
                  </a:lnTo>
                  <a:lnTo>
                    <a:pt x="17" y="11"/>
                  </a:lnTo>
                  <a:lnTo>
                    <a:pt x="32" y="3"/>
                  </a:lnTo>
                  <a:lnTo>
                    <a:pt x="29" y="0"/>
                  </a:lnTo>
                  <a:lnTo>
                    <a:pt x="23" y="5"/>
                  </a:lnTo>
                  <a:lnTo>
                    <a:pt x="20" y="3"/>
                  </a:lnTo>
                  <a:lnTo>
                    <a:pt x="17" y="8"/>
                  </a:lnTo>
                  <a:lnTo>
                    <a:pt x="17" y="11"/>
                  </a:lnTo>
                  <a:lnTo>
                    <a:pt x="9" y="11"/>
                  </a:lnTo>
                  <a:lnTo>
                    <a:pt x="6" y="20"/>
                  </a:lnTo>
                  <a:lnTo>
                    <a:pt x="0" y="25"/>
                  </a:lnTo>
                  <a:lnTo>
                    <a:pt x="0" y="28"/>
                  </a:lnTo>
                  <a:lnTo>
                    <a:pt x="3" y="31"/>
                  </a:lnTo>
                  <a:lnTo>
                    <a:pt x="0" y="37"/>
                  </a:lnTo>
                  <a:lnTo>
                    <a:pt x="6" y="34"/>
                  </a:lnTo>
                  <a:lnTo>
                    <a:pt x="9" y="37"/>
                  </a:lnTo>
                  <a:lnTo>
                    <a:pt x="9" y="34"/>
                  </a:lnTo>
                  <a:lnTo>
                    <a:pt x="9" y="25"/>
                  </a:lnTo>
                  <a:lnTo>
                    <a:pt x="20" y="28"/>
                  </a:lnTo>
                  <a:lnTo>
                    <a:pt x="29" y="2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83" name="Freeform 83"/>
            <p:cNvSpPr>
              <a:spLocks/>
            </p:cNvSpPr>
            <p:nvPr/>
          </p:nvSpPr>
          <p:spPr bwMode="auto">
            <a:xfrm>
              <a:off x="7748588" y="2609850"/>
              <a:ext cx="9525" cy="4763"/>
            </a:xfrm>
            <a:custGeom>
              <a:avLst/>
              <a:gdLst>
                <a:gd name="T0" fmla="*/ 2147483647 w 6"/>
                <a:gd name="T1" fmla="*/ 2147483647 h 3"/>
                <a:gd name="T2" fmla="*/ 2147483647 w 6"/>
                <a:gd name="T3" fmla="*/ 0 h 3"/>
                <a:gd name="T4" fmla="*/ 0 w 6"/>
                <a:gd name="T5" fmla="*/ 0 h 3"/>
                <a:gd name="T6" fmla="*/ 2147483647 w 6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3"/>
                <a:gd name="T14" fmla="*/ 6 w 6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3">
                  <a:moveTo>
                    <a:pt x="6" y="3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84" name="Freeform 84"/>
            <p:cNvSpPr>
              <a:spLocks/>
            </p:cNvSpPr>
            <p:nvPr/>
          </p:nvSpPr>
          <p:spPr bwMode="auto">
            <a:xfrm>
              <a:off x="7772400" y="2609850"/>
              <a:ext cx="142875" cy="125413"/>
            </a:xfrm>
            <a:custGeom>
              <a:avLst/>
              <a:gdLst>
                <a:gd name="T0" fmla="*/ 2147483647 w 89"/>
                <a:gd name="T1" fmla="*/ 2147483647 h 78"/>
                <a:gd name="T2" fmla="*/ 2147483647 w 89"/>
                <a:gd name="T3" fmla="*/ 2147483647 h 78"/>
                <a:gd name="T4" fmla="*/ 2147483647 w 89"/>
                <a:gd name="T5" fmla="*/ 2147483647 h 78"/>
                <a:gd name="T6" fmla="*/ 2147483647 w 89"/>
                <a:gd name="T7" fmla="*/ 2147483647 h 78"/>
                <a:gd name="T8" fmla="*/ 2147483647 w 89"/>
                <a:gd name="T9" fmla="*/ 2147483647 h 78"/>
                <a:gd name="T10" fmla="*/ 2147483647 w 89"/>
                <a:gd name="T11" fmla="*/ 2147483647 h 78"/>
                <a:gd name="T12" fmla="*/ 2147483647 w 89"/>
                <a:gd name="T13" fmla="*/ 2147483647 h 78"/>
                <a:gd name="T14" fmla="*/ 2147483647 w 89"/>
                <a:gd name="T15" fmla="*/ 0 h 78"/>
                <a:gd name="T16" fmla="*/ 0 w 89"/>
                <a:gd name="T17" fmla="*/ 0 h 78"/>
                <a:gd name="T18" fmla="*/ 2147483647 w 89"/>
                <a:gd name="T19" fmla="*/ 2147483647 h 78"/>
                <a:gd name="T20" fmla="*/ 2147483647 w 89"/>
                <a:gd name="T21" fmla="*/ 2147483647 h 78"/>
                <a:gd name="T22" fmla="*/ 2147483647 w 89"/>
                <a:gd name="T23" fmla="*/ 2147483647 h 78"/>
                <a:gd name="T24" fmla="*/ 2147483647 w 89"/>
                <a:gd name="T25" fmla="*/ 2147483647 h 78"/>
                <a:gd name="T26" fmla="*/ 2147483647 w 89"/>
                <a:gd name="T27" fmla="*/ 2147483647 h 78"/>
                <a:gd name="T28" fmla="*/ 2147483647 w 89"/>
                <a:gd name="T29" fmla="*/ 2147483647 h 78"/>
                <a:gd name="T30" fmla="*/ 2147483647 w 89"/>
                <a:gd name="T31" fmla="*/ 2147483647 h 78"/>
                <a:gd name="T32" fmla="*/ 2147483647 w 89"/>
                <a:gd name="T33" fmla="*/ 2147483647 h 78"/>
                <a:gd name="T34" fmla="*/ 2147483647 w 89"/>
                <a:gd name="T35" fmla="*/ 2147483647 h 78"/>
                <a:gd name="T36" fmla="*/ 2147483647 w 89"/>
                <a:gd name="T37" fmla="*/ 2147483647 h 78"/>
                <a:gd name="T38" fmla="*/ 2147483647 w 89"/>
                <a:gd name="T39" fmla="*/ 2147483647 h 78"/>
                <a:gd name="T40" fmla="*/ 2147483647 w 89"/>
                <a:gd name="T41" fmla="*/ 2147483647 h 78"/>
                <a:gd name="T42" fmla="*/ 2147483647 w 89"/>
                <a:gd name="T43" fmla="*/ 2147483647 h 78"/>
                <a:gd name="T44" fmla="*/ 2147483647 w 89"/>
                <a:gd name="T45" fmla="*/ 2147483647 h 78"/>
                <a:gd name="T46" fmla="*/ 2147483647 w 89"/>
                <a:gd name="T47" fmla="*/ 2147483647 h 78"/>
                <a:gd name="T48" fmla="*/ 2147483647 w 89"/>
                <a:gd name="T49" fmla="*/ 2147483647 h 78"/>
                <a:gd name="T50" fmla="*/ 2147483647 w 89"/>
                <a:gd name="T51" fmla="*/ 2147483647 h 78"/>
                <a:gd name="T52" fmla="*/ 2147483647 w 89"/>
                <a:gd name="T53" fmla="*/ 2147483647 h 78"/>
                <a:gd name="T54" fmla="*/ 2147483647 w 89"/>
                <a:gd name="T55" fmla="*/ 2147483647 h 78"/>
                <a:gd name="T56" fmla="*/ 2147483647 w 89"/>
                <a:gd name="T57" fmla="*/ 2147483647 h 78"/>
                <a:gd name="T58" fmla="*/ 2147483647 w 89"/>
                <a:gd name="T59" fmla="*/ 2147483647 h 78"/>
                <a:gd name="T60" fmla="*/ 2147483647 w 89"/>
                <a:gd name="T61" fmla="*/ 2147483647 h 78"/>
                <a:gd name="T62" fmla="*/ 2147483647 w 89"/>
                <a:gd name="T63" fmla="*/ 2147483647 h 78"/>
                <a:gd name="T64" fmla="*/ 2147483647 w 89"/>
                <a:gd name="T65" fmla="*/ 2147483647 h 78"/>
                <a:gd name="T66" fmla="*/ 2147483647 w 89"/>
                <a:gd name="T67" fmla="*/ 2147483647 h 78"/>
                <a:gd name="T68" fmla="*/ 2147483647 w 89"/>
                <a:gd name="T69" fmla="*/ 2147483647 h 78"/>
                <a:gd name="T70" fmla="*/ 2147483647 w 89"/>
                <a:gd name="T71" fmla="*/ 2147483647 h 78"/>
                <a:gd name="T72" fmla="*/ 2147483647 w 89"/>
                <a:gd name="T73" fmla="*/ 2147483647 h 78"/>
                <a:gd name="T74" fmla="*/ 2147483647 w 89"/>
                <a:gd name="T75" fmla="*/ 2147483647 h 78"/>
                <a:gd name="T76" fmla="*/ 2147483647 w 89"/>
                <a:gd name="T77" fmla="*/ 2147483647 h 78"/>
                <a:gd name="T78" fmla="*/ 2147483647 w 89"/>
                <a:gd name="T79" fmla="*/ 2147483647 h 78"/>
                <a:gd name="T80" fmla="*/ 2147483647 w 89"/>
                <a:gd name="T81" fmla="*/ 2147483647 h 78"/>
                <a:gd name="T82" fmla="*/ 2147483647 w 89"/>
                <a:gd name="T83" fmla="*/ 2147483647 h 78"/>
                <a:gd name="T84" fmla="*/ 2147483647 w 89"/>
                <a:gd name="T85" fmla="*/ 2147483647 h 78"/>
                <a:gd name="T86" fmla="*/ 2147483647 w 89"/>
                <a:gd name="T87" fmla="*/ 2147483647 h 78"/>
                <a:gd name="T88" fmla="*/ 2147483647 w 89"/>
                <a:gd name="T89" fmla="*/ 2147483647 h 78"/>
                <a:gd name="T90" fmla="*/ 2147483647 w 89"/>
                <a:gd name="T91" fmla="*/ 2147483647 h 78"/>
                <a:gd name="T92" fmla="*/ 2147483647 w 89"/>
                <a:gd name="T93" fmla="*/ 2147483647 h 78"/>
                <a:gd name="T94" fmla="*/ 2147483647 w 89"/>
                <a:gd name="T95" fmla="*/ 2147483647 h 78"/>
                <a:gd name="T96" fmla="*/ 2147483647 w 89"/>
                <a:gd name="T97" fmla="*/ 2147483647 h 78"/>
                <a:gd name="T98" fmla="*/ 2147483647 w 89"/>
                <a:gd name="T99" fmla="*/ 2147483647 h 78"/>
                <a:gd name="T100" fmla="*/ 2147483647 w 89"/>
                <a:gd name="T101" fmla="*/ 2147483647 h 78"/>
                <a:gd name="T102" fmla="*/ 2147483647 w 89"/>
                <a:gd name="T103" fmla="*/ 2147483647 h 78"/>
                <a:gd name="T104" fmla="*/ 2147483647 w 89"/>
                <a:gd name="T105" fmla="*/ 2147483647 h 78"/>
                <a:gd name="T106" fmla="*/ 2147483647 w 89"/>
                <a:gd name="T107" fmla="*/ 2147483647 h 7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9"/>
                <a:gd name="T163" fmla="*/ 0 h 78"/>
                <a:gd name="T164" fmla="*/ 89 w 89"/>
                <a:gd name="T165" fmla="*/ 78 h 7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9" h="78">
                  <a:moveTo>
                    <a:pt x="71" y="32"/>
                  </a:moveTo>
                  <a:lnTo>
                    <a:pt x="71" y="32"/>
                  </a:lnTo>
                  <a:lnTo>
                    <a:pt x="68" y="23"/>
                  </a:lnTo>
                  <a:lnTo>
                    <a:pt x="68" y="26"/>
                  </a:lnTo>
                  <a:lnTo>
                    <a:pt x="66" y="29"/>
                  </a:lnTo>
                  <a:lnTo>
                    <a:pt x="60" y="32"/>
                  </a:lnTo>
                  <a:lnTo>
                    <a:pt x="54" y="29"/>
                  </a:lnTo>
                  <a:lnTo>
                    <a:pt x="48" y="26"/>
                  </a:lnTo>
                  <a:lnTo>
                    <a:pt x="40" y="23"/>
                  </a:lnTo>
                  <a:lnTo>
                    <a:pt x="11" y="6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9"/>
                  </a:lnTo>
                  <a:lnTo>
                    <a:pt x="5" y="12"/>
                  </a:lnTo>
                  <a:lnTo>
                    <a:pt x="11" y="18"/>
                  </a:lnTo>
                  <a:lnTo>
                    <a:pt x="11" y="21"/>
                  </a:lnTo>
                  <a:lnTo>
                    <a:pt x="14" y="26"/>
                  </a:lnTo>
                  <a:lnTo>
                    <a:pt x="17" y="32"/>
                  </a:lnTo>
                  <a:lnTo>
                    <a:pt x="14" y="35"/>
                  </a:lnTo>
                  <a:lnTo>
                    <a:pt x="17" y="41"/>
                  </a:lnTo>
                  <a:lnTo>
                    <a:pt x="23" y="44"/>
                  </a:lnTo>
                  <a:lnTo>
                    <a:pt x="23" y="46"/>
                  </a:lnTo>
                  <a:lnTo>
                    <a:pt x="14" y="44"/>
                  </a:lnTo>
                  <a:lnTo>
                    <a:pt x="8" y="44"/>
                  </a:lnTo>
                  <a:lnTo>
                    <a:pt x="5" y="41"/>
                  </a:lnTo>
                  <a:lnTo>
                    <a:pt x="2" y="41"/>
                  </a:lnTo>
                  <a:lnTo>
                    <a:pt x="5" y="44"/>
                  </a:lnTo>
                  <a:lnTo>
                    <a:pt x="8" y="49"/>
                  </a:lnTo>
                  <a:lnTo>
                    <a:pt x="11" y="52"/>
                  </a:lnTo>
                  <a:lnTo>
                    <a:pt x="8" y="55"/>
                  </a:lnTo>
                  <a:lnTo>
                    <a:pt x="2" y="55"/>
                  </a:lnTo>
                  <a:lnTo>
                    <a:pt x="2" y="58"/>
                  </a:lnTo>
                  <a:lnTo>
                    <a:pt x="5" y="61"/>
                  </a:lnTo>
                  <a:lnTo>
                    <a:pt x="11" y="64"/>
                  </a:lnTo>
                  <a:lnTo>
                    <a:pt x="14" y="69"/>
                  </a:lnTo>
                  <a:lnTo>
                    <a:pt x="14" y="72"/>
                  </a:lnTo>
                  <a:lnTo>
                    <a:pt x="17" y="78"/>
                  </a:lnTo>
                  <a:lnTo>
                    <a:pt x="20" y="78"/>
                  </a:lnTo>
                  <a:lnTo>
                    <a:pt x="23" y="78"/>
                  </a:lnTo>
                  <a:lnTo>
                    <a:pt x="23" y="75"/>
                  </a:lnTo>
                  <a:lnTo>
                    <a:pt x="23" y="72"/>
                  </a:lnTo>
                  <a:lnTo>
                    <a:pt x="28" y="72"/>
                  </a:lnTo>
                  <a:lnTo>
                    <a:pt x="31" y="72"/>
                  </a:lnTo>
                  <a:lnTo>
                    <a:pt x="31" y="69"/>
                  </a:lnTo>
                  <a:lnTo>
                    <a:pt x="23" y="67"/>
                  </a:lnTo>
                  <a:lnTo>
                    <a:pt x="17" y="64"/>
                  </a:lnTo>
                  <a:lnTo>
                    <a:pt x="14" y="58"/>
                  </a:lnTo>
                  <a:lnTo>
                    <a:pt x="14" y="55"/>
                  </a:lnTo>
                  <a:lnTo>
                    <a:pt x="17" y="55"/>
                  </a:lnTo>
                  <a:lnTo>
                    <a:pt x="23" y="61"/>
                  </a:lnTo>
                  <a:lnTo>
                    <a:pt x="25" y="61"/>
                  </a:lnTo>
                  <a:lnTo>
                    <a:pt x="28" y="58"/>
                  </a:lnTo>
                  <a:lnTo>
                    <a:pt x="31" y="55"/>
                  </a:lnTo>
                  <a:lnTo>
                    <a:pt x="34" y="55"/>
                  </a:lnTo>
                  <a:lnTo>
                    <a:pt x="40" y="58"/>
                  </a:lnTo>
                  <a:lnTo>
                    <a:pt x="45" y="61"/>
                  </a:lnTo>
                  <a:lnTo>
                    <a:pt x="57" y="67"/>
                  </a:lnTo>
                  <a:lnTo>
                    <a:pt x="63" y="69"/>
                  </a:lnTo>
                  <a:lnTo>
                    <a:pt x="63" y="67"/>
                  </a:lnTo>
                  <a:lnTo>
                    <a:pt x="60" y="64"/>
                  </a:lnTo>
                  <a:lnTo>
                    <a:pt x="63" y="61"/>
                  </a:lnTo>
                  <a:lnTo>
                    <a:pt x="63" y="52"/>
                  </a:lnTo>
                  <a:lnTo>
                    <a:pt x="66" y="49"/>
                  </a:lnTo>
                  <a:lnTo>
                    <a:pt x="68" y="49"/>
                  </a:lnTo>
                  <a:lnTo>
                    <a:pt x="71" y="52"/>
                  </a:lnTo>
                  <a:lnTo>
                    <a:pt x="74" y="52"/>
                  </a:lnTo>
                  <a:lnTo>
                    <a:pt x="80" y="49"/>
                  </a:lnTo>
                  <a:lnTo>
                    <a:pt x="89" y="44"/>
                  </a:lnTo>
                  <a:lnTo>
                    <a:pt x="89" y="41"/>
                  </a:lnTo>
                  <a:lnTo>
                    <a:pt x="86" y="41"/>
                  </a:lnTo>
                  <a:lnTo>
                    <a:pt x="83" y="44"/>
                  </a:lnTo>
                  <a:lnTo>
                    <a:pt x="80" y="41"/>
                  </a:lnTo>
                  <a:lnTo>
                    <a:pt x="74" y="38"/>
                  </a:lnTo>
                  <a:lnTo>
                    <a:pt x="71" y="3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85" name="Freeform 85"/>
            <p:cNvSpPr>
              <a:spLocks/>
            </p:cNvSpPr>
            <p:nvPr/>
          </p:nvSpPr>
          <p:spPr bwMode="auto">
            <a:xfrm>
              <a:off x="7758113" y="2619375"/>
              <a:ext cx="9525" cy="4763"/>
            </a:xfrm>
            <a:custGeom>
              <a:avLst/>
              <a:gdLst>
                <a:gd name="T0" fmla="*/ 0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0 h 3"/>
                <a:gd name="T6" fmla="*/ 2147483647 w 6"/>
                <a:gd name="T7" fmla="*/ 0 h 3"/>
                <a:gd name="T8" fmla="*/ 2147483647 w 6"/>
                <a:gd name="T9" fmla="*/ 0 h 3"/>
                <a:gd name="T10" fmla="*/ 0 w 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0" y="3"/>
                  </a:move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86" name="Freeform 86"/>
            <p:cNvSpPr>
              <a:spLocks/>
            </p:cNvSpPr>
            <p:nvPr/>
          </p:nvSpPr>
          <p:spPr bwMode="auto">
            <a:xfrm>
              <a:off x="7642225" y="2201863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0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6" y="3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87" name="Freeform 87"/>
            <p:cNvSpPr>
              <a:spLocks/>
            </p:cNvSpPr>
            <p:nvPr/>
          </p:nvSpPr>
          <p:spPr bwMode="auto">
            <a:xfrm>
              <a:off x="7772400" y="2708275"/>
              <a:ext cx="7938" cy="9525"/>
            </a:xfrm>
            <a:custGeom>
              <a:avLst/>
              <a:gdLst>
                <a:gd name="T0" fmla="*/ 2147483647 w 5"/>
                <a:gd name="T1" fmla="*/ 2147483647 h 6"/>
                <a:gd name="T2" fmla="*/ 2147483647 w 5"/>
                <a:gd name="T3" fmla="*/ 2147483647 h 6"/>
                <a:gd name="T4" fmla="*/ 0 w 5"/>
                <a:gd name="T5" fmla="*/ 0 h 6"/>
                <a:gd name="T6" fmla="*/ 2147483647 w 5"/>
                <a:gd name="T7" fmla="*/ 2147483647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6"/>
                <a:gd name="T14" fmla="*/ 5 w 5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6">
                  <a:moveTo>
                    <a:pt x="2" y="6"/>
                  </a:moveTo>
                  <a:lnTo>
                    <a:pt x="5" y="3"/>
                  </a:lnTo>
                  <a:lnTo>
                    <a:pt x="0" y="0"/>
                  </a:lnTo>
                  <a:lnTo>
                    <a:pt x="2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88" name="Freeform 88"/>
            <p:cNvSpPr>
              <a:spLocks/>
            </p:cNvSpPr>
            <p:nvPr/>
          </p:nvSpPr>
          <p:spPr bwMode="auto">
            <a:xfrm>
              <a:off x="4967288" y="2757488"/>
              <a:ext cx="4762" cy="4762"/>
            </a:xfrm>
            <a:custGeom>
              <a:avLst/>
              <a:gdLst>
                <a:gd name="T0" fmla="*/ 0 w 3"/>
                <a:gd name="T1" fmla="*/ 2147483647 h 3"/>
                <a:gd name="T2" fmla="*/ 0 w 3"/>
                <a:gd name="T3" fmla="*/ 2147483647 h 3"/>
                <a:gd name="T4" fmla="*/ 2147483647 w 3"/>
                <a:gd name="T5" fmla="*/ 0 h 3"/>
                <a:gd name="T6" fmla="*/ 0 w 3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3"/>
                  </a:moveTo>
                  <a:lnTo>
                    <a:pt x="0" y="3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89" name="Freeform 89"/>
            <p:cNvSpPr>
              <a:spLocks/>
            </p:cNvSpPr>
            <p:nvPr/>
          </p:nvSpPr>
          <p:spPr bwMode="auto">
            <a:xfrm>
              <a:off x="4622800" y="3305175"/>
              <a:ext cx="280988" cy="487363"/>
            </a:xfrm>
            <a:custGeom>
              <a:avLst/>
              <a:gdLst>
                <a:gd name="T0" fmla="*/ 2147483647 w 175"/>
                <a:gd name="T1" fmla="*/ 2147483647 h 304"/>
                <a:gd name="T2" fmla="*/ 2147483647 w 175"/>
                <a:gd name="T3" fmla="*/ 2147483647 h 304"/>
                <a:gd name="T4" fmla="*/ 2147483647 w 175"/>
                <a:gd name="T5" fmla="*/ 2147483647 h 304"/>
                <a:gd name="T6" fmla="*/ 2147483647 w 175"/>
                <a:gd name="T7" fmla="*/ 2147483647 h 304"/>
                <a:gd name="T8" fmla="*/ 2147483647 w 175"/>
                <a:gd name="T9" fmla="*/ 2147483647 h 304"/>
                <a:gd name="T10" fmla="*/ 2147483647 w 175"/>
                <a:gd name="T11" fmla="*/ 2147483647 h 304"/>
                <a:gd name="T12" fmla="*/ 2147483647 w 175"/>
                <a:gd name="T13" fmla="*/ 2147483647 h 304"/>
                <a:gd name="T14" fmla="*/ 2147483647 w 175"/>
                <a:gd name="T15" fmla="*/ 2147483647 h 304"/>
                <a:gd name="T16" fmla="*/ 2147483647 w 175"/>
                <a:gd name="T17" fmla="*/ 2147483647 h 304"/>
                <a:gd name="T18" fmla="*/ 2147483647 w 175"/>
                <a:gd name="T19" fmla="*/ 2147483647 h 304"/>
                <a:gd name="T20" fmla="*/ 2147483647 w 175"/>
                <a:gd name="T21" fmla="*/ 2147483647 h 304"/>
                <a:gd name="T22" fmla="*/ 2147483647 w 175"/>
                <a:gd name="T23" fmla="*/ 2147483647 h 304"/>
                <a:gd name="T24" fmla="*/ 2147483647 w 175"/>
                <a:gd name="T25" fmla="*/ 2147483647 h 304"/>
                <a:gd name="T26" fmla="*/ 2147483647 w 175"/>
                <a:gd name="T27" fmla="*/ 2147483647 h 304"/>
                <a:gd name="T28" fmla="*/ 2147483647 w 175"/>
                <a:gd name="T29" fmla="*/ 2147483647 h 304"/>
                <a:gd name="T30" fmla="*/ 2147483647 w 175"/>
                <a:gd name="T31" fmla="*/ 2147483647 h 304"/>
                <a:gd name="T32" fmla="*/ 2147483647 w 175"/>
                <a:gd name="T33" fmla="*/ 2147483647 h 304"/>
                <a:gd name="T34" fmla="*/ 2147483647 w 175"/>
                <a:gd name="T35" fmla="*/ 2147483647 h 304"/>
                <a:gd name="T36" fmla="*/ 2147483647 w 175"/>
                <a:gd name="T37" fmla="*/ 2147483647 h 304"/>
                <a:gd name="T38" fmla="*/ 2147483647 w 175"/>
                <a:gd name="T39" fmla="*/ 2147483647 h 304"/>
                <a:gd name="T40" fmla="*/ 2147483647 w 175"/>
                <a:gd name="T41" fmla="*/ 2147483647 h 304"/>
                <a:gd name="T42" fmla="*/ 2147483647 w 175"/>
                <a:gd name="T43" fmla="*/ 2147483647 h 304"/>
                <a:gd name="T44" fmla="*/ 2147483647 w 175"/>
                <a:gd name="T45" fmla="*/ 0 h 304"/>
                <a:gd name="T46" fmla="*/ 2147483647 w 175"/>
                <a:gd name="T47" fmla="*/ 2147483647 h 304"/>
                <a:gd name="T48" fmla="*/ 2147483647 w 175"/>
                <a:gd name="T49" fmla="*/ 2147483647 h 304"/>
                <a:gd name="T50" fmla="*/ 2147483647 w 175"/>
                <a:gd name="T51" fmla="*/ 2147483647 h 304"/>
                <a:gd name="T52" fmla="*/ 2147483647 w 175"/>
                <a:gd name="T53" fmla="*/ 2147483647 h 304"/>
                <a:gd name="T54" fmla="*/ 2147483647 w 175"/>
                <a:gd name="T55" fmla="*/ 2147483647 h 304"/>
                <a:gd name="T56" fmla="*/ 2147483647 w 175"/>
                <a:gd name="T57" fmla="*/ 2147483647 h 304"/>
                <a:gd name="T58" fmla="*/ 2147483647 w 175"/>
                <a:gd name="T59" fmla="*/ 2147483647 h 304"/>
                <a:gd name="T60" fmla="*/ 2147483647 w 175"/>
                <a:gd name="T61" fmla="*/ 2147483647 h 304"/>
                <a:gd name="T62" fmla="*/ 2147483647 w 175"/>
                <a:gd name="T63" fmla="*/ 2147483647 h 304"/>
                <a:gd name="T64" fmla="*/ 0 w 175"/>
                <a:gd name="T65" fmla="*/ 2147483647 h 3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75"/>
                <a:gd name="T100" fmla="*/ 0 h 304"/>
                <a:gd name="T101" fmla="*/ 175 w 175"/>
                <a:gd name="T102" fmla="*/ 304 h 30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75" h="304">
                  <a:moveTo>
                    <a:pt x="9" y="195"/>
                  </a:moveTo>
                  <a:lnTo>
                    <a:pt x="14" y="192"/>
                  </a:lnTo>
                  <a:lnTo>
                    <a:pt x="20" y="201"/>
                  </a:lnTo>
                  <a:lnTo>
                    <a:pt x="23" y="212"/>
                  </a:lnTo>
                  <a:lnTo>
                    <a:pt x="29" y="227"/>
                  </a:lnTo>
                  <a:lnTo>
                    <a:pt x="29" y="244"/>
                  </a:lnTo>
                  <a:lnTo>
                    <a:pt x="37" y="258"/>
                  </a:lnTo>
                  <a:lnTo>
                    <a:pt x="12" y="258"/>
                  </a:lnTo>
                  <a:lnTo>
                    <a:pt x="9" y="264"/>
                  </a:lnTo>
                  <a:lnTo>
                    <a:pt x="12" y="267"/>
                  </a:lnTo>
                  <a:lnTo>
                    <a:pt x="23" y="281"/>
                  </a:lnTo>
                  <a:lnTo>
                    <a:pt x="32" y="301"/>
                  </a:lnTo>
                  <a:lnTo>
                    <a:pt x="37" y="304"/>
                  </a:lnTo>
                  <a:lnTo>
                    <a:pt x="49" y="299"/>
                  </a:lnTo>
                  <a:lnTo>
                    <a:pt x="52" y="299"/>
                  </a:lnTo>
                  <a:lnTo>
                    <a:pt x="52" y="301"/>
                  </a:lnTo>
                  <a:lnTo>
                    <a:pt x="55" y="304"/>
                  </a:lnTo>
                  <a:lnTo>
                    <a:pt x="69" y="299"/>
                  </a:lnTo>
                  <a:lnTo>
                    <a:pt x="83" y="296"/>
                  </a:lnTo>
                  <a:lnTo>
                    <a:pt x="92" y="284"/>
                  </a:lnTo>
                  <a:lnTo>
                    <a:pt x="86" y="279"/>
                  </a:lnTo>
                  <a:lnTo>
                    <a:pt x="115" y="273"/>
                  </a:lnTo>
                  <a:lnTo>
                    <a:pt x="135" y="253"/>
                  </a:lnTo>
                  <a:lnTo>
                    <a:pt x="138" y="244"/>
                  </a:lnTo>
                  <a:lnTo>
                    <a:pt x="158" y="238"/>
                  </a:lnTo>
                  <a:lnTo>
                    <a:pt x="158" y="233"/>
                  </a:lnTo>
                  <a:lnTo>
                    <a:pt x="152" y="227"/>
                  </a:lnTo>
                  <a:lnTo>
                    <a:pt x="149" y="207"/>
                  </a:lnTo>
                  <a:lnTo>
                    <a:pt x="138" y="204"/>
                  </a:lnTo>
                  <a:lnTo>
                    <a:pt x="146" y="192"/>
                  </a:lnTo>
                  <a:lnTo>
                    <a:pt x="144" y="184"/>
                  </a:lnTo>
                  <a:lnTo>
                    <a:pt x="149" y="175"/>
                  </a:lnTo>
                  <a:lnTo>
                    <a:pt x="149" y="167"/>
                  </a:lnTo>
                  <a:lnTo>
                    <a:pt x="155" y="164"/>
                  </a:lnTo>
                  <a:lnTo>
                    <a:pt x="158" y="155"/>
                  </a:lnTo>
                  <a:lnTo>
                    <a:pt x="158" y="149"/>
                  </a:lnTo>
                  <a:lnTo>
                    <a:pt x="175" y="144"/>
                  </a:lnTo>
                  <a:lnTo>
                    <a:pt x="172" y="75"/>
                  </a:lnTo>
                  <a:lnTo>
                    <a:pt x="40" y="0"/>
                  </a:lnTo>
                  <a:lnTo>
                    <a:pt x="26" y="6"/>
                  </a:lnTo>
                  <a:lnTo>
                    <a:pt x="26" y="32"/>
                  </a:lnTo>
                  <a:lnTo>
                    <a:pt x="32" y="40"/>
                  </a:lnTo>
                  <a:lnTo>
                    <a:pt x="35" y="49"/>
                  </a:lnTo>
                  <a:lnTo>
                    <a:pt x="40" y="55"/>
                  </a:lnTo>
                  <a:lnTo>
                    <a:pt x="37" y="66"/>
                  </a:lnTo>
                  <a:lnTo>
                    <a:pt x="35" y="121"/>
                  </a:lnTo>
                  <a:lnTo>
                    <a:pt x="29" y="132"/>
                  </a:lnTo>
                  <a:lnTo>
                    <a:pt x="23" y="138"/>
                  </a:lnTo>
                  <a:lnTo>
                    <a:pt x="3" y="164"/>
                  </a:lnTo>
                  <a:lnTo>
                    <a:pt x="0" y="172"/>
                  </a:lnTo>
                  <a:lnTo>
                    <a:pt x="0" y="184"/>
                  </a:lnTo>
                  <a:lnTo>
                    <a:pt x="9" y="19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90" name="Freeform 90"/>
            <p:cNvSpPr>
              <a:spLocks/>
            </p:cNvSpPr>
            <p:nvPr/>
          </p:nvSpPr>
          <p:spPr bwMode="auto">
            <a:xfrm>
              <a:off x="6035675" y="2684463"/>
              <a:ext cx="249238" cy="119062"/>
            </a:xfrm>
            <a:custGeom>
              <a:avLst/>
              <a:gdLst>
                <a:gd name="T0" fmla="*/ 2147483647 w 155"/>
                <a:gd name="T1" fmla="*/ 2147483647 h 75"/>
                <a:gd name="T2" fmla="*/ 2147483647 w 155"/>
                <a:gd name="T3" fmla="*/ 2147483647 h 75"/>
                <a:gd name="T4" fmla="*/ 2147483647 w 155"/>
                <a:gd name="T5" fmla="*/ 2147483647 h 75"/>
                <a:gd name="T6" fmla="*/ 2147483647 w 155"/>
                <a:gd name="T7" fmla="*/ 2147483647 h 75"/>
                <a:gd name="T8" fmla="*/ 2147483647 w 155"/>
                <a:gd name="T9" fmla="*/ 2147483647 h 75"/>
                <a:gd name="T10" fmla="*/ 2147483647 w 155"/>
                <a:gd name="T11" fmla="*/ 2147483647 h 75"/>
                <a:gd name="T12" fmla="*/ 2147483647 w 155"/>
                <a:gd name="T13" fmla="*/ 2147483647 h 75"/>
                <a:gd name="T14" fmla="*/ 2147483647 w 155"/>
                <a:gd name="T15" fmla="*/ 2147483647 h 75"/>
                <a:gd name="T16" fmla="*/ 2147483647 w 155"/>
                <a:gd name="T17" fmla="*/ 2147483647 h 75"/>
                <a:gd name="T18" fmla="*/ 2147483647 w 155"/>
                <a:gd name="T19" fmla="*/ 2147483647 h 75"/>
                <a:gd name="T20" fmla="*/ 2147483647 w 155"/>
                <a:gd name="T21" fmla="*/ 2147483647 h 75"/>
                <a:gd name="T22" fmla="*/ 2147483647 w 155"/>
                <a:gd name="T23" fmla="*/ 2147483647 h 75"/>
                <a:gd name="T24" fmla="*/ 2147483647 w 155"/>
                <a:gd name="T25" fmla="*/ 2147483647 h 75"/>
                <a:gd name="T26" fmla="*/ 2147483647 w 155"/>
                <a:gd name="T27" fmla="*/ 2147483647 h 75"/>
                <a:gd name="T28" fmla="*/ 2147483647 w 155"/>
                <a:gd name="T29" fmla="*/ 2147483647 h 75"/>
                <a:gd name="T30" fmla="*/ 2147483647 w 155"/>
                <a:gd name="T31" fmla="*/ 2147483647 h 75"/>
                <a:gd name="T32" fmla="*/ 2147483647 w 155"/>
                <a:gd name="T33" fmla="*/ 2147483647 h 75"/>
                <a:gd name="T34" fmla="*/ 2147483647 w 155"/>
                <a:gd name="T35" fmla="*/ 2147483647 h 75"/>
                <a:gd name="T36" fmla="*/ 2147483647 w 155"/>
                <a:gd name="T37" fmla="*/ 2147483647 h 75"/>
                <a:gd name="T38" fmla="*/ 2147483647 w 155"/>
                <a:gd name="T39" fmla="*/ 2147483647 h 75"/>
                <a:gd name="T40" fmla="*/ 2147483647 w 155"/>
                <a:gd name="T41" fmla="*/ 2147483647 h 75"/>
                <a:gd name="T42" fmla="*/ 2147483647 w 155"/>
                <a:gd name="T43" fmla="*/ 2147483647 h 75"/>
                <a:gd name="T44" fmla="*/ 2147483647 w 155"/>
                <a:gd name="T45" fmla="*/ 2147483647 h 75"/>
                <a:gd name="T46" fmla="*/ 2147483647 w 155"/>
                <a:gd name="T47" fmla="*/ 2147483647 h 75"/>
                <a:gd name="T48" fmla="*/ 2147483647 w 155"/>
                <a:gd name="T49" fmla="*/ 2147483647 h 75"/>
                <a:gd name="T50" fmla="*/ 2147483647 w 155"/>
                <a:gd name="T51" fmla="*/ 2147483647 h 75"/>
                <a:gd name="T52" fmla="*/ 2147483647 w 155"/>
                <a:gd name="T53" fmla="*/ 2147483647 h 75"/>
                <a:gd name="T54" fmla="*/ 2147483647 w 155"/>
                <a:gd name="T55" fmla="*/ 2147483647 h 75"/>
                <a:gd name="T56" fmla="*/ 2147483647 w 155"/>
                <a:gd name="T57" fmla="*/ 2147483647 h 75"/>
                <a:gd name="T58" fmla="*/ 0 w 155"/>
                <a:gd name="T59" fmla="*/ 2147483647 h 75"/>
                <a:gd name="T60" fmla="*/ 2147483647 w 155"/>
                <a:gd name="T61" fmla="*/ 2147483647 h 75"/>
                <a:gd name="T62" fmla="*/ 2147483647 w 155"/>
                <a:gd name="T63" fmla="*/ 2147483647 h 75"/>
                <a:gd name="T64" fmla="*/ 2147483647 w 155"/>
                <a:gd name="T65" fmla="*/ 2147483647 h 75"/>
                <a:gd name="T66" fmla="*/ 2147483647 w 155"/>
                <a:gd name="T67" fmla="*/ 2147483647 h 75"/>
                <a:gd name="T68" fmla="*/ 2147483647 w 155"/>
                <a:gd name="T69" fmla="*/ 2147483647 h 75"/>
                <a:gd name="T70" fmla="*/ 2147483647 w 155"/>
                <a:gd name="T71" fmla="*/ 2147483647 h 75"/>
                <a:gd name="T72" fmla="*/ 2147483647 w 155"/>
                <a:gd name="T73" fmla="*/ 2147483647 h 75"/>
                <a:gd name="T74" fmla="*/ 2147483647 w 155"/>
                <a:gd name="T75" fmla="*/ 2147483647 h 75"/>
                <a:gd name="T76" fmla="*/ 2147483647 w 155"/>
                <a:gd name="T77" fmla="*/ 2147483647 h 75"/>
                <a:gd name="T78" fmla="*/ 2147483647 w 155"/>
                <a:gd name="T79" fmla="*/ 2147483647 h 75"/>
                <a:gd name="T80" fmla="*/ 2147483647 w 155"/>
                <a:gd name="T81" fmla="*/ 2147483647 h 75"/>
                <a:gd name="T82" fmla="*/ 2147483647 w 155"/>
                <a:gd name="T83" fmla="*/ 2147483647 h 7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55"/>
                <a:gd name="T127" fmla="*/ 0 h 75"/>
                <a:gd name="T128" fmla="*/ 155 w 155"/>
                <a:gd name="T129" fmla="*/ 75 h 7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55" h="75">
                  <a:moveTo>
                    <a:pt x="84" y="49"/>
                  </a:moveTo>
                  <a:lnTo>
                    <a:pt x="84" y="49"/>
                  </a:lnTo>
                  <a:lnTo>
                    <a:pt x="95" y="49"/>
                  </a:lnTo>
                  <a:lnTo>
                    <a:pt x="98" y="55"/>
                  </a:lnTo>
                  <a:lnTo>
                    <a:pt x="101" y="52"/>
                  </a:lnTo>
                  <a:lnTo>
                    <a:pt x="109" y="52"/>
                  </a:lnTo>
                  <a:lnTo>
                    <a:pt x="112" y="41"/>
                  </a:lnTo>
                  <a:lnTo>
                    <a:pt x="118" y="41"/>
                  </a:lnTo>
                  <a:lnTo>
                    <a:pt x="124" y="38"/>
                  </a:lnTo>
                  <a:lnTo>
                    <a:pt x="130" y="35"/>
                  </a:lnTo>
                  <a:lnTo>
                    <a:pt x="138" y="32"/>
                  </a:lnTo>
                  <a:lnTo>
                    <a:pt x="144" y="29"/>
                  </a:lnTo>
                  <a:lnTo>
                    <a:pt x="150" y="26"/>
                  </a:lnTo>
                  <a:lnTo>
                    <a:pt x="152" y="23"/>
                  </a:lnTo>
                  <a:lnTo>
                    <a:pt x="155" y="21"/>
                  </a:lnTo>
                  <a:lnTo>
                    <a:pt x="155" y="18"/>
                  </a:lnTo>
                  <a:lnTo>
                    <a:pt x="152" y="15"/>
                  </a:lnTo>
                  <a:lnTo>
                    <a:pt x="144" y="15"/>
                  </a:lnTo>
                  <a:lnTo>
                    <a:pt x="141" y="15"/>
                  </a:lnTo>
                  <a:lnTo>
                    <a:pt x="138" y="9"/>
                  </a:lnTo>
                  <a:lnTo>
                    <a:pt x="124" y="9"/>
                  </a:lnTo>
                  <a:lnTo>
                    <a:pt x="109" y="6"/>
                  </a:lnTo>
                  <a:lnTo>
                    <a:pt x="101" y="3"/>
                  </a:lnTo>
                  <a:lnTo>
                    <a:pt x="92" y="6"/>
                  </a:lnTo>
                  <a:lnTo>
                    <a:pt x="86" y="3"/>
                  </a:lnTo>
                  <a:lnTo>
                    <a:pt x="84" y="9"/>
                  </a:lnTo>
                  <a:lnTo>
                    <a:pt x="81" y="9"/>
                  </a:lnTo>
                  <a:lnTo>
                    <a:pt x="75" y="6"/>
                  </a:lnTo>
                  <a:lnTo>
                    <a:pt x="66" y="3"/>
                  </a:lnTo>
                  <a:lnTo>
                    <a:pt x="64" y="0"/>
                  </a:lnTo>
                  <a:lnTo>
                    <a:pt x="58" y="0"/>
                  </a:lnTo>
                  <a:lnTo>
                    <a:pt x="49" y="3"/>
                  </a:lnTo>
                  <a:lnTo>
                    <a:pt x="52" y="15"/>
                  </a:lnTo>
                  <a:lnTo>
                    <a:pt x="49" y="15"/>
                  </a:lnTo>
                  <a:lnTo>
                    <a:pt x="41" y="12"/>
                  </a:lnTo>
                  <a:lnTo>
                    <a:pt x="26" y="9"/>
                  </a:lnTo>
                  <a:lnTo>
                    <a:pt x="23" y="6"/>
                  </a:lnTo>
                  <a:lnTo>
                    <a:pt x="15" y="9"/>
                  </a:lnTo>
                  <a:lnTo>
                    <a:pt x="12" y="12"/>
                  </a:lnTo>
                  <a:lnTo>
                    <a:pt x="12" y="15"/>
                  </a:lnTo>
                  <a:lnTo>
                    <a:pt x="20" y="18"/>
                  </a:lnTo>
                  <a:lnTo>
                    <a:pt x="9" y="29"/>
                  </a:lnTo>
                  <a:lnTo>
                    <a:pt x="12" y="29"/>
                  </a:lnTo>
                  <a:lnTo>
                    <a:pt x="18" y="35"/>
                  </a:lnTo>
                  <a:lnTo>
                    <a:pt x="23" y="35"/>
                  </a:lnTo>
                  <a:lnTo>
                    <a:pt x="26" y="26"/>
                  </a:lnTo>
                  <a:lnTo>
                    <a:pt x="38" y="38"/>
                  </a:lnTo>
                  <a:lnTo>
                    <a:pt x="41" y="41"/>
                  </a:lnTo>
                  <a:lnTo>
                    <a:pt x="43" y="41"/>
                  </a:lnTo>
                  <a:lnTo>
                    <a:pt x="58" y="43"/>
                  </a:lnTo>
                  <a:lnTo>
                    <a:pt x="43" y="55"/>
                  </a:lnTo>
                  <a:lnTo>
                    <a:pt x="35" y="61"/>
                  </a:lnTo>
                  <a:lnTo>
                    <a:pt x="26" y="58"/>
                  </a:lnTo>
                  <a:lnTo>
                    <a:pt x="18" y="64"/>
                  </a:lnTo>
                  <a:lnTo>
                    <a:pt x="15" y="64"/>
                  </a:lnTo>
                  <a:lnTo>
                    <a:pt x="6" y="61"/>
                  </a:lnTo>
                  <a:lnTo>
                    <a:pt x="0" y="61"/>
                  </a:lnTo>
                  <a:lnTo>
                    <a:pt x="0" y="64"/>
                  </a:lnTo>
                  <a:lnTo>
                    <a:pt x="3" y="69"/>
                  </a:lnTo>
                  <a:lnTo>
                    <a:pt x="6" y="69"/>
                  </a:lnTo>
                  <a:lnTo>
                    <a:pt x="15" y="66"/>
                  </a:lnTo>
                  <a:lnTo>
                    <a:pt x="18" y="66"/>
                  </a:lnTo>
                  <a:lnTo>
                    <a:pt x="23" y="69"/>
                  </a:lnTo>
                  <a:lnTo>
                    <a:pt x="26" y="72"/>
                  </a:lnTo>
                  <a:lnTo>
                    <a:pt x="29" y="69"/>
                  </a:lnTo>
                  <a:lnTo>
                    <a:pt x="29" y="66"/>
                  </a:lnTo>
                  <a:lnTo>
                    <a:pt x="32" y="66"/>
                  </a:lnTo>
                  <a:lnTo>
                    <a:pt x="41" y="69"/>
                  </a:lnTo>
                  <a:lnTo>
                    <a:pt x="46" y="75"/>
                  </a:lnTo>
                  <a:lnTo>
                    <a:pt x="49" y="72"/>
                  </a:lnTo>
                  <a:lnTo>
                    <a:pt x="52" y="72"/>
                  </a:lnTo>
                  <a:lnTo>
                    <a:pt x="64" y="72"/>
                  </a:lnTo>
                  <a:lnTo>
                    <a:pt x="69" y="72"/>
                  </a:lnTo>
                  <a:lnTo>
                    <a:pt x="69" y="69"/>
                  </a:lnTo>
                  <a:lnTo>
                    <a:pt x="69" y="61"/>
                  </a:lnTo>
                  <a:lnTo>
                    <a:pt x="72" y="58"/>
                  </a:lnTo>
                  <a:lnTo>
                    <a:pt x="78" y="52"/>
                  </a:lnTo>
                  <a:lnTo>
                    <a:pt x="84" y="4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91" name="Freeform 91"/>
            <p:cNvSpPr>
              <a:spLocks/>
            </p:cNvSpPr>
            <p:nvPr/>
          </p:nvSpPr>
          <p:spPr bwMode="auto">
            <a:xfrm>
              <a:off x="4854575" y="3309938"/>
              <a:ext cx="444500" cy="608012"/>
            </a:xfrm>
            <a:custGeom>
              <a:avLst/>
              <a:gdLst>
                <a:gd name="T0" fmla="*/ 2147483647 w 278"/>
                <a:gd name="T1" fmla="*/ 2147483647 h 379"/>
                <a:gd name="T2" fmla="*/ 2147483647 w 278"/>
                <a:gd name="T3" fmla="*/ 2147483647 h 379"/>
                <a:gd name="T4" fmla="*/ 2147483647 w 278"/>
                <a:gd name="T5" fmla="*/ 2147483647 h 379"/>
                <a:gd name="T6" fmla="*/ 2147483647 w 278"/>
                <a:gd name="T7" fmla="*/ 2147483647 h 379"/>
                <a:gd name="T8" fmla="*/ 2147483647 w 278"/>
                <a:gd name="T9" fmla="*/ 2147483647 h 379"/>
                <a:gd name="T10" fmla="*/ 2147483647 w 278"/>
                <a:gd name="T11" fmla="*/ 2147483647 h 379"/>
                <a:gd name="T12" fmla="*/ 2147483647 w 278"/>
                <a:gd name="T13" fmla="*/ 2147483647 h 379"/>
                <a:gd name="T14" fmla="*/ 2147483647 w 278"/>
                <a:gd name="T15" fmla="*/ 2147483647 h 379"/>
                <a:gd name="T16" fmla="*/ 2147483647 w 278"/>
                <a:gd name="T17" fmla="*/ 2147483647 h 379"/>
                <a:gd name="T18" fmla="*/ 2147483647 w 278"/>
                <a:gd name="T19" fmla="*/ 2147483647 h 379"/>
                <a:gd name="T20" fmla="*/ 2147483647 w 278"/>
                <a:gd name="T21" fmla="*/ 2147483647 h 379"/>
                <a:gd name="T22" fmla="*/ 2147483647 w 278"/>
                <a:gd name="T23" fmla="*/ 2147483647 h 379"/>
                <a:gd name="T24" fmla="*/ 2147483647 w 278"/>
                <a:gd name="T25" fmla="*/ 2147483647 h 379"/>
                <a:gd name="T26" fmla="*/ 2147483647 w 278"/>
                <a:gd name="T27" fmla="*/ 2147483647 h 379"/>
                <a:gd name="T28" fmla="*/ 2147483647 w 278"/>
                <a:gd name="T29" fmla="*/ 2147483647 h 379"/>
                <a:gd name="T30" fmla="*/ 2147483647 w 278"/>
                <a:gd name="T31" fmla="*/ 2147483647 h 379"/>
                <a:gd name="T32" fmla="*/ 2147483647 w 278"/>
                <a:gd name="T33" fmla="*/ 2147483647 h 379"/>
                <a:gd name="T34" fmla="*/ 2147483647 w 278"/>
                <a:gd name="T35" fmla="*/ 2147483647 h 379"/>
                <a:gd name="T36" fmla="*/ 2147483647 w 278"/>
                <a:gd name="T37" fmla="*/ 2147483647 h 379"/>
                <a:gd name="T38" fmla="*/ 2147483647 w 278"/>
                <a:gd name="T39" fmla="*/ 2147483647 h 379"/>
                <a:gd name="T40" fmla="*/ 2147483647 w 278"/>
                <a:gd name="T41" fmla="*/ 2147483647 h 379"/>
                <a:gd name="T42" fmla="*/ 2147483647 w 278"/>
                <a:gd name="T43" fmla="*/ 2147483647 h 379"/>
                <a:gd name="T44" fmla="*/ 2147483647 w 278"/>
                <a:gd name="T45" fmla="*/ 0 h 379"/>
                <a:gd name="T46" fmla="*/ 2147483647 w 278"/>
                <a:gd name="T47" fmla="*/ 2147483647 h 379"/>
                <a:gd name="T48" fmla="*/ 2147483647 w 278"/>
                <a:gd name="T49" fmla="*/ 2147483647 h 379"/>
                <a:gd name="T50" fmla="*/ 2147483647 w 278"/>
                <a:gd name="T51" fmla="*/ 2147483647 h 379"/>
                <a:gd name="T52" fmla="*/ 2147483647 w 278"/>
                <a:gd name="T53" fmla="*/ 2147483647 h 379"/>
                <a:gd name="T54" fmla="*/ 2147483647 w 278"/>
                <a:gd name="T55" fmla="*/ 2147483647 h 379"/>
                <a:gd name="T56" fmla="*/ 2147483647 w 278"/>
                <a:gd name="T57" fmla="*/ 2147483647 h 379"/>
                <a:gd name="T58" fmla="*/ 2147483647 w 278"/>
                <a:gd name="T59" fmla="*/ 2147483647 h 379"/>
                <a:gd name="T60" fmla="*/ 2147483647 w 278"/>
                <a:gd name="T61" fmla="*/ 2147483647 h 379"/>
                <a:gd name="T62" fmla="*/ 2147483647 w 278"/>
                <a:gd name="T63" fmla="*/ 2147483647 h 379"/>
                <a:gd name="T64" fmla="*/ 2147483647 w 278"/>
                <a:gd name="T65" fmla="*/ 2147483647 h 379"/>
                <a:gd name="T66" fmla="*/ 2147483647 w 278"/>
                <a:gd name="T67" fmla="*/ 2147483647 h 379"/>
                <a:gd name="T68" fmla="*/ 2147483647 w 278"/>
                <a:gd name="T69" fmla="*/ 2147483647 h 379"/>
                <a:gd name="T70" fmla="*/ 2147483647 w 278"/>
                <a:gd name="T71" fmla="*/ 2147483647 h 379"/>
                <a:gd name="T72" fmla="*/ 2147483647 w 278"/>
                <a:gd name="T73" fmla="*/ 2147483647 h 379"/>
                <a:gd name="T74" fmla="*/ 2147483647 w 278"/>
                <a:gd name="T75" fmla="*/ 2147483647 h 379"/>
                <a:gd name="T76" fmla="*/ 2147483647 w 278"/>
                <a:gd name="T77" fmla="*/ 2147483647 h 379"/>
                <a:gd name="T78" fmla="*/ 2147483647 w 278"/>
                <a:gd name="T79" fmla="*/ 2147483647 h 379"/>
                <a:gd name="T80" fmla="*/ 2147483647 w 278"/>
                <a:gd name="T81" fmla="*/ 2147483647 h 379"/>
                <a:gd name="T82" fmla="*/ 2147483647 w 278"/>
                <a:gd name="T83" fmla="*/ 2147483647 h 379"/>
                <a:gd name="T84" fmla="*/ 2147483647 w 278"/>
                <a:gd name="T85" fmla="*/ 2147483647 h 379"/>
                <a:gd name="T86" fmla="*/ 2147483647 w 278"/>
                <a:gd name="T87" fmla="*/ 2147483647 h 379"/>
                <a:gd name="T88" fmla="*/ 2147483647 w 278"/>
                <a:gd name="T89" fmla="*/ 2147483647 h 379"/>
                <a:gd name="T90" fmla="*/ 2147483647 w 278"/>
                <a:gd name="T91" fmla="*/ 2147483647 h 379"/>
                <a:gd name="T92" fmla="*/ 2147483647 w 278"/>
                <a:gd name="T93" fmla="*/ 2147483647 h 379"/>
                <a:gd name="T94" fmla="*/ 2147483647 w 278"/>
                <a:gd name="T95" fmla="*/ 2147483647 h 379"/>
                <a:gd name="T96" fmla="*/ 2147483647 w 278"/>
                <a:gd name="T97" fmla="*/ 2147483647 h 379"/>
                <a:gd name="T98" fmla="*/ 2147483647 w 278"/>
                <a:gd name="T99" fmla="*/ 2147483647 h 379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78"/>
                <a:gd name="T151" fmla="*/ 0 h 379"/>
                <a:gd name="T152" fmla="*/ 278 w 278"/>
                <a:gd name="T153" fmla="*/ 379 h 379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78" h="379">
                  <a:moveTo>
                    <a:pt x="238" y="359"/>
                  </a:moveTo>
                  <a:lnTo>
                    <a:pt x="238" y="359"/>
                  </a:lnTo>
                  <a:lnTo>
                    <a:pt x="238" y="347"/>
                  </a:lnTo>
                  <a:lnTo>
                    <a:pt x="229" y="347"/>
                  </a:lnTo>
                  <a:lnTo>
                    <a:pt x="221" y="336"/>
                  </a:lnTo>
                  <a:lnTo>
                    <a:pt x="218" y="319"/>
                  </a:lnTo>
                  <a:lnTo>
                    <a:pt x="212" y="316"/>
                  </a:lnTo>
                  <a:lnTo>
                    <a:pt x="206" y="310"/>
                  </a:lnTo>
                  <a:lnTo>
                    <a:pt x="201" y="301"/>
                  </a:lnTo>
                  <a:lnTo>
                    <a:pt x="189" y="298"/>
                  </a:lnTo>
                  <a:lnTo>
                    <a:pt x="192" y="281"/>
                  </a:lnTo>
                  <a:lnTo>
                    <a:pt x="195" y="281"/>
                  </a:lnTo>
                  <a:lnTo>
                    <a:pt x="201" y="284"/>
                  </a:lnTo>
                  <a:lnTo>
                    <a:pt x="206" y="281"/>
                  </a:lnTo>
                  <a:lnTo>
                    <a:pt x="206" y="264"/>
                  </a:lnTo>
                  <a:lnTo>
                    <a:pt x="206" y="247"/>
                  </a:lnTo>
                  <a:lnTo>
                    <a:pt x="215" y="238"/>
                  </a:lnTo>
                  <a:lnTo>
                    <a:pt x="218" y="238"/>
                  </a:lnTo>
                  <a:lnTo>
                    <a:pt x="221" y="218"/>
                  </a:lnTo>
                  <a:lnTo>
                    <a:pt x="229" y="201"/>
                  </a:lnTo>
                  <a:lnTo>
                    <a:pt x="238" y="204"/>
                  </a:lnTo>
                  <a:lnTo>
                    <a:pt x="238" y="198"/>
                  </a:lnTo>
                  <a:lnTo>
                    <a:pt x="238" y="195"/>
                  </a:lnTo>
                  <a:lnTo>
                    <a:pt x="244" y="184"/>
                  </a:lnTo>
                  <a:lnTo>
                    <a:pt x="246" y="172"/>
                  </a:lnTo>
                  <a:lnTo>
                    <a:pt x="244" y="158"/>
                  </a:lnTo>
                  <a:lnTo>
                    <a:pt x="246" y="146"/>
                  </a:lnTo>
                  <a:lnTo>
                    <a:pt x="252" y="132"/>
                  </a:lnTo>
                  <a:lnTo>
                    <a:pt x="246" y="129"/>
                  </a:lnTo>
                  <a:lnTo>
                    <a:pt x="252" y="118"/>
                  </a:lnTo>
                  <a:lnTo>
                    <a:pt x="258" y="115"/>
                  </a:lnTo>
                  <a:lnTo>
                    <a:pt x="261" y="109"/>
                  </a:lnTo>
                  <a:lnTo>
                    <a:pt x="272" y="106"/>
                  </a:lnTo>
                  <a:lnTo>
                    <a:pt x="278" y="97"/>
                  </a:lnTo>
                  <a:lnTo>
                    <a:pt x="272" y="92"/>
                  </a:lnTo>
                  <a:lnTo>
                    <a:pt x="267" y="89"/>
                  </a:lnTo>
                  <a:lnTo>
                    <a:pt x="267" y="86"/>
                  </a:lnTo>
                  <a:lnTo>
                    <a:pt x="261" y="83"/>
                  </a:lnTo>
                  <a:lnTo>
                    <a:pt x="258" y="80"/>
                  </a:lnTo>
                  <a:lnTo>
                    <a:pt x="255" y="75"/>
                  </a:lnTo>
                  <a:lnTo>
                    <a:pt x="255" y="57"/>
                  </a:lnTo>
                  <a:lnTo>
                    <a:pt x="252" y="43"/>
                  </a:lnTo>
                  <a:lnTo>
                    <a:pt x="255" y="40"/>
                  </a:lnTo>
                  <a:lnTo>
                    <a:pt x="249" y="31"/>
                  </a:lnTo>
                  <a:lnTo>
                    <a:pt x="246" y="20"/>
                  </a:lnTo>
                  <a:lnTo>
                    <a:pt x="241" y="14"/>
                  </a:lnTo>
                  <a:lnTo>
                    <a:pt x="232" y="6"/>
                  </a:lnTo>
                  <a:lnTo>
                    <a:pt x="226" y="0"/>
                  </a:lnTo>
                  <a:lnTo>
                    <a:pt x="221" y="6"/>
                  </a:lnTo>
                  <a:lnTo>
                    <a:pt x="218" y="6"/>
                  </a:lnTo>
                  <a:lnTo>
                    <a:pt x="215" y="6"/>
                  </a:lnTo>
                  <a:lnTo>
                    <a:pt x="212" y="8"/>
                  </a:lnTo>
                  <a:lnTo>
                    <a:pt x="212" y="14"/>
                  </a:lnTo>
                  <a:lnTo>
                    <a:pt x="209" y="17"/>
                  </a:lnTo>
                  <a:lnTo>
                    <a:pt x="203" y="20"/>
                  </a:lnTo>
                  <a:lnTo>
                    <a:pt x="203" y="26"/>
                  </a:lnTo>
                  <a:lnTo>
                    <a:pt x="192" y="29"/>
                  </a:lnTo>
                  <a:lnTo>
                    <a:pt x="183" y="23"/>
                  </a:lnTo>
                  <a:lnTo>
                    <a:pt x="155" y="23"/>
                  </a:lnTo>
                  <a:lnTo>
                    <a:pt x="155" y="20"/>
                  </a:lnTo>
                  <a:lnTo>
                    <a:pt x="149" y="23"/>
                  </a:lnTo>
                  <a:lnTo>
                    <a:pt x="46" y="26"/>
                  </a:lnTo>
                  <a:lnTo>
                    <a:pt x="48" y="60"/>
                  </a:lnTo>
                  <a:lnTo>
                    <a:pt x="31" y="60"/>
                  </a:lnTo>
                  <a:lnTo>
                    <a:pt x="31" y="69"/>
                  </a:lnTo>
                  <a:lnTo>
                    <a:pt x="34" y="143"/>
                  </a:lnTo>
                  <a:lnTo>
                    <a:pt x="17" y="146"/>
                  </a:lnTo>
                  <a:lnTo>
                    <a:pt x="17" y="152"/>
                  </a:lnTo>
                  <a:lnTo>
                    <a:pt x="14" y="161"/>
                  </a:lnTo>
                  <a:lnTo>
                    <a:pt x="8" y="166"/>
                  </a:lnTo>
                  <a:lnTo>
                    <a:pt x="11" y="175"/>
                  </a:lnTo>
                  <a:lnTo>
                    <a:pt x="2" y="181"/>
                  </a:lnTo>
                  <a:lnTo>
                    <a:pt x="8" y="189"/>
                  </a:lnTo>
                  <a:lnTo>
                    <a:pt x="0" y="201"/>
                  </a:lnTo>
                  <a:lnTo>
                    <a:pt x="8" y="201"/>
                  </a:lnTo>
                  <a:lnTo>
                    <a:pt x="11" y="224"/>
                  </a:lnTo>
                  <a:lnTo>
                    <a:pt x="20" y="227"/>
                  </a:lnTo>
                  <a:lnTo>
                    <a:pt x="17" y="235"/>
                  </a:lnTo>
                  <a:lnTo>
                    <a:pt x="28" y="255"/>
                  </a:lnTo>
                  <a:lnTo>
                    <a:pt x="31" y="261"/>
                  </a:lnTo>
                  <a:lnTo>
                    <a:pt x="28" y="270"/>
                  </a:lnTo>
                  <a:lnTo>
                    <a:pt x="28" y="278"/>
                  </a:lnTo>
                  <a:lnTo>
                    <a:pt x="40" y="278"/>
                  </a:lnTo>
                  <a:lnTo>
                    <a:pt x="40" y="281"/>
                  </a:lnTo>
                  <a:lnTo>
                    <a:pt x="40" y="287"/>
                  </a:lnTo>
                  <a:lnTo>
                    <a:pt x="48" y="287"/>
                  </a:lnTo>
                  <a:lnTo>
                    <a:pt x="48" y="290"/>
                  </a:lnTo>
                  <a:lnTo>
                    <a:pt x="51" y="293"/>
                  </a:lnTo>
                  <a:lnTo>
                    <a:pt x="57" y="296"/>
                  </a:lnTo>
                  <a:lnTo>
                    <a:pt x="57" y="298"/>
                  </a:lnTo>
                  <a:lnTo>
                    <a:pt x="57" y="301"/>
                  </a:lnTo>
                  <a:lnTo>
                    <a:pt x="80" y="321"/>
                  </a:lnTo>
                  <a:lnTo>
                    <a:pt x="77" y="321"/>
                  </a:lnTo>
                  <a:lnTo>
                    <a:pt x="74" y="324"/>
                  </a:lnTo>
                  <a:lnTo>
                    <a:pt x="80" y="330"/>
                  </a:lnTo>
                  <a:lnTo>
                    <a:pt x="91" y="336"/>
                  </a:lnTo>
                  <a:lnTo>
                    <a:pt x="91" y="339"/>
                  </a:lnTo>
                  <a:lnTo>
                    <a:pt x="91" y="344"/>
                  </a:lnTo>
                  <a:lnTo>
                    <a:pt x="100" y="356"/>
                  </a:lnTo>
                  <a:lnTo>
                    <a:pt x="109" y="365"/>
                  </a:lnTo>
                  <a:lnTo>
                    <a:pt x="114" y="362"/>
                  </a:lnTo>
                  <a:lnTo>
                    <a:pt x="117" y="359"/>
                  </a:lnTo>
                  <a:lnTo>
                    <a:pt x="126" y="362"/>
                  </a:lnTo>
                  <a:lnTo>
                    <a:pt x="132" y="356"/>
                  </a:lnTo>
                  <a:lnTo>
                    <a:pt x="146" y="373"/>
                  </a:lnTo>
                  <a:lnTo>
                    <a:pt x="149" y="379"/>
                  </a:lnTo>
                  <a:lnTo>
                    <a:pt x="152" y="379"/>
                  </a:lnTo>
                  <a:lnTo>
                    <a:pt x="160" y="376"/>
                  </a:lnTo>
                  <a:lnTo>
                    <a:pt x="163" y="373"/>
                  </a:lnTo>
                  <a:lnTo>
                    <a:pt x="172" y="376"/>
                  </a:lnTo>
                  <a:lnTo>
                    <a:pt x="178" y="379"/>
                  </a:lnTo>
                  <a:lnTo>
                    <a:pt x="186" y="373"/>
                  </a:lnTo>
                  <a:lnTo>
                    <a:pt x="189" y="373"/>
                  </a:lnTo>
                  <a:lnTo>
                    <a:pt x="195" y="373"/>
                  </a:lnTo>
                  <a:lnTo>
                    <a:pt x="212" y="359"/>
                  </a:lnTo>
                  <a:lnTo>
                    <a:pt x="238" y="35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92" name="Freeform 92"/>
            <p:cNvSpPr>
              <a:spLocks/>
            </p:cNvSpPr>
            <p:nvPr/>
          </p:nvSpPr>
          <p:spPr bwMode="auto">
            <a:xfrm>
              <a:off x="5303838" y="3370263"/>
              <a:ext cx="4762" cy="9525"/>
            </a:xfrm>
            <a:custGeom>
              <a:avLst/>
              <a:gdLst>
                <a:gd name="T0" fmla="*/ 2147483647 w 3"/>
                <a:gd name="T1" fmla="*/ 0 h 6"/>
                <a:gd name="T2" fmla="*/ 0 w 3"/>
                <a:gd name="T3" fmla="*/ 0 h 6"/>
                <a:gd name="T4" fmla="*/ 2147483647 w 3"/>
                <a:gd name="T5" fmla="*/ 2147483647 h 6"/>
                <a:gd name="T6" fmla="*/ 2147483647 w 3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6"/>
                <a:gd name="T14" fmla="*/ 3 w 3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6">
                  <a:moveTo>
                    <a:pt x="3" y="0"/>
                  </a:moveTo>
                  <a:lnTo>
                    <a:pt x="0" y="0"/>
                  </a:lnTo>
                  <a:lnTo>
                    <a:pt x="3" y="6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93" name="Freeform 93"/>
            <p:cNvSpPr>
              <a:spLocks/>
            </p:cNvSpPr>
            <p:nvPr/>
          </p:nvSpPr>
          <p:spPr bwMode="auto">
            <a:xfrm>
              <a:off x="5337175" y="3532188"/>
              <a:ext cx="19050" cy="12700"/>
            </a:xfrm>
            <a:custGeom>
              <a:avLst/>
              <a:gdLst>
                <a:gd name="T0" fmla="*/ 2147483647 w 12"/>
                <a:gd name="T1" fmla="*/ 2147483647 h 8"/>
                <a:gd name="T2" fmla="*/ 2147483647 w 12"/>
                <a:gd name="T3" fmla="*/ 2147483647 h 8"/>
                <a:gd name="T4" fmla="*/ 2147483647 w 12"/>
                <a:gd name="T5" fmla="*/ 0 h 8"/>
                <a:gd name="T6" fmla="*/ 0 w 12"/>
                <a:gd name="T7" fmla="*/ 0 h 8"/>
                <a:gd name="T8" fmla="*/ 0 w 12"/>
                <a:gd name="T9" fmla="*/ 0 h 8"/>
                <a:gd name="T10" fmla="*/ 2147483647 w 12"/>
                <a:gd name="T11" fmla="*/ 2147483647 h 8"/>
                <a:gd name="T12" fmla="*/ 2147483647 w 12"/>
                <a:gd name="T13" fmla="*/ 2147483647 h 8"/>
                <a:gd name="T14" fmla="*/ 2147483647 w 12"/>
                <a:gd name="T15" fmla="*/ 2147483647 h 8"/>
                <a:gd name="T16" fmla="*/ 2147483647 w 12"/>
                <a:gd name="T17" fmla="*/ 2147483647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2"/>
                <a:gd name="T28" fmla="*/ 0 h 8"/>
                <a:gd name="T29" fmla="*/ 12 w 12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2" h="8">
                  <a:moveTo>
                    <a:pt x="12" y="5"/>
                  </a:moveTo>
                  <a:lnTo>
                    <a:pt x="6" y="5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5"/>
                  </a:lnTo>
                  <a:lnTo>
                    <a:pt x="9" y="8"/>
                  </a:lnTo>
                  <a:lnTo>
                    <a:pt x="12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94" name="Freeform 94"/>
            <p:cNvSpPr>
              <a:spLocks/>
            </p:cNvSpPr>
            <p:nvPr/>
          </p:nvSpPr>
          <p:spPr bwMode="auto">
            <a:xfrm>
              <a:off x="3794125" y="3168650"/>
              <a:ext cx="225425" cy="192088"/>
            </a:xfrm>
            <a:custGeom>
              <a:avLst/>
              <a:gdLst>
                <a:gd name="T0" fmla="*/ 0 w 141"/>
                <a:gd name="T1" fmla="*/ 2147483647 h 120"/>
                <a:gd name="T2" fmla="*/ 2147483647 w 141"/>
                <a:gd name="T3" fmla="*/ 2147483647 h 120"/>
                <a:gd name="T4" fmla="*/ 2147483647 w 141"/>
                <a:gd name="T5" fmla="*/ 2147483647 h 120"/>
                <a:gd name="T6" fmla="*/ 2147483647 w 141"/>
                <a:gd name="T7" fmla="*/ 2147483647 h 120"/>
                <a:gd name="T8" fmla="*/ 2147483647 w 141"/>
                <a:gd name="T9" fmla="*/ 2147483647 h 120"/>
                <a:gd name="T10" fmla="*/ 2147483647 w 141"/>
                <a:gd name="T11" fmla="*/ 2147483647 h 120"/>
                <a:gd name="T12" fmla="*/ 2147483647 w 141"/>
                <a:gd name="T13" fmla="*/ 2147483647 h 120"/>
                <a:gd name="T14" fmla="*/ 2147483647 w 141"/>
                <a:gd name="T15" fmla="*/ 2147483647 h 120"/>
                <a:gd name="T16" fmla="*/ 2147483647 w 141"/>
                <a:gd name="T17" fmla="*/ 2147483647 h 120"/>
                <a:gd name="T18" fmla="*/ 2147483647 w 141"/>
                <a:gd name="T19" fmla="*/ 2147483647 h 120"/>
                <a:gd name="T20" fmla="*/ 2147483647 w 141"/>
                <a:gd name="T21" fmla="*/ 0 h 120"/>
                <a:gd name="T22" fmla="*/ 2147483647 w 141"/>
                <a:gd name="T23" fmla="*/ 0 h 120"/>
                <a:gd name="T24" fmla="*/ 2147483647 w 141"/>
                <a:gd name="T25" fmla="*/ 2147483647 h 120"/>
                <a:gd name="T26" fmla="*/ 2147483647 w 141"/>
                <a:gd name="T27" fmla="*/ 2147483647 h 120"/>
                <a:gd name="T28" fmla="*/ 2147483647 w 141"/>
                <a:gd name="T29" fmla="*/ 2147483647 h 120"/>
                <a:gd name="T30" fmla="*/ 2147483647 w 141"/>
                <a:gd name="T31" fmla="*/ 2147483647 h 120"/>
                <a:gd name="T32" fmla="*/ 2147483647 w 141"/>
                <a:gd name="T33" fmla="*/ 2147483647 h 120"/>
                <a:gd name="T34" fmla="*/ 2147483647 w 141"/>
                <a:gd name="T35" fmla="*/ 2147483647 h 120"/>
                <a:gd name="T36" fmla="*/ 2147483647 w 141"/>
                <a:gd name="T37" fmla="*/ 2147483647 h 120"/>
                <a:gd name="T38" fmla="*/ 2147483647 w 141"/>
                <a:gd name="T39" fmla="*/ 2147483647 h 120"/>
                <a:gd name="T40" fmla="*/ 2147483647 w 141"/>
                <a:gd name="T41" fmla="*/ 2147483647 h 120"/>
                <a:gd name="T42" fmla="*/ 2147483647 w 141"/>
                <a:gd name="T43" fmla="*/ 2147483647 h 120"/>
                <a:gd name="T44" fmla="*/ 2147483647 w 141"/>
                <a:gd name="T45" fmla="*/ 2147483647 h 120"/>
                <a:gd name="T46" fmla="*/ 2147483647 w 141"/>
                <a:gd name="T47" fmla="*/ 2147483647 h 120"/>
                <a:gd name="T48" fmla="*/ 2147483647 w 141"/>
                <a:gd name="T49" fmla="*/ 2147483647 h 120"/>
                <a:gd name="T50" fmla="*/ 2147483647 w 141"/>
                <a:gd name="T51" fmla="*/ 2147483647 h 120"/>
                <a:gd name="T52" fmla="*/ 2147483647 w 141"/>
                <a:gd name="T53" fmla="*/ 2147483647 h 120"/>
                <a:gd name="T54" fmla="*/ 2147483647 w 141"/>
                <a:gd name="T55" fmla="*/ 2147483647 h 120"/>
                <a:gd name="T56" fmla="*/ 2147483647 w 141"/>
                <a:gd name="T57" fmla="*/ 2147483647 h 120"/>
                <a:gd name="T58" fmla="*/ 0 w 141"/>
                <a:gd name="T59" fmla="*/ 2147483647 h 120"/>
                <a:gd name="T60" fmla="*/ 0 w 141"/>
                <a:gd name="T61" fmla="*/ 2147483647 h 12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41"/>
                <a:gd name="T94" fmla="*/ 0 h 120"/>
                <a:gd name="T95" fmla="*/ 141 w 141"/>
                <a:gd name="T96" fmla="*/ 120 h 12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41" h="120">
                  <a:moveTo>
                    <a:pt x="0" y="120"/>
                  </a:moveTo>
                  <a:lnTo>
                    <a:pt x="64" y="120"/>
                  </a:lnTo>
                  <a:lnTo>
                    <a:pt x="64" y="92"/>
                  </a:lnTo>
                  <a:lnTo>
                    <a:pt x="75" y="86"/>
                  </a:lnTo>
                  <a:lnTo>
                    <a:pt x="84" y="80"/>
                  </a:lnTo>
                  <a:lnTo>
                    <a:pt x="87" y="31"/>
                  </a:lnTo>
                  <a:lnTo>
                    <a:pt x="141" y="31"/>
                  </a:lnTo>
                  <a:lnTo>
                    <a:pt x="141" y="8"/>
                  </a:lnTo>
                  <a:lnTo>
                    <a:pt x="141" y="3"/>
                  </a:lnTo>
                  <a:lnTo>
                    <a:pt x="72" y="0"/>
                  </a:lnTo>
                  <a:lnTo>
                    <a:pt x="64" y="11"/>
                  </a:lnTo>
                  <a:lnTo>
                    <a:pt x="43" y="34"/>
                  </a:lnTo>
                  <a:lnTo>
                    <a:pt x="41" y="43"/>
                  </a:lnTo>
                  <a:lnTo>
                    <a:pt x="41" y="52"/>
                  </a:lnTo>
                  <a:lnTo>
                    <a:pt x="35" y="60"/>
                  </a:lnTo>
                  <a:lnTo>
                    <a:pt x="26" y="66"/>
                  </a:lnTo>
                  <a:lnTo>
                    <a:pt x="20" y="77"/>
                  </a:lnTo>
                  <a:lnTo>
                    <a:pt x="12" y="92"/>
                  </a:lnTo>
                  <a:lnTo>
                    <a:pt x="9" y="97"/>
                  </a:lnTo>
                  <a:lnTo>
                    <a:pt x="9" y="100"/>
                  </a:lnTo>
                  <a:lnTo>
                    <a:pt x="3" y="109"/>
                  </a:lnTo>
                  <a:lnTo>
                    <a:pt x="0" y="12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95" name="Freeform 95"/>
            <p:cNvSpPr>
              <a:spLocks/>
            </p:cNvSpPr>
            <p:nvPr/>
          </p:nvSpPr>
          <p:spPr bwMode="auto">
            <a:xfrm>
              <a:off x="5373688" y="3495675"/>
              <a:ext cx="22225" cy="26988"/>
            </a:xfrm>
            <a:custGeom>
              <a:avLst/>
              <a:gdLst>
                <a:gd name="T0" fmla="*/ 0 w 14"/>
                <a:gd name="T1" fmla="*/ 0 h 17"/>
                <a:gd name="T2" fmla="*/ 0 w 14"/>
                <a:gd name="T3" fmla="*/ 2147483647 h 17"/>
                <a:gd name="T4" fmla="*/ 2147483647 w 14"/>
                <a:gd name="T5" fmla="*/ 2147483647 h 17"/>
                <a:gd name="T6" fmla="*/ 2147483647 w 14"/>
                <a:gd name="T7" fmla="*/ 2147483647 h 17"/>
                <a:gd name="T8" fmla="*/ 2147483647 w 14"/>
                <a:gd name="T9" fmla="*/ 2147483647 h 17"/>
                <a:gd name="T10" fmla="*/ 2147483647 w 14"/>
                <a:gd name="T11" fmla="*/ 2147483647 h 17"/>
                <a:gd name="T12" fmla="*/ 2147483647 w 14"/>
                <a:gd name="T13" fmla="*/ 2147483647 h 17"/>
                <a:gd name="T14" fmla="*/ 2147483647 w 14"/>
                <a:gd name="T15" fmla="*/ 2147483647 h 17"/>
                <a:gd name="T16" fmla="*/ 2147483647 w 14"/>
                <a:gd name="T17" fmla="*/ 2147483647 h 17"/>
                <a:gd name="T18" fmla="*/ 2147483647 w 14"/>
                <a:gd name="T19" fmla="*/ 2147483647 h 17"/>
                <a:gd name="T20" fmla="*/ 0 w 14"/>
                <a:gd name="T21" fmla="*/ 0 h 1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4"/>
                <a:gd name="T34" fmla="*/ 0 h 17"/>
                <a:gd name="T35" fmla="*/ 14 w 14"/>
                <a:gd name="T36" fmla="*/ 17 h 1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4" h="17">
                  <a:moveTo>
                    <a:pt x="0" y="0"/>
                  </a:moveTo>
                  <a:lnTo>
                    <a:pt x="0" y="5"/>
                  </a:lnTo>
                  <a:lnTo>
                    <a:pt x="6" y="8"/>
                  </a:lnTo>
                  <a:lnTo>
                    <a:pt x="11" y="17"/>
                  </a:lnTo>
                  <a:lnTo>
                    <a:pt x="14" y="17"/>
                  </a:lnTo>
                  <a:lnTo>
                    <a:pt x="14" y="14"/>
                  </a:lnTo>
                  <a:lnTo>
                    <a:pt x="11" y="14"/>
                  </a:lnTo>
                  <a:lnTo>
                    <a:pt x="6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96" name="Freeform 96"/>
            <p:cNvSpPr>
              <a:spLocks/>
            </p:cNvSpPr>
            <p:nvPr/>
          </p:nvSpPr>
          <p:spPr bwMode="auto">
            <a:xfrm>
              <a:off x="5299075" y="3343275"/>
              <a:ext cx="4763" cy="9525"/>
            </a:xfrm>
            <a:custGeom>
              <a:avLst/>
              <a:gdLst>
                <a:gd name="T0" fmla="*/ 0 w 3"/>
                <a:gd name="T1" fmla="*/ 0 h 6"/>
                <a:gd name="T2" fmla="*/ 0 w 3"/>
                <a:gd name="T3" fmla="*/ 2147483647 h 6"/>
                <a:gd name="T4" fmla="*/ 2147483647 w 3"/>
                <a:gd name="T5" fmla="*/ 2147483647 h 6"/>
                <a:gd name="T6" fmla="*/ 2147483647 w 3"/>
                <a:gd name="T7" fmla="*/ 2147483647 h 6"/>
                <a:gd name="T8" fmla="*/ 0 w 3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0" y="0"/>
                  </a:moveTo>
                  <a:lnTo>
                    <a:pt x="0" y="6"/>
                  </a:lnTo>
                  <a:lnTo>
                    <a:pt x="3" y="6"/>
                  </a:lnTo>
                  <a:lnTo>
                    <a:pt x="3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97" name="Freeform 97"/>
            <p:cNvSpPr>
              <a:spLocks/>
            </p:cNvSpPr>
            <p:nvPr/>
          </p:nvSpPr>
          <p:spPr bwMode="auto">
            <a:xfrm>
              <a:off x="5414963" y="2789238"/>
              <a:ext cx="17462" cy="14287"/>
            </a:xfrm>
            <a:custGeom>
              <a:avLst/>
              <a:gdLst>
                <a:gd name="T0" fmla="*/ 2147483647 w 11"/>
                <a:gd name="T1" fmla="*/ 2147483647 h 9"/>
                <a:gd name="T2" fmla="*/ 2147483647 w 11"/>
                <a:gd name="T3" fmla="*/ 2147483647 h 9"/>
                <a:gd name="T4" fmla="*/ 2147483647 w 11"/>
                <a:gd name="T5" fmla="*/ 2147483647 h 9"/>
                <a:gd name="T6" fmla="*/ 2147483647 w 11"/>
                <a:gd name="T7" fmla="*/ 2147483647 h 9"/>
                <a:gd name="T8" fmla="*/ 2147483647 w 11"/>
                <a:gd name="T9" fmla="*/ 2147483647 h 9"/>
                <a:gd name="T10" fmla="*/ 2147483647 w 11"/>
                <a:gd name="T11" fmla="*/ 2147483647 h 9"/>
                <a:gd name="T12" fmla="*/ 2147483647 w 11"/>
                <a:gd name="T13" fmla="*/ 2147483647 h 9"/>
                <a:gd name="T14" fmla="*/ 2147483647 w 11"/>
                <a:gd name="T15" fmla="*/ 2147483647 h 9"/>
                <a:gd name="T16" fmla="*/ 2147483647 w 11"/>
                <a:gd name="T17" fmla="*/ 2147483647 h 9"/>
                <a:gd name="T18" fmla="*/ 0 w 11"/>
                <a:gd name="T19" fmla="*/ 0 h 9"/>
                <a:gd name="T20" fmla="*/ 0 w 11"/>
                <a:gd name="T21" fmla="*/ 0 h 9"/>
                <a:gd name="T22" fmla="*/ 0 w 11"/>
                <a:gd name="T23" fmla="*/ 2147483647 h 9"/>
                <a:gd name="T24" fmla="*/ 2147483647 w 11"/>
                <a:gd name="T25" fmla="*/ 2147483647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1"/>
                <a:gd name="T40" fmla="*/ 0 h 9"/>
                <a:gd name="T41" fmla="*/ 11 w 11"/>
                <a:gd name="T42" fmla="*/ 9 h 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1" h="9">
                  <a:moveTo>
                    <a:pt x="6" y="9"/>
                  </a:moveTo>
                  <a:lnTo>
                    <a:pt x="6" y="9"/>
                  </a:lnTo>
                  <a:lnTo>
                    <a:pt x="8" y="6"/>
                  </a:lnTo>
                  <a:lnTo>
                    <a:pt x="11" y="6"/>
                  </a:lnTo>
                  <a:lnTo>
                    <a:pt x="8" y="6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6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98" name="Freeform 98"/>
            <p:cNvSpPr>
              <a:spLocks/>
            </p:cNvSpPr>
            <p:nvPr/>
          </p:nvSpPr>
          <p:spPr bwMode="auto">
            <a:xfrm>
              <a:off x="5373688" y="2744788"/>
              <a:ext cx="63500" cy="49212"/>
            </a:xfrm>
            <a:custGeom>
              <a:avLst/>
              <a:gdLst>
                <a:gd name="T0" fmla="*/ 2147483647 w 40"/>
                <a:gd name="T1" fmla="*/ 2147483647 h 31"/>
                <a:gd name="T2" fmla="*/ 2147483647 w 40"/>
                <a:gd name="T3" fmla="*/ 2147483647 h 31"/>
                <a:gd name="T4" fmla="*/ 2147483647 w 40"/>
                <a:gd name="T5" fmla="*/ 2147483647 h 31"/>
                <a:gd name="T6" fmla="*/ 2147483647 w 40"/>
                <a:gd name="T7" fmla="*/ 2147483647 h 31"/>
                <a:gd name="T8" fmla="*/ 2147483647 w 40"/>
                <a:gd name="T9" fmla="*/ 2147483647 h 31"/>
                <a:gd name="T10" fmla="*/ 2147483647 w 40"/>
                <a:gd name="T11" fmla="*/ 2147483647 h 31"/>
                <a:gd name="T12" fmla="*/ 2147483647 w 40"/>
                <a:gd name="T13" fmla="*/ 2147483647 h 31"/>
                <a:gd name="T14" fmla="*/ 2147483647 w 40"/>
                <a:gd name="T15" fmla="*/ 2147483647 h 31"/>
                <a:gd name="T16" fmla="*/ 2147483647 w 40"/>
                <a:gd name="T17" fmla="*/ 2147483647 h 31"/>
                <a:gd name="T18" fmla="*/ 2147483647 w 40"/>
                <a:gd name="T19" fmla="*/ 2147483647 h 31"/>
                <a:gd name="T20" fmla="*/ 2147483647 w 40"/>
                <a:gd name="T21" fmla="*/ 2147483647 h 31"/>
                <a:gd name="T22" fmla="*/ 2147483647 w 40"/>
                <a:gd name="T23" fmla="*/ 2147483647 h 31"/>
                <a:gd name="T24" fmla="*/ 2147483647 w 40"/>
                <a:gd name="T25" fmla="*/ 2147483647 h 31"/>
                <a:gd name="T26" fmla="*/ 2147483647 w 40"/>
                <a:gd name="T27" fmla="*/ 2147483647 h 31"/>
                <a:gd name="T28" fmla="*/ 2147483647 w 40"/>
                <a:gd name="T29" fmla="*/ 2147483647 h 31"/>
                <a:gd name="T30" fmla="*/ 2147483647 w 40"/>
                <a:gd name="T31" fmla="*/ 2147483647 h 31"/>
                <a:gd name="T32" fmla="*/ 2147483647 w 40"/>
                <a:gd name="T33" fmla="*/ 2147483647 h 31"/>
                <a:gd name="T34" fmla="*/ 2147483647 w 40"/>
                <a:gd name="T35" fmla="*/ 2147483647 h 31"/>
                <a:gd name="T36" fmla="*/ 2147483647 w 40"/>
                <a:gd name="T37" fmla="*/ 2147483647 h 31"/>
                <a:gd name="T38" fmla="*/ 2147483647 w 40"/>
                <a:gd name="T39" fmla="*/ 2147483647 h 31"/>
                <a:gd name="T40" fmla="*/ 2147483647 w 40"/>
                <a:gd name="T41" fmla="*/ 0 h 31"/>
                <a:gd name="T42" fmla="*/ 2147483647 w 40"/>
                <a:gd name="T43" fmla="*/ 2147483647 h 31"/>
                <a:gd name="T44" fmla="*/ 0 w 40"/>
                <a:gd name="T45" fmla="*/ 2147483647 h 31"/>
                <a:gd name="T46" fmla="*/ 2147483647 w 40"/>
                <a:gd name="T47" fmla="*/ 2147483647 h 31"/>
                <a:gd name="T48" fmla="*/ 2147483647 w 40"/>
                <a:gd name="T49" fmla="*/ 2147483647 h 31"/>
                <a:gd name="T50" fmla="*/ 2147483647 w 40"/>
                <a:gd name="T51" fmla="*/ 2147483647 h 31"/>
                <a:gd name="T52" fmla="*/ 2147483647 w 40"/>
                <a:gd name="T53" fmla="*/ 2147483647 h 31"/>
                <a:gd name="T54" fmla="*/ 2147483647 w 40"/>
                <a:gd name="T55" fmla="*/ 2147483647 h 3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40"/>
                <a:gd name="T85" fmla="*/ 0 h 31"/>
                <a:gd name="T86" fmla="*/ 40 w 40"/>
                <a:gd name="T87" fmla="*/ 31 h 31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40" h="31">
                  <a:moveTo>
                    <a:pt x="23" y="28"/>
                  </a:moveTo>
                  <a:lnTo>
                    <a:pt x="26" y="26"/>
                  </a:lnTo>
                  <a:lnTo>
                    <a:pt x="29" y="26"/>
                  </a:lnTo>
                  <a:lnTo>
                    <a:pt x="32" y="28"/>
                  </a:lnTo>
                  <a:lnTo>
                    <a:pt x="34" y="31"/>
                  </a:lnTo>
                  <a:lnTo>
                    <a:pt x="40" y="28"/>
                  </a:lnTo>
                  <a:lnTo>
                    <a:pt x="34" y="23"/>
                  </a:lnTo>
                  <a:lnTo>
                    <a:pt x="34" y="20"/>
                  </a:lnTo>
                  <a:lnTo>
                    <a:pt x="37" y="20"/>
                  </a:lnTo>
                  <a:lnTo>
                    <a:pt x="34" y="20"/>
                  </a:lnTo>
                  <a:lnTo>
                    <a:pt x="29" y="11"/>
                  </a:lnTo>
                  <a:lnTo>
                    <a:pt x="29" y="5"/>
                  </a:lnTo>
                  <a:lnTo>
                    <a:pt x="23" y="3"/>
                  </a:lnTo>
                  <a:lnTo>
                    <a:pt x="20" y="0"/>
                  </a:lnTo>
                  <a:lnTo>
                    <a:pt x="11" y="3"/>
                  </a:lnTo>
                  <a:lnTo>
                    <a:pt x="0" y="3"/>
                  </a:lnTo>
                  <a:lnTo>
                    <a:pt x="3" y="14"/>
                  </a:lnTo>
                  <a:lnTo>
                    <a:pt x="6" y="20"/>
                  </a:lnTo>
                  <a:lnTo>
                    <a:pt x="11" y="20"/>
                  </a:lnTo>
                  <a:lnTo>
                    <a:pt x="20" y="26"/>
                  </a:lnTo>
                  <a:lnTo>
                    <a:pt x="23" y="2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99" name="Freeform 99"/>
            <p:cNvSpPr>
              <a:spLocks/>
            </p:cNvSpPr>
            <p:nvPr/>
          </p:nvSpPr>
          <p:spPr bwMode="auto">
            <a:xfrm>
              <a:off x="5432425" y="2803525"/>
              <a:ext cx="9525" cy="4763"/>
            </a:xfrm>
            <a:custGeom>
              <a:avLst/>
              <a:gdLst>
                <a:gd name="T0" fmla="*/ 2147483647 w 6"/>
                <a:gd name="T1" fmla="*/ 2147483647 h 3"/>
                <a:gd name="T2" fmla="*/ 0 w 6"/>
                <a:gd name="T3" fmla="*/ 0 h 3"/>
                <a:gd name="T4" fmla="*/ 0 w 6"/>
                <a:gd name="T5" fmla="*/ 0 h 3"/>
                <a:gd name="T6" fmla="*/ 0 w 6"/>
                <a:gd name="T7" fmla="*/ 2147483647 h 3"/>
                <a:gd name="T8" fmla="*/ 2147483647 w 6"/>
                <a:gd name="T9" fmla="*/ 2147483647 h 3"/>
                <a:gd name="T10" fmla="*/ 2147483647 w 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3" y="3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6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00" name="Freeform 100"/>
            <p:cNvSpPr>
              <a:spLocks/>
            </p:cNvSpPr>
            <p:nvPr/>
          </p:nvSpPr>
          <p:spPr bwMode="auto">
            <a:xfrm>
              <a:off x="5387975" y="3495675"/>
              <a:ext cx="12700" cy="17463"/>
            </a:xfrm>
            <a:custGeom>
              <a:avLst/>
              <a:gdLst>
                <a:gd name="T0" fmla="*/ 2147483647 w 8"/>
                <a:gd name="T1" fmla="*/ 2147483647 h 11"/>
                <a:gd name="T2" fmla="*/ 2147483647 w 8"/>
                <a:gd name="T3" fmla="*/ 2147483647 h 11"/>
                <a:gd name="T4" fmla="*/ 2147483647 w 8"/>
                <a:gd name="T5" fmla="*/ 2147483647 h 11"/>
                <a:gd name="T6" fmla="*/ 2147483647 w 8"/>
                <a:gd name="T7" fmla="*/ 2147483647 h 11"/>
                <a:gd name="T8" fmla="*/ 2147483647 w 8"/>
                <a:gd name="T9" fmla="*/ 2147483647 h 11"/>
                <a:gd name="T10" fmla="*/ 0 w 8"/>
                <a:gd name="T11" fmla="*/ 0 h 11"/>
                <a:gd name="T12" fmla="*/ 0 w 8"/>
                <a:gd name="T13" fmla="*/ 2147483647 h 11"/>
                <a:gd name="T14" fmla="*/ 0 w 8"/>
                <a:gd name="T15" fmla="*/ 2147483647 h 11"/>
                <a:gd name="T16" fmla="*/ 2147483647 w 8"/>
                <a:gd name="T17" fmla="*/ 2147483647 h 11"/>
                <a:gd name="T18" fmla="*/ 2147483647 w 8"/>
                <a:gd name="T19" fmla="*/ 2147483647 h 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"/>
                <a:gd name="T31" fmla="*/ 0 h 11"/>
                <a:gd name="T32" fmla="*/ 8 w 8"/>
                <a:gd name="T33" fmla="*/ 11 h 1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" h="11">
                  <a:moveTo>
                    <a:pt x="5" y="8"/>
                  </a:moveTo>
                  <a:lnTo>
                    <a:pt x="8" y="11"/>
                  </a:lnTo>
                  <a:lnTo>
                    <a:pt x="8" y="8"/>
                  </a:lnTo>
                  <a:lnTo>
                    <a:pt x="5" y="5"/>
                  </a:lnTo>
                  <a:lnTo>
                    <a:pt x="2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2" y="8"/>
                  </a:lnTo>
                  <a:lnTo>
                    <a:pt x="5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01" name="Freeform 101"/>
            <p:cNvSpPr>
              <a:spLocks/>
            </p:cNvSpPr>
            <p:nvPr/>
          </p:nvSpPr>
          <p:spPr bwMode="auto">
            <a:xfrm>
              <a:off x="5272088" y="2676525"/>
              <a:ext cx="174625" cy="68263"/>
            </a:xfrm>
            <a:custGeom>
              <a:avLst/>
              <a:gdLst>
                <a:gd name="T0" fmla="*/ 2147483647 w 109"/>
                <a:gd name="T1" fmla="*/ 2147483647 h 43"/>
                <a:gd name="T2" fmla="*/ 2147483647 w 109"/>
                <a:gd name="T3" fmla="*/ 2147483647 h 43"/>
                <a:gd name="T4" fmla="*/ 2147483647 w 109"/>
                <a:gd name="T5" fmla="*/ 2147483647 h 43"/>
                <a:gd name="T6" fmla="*/ 2147483647 w 109"/>
                <a:gd name="T7" fmla="*/ 2147483647 h 43"/>
                <a:gd name="T8" fmla="*/ 2147483647 w 109"/>
                <a:gd name="T9" fmla="*/ 2147483647 h 43"/>
                <a:gd name="T10" fmla="*/ 2147483647 w 109"/>
                <a:gd name="T11" fmla="*/ 2147483647 h 43"/>
                <a:gd name="T12" fmla="*/ 2147483647 w 109"/>
                <a:gd name="T13" fmla="*/ 2147483647 h 43"/>
                <a:gd name="T14" fmla="*/ 2147483647 w 109"/>
                <a:gd name="T15" fmla="*/ 2147483647 h 43"/>
                <a:gd name="T16" fmla="*/ 2147483647 w 109"/>
                <a:gd name="T17" fmla="*/ 2147483647 h 43"/>
                <a:gd name="T18" fmla="*/ 2147483647 w 109"/>
                <a:gd name="T19" fmla="*/ 2147483647 h 43"/>
                <a:gd name="T20" fmla="*/ 2147483647 w 109"/>
                <a:gd name="T21" fmla="*/ 2147483647 h 43"/>
                <a:gd name="T22" fmla="*/ 2147483647 w 109"/>
                <a:gd name="T23" fmla="*/ 2147483647 h 43"/>
                <a:gd name="T24" fmla="*/ 2147483647 w 109"/>
                <a:gd name="T25" fmla="*/ 0 h 43"/>
                <a:gd name="T26" fmla="*/ 0 w 109"/>
                <a:gd name="T27" fmla="*/ 2147483647 h 43"/>
                <a:gd name="T28" fmla="*/ 0 w 109"/>
                <a:gd name="T29" fmla="*/ 2147483647 h 43"/>
                <a:gd name="T30" fmla="*/ 2147483647 w 109"/>
                <a:gd name="T31" fmla="*/ 2147483647 h 43"/>
                <a:gd name="T32" fmla="*/ 2147483647 w 109"/>
                <a:gd name="T33" fmla="*/ 2147483647 h 43"/>
                <a:gd name="T34" fmla="*/ 2147483647 w 109"/>
                <a:gd name="T35" fmla="*/ 2147483647 h 43"/>
                <a:gd name="T36" fmla="*/ 2147483647 w 109"/>
                <a:gd name="T37" fmla="*/ 2147483647 h 43"/>
                <a:gd name="T38" fmla="*/ 2147483647 w 109"/>
                <a:gd name="T39" fmla="*/ 2147483647 h 43"/>
                <a:gd name="T40" fmla="*/ 2147483647 w 109"/>
                <a:gd name="T41" fmla="*/ 2147483647 h 43"/>
                <a:gd name="T42" fmla="*/ 2147483647 w 109"/>
                <a:gd name="T43" fmla="*/ 2147483647 h 43"/>
                <a:gd name="T44" fmla="*/ 2147483647 w 109"/>
                <a:gd name="T45" fmla="*/ 2147483647 h 43"/>
                <a:gd name="T46" fmla="*/ 2147483647 w 109"/>
                <a:gd name="T47" fmla="*/ 2147483647 h 43"/>
                <a:gd name="T48" fmla="*/ 2147483647 w 109"/>
                <a:gd name="T49" fmla="*/ 2147483647 h 43"/>
                <a:gd name="T50" fmla="*/ 2147483647 w 109"/>
                <a:gd name="T51" fmla="*/ 2147483647 h 43"/>
                <a:gd name="T52" fmla="*/ 2147483647 w 109"/>
                <a:gd name="T53" fmla="*/ 2147483647 h 43"/>
                <a:gd name="T54" fmla="*/ 2147483647 w 109"/>
                <a:gd name="T55" fmla="*/ 2147483647 h 43"/>
                <a:gd name="T56" fmla="*/ 2147483647 w 109"/>
                <a:gd name="T57" fmla="*/ 2147483647 h 43"/>
                <a:gd name="T58" fmla="*/ 2147483647 w 109"/>
                <a:gd name="T59" fmla="*/ 2147483647 h 43"/>
                <a:gd name="T60" fmla="*/ 2147483647 w 109"/>
                <a:gd name="T61" fmla="*/ 2147483647 h 43"/>
                <a:gd name="T62" fmla="*/ 2147483647 w 109"/>
                <a:gd name="T63" fmla="*/ 2147483647 h 43"/>
                <a:gd name="T64" fmla="*/ 2147483647 w 109"/>
                <a:gd name="T65" fmla="*/ 2147483647 h 43"/>
                <a:gd name="T66" fmla="*/ 2147483647 w 109"/>
                <a:gd name="T67" fmla="*/ 2147483647 h 43"/>
                <a:gd name="T68" fmla="*/ 2147483647 w 109"/>
                <a:gd name="T69" fmla="*/ 2147483647 h 43"/>
                <a:gd name="T70" fmla="*/ 2147483647 w 109"/>
                <a:gd name="T71" fmla="*/ 2147483647 h 43"/>
                <a:gd name="T72" fmla="*/ 2147483647 w 109"/>
                <a:gd name="T73" fmla="*/ 2147483647 h 43"/>
                <a:gd name="T74" fmla="*/ 2147483647 w 109"/>
                <a:gd name="T75" fmla="*/ 2147483647 h 43"/>
                <a:gd name="T76" fmla="*/ 2147483647 w 109"/>
                <a:gd name="T77" fmla="*/ 2147483647 h 43"/>
                <a:gd name="T78" fmla="*/ 2147483647 w 109"/>
                <a:gd name="T79" fmla="*/ 2147483647 h 43"/>
                <a:gd name="T80" fmla="*/ 2147483647 w 109"/>
                <a:gd name="T81" fmla="*/ 2147483647 h 43"/>
                <a:gd name="T82" fmla="*/ 2147483647 w 109"/>
                <a:gd name="T83" fmla="*/ 2147483647 h 43"/>
                <a:gd name="T84" fmla="*/ 2147483647 w 109"/>
                <a:gd name="T85" fmla="*/ 2147483647 h 43"/>
                <a:gd name="T86" fmla="*/ 2147483647 w 109"/>
                <a:gd name="T87" fmla="*/ 2147483647 h 43"/>
                <a:gd name="T88" fmla="*/ 2147483647 w 109"/>
                <a:gd name="T89" fmla="*/ 2147483647 h 43"/>
                <a:gd name="T90" fmla="*/ 2147483647 w 109"/>
                <a:gd name="T91" fmla="*/ 2147483647 h 43"/>
                <a:gd name="T92" fmla="*/ 2147483647 w 109"/>
                <a:gd name="T93" fmla="*/ 2147483647 h 43"/>
                <a:gd name="T94" fmla="*/ 2147483647 w 109"/>
                <a:gd name="T95" fmla="*/ 2147483647 h 43"/>
                <a:gd name="T96" fmla="*/ 2147483647 w 109"/>
                <a:gd name="T97" fmla="*/ 2147483647 h 43"/>
                <a:gd name="T98" fmla="*/ 2147483647 w 109"/>
                <a:gd name="T99" fmla="*/ 2147483647 h 43"/>
                <a:gd name="T100" fmla="*/ 2147483647 w 109"/>
                <a:gd name="T101" fmla="*/ 2147483647 h 43"/>
                <a:gd name="T102" fmla="*/ 2147483647 w 109"/>
                <a:gd name="T103" fmla="*/ 2147483647 h 43"/>
                <a:gd name="T104" fmla="*/ 2147483647 w 109"/>
                <a:gd name="T105" fmla="*/ 2147483647 h 43"/>
                <a:gd name="T106" fmla="*/ 2147483647 w 109"/>
                <a:gd name="T107" fmla="*/ 2147483647 h 43"/>
                <a:gd name="T108" fmla="*/ 2147483647 w 109"/>
                <a:gd name="T109" fmla="*/ 2147483647 h 4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9"/>
                <a:gd name="T166" fmla="*/ 0 h 43"/>
                <a:gd name="T167" fmla="*/ 109 w 109"/>
                <a:gd name="T168" fmla="*/ 43 h 4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9" h="43">
                  <a:moveTo>
                    <a:pt x="54" y="14"/>
                  </a:moveTo>
                  <a:lnTo>
                    <a:pt x="54" y="14"/>
                  </a:lnTo>
                  <a:lnTo>
                    <a:pt x="43" y="5"/>
                  </a:lnTo>
                  <a:lnTo>
                    <a:pt x="37" y="5"/>
                  </a:lnTo>
                  <a:lnTo>
                    <a:pt x="34" y="5"/>
                  </a:lnTo>
                  <a:lnTo>
                    <a:pt x="17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17" y="11"/>
                  </a:lnTo>
                  <a:lnTo>
                    <a:pt x="23" y="17"/>
                  </a:lnTo>
                  <a:lnTo>
                    <a:pt x="29" y="26"/>
                  </a:lnTo>
                  <a:lnTo>
                    <a:pt x="29" y="28"/>
                  </a:lnTo>
                  <a:lnTo>
                    <a:pt x="26" y="34"/>
                  </a:lnTo>
                  <a:lnTo>
                    <a:pt x="29" y="34"/>
                  </a:lnTo>
                  <a:lnTo>
                    <a:pt x="37" y="37"/>
                  </a:lnTo>
                  <a:lnTo>
                    <a:pt x="46" y="31"/>
                  </a:lnTo>
                  <a:lnTo>
                    <a:pt x="52" y="34"/>
                  </a:lnTo>
                  <a:lnTo>
                    <a:pt x="60" y="40"/>
                  </a:lnTo>
                  <a:lnTo>
                    <a:pt x="74" y="43"/>
                  </a:lnTo>
                  <a:lnTo>
                    <a:pt x="86" y="37"/>
                  </a:lnTo>
                  <a:lnTo>
                    <a:pt x="95" y="37"/>
                  </a:lnTo>
                  <a:lnTo>
                    <a:pt x="103" y="43"/>
                  </a:lnTo>
                  <a:lnTo>
                    <a:pt x="109" y="43"/>
                  </a:lnTo>
                  <a:lnTo>
                    <a:pt x="109" y="40"/>
                  </a:lnTo>
                  <a:lnTo>
                    <a:pt x="97" y="34"/>
                  </a:lnTo>
                  <a:lnTo>
                    <a:pt x="103" y="31"/>
                  </a:lnTo>
                  <a:lnTo>
                    <a:pt x="92" y="26"/>
                  </a:lnTo>
                  <a:lnTo>
                    <a:pt x="89" y="20"/>
                  </a:lnTo>
                  <a:lnTo>
                    <a:pt x="77" y="14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17"/>
                  </a:lnTo>
                  <a:lnTo>
                    <a:pt x="60" y="17"/>
                  </a:lnTo>
                  <a:lnTo>
                    <a:pt x="57" y="14"/>
                  </a:lnTo>
                  <a:lnTo>
                    <a:pt x="54" y="1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02" name="Freeform 102"/>
            <p:cNvSpPr>
              <a:spLocks/>
            </p:cNvSpPr>
            <p:nvPr/>
          </p:nvSpPr>
          <p:spPr bwMode="auto">
            <a:xfrm>
              <a:off x="5497513" y="3094038"/>
              <a:ext cx="46037" cy="46037"/>
            </a:xfrm>
            <a:custGeom>
              <a:avLst/>
              <a:gdLst>
                <a:gd name="T0" fmla="*/ 2147483647 w 29"/>
                <a:gd name="T1" fmla="*/ 2147483647 h 29"/>
                <a:gd name="T2" fmla="*/ 2147483647 w 29"/>
                <a:gd name="T3" fmla="*/ 0 h 29"/>
                <a:gd name="T4" fmla="*/ 2147483647 w 29"/>
                <a:gd name="T5" fmla="*/ 0 h 29"/>
                <a:gd name="T6" fmla="*/ 2147483647 w 29"/>
                <a:gd name="T7" fmla="*/ 2147483647 h 29"/>
                <a:gd name="T8" fmla="*/ 0 w 29"/>
                <a:gd name="T9" fmla="*/ 2147483647 h 29"/>
                <a:gd name="T10" fmla="*/ 2147483647 w 29"/>
                <a:gd name="T11" fmla="*/ 2147483647 h 29"/>
                <a:gd name="T12" fmla="*/ 2147483647 w 29"/>
                <a:gd name="T13" fmla="*/ 2147483647 h 29"/>
                <a:gd name="T14" fmla="*/ 2147483647 w 29"/>
                <a:gd name="T15" fmla="*/ 2147483647 h 29"/>
                <a:gd name="T16" fmla="*/ 2147483647 w 29"/>
                <a:gd name="T17" fmla="*/ 2147483647 h 29"/>
                <a:gd name="T18" fmla="*/ 2147483647 w 29"/>
                <a:gd name="T19" fmla="*/ 2147483647 h 29"/>
                <a:gd name="T20" fmla="*/ 2147483647 w 29"/>
                <a:gd name="T21" fmla="*/ 2147483647 h 29"/>
                <a:gd name="T22" fmla="*/ 2147483647 w 29"/>
                <a:gd name="T23" fmla="*/ 2147483647 h 29"/>
                <a:gd name="T24" fmla="*/ 2147483647 w 29"/>
                <a:gd name="T25" fmla="*/ 2147483647 h 29"/>
                <a:gd name="T26" fmla="*/ 2147483647 w 29"/>
                <a:gd name="T27" fmla="*/ 2147483647 h 29"/>
                <a:gd name="T28" fmla="*/ 2147483647 w 29"/>
                <a:gd name="T29" fmla="*/ 2147483647 h 29"/>
                <a:gd name="T30" fmla="*/ 2147483647 w 29"/>
                <a:gd name="T31" fmla="*/ 2147483647 h 29"/>
                <a:gd name="T32" fmla="*/ 2147483647 w 29"/>
                <a:gd name="T33" fmla="*/ 2147483647 h 29"/>
                <a:gd name="T34" fmla="*/ 2147483647 w 29"/>
                <a:gd name="T35" fmla="*/ 2147483647 h 29"/>
                <a:gd name="T36" fmla="*/ 2147483647 w 29"/>
                <a:gd name="T37" fmla="*/ 2147483647 h 29"/>
                <a:gd name="T38" fmla="*/ 2147483647 w 29"/>
                <a:gd name="T39" fmla="*/ 2147483647 h 2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9"/>
                <a:gd name="T61" fmla="*/ 0 h 29"/>
                <a:gd name="T62" fmla="*/ 29 w 29"/>
                <a:gd name="T63" fmla="*/ 29 h 2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9" h="29">
                  <a:moveTo>
                    <a:pt x="23" y="9"/>
                  </a:moveTo>
                  <a:lnTo>
                    <a:pt x="18" y="0"/>
                  </a:lnTo>
                  <a:lnTo>
                    <a:pt x="6" y="0"/>
                  </a:lnTo>
                  <a:lnTo>
                    <a:pt x="6" y="6"/>
                  </a:lnTo>
                  <a:lnTo>
                    <a:pt x="0" y="14"/>
                  </a:lnTo>
                  <a:lnTo>
                    <a:pt x="9" y="17"/>
                  </a:lnTo>
                  <a:lnTo>
                    <a:pt x="15" y="20"/>
                  </a:lnTo>
                  <a:lnTo>
                    <a:pt x="18" y="23"/>
                  </a:lnTo>
                  <a:lnTo>
                    <a:pt x="21" y="26"/>
                  </a:lnTo>
                  <a:lnTo>
                    <a:pt x="26" y="29"/>
                  </a:lnTo>
                  <a:lnTo>
                    <a:pt x="29" y="26"/>
                  </a:lnTo>
                  <a:lnTo>
                    <a:pt x="26" y="20"/>
                  </a:lnTo>
                  <a:lnTo>
                    <a:pt x="23" y="14"/>
                  </a:lnTo>
                  <a:lnTo>
                    <a:pt x="21" y="11"/>
                  </a:lnTo>
                  <a:lnTo>
                    <a:pt x="23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03" name="Freeform 103"/>
            <p:cNvSpPr>
              <a:spLocks/>
            </p:cNvSpPr>
            <p:nvPr/>
          </p:nvSpPr>
          <p:spPr bwMode="auto">
            <a:xfrm>
              <a:off x="5400675" y="3513138"/>
              <a:ext cx="14288" cy="14287"/>
            </a:xfrm>
            <a:custGeom>
              <a:avLst/>
              <a:gdLst>
                <a:gd name="T0" fmla="*/ 2147483647 w 9"/>
                <a:gd name="T1" fmla="*/ 0 h 9"/>
                <a:gd name="T2" fmla="*/ 0 w 9"/>
                <a:gd name="T3" fmla="*/ 2147483647 h 9"/>
                <a:gd name="T4" fmla="*/ 2147483647 w 9"/>
                <a:gd name="T5" fmla="*/ 2147483647 h 9"/>
                <a:gd name="T6" fmla="*/ 2147483647 w 9"/>
                <a:gd name="T7" fmla="*/ 2147483647 h 9"/>
                <a:gd name="T8" fmla="*/ 2147483647 w 9"/>
                <a:gd name="T9" fmla="*/ 2147483647 h 9"/>
                <a:gd name="T10" fmla="*/ 2147483647 w 9"/>
                <a:gd name="T11" fmla="*/ 0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9"/>
                <a:gd name="T20" fmla="*/ 9 w 9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9">
                  <a:moveTo>
                    <a:pt x="3" y="0"/>
                  </a:moveTo>
                  <a:lnTo>
                    <a:pt x="0" y="6"/>
                  </a:lnTo>
                  <a:lnTo>
                    <a:pt x="6" y="9"/>
                  </a:lnTo>
                  <a:lnTo>
                    <a:pt x="9" y="6"/>
                  </a:lnTo>
                  <a:lnTo>
                    <a:pt x="6" y="6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04" name="Freeform 104"/>
            <p:cNvSpPr>
              <a:spLocks/>
            </p:cNvSpPr>
            <p:nvPr/>
          </p:nvSpPr>
          <p:spPr bwMode="auto">
            <a:xfrm>
              <a:off x="4959350" y="2873375"/>
              <a:ext cx="4763" cy="4763"/>
            </a:xfrm>
            <a:custGeom>
              <a:avLst/>
              <a:gdLst>
                <a:gd name="T0" fmla="*/ 2147483647 w 3"/>
                <a:gd name="T1" fmla="*/ 0 h 3"/>
                <a:gd name="T2" fmla="*/ 0 w 3"/>
                <a:gd name="T3" fmla="*/ 0 h 3"/>
                <a:gd name="T4" fmla="*/ 0 w 3"/>
                <a:gd name="T5" fmla="*/ 2147483647 h 3"/>
                <a:gd name="T6" fmla="*/ 2147483647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05" name="Freeform 105"/>
            <p:cNvSpPr>
              <a:spLocks/>
            </p:cNvSpPr>
            <p:nvPr/>
          </p:nvSpPr>
          <p:spPr bwMode="auto">
            <a:xfrm>
              <a:off x="7593013" y="2338388"/>
              <a:ext cx="206375" cy="263525"/>
            </a:xfrm>
            <a:custGeom>
              <a:avLst/>
              <a:gdLst>
                <a:gd name="T0" fmla="*/ 2147483647 w 129"/>
                <a:gd name="T1" fmla="*/ 2147483647 h 164"/>
                <a:gd name="T2" fmla="*/ 2147483647 w 129"/>
                <a:gd name="T3" fmla="*/ 2147483647 h 164"/>
                <a:gd name="T4" fmla="*/ 2147483647 w 129"/>
                <a:gd name="T5" fmla="*/ 2147483647 h 164"/>
                <a:gd name="T6" fmla="*/ 2147483647 w 129"/>
                <a:gd name="T7" fmla="*/ 2147483647 h 164"/>
                <a:gd name="T8" fmla="*/ 2147483647 w 129"/>
                <a:gd name="T9" fmla="*/ 2147483647 h 164"/>
                <a:gd name="T10" fmla="*/ 2147483647 w 129"/>
                <a:gd name="T11" fmla="*/ 2147483647 h 164"/>
                <a:gd name="T12" fmla="*/ 2147483647 w 129"/>
                <a:gd name="T13" fmla="*/ 2147483647 h 164"/>
                <a:gd name="T14" fmla="*/ 2147483647 w 129"/>
                <a:gd name="T15" fmla="*/ 2147483647 h 164"/>
                <a:gd name="T16" fmla="*/ 2147483647 w 129"/>
                <a:gd name="T17" fmla="*/ 2147483647 h 164"/>
                <a:gd name="T18" fmla="*/ 2147483647 w 129"/>
                <a:gd name="T19" fmla="*/ 2147483647 h 164"/>
                <a:gd name="T20" fmla="*/ 2147483647 w 129"/>
                <a:gd name="T21" fmla="*/ 2147483647 h 164"/>
                <a:gd name="T22" fmla="*/ 2147483647 w 129"/>
                <a:gd name="T23" fmla="*/ 2147483647 h 164"/>
                <a:gd name="T24" fmla="*/ 2147483647 w 129"/>
                <a:gd name="T25" fmla="*/ 2147483647 h 164"/>
                <a:gd name="T26" fmla="*/ 2147483647 w 129"/>
                <a:gd name="T27" fmla="*/ 2147483647 h 164"/>
                <a:gd name="T28" fmla="*/ 2147483647 w 129"/>
                <a:gd name="T29" fmla="*/ 2147483647 h 164"/>
                <a:gd name="T30" fmla="*/ 2147483647 w 129"/>
                <a:gd name="T31" fmla="*/ 2147483647 h 164"/>
                <a:gd name="T32" fmla="*/ 2147483647 w 129"/>
                <a:gd name="T33" fmla="*/ 2147483647 h 164"/>
                <a:gd name="T34" fmla="*/ 2147483647 w 129"/>
                <a:gd name="T35" fmla="*/ 2147483647 h 164"/>
                <a:gd name="T36" fmla="*/ 2147483647 w 129"/>
                <a:gd name="T37" fmla="*/ 2147483647 h 164"/>
                <a:gd name="T38" fmla="*/ 2147483647 w 129"/>
                <a:gd name="T39" fmla="*/ 2147483647 h 164"/>
                <a:gd name="T40" fmla="*/ 2147483647 w 129"/>
                <a:gd name="T41" fmla="*/ 2147483647 h 164"/>
                <a:gd name="T42" fmla="*/ 2147483647 w 129"/>
                <a:gd name="T43" fmla="*/ 2147483647 h 164"/>
                <a:gd name="T44" fmla="*/ 2147483647 w 129"/>
                <a:gd name="T45" fmla="*/ 2147483647 h 164"/>
                <a:gd name="T46" fmla="*/ 2147483647 w 129"/>
                <a:gd name="T47" fmla="*/ 2147483647 h 164"/>
                <a:gd name="T48" fmla="*/ 2147483647 w 129"/>
                <a:gd name="T49" fmla="*/ 2147483647 h 164"/>
                <a:gd name="T50" fmla="*/ 2147483647 w 129"/>
                <a:gd name="T51" fmla="*/ 2147483647 h 164"/>
                <a:gd name="T52" fmla="*/ 2147483647 w 129"/>
                <a:gd name="T53" fmla="*/ 2147483647 h 164"/>
                <a:gd name="T54" fmla="*/ 2147483647 w 129"/>
                <a:gd name="T55" fmla="*/ 2147483647 h 164"/>
                <a:gd name="T56" fmla="*/ 2147483647 w 129"/>
                <a:gd name="T57" fmla="*/ 2147483647 h 164"/>
                <a:gd name="T58" fmla="*/ 2147483647 w 129"/>
                <a:gd name="T59" fmla="*/ 2147483647 h 164"/>
                <a:gd name="T60" fmla="*/ 2147483647 w 129"/>
                <a:gd name="T61" fmla="*/ 2147483647 h 164"/>
                <a:gd name="T62" fmla="*/ 2147483647 w 129"/>
                <a:gd name="T63" fmla="*/ 2147483647 h 164"/>
                <a:gd name="T64" fmla="*/ 2147483647 w 129"/>
                <a:gd name="T65" fmla="*/ 2147483647 h 164"/>
                <a:gd name="T66" fmla="*/ 2147483647 w 129"/>
                <a:gd name="T67" fmla="*/ 2147483647 h 164"/>
                <a:gd name="T68" fmla="*/ 2147483647 w 129"/>
                <a:gd name="T69" fmla="*/ 2147483647 h 164"/>
                <a:gd name="T70" fmla="*/ 2147483647 w 129"/>
                <a:gd name="T71" fmla="*/ 2147483647 h 164"/>
                <a:gd name="T72" fmla="*/ 2147483647 w 129"/>
                <a:gd name="T73" fmla="*/ 2147483647 h 164"/>
                <a:gd name="T74" fmla="*/ 2147483647 w 129"/>
                <a:gd name="T75" fmla="*/ 2147483647 h 164"/>
                <a:gd name="T76" fmla="*/ 2147483647 w 129"/>
                <a:gd name="T77" fmla="*/ 2147483647 h 164"/>
                <a:gd name="T78" fmla="*/ 2147483647 w 129"/>
                <a:gd name="T79" fmla="*/ 2147483647 h 164"/>
                <a:gd name="T80" fmla="*/ 2147483647 w 129"/>
                <a:gd name="T81" fmla="*/ 2147483647 h 164"/>
                <a:gd name="T82" fmla="*/ 2147483647 w 129"/>
                <a:gd name="T83" fmla="*/ 2147483647 h 164"/>
                <a:gd name="T84" fmla="*/ 2147483647 w 129"/>
                <a:gd name="T85" fmla="*/ 2147483647 h 164"/>
                <a:gd name="T86" fmla="*/ 2147483647 w 129"/>
                <a:gd name="T87" fmla="*/ 2147483647 h 164"/>
                <a:gd name="T88" fmla="*/ 2147483647 w 129"/>
                <a:gd name="T89" fmla="*/ 2147483647 h 164"/>
                <a:gd name="T90" fmla="*/ 2147483647 w 129"/>
                <a:gd name="T91" fmla="*/ 2147483647 h 164"/>
                <a:gd name="T92" fmla="*/ 2147483647 w 129"/>
                <a:gd name="T93" fmla="*/ 2147483647 h 164"/>
                <a:gd name="T94" fmla="*/ 2147483647 w 129"/>
                <a:gd name="T95" fmla="*/ 2147483647 h 164"/>
                <a:gd name="T96" fmla="*/ 2147483647 w 129"/>
                <a:gd name="T97" fmla="*/ 2147483647 h 164"/>
                <a:gd name="T98" fmla="*/ 2147483647 w 129"/>
                <a:gd name="T99" fmla="*/ 2147483647 h 164"/>
                <a:gd name="T100" fmla="*/ 2147483647 w 129"/>
                <a:gd name="T101" fmla="*/ 0 h 164"/>
                <a:gd name="T102" fmla="*/ 0 w 129"/>
                <a:gd name="T103" fmla="*/ 2147483647 h 164"/>
                <a:gd name="T104" fmla="*/ 0 w 129"/>
                <a:gd name="T105" fmla="*/ 2147483647 h 164"/>
                <a:gd name="T106" fmla="*/ 2147483647 w 129"/>
                <a:gd name="T107" fmla="*/ 2147483647 h 164"/>
                <a:gd name="T108" fmla="*/ 2147483647 w 129"/>
                <a:gd name="T109" fmla="*/ 2147483647 h 164"/>
                <a:gd name="T110" fmla="*/ 2147483647 w 129"/>
                <a:gd name="T111" fmla="*/ 2147483647 h 164"/>
                <a:gd name="T112" fmla="*/ 2147483647 w 129"/>
                <a:gd name="T113" fmla="*/ 2147483647 h 1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29"/>
                <a:gd name="T172" fmla="*/ 0 h 164"/>
                <a:gd name="T173" fmla="*/ 129 w 129"/>
                <a:gd name="T174" fmla="*/ 164 h 1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29" h="164">
                  <a:moveTo>
                    <a:pt x="14" y="20"/>
                  </a:moveTo>
                  <a:lnTo>
                    <a:pt x="14" y="20"/>
                  </a:lnTo>
                  <a:lnTo>
                    <a:pt x="8" y="17"/>
                  </a:lnTo>
                  <a:lnTo>
                    <a:pt x="5" y="17"/>
                  </a:lnTo>
                  <a:lnTo>
                    <a:pt x="2" y="20"/>
                  </a:lnTo>
                  <a:lnTo>
                    <a:pt x="5" y="23"/>
                  </a:lnTo>
                  <a:lnTo>
                    <a:pt x="8" y="26"/>
                  </a:lnTo>
                  <a:lnTo>
                    <a:pt x="11" y="29"/>
                  </a:lnTo>
                  <a:lnTo>
                    <a:pt x="14" y="32"/>
                  </a:lnTo>
                  <a:lnTo>
                    <a:pt x="17" y="37"/>
                  </a:lnTo>
                  <a:lnTo>
                    <a:pt x="20" y="43"/>
                  </a:lnTo>
                  <a:lnTo>
                    <a:pt x="40" y="58"/>
                  </a:lnTo>
                  <a:lnTo>
                    <a:pt x="48" y="72"/>
                  </a:lnTo>
                  <a:lnTo>
                    <a:pt x="63" y="92"/>
                  </a:lnTo>
                  <a:lnTo>
                    <a:pt x="71" y="103"/>
                  </a:lnTo>
                  <a:lnTo>
                    <a:pt x="74" y="112"/>
                  </a:lnTo>
                  <a:lnTo>
                    <a:pt x="83" y="118"/>
                  </a:lnTo>
                  <a:lnTo>
                    <a:pt x="86" y="124"/>
                  </a:lnTo>
                  <a:lnTo>
                    <a:pt x="89" y="129"/>
                  </a:lnTo>
                  <a:lnTo>
                    <a:pt x="89" y="132"/>
                  </a:lnTo>
                  <a:lnTo>
                    <a:pt x="91" y="135"/>
                  </a:lnTo>
                  <a:lnTo>
                    <a:pt x="94" y="138"/>
                  </a:lnTo>
                  <a:lnTo>
                    <a:pt x="97" y="141"/>
                  </a:lnTo>
                  <a:lnTo>
                    <a:pt x="97" y="147"/>
                  </a:lnTo>
                  <a:lnTo>
                    <a:pt x="100" y="152"/>
                  </a:lnTo>
                  <a:lnTo>
                    <a:pt x="106" y="161"/>
                  </a:lnTo>
                  <a:lnTo>
                    <a:pt x="112" y="164"/>
                  </a:lnTo>
                  <a:lnTo>
                    <a:pt x="112" y="158"/>
                  </a:lnTo>
                  <a:lnTo>
                    <a:pt x="109" y="152"/>
                  </a:lnTo>
                  <a:lnTo>
                    <a:pt x="109" y="149"/>
                  </a:lnTo>
                  <a:lnTo>
                    <a:pt x="112" y="147"/>
                  </a:lnTo>
                  <a:lnTo>
                    <a:pt x="112" y="149"/>
                  </a:lnTo>
                  <a:lnTo>
                    <a:pt x="114" y="149"/>
                  </a:lnTo>
                  <a:lnTo>
                    <a:pt x="117" y="152"/>
                  </a:lnTo>
                  <a:lnTo>
                    <a:pt x="120" y="152"/>
                  </a:lnTo>
                  <a:lnTo>
                    <a:pt x="126" y="155"/>
                  </a:lnTo>
                  <a:lnTo>
                    <a:pt x="129" y="158"/>
                  </a:lnTo>
                  <a:lnTo>
                    <a:pt x="129" y="155"/>
                  </a:lnTo>
                  <a:lnTo>
                    <a:pt x="123" y="147"/>
                  </a:lnTo>
                  <a:lnTo>
                    <a:pt x="120" y="147"/>
                  </a:lnTo>
                  <a:lnTo>
                    <a:pt x="114" y="144"/>
                  </a:lnTo>
                  <a:lnTo>
                    <a:pt x="112" y="138"/>
                  </a:lnTo>
                  <a:lnTo>
                    <a:pt x="109" y="135"/>
                  </a:lnTo>
                  <a:lnTo>
                    <a:pt x="106" y="132"/>
                  </a:lnTo>
                  <a:lnTo>
                    <a:pt x="97" y="132"/>
                  </a:lnTo>
                  <a:lnTo>
                    <a:pt x="94" y="126"/>
                  </a:lnTo>
                  <a:lnTo>
                    <a:pt x="83" y="103"/>
                  </a:lnTo>
                  <a:lnTo>
                    <a:pt x="83" y="98"/>
                  </a:lnTo>
                  <a:lnTo>
                    <a:pt x="83" y="95"/>
                  </a:lnTo>
                  <a:lnTo>
                    <a:pt x="89" y="95"/>
                  </a:lnTo>
                  <a:lnTo>
                    <a:pt x="94" y="98"/>
                  </a:lnTo>
                  <a:lnTo>
                    <a:pt x="100" y="103"/>
                  </a:lnTo>
                  <a:lnTo>
                    <a:pt x="112" y="109"/>
                  </a:lnTo>
                  <a:lnTo>
                    <a:pt x="114" y="112"/>
                  </a:lnTo>
                  <a:lnTo>
                    <a:pt x="112" y="106"/>
                  </a:lnTo>
                  <a:lnTo>
                    <a:pt x="103" y="101"/>
                  </a:lnTo>
                  <a:lnTo>
                    <a:pt x="83" y="80"/>
                  </a:lnTo>
                  <a:lnTo>
                    <a:pt x="60" y="58"/>
                  </a:lnTo>
                  <a:lnTo>
                    <a:pt x="48" y="49"/>
                  </a:lnTo>
                  <a:lnTo>
                    <a:pt x="40" y="40"/>
                  </a:lnTo>
                  <a:lnTo>
                    <a:pt x="37" y="35"/>
                  </a:lnTo>
                  <a:lnTo>
                    <a:pt x="34" y="29"/>
                  </a:lnTo>
                  <a:lnTo>
                    <a:pt x="20" y="14"/>
                  </a:lnTo>
                  <a:lnTo>
                    <a:pt x="14" y="12"/>
                  </a:lnTo>
                  <a:lnTo>
                    <a:pt x="11" y="9"/>
                  </a:lnTo>
                  <a:lnTo>
                    <a:pt x="11" y="6"/>
                  </a:lnTo>
                  <a:lnTo>
                    <a:pt x="8" y="6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5" y="9"/>
                  </a:lnTo>
                  <a:lnTo>
                    <a:pt x="11" y="14"/>
                  </a:lnTo>
                  <a:lnTo>
                    <a:pt x="14" y="2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06" name="Freeform 106"/>
            <p:cNvSpPr>
              <a:spLocks/>
            </p:cNvSpPr>
            <p:nvPr/>
          </p:nvSpPr>
          <p:spPr bwMode="auto">
            <a:xfrm>
              <a:off x="7610475" y="4167188"/>
              <a:ext cx="31750" cy="46037"/>
            </a:xfrm>
            <a:custGeom>
              <a:avLst/>
              <a:gdLst>
                <a:gd name="T0" fmla="*/ 2147483647 w 20"/>
                <a:gd name="T1" fmla="*/ 2147483647 h 29"/>
                <a:gd name="T2" fmla="*/ 2147483647 w 20"/>
                <a:gd name="T3" fmla="*/ 2147483647 h 29"/>
                <a:gd name="T4" fmla="*/ 2147483647 w 20"/>
                <a:gd name="T5" fmla="*/ 2147483647 h 29"/>
                <a:gd name="T6" fmla="*/ 2147483647 w 20"/>
                <a:gd name="T7" fmla="*/ 2147483647 h 29"/>
                <a:gd name="T8" fmla="*/ 2147483647 w 20"/>
                <a:gd name="T9" fmla="*/ 2147483647 h 29"/>
                <a:gd name="T10" fmla="*/ 2147483647 w 20"/>
                <a:gd name="T11" fmla="*/ 2147483647 h 29"/>
                <a:gd name="T12" fmla="*/ 2147483647 w 20"/>
                <a:gd name="T13" fmla="*/ 2147483647 h 29"/>
                <a:gd name="T14" fmla="*/ 2147483647 w 20"/>
                <a:gd name="T15" fmla="*/ 2147483647 h 29"/>
                <a:gd name="T16" fmla="*/ 2147483647 w 20"/>
                <a:gd name="T17" fmla="*/ 2147483647 h 29"/>
                <a:gd name="T18" fmla="*/ 2147483647 w 20"/>
                <a:gd name="T19" fmla="*/ 2147483647 h 29"/>
                <a:gd name="T20" fmla="*/ 2147483647 w 20"/>
                <a:gd name="T21" fmla="*/ 2147483647 h 29"/>
                <a:gd name="T22" fmla="*/ 2147483647 w 20"/>
                <a:gd name="T23" fmla="*/ 2147483647 h 29"/>
                <a:gd name="T24" fmla="*/ 2147483647 w 20"/>
                <a:gd name="T25" fmla="*/ 2147483647 h 29"/>
                <a:gd name="T26" fmla="*/ 2147483647 w 20"/>
                <a:gd name="T27" fmla="*/ 2147483647 h 29"/>
                <a:gd name="T28" fmla="*/ 2147483647 w 20"/>
                <a:gd name="T29" fmla="*/ 2147483647 h 29"/>
                <a:gd name="T30" fmla="*/ 2147483647 w 20"/>
                <a:gd name="T31" fmla="*/ 2147483647 h 29"/>
                <a:gd name="T32" fmla="*/ 2147483647 w 20"/>
                <a:gd name="T33" fmla="*/ 2147483647 h 29"/>
                <a:gd name="T34" fmla="*/ 2147483647 w 20"/>
                <a:gd name="T35" fmla="*/ 2147483647 h 29"/>
                <a:gd name="T36" fmla="*/ 2147483647 w 20"/>
                <a:gd name="T37" fmla="*/ 2147483647 h 29"/>
                <a:gd name="T38" fmla="*/ 2147483647 w 20"/>
                <a:gd name="T39" fmla="*/ 2147483647 h 29"/>
                <a:gd name="T40" fmla="*/ 2147483647 w 20"/>
                <a:gd name="T41" fmla="*/ 2147483647 h 29"/>
                <a:gd name="T42" fmla="*/ 2147483647 w 20"/>
                <a:gd name="T43" fmla="*/ 0 h 29"/>
                <a:gd name="T44" fmla="*/ 2147483647 w 20"/>
                <a:gd name="T45" fmla="*/ 0 h 29"/>
                <a:gd name="T46" fmla="*/ 2147483647 w 20"/>
                <a:gd name="T47" fmla="*/ 0 h 29"/>
                <a:gd name="T48" fmla="*/ 2147483647 w 20"/>
                <a:gd name="T49" fmla="*/ 2147483647 h 29"/>
                <a:gd name="T50" fmla="*/ 2147483647 w 20"/>
                <a:gd name="T51" fmla="*/ 2147483647 h 29"/>
                <a:gd name="T52" fmla="*/ 2147483647 w 20"/>
                <a:gd name="T53" fmla="*/ 2147483647 h 29"/>
                <a:gd name="T54" fmla="*/ 2147483647 w 20"/>
                <a:gd name="T55" fmla="*/ 2147483647 h 29"/>
                <a:gd name="T56" fmla="*/ 2147483647 w 20"/>
                <a:gd name="T57" fmla="*/ 2147483647 h 29"/>
                <a:gd name="T58" fmla="*/ 2147483647 w 20"/>
                <a:gd name="T59" fmla="*/ 2147483647 h 29"/>
                <a:gd name="T60" fmla="*/ 2147483647 w 20"/>
                <a:gd name="T61" fmla="*/ 2147483647 h 29"/>
                <a:gd name="T62" fmla="*/ 2147483647 w 20"/>
                <a:gd name="T63" fmla="*/ 2147483647 h 29"/>
                <a:gd name="T64" fmla="*/ 0 w 20"/>
                <a:gd name="T65" fmla="*/ 2147483647 h 29"/>
                <a:gd name="T66" fmla="*/ 0 w 20"/>
                <a:gd name="T67" fmla="*/ 2147483647 h 29"/>
                <a:gd name="T68" fmla="*/ 2147483647 w 20"/>
                <a:gd name="T69" fmla="*/ 2147483647 h 29"/>
                <a:gd name="T70" fmla="*/ 2147483647 w 20"/>
                <a:gd name="T71" fmla="*/ 2147483647 h 29"/>
                <a:gd name="T72" fmla="*/ 2147483647 w 20"/>
                <a:gd name="T73" fmla="*/ 2147483647 h 29"/>
                <a:gd name="T74" fmla="*/ 2147483647 w 20"/>
                <a:gd name="T75" fmla="*/ 2147483647 h 29"/>
                <a:gd name="T76" fmla="*/ 2147483647 w 20"/>
                <a:gd name="T77" fmla="*/ 2147483647 h 29"/>
                <a:gd name="T78" fmla="*/ 2147483647 w 20"/>
                <a:gd name="T79" fmla="*/ 2147483647 h 29"/>
                <a:gd name="T80" fmla="*/ 2147483647 w 20"/>
                <a:gd name="T81" fmla="*/ 2147483647 h 29"/>
                <a:gd name="T82" fmla="*/ 2147483647 w 20"/>
                <a:gd name="T83" fmla="*/ 2147483647 h 29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0"/>
                <a:gd name="T127" fmla="*/ 0 h 29"/>
                <a:gd name="T128" fmla="*/ 20 w 20"/>
                <a:gd name="T129" fmla="*/ 29 h 29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0" h="29">
                  <a:moveTo>
                    <a:pt x="9" y="26"/>
                  </a:moveTo>
                  <a:lnTo>
                    <a:pt x="9" y="26"/>
                  </a:lnTo>
                  <a:lnTo>
                    <a:pt x="12" y="29"/>
                  </a:lnTo>
                  <a:lnTo>
                    <a:pt x="14" y="26"/>
                  </a:lnTo>
                  <a:lnTo>
                    <a:pt x="14" y="23"/>
                  </a:lnTo>
                  <a:lnTo>
                    <a:pt x="17" y="20"/>
                  </a:lnTo>
                  <a:lnTo>
                    <a:pt x="17" y="17"/>
                  </a:lnTo>
                  <a:lnTo>
                    <a:pt x="17" y="14"/>
                  </a:lnTo>
                  <a:lnTo>
                    <a:pt x="14" y="14"/>
                  </a:lnTo>
                  <a:lnTo>
                    <a:pt x="12" y="17"/>
                  </a:lnTo>
                  <a:lnTo>
                    <a:pt x="14" y="11"/>
                  </a:lnTo>
                  <a:lnTo>
                    <a:pt x="17" y="11"/>
                  </a:lnTo>
                  <a:lnTo>
                    <a:pt x="20" y="9"/>
                  </a:lnTo>
                  <a:lnTo>
                    <a:pt x="20" y="0"/>
                  </a:lnTo>
                  <a:lnTo>
                    <a:pt x="17" y="3"/>
                  </a:lnTo>
                  <a:lnTo>
                    <a:pt x="14" y="6"/>
                  </a:lnTo>
                  <a:lnTo>
                    <a:pt x="9" y="6"/>
                  </a:lnTo>
                  <a:lnTo>
                    <a:pt x="6" y="6"/>
                  </a:lnTo>
                  <a:lnTo>
                    <a:pt x="3" y="14"/>
                  </a:lnTo>
                  <a:lnTo>
                    <a:pt x="0" y="17"/>
                  </a:lnTo>
                  <a:lnTo>
                    <a:pt x="0" y="20"/>
                  </a:lnTo>
                  <a:lnTo>
                    <a:pt x="3" y="20"/>
                  </a:lnTo>
                  <a:lnTo>
                    <a:pt x="9" y="20"/>
                  </a:lnTo>
                  <a:lnTo>
                    <a:pt x="12" y="17"/>
                  </a:lnTo>
                  <a:lnTo>
                    <a:pt x="9" y="23"/>
                  </a:lnTo>
                  <a:lnTo>
                    <a:pt x="9" y="2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07" name="Freeform 107"/>
            <p:cNvSpPr>
              <a:spLocks/>
            </p:cNvSpPr>
            <p:nvPr/>
          </p:nvSpPr>
          <p:spPr bwMode="auto">
            <a:xfrm>
              <a:off x="7700963" y="3808413"/>
              <a:ext cx="11112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0 w 6"/>
                <a:gd name="T5" fmla="*/ 0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6" y="6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3" y="3"/>
                  </a:ln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08" name="Freeform 108"/>
            <p:cNvSpPr>
              <a:spLocks/>
            </p:cNvSpPr>
            <p:nvPr/>
          </p:nvSpPr>
          <p:spPr bwMode="auto">
            <a:xfrm>
              <a:off x="7600950" y="3702050"/>
              <a:ext cx="130175" cy="152400"/>
            </a:xfrm>
            <a:custGeom>
              <a:avLst/>
              <a:gdLst>
                <a:gd name="T0" fmla="*/ 2147483647 w 81"/>
                <a:gd name="T1" fmla="*/ 2147483647 h 95"/>
                <a:gd name="T2" fmla="*/ 2147483647 w 81"/>
                <a:gd name="T3" fmla="*/ 2147483647 h 95"/>
                <a:gd name="T4" fmla="*/ 2147483647 w 81"/>
                <a:gd name="T5" fmla="*/ 2147483647 h 95"/>
                <a:gd name="T6" fmla="*/ 2147483647 w 81"/>
                <a:gd name="T7" fmla="*/ 2147483647 h 95"/>
                <a:gd name="T8" fmla="*/ 2147483647 w 81"/>
                <a:gd name="T9" fmla="*/ 2147483647 h 95"/>
                <a:gd name="T10" fmla="*/ 2147483647 w 81"/>
                <a:gd name="T11" fmla="*/ 2147483647 h 95"/>
                <a:gd name="T12" fmla="*/ 2147483647 w 81"/>
                <a:gd name="T13" fmla="*/ 2147483647 h 95"/>
                <a:gd name="T14" fmla="*/ 2147483647 w 81"/>
                <a:gd name="T15" fmla="*/ 2147483647 h 95"/>
                <a:gd name="T16" fmla="*/ 2147483647 w 81"/>
                <a:gd name="T17" fmla="*/ 2147483647 h 95"/>
                <a:gd name="T18" fmla="*/ 2147483647 w 81"/>
                <a:gd name="T19" fmla="*/ 2147483647 h 95"/>
                <a:gd name="T20" fmla="*/ 2147483647 w 81"/>
                <a:gd name="T21" fmla="*/ 2147483647 h 95"/>
                <a:gd name="T22" fmla="*/ 2147483647 w 81"/>
                <a:gd name="T23" fmla="*/ 2147483647 h 95"/>
                <a:gd name="T24" fmla="*/ 2147483647 w 81"/>
                <a:gd name="T25" fmla="*/ 2147483647 h 95"/>
                <a:gd name="T26" fmla="*/ 2147483647 w 81"/>
                <a:gd name="T27" fmla="*/ 2147483647 h 95"/>
                <a:gd name="T28" fmla="*/ 2147483647 w 81"/>
                <a:gd name="T29" fmla="*/ 2147483647 h 95"/>
                <a:gd name="T30" fmla="*/ 2147483647 w 81"/>
                <a:gd name="T31" fmla="*/ 2147483647 h 95"/>
                <a:gd name="T32" fmla="*/ 2147483647 w 81"/>
                <a:gd name="T33" fmla="*/ 2147483647 h 95"/>
                <a:gd name="T34" fmla="*/ 2147483647 w 81"/>
                <a:gd name="T35" fmla="*/ 2147483647 h 95"/>
                <a:gd name="T36" fmla="*/ 2147483647 w 81"/>
                <a:gd name="T37" fmla="*/ 2147483647 h 95"/>
                <a:gd name="T38" fmla="*/ 2147483647 w 81"/>
                <a:gd name="T39" fmla="*/ 2147483647 h 95"/>
                <a:gd name="T40" fmla="*/ 2147483647 w 81"/>
                <a:gd name="T41" fmla="*/ 2147483647 h 95"/>
                <a:gd name="T42" fmla="*/ 2147483647 w 81"/>
                <a:gd name="T43" fmla="*/ 2147483647 h 95"/>
                <a:gd name="T44" fmla="*/ 2147483647 w 81"/>
                <a:gd name="T45" fmla="*/ 2147483647 h 95"/>
                <a:gd name="T46" fmla="*/ 2147483647 w 81"/>
                <a:gd name="T47" fmla="*/ 2147483647 h 95"/>
                <a:gd name="T48" fmla="*/ 2147483647 w 81"/>
                <a:gd name="T49" fmla="*/ 2147483647 h 95"/>
                <a:gd name="T50" fmla="*/ 2147483647 w 81"/>
                <a:gd name="T51" fmla="*/ 2147483647 h 95"/>
                <a:gd name="T52" fmla="*/ 2147483647 w 81"/>
                <a:gd name="T53" fmla="*/ 2147483647 h 95"/>
                <a:gd name="T54" fmla="*/ 2147483647 w 81"/>
                <a:gd name="T55" fmla="*/ 2147483647 h 95"/>
                <a:gd name="T56" fmla="*/ 2147483647 w 81"/>
                <a:gd name="T57" fmla="*/ 2147483647 h 95"/>
                <a:gd name="T58" fmla="*/ 2147483647 w 81"/>
                <a:gd name="T59" fmla="*/ 2147483647 h 95"/>
                <a:gd name="T60" fmla="*/ 2147483647 w 81"/>
                <a:gd name="T61" fmla="*/ 2147483647 h 95"/>
                <a:gd name="T62" fmla="*/ 2147483647 w 81"/>
                <a:gd name="T63" fmla="*/ 2147483647 h 95"/>
                <a:gd name="T64" fmla="*/ 2147483647 w 81"/>
                <a:gd name="T65" fmla="*/ 2147483647 h 95"/>
                <a:gd name="T66" fmla="*/ 2147483647 w 81"/>
                <a:gd name="T67" fmla="*/ 2147483647 h 95"/>
                <a:gd name="T68" fmla="*/ 2147483647 w 81"/>
                <a:gd name="T69" fmla="*/ 2147483647 h 95"/>
                <a:gd name="T70" fmla="*/ 2147483647 w 81"/>
                <a:gd name="T71" fmla="*/ 2147483647 h 95"/>
                <a:gd name="T72" fmla="*/ 2147483647 w 81"/>
                <a:gd name="T73" fmla="*/ 2147483647 h 95"/>
                <a:gd name="T74" fmla="*/ 2147483647 w 81"/>
                <a:gd name="T75" fmla="*/ 2147483647 h 95"/>
                <a:gd name="T76" fmla="*/ 2147483647 w 81"/>
                <a:gd name="T77" fmla="*/ 2147483647 h 95"/>
                <a:gd name="T78" fmla="*/ 2147483647 w 81"/>
                <a:gd name="T79" fmla="*/ 2147483647 h 95"/>
                <a:gd name="T80" fmla="*/ 2147483647 w 81"/>
                <a:gd name="T81" fmla="*/ 2147483647 h 95"/>
                <a:gd name="T82" fmla="*/ 2147483647 w 81"/>
                <a:gd name="T83" fmla="*/ 2147483647 h 95"/>
                <a:gd name="T84" fmla="*/ 2147483647 w 81"/>
                <a:gd name="T85" fmla="*/ 2147483647 h 9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81"/>
                <a:gd name="T130" fmla="*/ 0 h 95"/>
                <a:gd name="T131" fmla="*/ 81 w 81"/>
                <a:gd name="T132" fmla="*/ 95 h 9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81" h="95">
                  <a:moveTo>
                    <a:pt x="81" y="57"/>
                  </a:moveTo>
                  <a:lnTo>
                    <a:pt x="81" y="57"/>
                  </a:lnTo>
                  <a:lnTo>
                    <a:pt x="78" y="40"/>
                  </a:lnTo>
                  <a:lnTo>
                    <a:pt x="75" y="32"/>
                  </a:lnTo>
                  <a:lnTo>
                    <a:pt x="72" y="29"/>
                  </a:lnTo>
                  <a:lnTo>
                    <a:pt x="72" y="20"/>
                  </a:lnTo>
                  <a:lnTo>
                    <a:pt x="69" y="23"/>
                  </a:lnTo>
                  <a:lnTo>
                    <a:pt x="66" y="17"/>
                  </a:lnTo>
                  <a:lnTo>
                    <a:pt x="72" y="14"/>
                  </a:lnTo>
                  <a:lnTo>
                    <a:pt x="69" y="9"/>
                  </a:lnTo>
                  <a:lnTo>
                    <a:pt x="66" y="9"/>
                  </a:lnTo>
                  <a:lnTo>
                    <a:pt x="63" y="14"/>
                  </a:lnTo>
                  <a:lnTo>
                    <a:pt x="63" y="17"/>
                  </a:lnTo>
                  <a:lnTo>
                    <a:pt x="61" y="14"/>
                  </a:lnTo>
                  <a:lnTo>
                    <a:pt x="61" y="9"/>
                  </a:lnTo>
                  <a:lnTo>
                    <a:pt x="61" y="0"/>
                  </a:lnTo>
                  <a:lnTo>
                    <a:pt x="55" y="6"/>
                  </a:lnTo>
                  <a:lnTo>
                    <a:pt x="58" y="14"/>
                  </a:lnTo>
                  <a:lnTo>
                    <a:pt x="58" y="17"/>
                  </a:lnTo>
                  <a:lnTo>
                    <a:pt x="58" y="20"/>
                  </a:lnTo>
                  <a:lnTo>
                    <a:pt x="61" y="26"/>
                  </a:lnTo>
                  <a:lnTo>
                    <a:pt x="61" y="29"/>
                  </a:lnTo>
                  <a:lnTo>
                    <a:pt x="55" y="29"/>
                  </a:lnTo>
                  <a:lnTo>
                    <a:pt x="55" y="32"/>
                  </a:lnTo>
                  <a:lnTo>
                    <a:pt x="49" y="29"/>
                  </a:lnTo>
                  <a:lnTo>
                    <a:pt x="49" y="34"/>
                  </a:lnTo>
                  <a:lnTo>
                    <a:pt x="46" y="37"/>
                  </a:lnTo>
                  <a:lnTo>
                    <a:pt x="43" y="37"/>
                  </a:lnTo>
                  <a:lnTo>
                    <a:pt x="41" y="43"/>
                  </a:lnTo>
                  <a:lnTo>
                    <a:pt x="38" y="46"/>
                  </a:lnTo>
                  <a:lnTo>
                    <a:pt x="35" y="46"/>
                  </a:lnTo>
                  <a:lnTo>
                    <a:pt x="32" y="40"/>
                  </a:lnTo>
                  <a:lnTo>
                    <a:pt x="32" y="37"/>
                  </a:lnTo>
                  <a:lnTo>
                    <a:pt x="29" y="37"/>
                  </a:lnTo>
                  <a:lnTo>
                    <a:pt x="23" y="37"/>
                  </a:lnTo>
                  <a:lnTo>
                    <a:pt x="20" y="40"/>
                  </a:lnTo>
                  <a:lnTo>
                    <a:pt x="15" y="46"/>
                  </a:lnTo>
                  <a:lnTo>
                    <a:pt x="12" y="46"/>
                  </a:lnTo>
                  <a:lnTo>
                    <a:pt x="6" y="49"/>
                  </a:lnTo>
                  <a:lnTo>
                    <a:pt x="6" y="52"/>
                  </a:lnTo>
                  <a:lnTo>
                    <a:pt x="3" y="57"/>
                  </a:lnTo>
                  <a:lnTo>
                    <a:pt x="0" y="66"/>
                  </a:lnTo>
                  <a:lnTo>
                    <a:pt x="0" y="69"/>
                  </a:lnTo>
                  <a:lnTo>
                    <a:pt x="3" y="72"/>
                  </a:lnTo>
                  <a:lnTo>
                    <a:pt x="6" y="69"/>
                  </a:lnTo>
                  <a:lnTo>
                    <a:pt x="9" y="66"/>
                  </a:lnTo>
                  <a:lnTo>
                    <a:pt x="9" y="60"/>
                  </a:lnTo>
                  <a:lnTo>
                    <a:pt x="12" y="54"/>
                  </a:lnTo>
                  <a:lnTo>
                    <a:pt x="15" y="52"/>
                  </a:lnTo>
                  <a:lnTo>
                    <a:pt x="15" y="54"/>
                  </a:lnTo>
                  <a:lnTo>
                    <a:pt x="15" y="63"/>
                  </a:lnTo>
                  <a:lnTo>
                    <a:pt x="18" y="66"/>
                  </a:lnTo>
                  <a:lnTo>
                    <a:pt x="18" y="63"/>
                  </a:lnTo>
                  <a:lnTo>
                    <a:pt x="20" y="57"/>
                  </a:lnTo>
                  <a:lnTo>
                    <a:pt x="20" y="54"/>
                  </a:lnTo>
                  <a:lnTo>
                    <a:pt x="23" y="60"/>
                  </a:lnTo>
                  <a:lnTo>
                    <a:pt x="26" y="63"/>
                  </a:lnTo>
                  <a:lnTo>
                    <a:pt x="26" y="57"/>
                  </a:lnTo>
                  <a:lnTo>
                    <a:pt x="29" y="54"/>
                  </a:lnTo>
                  <a:lnTo>
                    <a:pt x="38" y="57"/>
                  </a:lnTo>
                  <a:lnTo>
                    <a:pt x="41" y="60"/>
                  </a:lnTo>
                  <a:lnTo>
                    <a:pt x="38" y="63"/>
                  </a:lnTo>
                  <a:lnTo>
                    <a:pt x="35" y="66"/>
                  </a:lnTo>
                  <a:lnTo>
                    <a:pt x="38" y="69"/>
                  </a:lnTo>
                  <a:lnTo>
                    <a:pt x="41" y="83"/>
                  </a:lnTo>
                  <a:lnTo>
                    <a:pt x="46" y="83"/>
                  </a:lnTo>
                  <a:lnTo>
                    <a:pt x="46" y="86"/>
                  </a:lnTo>
                  <a:lnTo>
                    <a:pt x="49" y="89"/>
                  </a:lnTo>
                  <a:lnTo>
                    <a:pt x="52" y="89"/>
                  </a:lnTo>
                  <a:lnTo>
                    <a:pt x="58" y="89"/>
                  </a:lnTo>
                  <a:lnTo>
                    <a:pt x="58" y="86"/>
                  </a:lnTo>
                  <a:lnTo>
                    <a:pt x="61" y="86"/>
                  </a:lnTo>
                  <a:lnTo>
                    <a:pt x="61" y="95"/>
                  </a:lnTo>
                  <a:lnTo>
                    <a:pt x="63" y="95"/>
                  </a:lnTo>
                  <a:lnTo>
                    <a:pt x="66" y="92"/>
                  </a:lnTo>
                  <a:lnTo>
                    <a:pt x="66" y="83"/>
                  </a:lnTo>
                  <a:lnTo>
                    <a:pt x="63" y="77"/>
                  </a:lnTo>
                  <a:lnTo>
                    <a:pt x="61" y="75"/>
                  </a:lnTo>
                  <a:lnTo>
                    <a:pt x="61" y="72"/>
                  </a:lnTo>
                  <a:lnTo>
                    <a:pt x="63" y="66"/>
                  </a:lnTo>
                  <a:lnTo>
                    <a:pt x="66" y="66"/>
                  </a:lnTo>
                  <a:lnTo>
                    <a:pt x="69" y="69"/>
                  </a:lnTo>
                  <a:lnTo>
                    <a:pt x="72" y="83"/>
                  </a:lnTo>
                  <a:lnTo>
                    <a:pt x="75" y="80"/>
                  </a:lnTo>
                  <a:lnTo>
                    <a:pt x="78" y="75"/>
                  </a:lnTo>
                  <a:lnTo>
                    <a:pt x="81" y="66"/>
                  </a:lnTo>
                  <a:lnTo>
                    <a:pt x="81" y="60"/>
                  </a:lnTo>
                  <a:lnTo>
                    <a:pt x="81" y="5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09" name="Freeform 109"/>
            <p:cNvSpPr>
              <a:spLocks/>
            </p:cNvSpPr>
            <p:nvPr/>
          </p:nvSpPr>
          <p:spPr bwMode="auto">
            <a:xfrm>
              <a:off x="7275513" y="3808413"/>
              <a:ext cx="255587" cy="193675"/>
            </a:xfrm>
            <a:custGeom>
              <a:avLst/>
              <a:gdLst>
                <a:gd name="T0" fmla="*/ 2147483647 w 160"/>
                <a:gd name="T1" fmla="*/ 2147483647 h 121"/>
                <a:gd name="T2" fmla="*/ 2147483647 w 160"/>
                <a:gd name="T3" fmla="*/ 2147483647 h 121"/>
                <a:gd name="T4" fmla="*/ 2147483647 w 160"/>
                <a:gd name="T5" fmla="*/ 2147483647 h 121"/>
                <a:gd name="T6" fmla="*/ 2147483647 w 160"/>
                <a:gd name="T7" fmla="*/ 2147483647 h 121"/>
                <a:gd name="T8" fmla="*/ 2147483647 w 160"/>
                <a:gd name="T9" fmla="*/ 2147483647 h 121"/>
                <a:gd name="T10" fmla="*/ 2147483647 w 160"/>
                <a:gd name="T11" fmla="*/ 2147483647 h 121"/>
                <a:gd name="T12" fmla="*/ 2147483647 w 160"/>
                <a:gd name="T13" fmla="*/ 2147483647 h 121"/>
                <a:gd name="T14" fmla="*/ 2147483647 w 160"/>
                <a:gd name="T15" fmla="*/ 2147483647 h 121"/>
                <a:gd name="T16" fmla="*/ 2147483647 w 160"/>
                <a:gd name="T17" fmla="*/ 2147483647 h 121"/>
                <a:gd name="T18" fmla="*/ 2147483647 w 160"/>
                <a:gd name="T19" fmla="*/ 2147483647 h 121"/>
                <a:gd name="T20" fmla="*/ 2147483647 w 160"/>
                <a:gd name="T21" fmla="*/ 2147483647 h 121"/>
                <a:gd name="T22" fmla="*/ 2147483647 w 160"/>
                <a:gd name="T23" fmla="*/ 2147483647 h 121"/>
                <a:gd name="T24" fmla="*/ 2147483647 w 160"/>
                <a:gd name="T25" fmla="*/ 2147483647 h 121"/>
                <a:gd name="T26" fmla="*/ 2147483647 w 160"/>
                <a:gd name="T27" fmla="*/ 2147483647 h 121"/>
                <a:gd name="T28" fmla="*/ 2147483647 w 160"/>
                <a:gd name="T29" fmla="*/ 2147483647 h 121"/>
                <a:gd name="T30" fmla="*/ 2147483647 w 160"/>
                <a:gd name="T31" fmla="*/ 2147483647 h 121"/>
                <a:gd name="T32" fmla="*/ 2147483647 w 160"/>
                <a:gd name="T33" fmla="*/ 2147483647 h 121"/>
                <a:gd name="T34" fmla="*/ 2147483647 w 160"/>
                <a:gd name="T35" fmla="*/ 2147483647 h 121"/>
                <a:gd name="T36" fmla="*/ 2147483647 w 160"/>
                <a:gd name="T37" fmla="*/ 2147483647 h 121"/>
                <a:gd name="T38" fmla="*/ 2147483647 w 160"/>
                <a:gd name="T39" fmla="*/ 2147483647 h 121"/>
                <a:gd name="T40" fmla="*/ 2147483647 w 160"/>
                <a:gd name="T41" fmla="*/ 2147483647 h 121"/>
                <a:gd name="T42" fmla="*/ 2147483647 w 160"/>
                <a:gd name="T43" fmla="*/ 2147483647 h 121"/>
                <a:gd name="T44" fmla="*/ 2147483647 w 160"/>
                <a:gd name="T45" fmla="*/ 2147483647 h 121"/>
                <a:gd name="T46" fmla="*/ 2147483647 w 160"/>
                <a:gd name="T47" fmla="*/ 2147483647 h 121"/>
                <a:gd name="T48" fmla="*/ 2147483647 w 160"/>
                <a:gd name="T49" fmla="*/ 2147483647 h 121"/>
                <a:gd name="T50" fmla="*/ 2147483647 w 160"/>
                <a:gd name="T51" fmla="*/ 2147483647 h 121"/>
                <a:gd name="T52" fmla="*/ 2147483647 w 160"/>
                <a:gd name="T53" fmla="*/ 2147483647 h 121"/>
                <a:gd name="T54" fmla="*/ 2147483647 w 160"/>
                <a:gd name="T55" fmla="*/ 2147483647 h 121"/>
                <a:gd name="T56" fmla="*/ 2147483647 w 160"/>
                <a:gd name="T57" fmla="*/ 2147483647 h 121"/>
                <a:gd name="T58" fmla="*/ 2147483647 w 160"/>
                <a:gd name="T59" fmla="*/ 2147483647 h 121"/>
                <a:gd name="T60" fmla="*/ 2147483647 w 160"/>
                <a:gd name="T61" fmla="*/ 2147483647 h 121"/>
                <a:gd name="T62" fmla="*/ 2147483647 w 160"/>
                <a:gd name="T63" fmla="*/ 2147483647 h 121"/>
                <a:gd name="T64" fmla="*/ 2147483647 w 160"/>
                <a:gd name="T65" fmla="*/ 2147483647 h 121"/>
                <a:gd name="T66" fmla="*/ 0 w 160"/>
                <a:gd name="T67" fmla="*/ 2147483647 h 121"/>
                <a:gd name="T68" fmla="*/ 2147483647 w 160"/>
                <a:gd name="T69" fmla="*/ 2147483647 h 121"/>
                <a:gd name="T70" fmla="*/ 2147483647 w 160"/>
                <a:gd name="T71" fmla="*/ 2147483647 h 121"/>
                <a:gd name="T72" fmla="*/ 2147483647 w 160"/>
                <a:gd name="T73" fmla="*/ 2147483647 h 121"/>
                <a:gd name="T74" fmla="*/ 2147483647 w 160"/>
                <a:gd name="T75" fmla="*/ 2147483647 h 121"/>
                <a:gd name="T76" fmla="*/ 2147483647 w 160"/>
                <a:gd name="T77" fmla="*/ 2147483647 h 121"/>
                <a:gd name="T78" fmla="*/ 2147483647 w 160"/>
                <a:gd name="T79" fmla="*/ 2147483647 h 121"/>
                <a:gd name="T80" fmla="*/ 2147483647 w 160"/>
                <a:gd name="T81" fmla="*/ 2147483647 h 121"/>
                <a:gd name="T82" fmla="*/ 2147483647 w 160"/>
                <a:gd name="T83" fmla="*/ 2147483647 h 121"/>
                <a:gd name="T84" fmla="*/ 2147483647 w 160"/>
                <a:gd name="T85" fmla="*/ 2147483647 h 121"/>
                <a:gd name="T86" fmla="*/ 2147483647 w 160"/>
                <a:gd name="T87" fmla="*/ 2147483647 h 121"/>
                <a:gd name="T88" fmla="*/ 2147483647 w 160"/>
                <a:gd name="T89" fmla="*/ 2147483647 h 121"/>
                <a:gd name="T90" fmla="*/ 2147483647 w 160"/>
                <a:gd name="T91" fmla="*/ 2147483647 h 121"/>
                <a:gd name="T92" fmla="*/ 2147483647 w 160"/>
                <a:gd name="T93" fmla="*/ 2147483647 h 121"/>
                <a:gd name="T94" fmla="*/ 2147483647 w 160"/>
                <a:gd name="T95" fmla="*/ 2147483647 h 121"/>
                <a:gd name="T96" fmla="*/ 2147483647 w 160"/>
                <a:gd name="T97" fmla="*/ 2147483647 h 121"/>
                <a:gd name="T98" fmla="*/ 2147483647 w 160"/>
                <a:gd name="T99" fmla="*/ 2147483647 h 121"/>
                <a:gd name="T100" fmla="*/ 2147483647 w 160"/>
                <a:gd name="T101" fmla="*/ 2147483647 h 121"/>
                <a:gd name="T102" fmla="*/ 2147483647 w 160"/>
                <a:gd name="T103" fmla="*/ 2147483647 h 121"/>
                <a:gd name="T104" fmla="*/ 2147483647 w 160"/>
                <a:gd name="T105" fmla="*/ 2147483647 h 121"/>
                <a:gd name="T106" fmla="*/ 2147483647 w 160"/>
                <a:gd name="T107" fmla="*/ 2147483647 h 121"/>
                <a:gd name="T108" fmla="*/ 2147483647 w 160"/>
                <a:gd name="T109" fmla="*/ 2147483647 h 121"/>
                <a:gd name="T110" fmla="*/ 2147483647 w 160"/>
                <a:gd name="T111" fmla="*/ 2147483647 h 121"/>
                <a:gd name="T112" fmla="*/ 2147483647 w 160"/>
                <a:gd name="T113" fmla="*/ 2147483647 h 121"/>
                <a:gd name="T114" fmla="*/ 2147483647 w 160"/>
                <a:gd name="T115" fmla="*/ 2147483647 h 121"/>
                <a:gd name="T116" fmla="*/ 2147483647 w 160"/>
                <a:gd name="T117" fmla="*/ 2147483647 h 12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60"/>
                <a:gd name="T178" fmla="*/ 0 h 121"/>
                <a:gd name="T179" fmla="*/ 160 w 160"/>
                <a:gd name="T180" fmla="*/ 121 h 12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60" h="121">
                  <a:moveTo>
                    <a:pt x="160" y="34"/>
                  </a:moveTo>
                  <a:lnTo>
                    <a:pt x="160" y="34"/>
                  </a:lnTo>
                  <a:lnTo>
                    <a:pt x="157" y="34"/>
                  </a:lnTo>
                  <a:lnTo>
                    <a:pt x="155" y="32"/>
                  </a:lnTo>
                  <a:lnTo>
                    <a:pt x="143" y="26"/>
                  </a:lnTo>
                  <a:lnTo>
                    <a:pt x="140" y="20"/>
                  </a:lnTo>
                  <a:lnTo>
                    <a:pt x="137" y="20"/>
                  </a:lnTo>
                  <a:lnTo>
                    <a:pt x="134" y="23"/>
                  </a:lnTo>
                  <a:lnTo>
                    <a:pt x="132" y="17"/>
                  </a:lnTo>
                  <a:lnTo>
                    <a:pt x="134" y="14"/>
                  </a:lnTo>
                  <a:lnTo>
                    <a:pt x="126" y="9"/>
                  </a:lnTo>
                  <a:lnTo>
                    <a:pt x="126" y="0"/>
                  </a:lnTo>
                  <a:lnTo>
                    <a:pt x="123" y="3"/>
                  </a:lnTo>
                  <a:lnTo>
                    <a:pt x="120" y="6"/>
                  </a:lnTo>
                  <a:lnTo>
                    <a:pt x="117" y="9"/>
                  </a:lnTo>
                  <a:lnTo>
                    <a:pt x="117" y="3"/>
                  </a:lnTo>
                  <a:lnTo>
                    <a:pt x="109" y="17"/>
                  </a:lnTo>
                  <a:lnTo>
                    <a:pt x="100" y="32"/>
                  </a:lnTo>
                  <a:lnTo>
                    <a:pt x="97" y="32"/>
                  </a:lnTo>
                  <a:lnTo>
                    <a:pt x="94" y="37"/>
                  </a:lnTo>
                  <a:lnTo>
                    <a:pt x="94" y="40"/>
                  </a:lnTo>
                  <a:lnTo>
                    <a:pt x="97" y="46"/>
                  </a:lnTo>
                  <a:lnTo>
                    <a:pt x="94" y="57"/>
                  </a:lnTo>
                  <a:lnTo>
                    <a:pt x="91" y="57"/>
                  </a:lnTo>
                  <a:lnTo>
                    <a:pt x="89" y="52"/>
                  </a:lnTo>
                  <a:lnTo>
                    <a:pt x="86" y="46"/>
                  </a:lnTo>
                  <a:lnTo>
                    <a:pt x="86" y="49"/>
                  </a:lnTo>
                  <a:lnTo>
                    <a:pt x="89" y="57"/>
                  </a:lnTo>
                  <a:lnTo>
                    <a:pt x="86" y="60"/>
                  </a:lnTo>
                  <a:lnTo>
                    <a:pt x="80" y="60"/>
                  </a:lnTo>
                  <a:lnTo>
                    <a:pt x="74" y="52"/>
                  </a:lnTo>
                  <a:lnTo>
                    <a:pt x="71" y="52"/>
                  </a:lnTo>
                  <a:lnTo>
                    <a:pt x="68" y="57"/>
                  </a:lnTo>
                  <a:lnTo>
                    <a:pt x="63" y="69"/>
                  </a:lnTo>
                  <a:lnTo>
                    <a:pt x="54" y="77"/>
                  </a:lnTo>
                  <a:lnTo>
                    <a:pt x="51" y="77"/>
                  </a:lnTo>
                  <a:lnTo>
                    <a:pt x="43" y="80"/>
                  </a:lnTo>
                  <a:lnTo>
                    <a:pt x="28" y="83"/>
                  </a:lnTo>
                  <a:lnTo>
                    <a:pt x="25" y="89"/>
                  </a:lnTo>
                  <a:lnTo>
                    <a:pt x="22" y="98"/>
                  </a:lnTo>
                  <a:lnTo>
                    <a:pt x="25" y="109"/>
                  </a:lnTo>
                  <a:lnTo>
                    <a:pt x="22" y="112"/>
                  </a:lnTo>
                  <a:lnTo>
                    <a:pt x="20" y="112"/>
                  </a:lnTo>
                  <a:lnTo>
                    <a:pt x="11" y="106"/>
                  </a:lnTo>
                  <a:lnTo>
                    <a:pt x="2" y="106"/>
                  </a:lnTo>
                  <a:lnTo>
                    <a:pt x="0" y="103"/>
                  </a:lnTo>
                  <a:lnTo>
                    <a:pt x="5" y="112"/>
                  </a:lnTo>
                  <a:lnTo>
                    <a:pt x="14" y="121"/>
                  </a:lnTo>
                  <a:lnTo>
                    <a:pt x="25" y="118"/>
                  </a:lnTo>
                  <a:lnTo>
                    <a:pt x="28" y="118"/>
                  </a:lnTo>
                  <a:lnTo>
                    <a:pt x="37" y="118"/>
                  </a:lnTo>
                  <a:lnTo>
                    <a:pt x="43" y="109"/>
                  </a:lnTo>
                  <a:lnTo>
                    <a:pt x="54" y="109"/>
                  </a:lnTo>
                  <a:lnTo>
                    <a:pt x="66" y="112"/>
                  </a:lnTo>
                  <a:lnTo>
                    <a:pt x="74" y="109"/>
                  </a:lnTo>
                  <a:lnTo>
                    <a:pt x="83" y="109"/>
                  </a:lnTo>
                  <a:lnTo>
                    <a:pt x="86" y="100"/>
                  </a:lnTo>
                  <a:lnTo>
                    <a:pt x="83" y="92"/>
                  </a:lnTo>
                  <a:lnTo>
                    <a:pt x="91" y="89"/>
                  </a:lnTo>
                  <a:lnTo>
                    <a:pt x="89" y="80"/>
                  </a:lnTo>
                  <a:lnTo>
                    <a:pt x="91" y="80"/>
                  </a:lnTo>
                  <a:lnTo>
                    <a:pt x="97" y="77"/>
                  </a:lnTo>
                  <a:lnTo>
                    <a:pt x="97" y="75"/>
                  </a:lnTo>
                  <a:lnTo>
                    <a:pt x="97" y="63"/>
                  </a:lnTo>
                  <a:lnTo>
                    <a:pt x="97" y="60"/>
                  </a:lnTo>
                  <a:lnTo>
                    <a:pt x="103" y="52"/>
                  </a:lnTo>
                  <a:lnTo>
                    <a:pt x="114" y="52"/>
                  </a:lnTo>
                  <a:lnTo>
                    <a:pt x="134" y="57"/>
                  </a:lnTo>
                  <a:lnTo>
                    <a:pt x="146" y="55"/>
                  </a:lnTo>
                  <a:lnTo>
                    <a:pt x="152" y="55"/>
                  </a:lnTo>
                  <a:lnTo>
                    <a:pt x="152" y="52"/>
                  </a:lnTo>
                  <a:lnTo>
                    <a:pt x="143" y="46"/>
                  </a:lnTo>
                  <a:lnTo>
                    <a:pt x="146" y="43"/>
                  </a:lnTo>
                  <a:lnTo>
                    <a:pt x="152" y="43"/>
                  </a:lnTo>
                  <a:lnTo>
                    <a:pt x="157" y="40"/>
                  </a:lnTo>
                  <a:lnTo>
                    <a:pt x="160" y="3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10" name="Freeform 110"/>
            <p:cNvSpPr>
              <a:spLocks/>
            </p:cNvSpPr>
            <p:nvPr/>
          </p:nvSpPr>
          <p:spPr bwMode="auto">
            <a:xfrm>
              <a:off x="7600950" y="4189413"/>
              <a:ext cx="9525" cy="14287"/>
            </a:xfrm>
            <a:custGeom>
              <a:avLst/>
              <a:gdLst>
                <a:gd name="T0" fmla="*/ 2147483647 w 6"/>
                <a:gd name="T1" fmla="*/ 0 h 9"/>
                <a:gd name="T2" fmla="*/ 2147483647 w 6"/>
                <a:gd name="T3" fmla="*/ 0 h 9"/>
                <a:gd name="T4" fmla="*/ 0 w 6"/>
                <a:gd name="T5" fmla="*/ 0 h 9"/>
                <a:gd name="T6" fmla="*/ 0 w 6"/>
                <a:gd name="T7" fmla="*/ 2147483647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2147483647 w 6"/>
                <a:gd name="T21" fmla="*/ 2147483647 h 9"/>
                <a:gd name="T22" fmla="*/ 2147483647 w 6"/>
                <a:gd name="T23" fmla="*/ 0 h 9"/>
                <a:gd name="T24" fmla="*/ 2147483647 w 6"/>
                <a:gd name="T25" fmla="*/ 0 h 9"/>
                <a:gd name="T26" fmla="*/ 2147483647 w 6"/>
                <a:gd name="T27" fmla="*/ 0 h 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6"/>
                <a:gd name="T43" fmla="*/ 0 h 9"/>
                <a:gd name="T44" fmla="*/ 6 w 6"/>
                <a:gd name="T45" fmla="*/ 9 h 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6" h="9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3" y="9"/>
                  </a:lnTo>
                  <a:lnTo>
                    <a:pt x="6" y="6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11" name="Freeform 111"/>
            <p:cNvSpPr>
              <a:spLocks/>
            </p:cNvSpPr>
            <p:nvPr/>
          </p:nvSpPr>
          <p:spPr bwMode="auto">
            <a:xfrm>
              <a:off x="7523163" y="3973513"/>
              <a:ext cx="177800" cy="234950"/>
            </a:xfrm>
            <a:custGeom>
              <a:avLst/>
              <a:gdLst>
                <a:gd name="T0" fmla="*/ 2147483647 w 111"/>
                <a:gd name="T1" fmla="*/ 2147483647 h 147"/>
                <a:gd name="T2" fmla="*/ 2147483647 w 111"/>
                <a:gd name="T3" fmla="*/ 2147483647 h 147"/>
                <a:gd name="T4" fmla="*/ 2147483647 w 111"/>
                <a:gd name="T5" fmla="*/ 2147483647 h 147"/>
                <a:gd name="T6" fmla="*/ 2147483647 w 111"/>
                <a:gd name="T7" fmla="*/ 2147483647 h 147"/>
                <a:gd name="T8" fmla="*/ 2147483647 w 111"/>
                <a:gd name="T9" fmla="*/ 2147483647 h 147"/>
                <a:gd name="T10" fmla="*/ 2147483647 w 111"/>
                <a:gd name="T11" fmla="*/ 2147483647 h 147"/>
                <a:gd name="T12" fmla="*/ 2147483647 w 111"/>
                <a:gd name="T13" fmla="*/ 2147483647 h 147"/>
                <a:gd name="T14" fmla="*/ 2147483647 w 111"/>
                <a:gd name="T15" fmla="*/ 2147483647 h 147"/>
                <a:gd name="T16" fmla="*/ 2147483647 w 111"/>
                <a:gd name="T17" fmla="*/ 2147483647 h 147"/>
                <a:gd name="T18" fmla="*/ 2147483647 w 111"/>
                <a:gd name="T19" fmla="*/ 2147483647 h 147"/>
                <a:gd name="T20" fmla="*/ 2147483647 w 111"/>
                <a:gd name="T21" fmla="*/ 2147483647 h 147"/>
                <a:gd name="T22" fmla="*/ 2147483647 w 111"/>
                <a:gd name="T23" fmla="*/ 2147483647 h 147"/>
                <a:gd name="T24" fmla="*/ 2147483647 w 111"/>
                <a:gd name="T25" fmla="*/ 2147483647 h 147"/>
                <a:gd name="T26" fmla="*/ 2147483647 w 111"/>
                <a:gd name="T27" fmla="*/ 2147483647 h 147"/>
                <a:gd name="T28" fmla="*/ 2147483647 w 111"/>
                <a:gd name="T29" fmla="*/ 2147483647 h 147"/>
                <a:gd name="T30" fmla="*/ 2147483647 w 111"/>
                <a:gd name="T31" fmla="*/ 2147483647 h 147"/>
                <a:gd name="T32" fmla="*/ 0 w 111"/>
                <a:gd name="T33" fmla="*/ 2147483647 h 147"/>
                <a:gd name="T34" fmla="*/ 2147483647 w 111"/>
                <a:gd name="T35" fmla="*/ 2147483647 h 147"/>
                <a:gd name="T36" fmla="*/ 2147483647 w 111"/>
                <a:gd name="T37" fmla="*/ 2147483647 h 147"/>
                <a:gd name="T38" fmla="*/ 2147483647 w 111"/>
                <a:gd name="T39" fmla="*/ 2147483647 h 147"/>
                <a:gd name="T40" fmla="*/ 2147483647 w 111"/>
                <a:gd name="T41" fmla="*/ 2147483647 h 147"/>
                <a:gd name="T42" fmla="*/ 2147483647 w 111"/>
                <a:gd name="T43" fmla="*/ 2147483647 h 147"/>
                <a:gd name="T44" fmla="*/ 2147483647 w 111"/>
                <a:gd name="T45" fmla="*/ 2147483647 h 147"/>
                <a:gd name="T46" fmla="*/ 2147483647 w 111"/>
                <a:gd name="T47" fmla="*/ 2147483647 h 147"/>
                <a:gd name="T48" fmla="*/ 2147483647 w 111"/>
                <a:gd name="T49" fmla="*/ 2147483647 h 147"/>
                <a:gd name="T50" fmla="*/ 2147483647 w 111"/>
                <a:gd name="T51" fmla="*/ 2147483647 h 147"/>
                <a:gd name="T52" fmla="*/ 2147483647 w 111"/>
                <a:gd name="T53" fmla="*/ 2147483647 h 147"/>
                <a:gd name="T54" fmla="*/ 2147483647 w 111"/>
                <a:gd name="T55" fmla="*/ 2147483647 h 147"/>
                <a:gd name="T56" fmla="*/ 2147483647 w 111"/>
                <a:gd name="T57" fmla="*/ 2147483647 h 147"/>
                <a:gd name="T58" fmla="*/ 2147483647 w 111"/>
                <a:gd name="T59" fmla="*/ 2147483647 h 147"/>
                <a:gd name="T60" fmla="*/ 2147483647 w 111"/>
                <a:gd name="T61" fmla="*/ 2147483647 h 147"/>
                <a:gd name="T62" fmla="*/ 2147483647 w 111"/>
                <a:gd name="T63" fmla="*/ 2147483647 h 147"/>
                <a:gd name="T64" fmla="*/ 2147483647 w 111"/>
                <a:gd name="T65" fmla="*/ 2147483647 h 147"/>
                <a:gd name="T66" fmla="*/ 2147483647 w 111"/>
                <a:gd name="T67" fmla="*/ 2147483647 h 147"/>
                <a:gd name="T68" fmla="*/ 2147483647 w 111"/>
                <a:gd name="T69" fmla="*/ 2147483647 h 147"/>
                <a:gd name="T70" fmla="*/ 2147483647 w 111"/>
                <a:gd name="T71" fmla="*/ 2147483647 h 147"/>
                <a:gd name="T72" fmla="*/ 2147483647 w 111"/>
                <a:gd name="T73" fmla="*/ 2147483647 h 147"/>
                <a:gd name="T74" fmla="*/ 2147483647 w 111"/>
                <a:gd name="T75" fmla="*/ 2147483647 h 147"/>
                <a:gd name="T76" fmla="*/ 2147483647 w 111"/>
                <a:gd name="T77" fmla="*/ 2147483647 h 147"/>
                <a:gd name="T78" fmla="*/ 2147483647 w 111"/>
                <a:gd name="T79" fmla="*/ 2147483647 h 147"/>
                <a:gd name="T80" fmla="*/ 2147483647 w 111"/>
                <a:gd name="T81" fmla="*/ 2147483647 h 147"/>
                <a:gd name="T82" fmla="*/ 2147483647 w 111"/>
                <a:gd name="T83" fmla="*/ 2147483647 h 147"/>
                <a:gd name="T84" fmla="*/ 2147483647 w 111"/>
                <a:gd name="T85" fmla="*/ 2147483647 h 147"/>
                <a:gd name="T86" fmla="*/ 2147483647 w 111"/>
                <a:gd name="T87" fmla="*/ 2147483647 h 147"/>
                <a:gd name="T88" fmla="*/ 2147483647 w 111"/>
                <a:gd name="T89" fmla="*/ 2147483647 h 147"/>
                <a:gd name="T90" fmla="*/ 2147483647 w 111"/>
                <a:gd name="T91" fmla="*/ 2147483647 h 147"/>
                <a:gd name="T92" fmla="*/ 2147483647 w 111"/>
                <a:gd name="T93" fmla="*/ 2147483647 h 147"/>
                <a:gd name="T94" fmla="*/ 2147483647 w 111"/>
                <a:gd name="T95" fmla="*/ 2147483647 h 147"/>
                <a:gd name="T96" fmla="*/ 2147483647 w 111"/>
                <a:gd name="T97" fmla="*/ 2147483647 h 147"/>
                <a:gd name="T98" fmla="*/ 2147483647 w 111"/>
                <a:gd name="T99" fmla="*/ 2147483647 h 147"/>
                <a:gd name="T100" fmla="*/ 2147483647 w 111"/>
                <a:gd name="T101" fmla="*/ 2147483647 h 147"/>
                <a:gd name="T102" fmla="*/ 2147483647 w 111"/>
                <a:gd name="T103" fmla="*/ 2147483647 h 147"/>
                <a:gd name="T104" fmla="*/ 2147483647 w 111"/>
                <a:gd name="T105" fmla="*/ 2147483647 h 147"/>
                <a:gd name="T106" fmla="*/ 2147483647 w 111"/>
                <a:gd name="T107" fmla="*/ 2147483647 h 147"/>
                <a:gd name="T108" fmla="*/ 2147483647 w 111"/>
                <a:gd name="T109" fmla="*/ 2147483647 h 147"/>
                <a:gd name="T110" fmla="*/ 2147483647 w 111"/>
                <a:gd name="T111" fmla="*/ 2147483647 h 147"/>
                <a:gd name="T112" fmla="*/ 2147483647 w 111"/>
                <a:gd name="T113" fmla="*/ 2147483647 h 147"/>
                <a:gd name="T114" fmla="*/ 2147483647 w 111"/>
                <a:gd name="T115" fmla="*/ 2147483647 h 147"/>
                <a:gd name="T116" fmla="*/ 2147483647 w 111"/>
                <a:gd name="T117" fmla="*/ 2147483647 h 147"/>
                <a:gd name="T118" fmla="*/ 2147483647 w 111"/>
                <a:gd name="T119" fmla="*/ 2147483647 h 147"/>
                <a:gd name="T120" fmla="*/ 2147483647 w 111"/>
                <a:gd name="T121" fmla="*/ 2147483647 h 147"/>
                <a:gd name="T122" fmla="*/ 2147483647 w 111"/>
                <a:gd name="T123" fmla="*/ 2147483647 h 147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1"/>
                <a:gd name="T187" fmla="*/ 0 h 147"/>
                <a:gd name="T188" fmla="*/ 111 w 111"/>
                <a:gd name="T189" fmla="*/ 147 h 147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1" h="147">
                  <a:moveTo>
                    <a:pt x="97" y="26"/>
                  </a:moveTo>
                  <a:lnTo>
                    <a:pt x="97" y="26"/>
                  </a:lnTo>
                  <a:lnTo>
                    <a:pt x="100" y="23"/>
                  </a:lnTo>
                  <a:lnTo>
                    <a:pt x="106" y="18"/>
                  </a:lnTo>
                  <a:lnTo>
                    <a:pt x="109" y="12"/>
                  </a:lnTo>
                  <a:lnTo>
                    <a:pt x="109" y="9"/>
                  </a:lnTo>
                  <a:lnTo>
                    <a:pt x="111" y="3"/>
                  </a:lnTo>
                  <a:lnTo>
                    <a:pt x="109" y="0"/>
                  </a:lnTo>
                  <a:lnTo>
                    <a:pt x="106" y="3"/>
                  </a:lnTo>
                  <a:lnTo>
                    <a:pt x="100" y="9"/>
                  </a:lnTo>
                  <a:lnTo>
                    <a:pt x="97" y="15"/>
                  </a:lnTo>
                  <a:lnTo>
                    <a:pt x="91" y="18"/>
                  </a:lnTo>
                  <a:lnTo>
                    <a:pt x="80" y="18"/>
                  </a:lnTo>
                  <a:lnTo>
                    <a:pt x="71" y="18"/>
                  </a:lnTo>
                  <a:lnTo>
                    <a:pt x="66" y="15"/>
                  </a:lnTo>
                  <a:lnTo>
                    <a:pt x="60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3" y="12"/>
                  </a:lnTo>
                  <a:lnTo>
                    <a:pt x="34" y="9"/>
                  </a:lnTo>
                  <a:lnTo>
                    <a:pt x="31" y="20"/>
                  </a:lnTo>
                  <a:lnTo>
                    <a:pt x="25" y="15"/>
                  </a:lnTo>
                  <a:lnTo>
                    <a:pt x="20" y="26"/>
                  </a:lnTo>
                  <a:lnTo>
                    <a:pt x="17" y="41"/>
                  </a:lnTo>
                  <a:lnTo>
                    <a:pt x="17" y="49"/>
                  </a:lnTo>
                  <a:lnTo>
                    <a:pt x="11" y="58"/>
                  </a:lnTo>
                  <a:lnTo>
                    <a:pt x="8" y="63"/>
                  </a:lnTo>
                  <a:lnTo>
                    <a:pt x="8" y="72"/>
                  </a:lnTo>
                  <a:lnTo>
                    <a:pt x="8" y="75"/>
                  </a:lnTo>
                  <a:lnTo>
                    <a:pt x="8" y="78"/>
                  </a:lnTo>
                  <a:lnTo>
                    <a:pt x="5" y="84"/>
                  </a:lnTo>
                  <a:lnTo>
                    <a:pt x="0" y="89"/>
                  </a:lnTo>
                  <a:lnTo>
                    <a:pt x="0" y="104"/>
                  </a:lnTo>
                  <a:lnTo>
                    <a:pt x="2" y="104"/>
                  </a:lnTo>
                  <a:lnTo>
                    <a:pt x="8" y="104"/>
                  </a:lnTo>
                  <a:lnTo>
                    <a:pt x="11" y="107"/>
                  </a:lnTo>
                  <a:lnTo>
                    <a:pt x="11" y="112"/>
                  </a:lnTo>
                  <a:lnTo>
                    <a:pt x="14" y="118"/>
                  </a:lnTo>
                  <a:lnTo>
                    <a:pt x="14" y="124"/>
                  </a:lnTo>
                  <a:lnTo>
                    <a:pt x="11" y="127"/>
                  </a:lnTo>
                  <a:lnTo>
                    <a:pt x="5" y="132"/>
                  </a:lnTo>
                  <a:lnTo>
                    <a:pt x="5" y="138"/>
                  </a:lnTo>
                  <a:lnTo>
                    <a:pt x="8" y="141"/>
                  </a:lnTo>
                  <a:lnTo>
                    <a:pt x="11" y="147"/>
                  </a:lnTo>
                  <a:lnTo>
                    <a:pt x="14" y="147"/>
                  </a:lnTo>
                  <a:lnTo>
                    <a:pt x="17" y="147"/>
                  </a:lnTo>
                  <a:lnTo>
                    <a:pt x="20" y="147"/>
                  </a:lnTo>
                  <a:lnTo>
                    <a:pt x="25" y="144"/>
                  </a:lnTo>
                  <a:lnTo>
                    <a:pt x="25" y="141"/>
                  </a:lnTo>
                  <a:lnTo>
                    <a:pt x="23" y="138"/>
                  </a:lnTo>
                  <a:lnTo>
                    <a:pt x="23" y="135"/>
                  </a:lnTo>
                  <a:lnTo>
                    <a:pt x="23" y="132"/>
                  </a:lnTo>
                  <a:lnTo>
                    <a:pt x="25" y="130"/>
                  </a:lnTo>
                  <a:lnTo>
                    <a:pt x="28" y="127"/>
                  </a:lnTo>
                  <a:lnTo>
                    <a:pt x="25" y="121"/>
                  </a:lnTo>
                  <a:lnTo>
                    <a:pt x="25" y="112"/>
                  </a:lnTo>
                  <a:lnTo>
                    <a:pt x="25" y="107"/>
                  </a:lnTo>
                  <a:lnTo>
                    <a:pt x="28" y="104"/>
                  </a:lnTo>
                  <a:lnTo>
                    <a:pt x="28" y="98"/>
                  </a:lnTo>
                  <a:lnTo>
                    <a:pt x="23" y="98"/>
                  </a:lnTo>
                  <a:lnTo>
                    <a:pt x="23" y="95"/>
                  </a:lnTo>
                  <a:lnTo>
                    <a:pt x="25" y="89"/>
                  </a:lnTo>
                  <a:lnTo>
                    <a:pt x="31" y="89"/>
                  </a:lnTo>
                  <a:lnTo>
                    <a:pt x="34" y="86"/>
                  </a:lnTo>
                  <a:lnTo>
                    <a:pt x="37" y="89"/>
                  </a:lnTo>
                  <a:lnTo>
                    <a:pt x="40" y="89"/>
                  </a:lnTo>
                  <a:lnTo>
                    <a:pt x="40" y="95"/>
                  </a:lnTo>
                  <a:lnTo>
                    <a:pt x="37" y="101"/>
                  </a:lnTo>
                  <a:lnTo>
                    <a:pt x="37" y="104"/>
                  </a:lnTo>
                  <a:lnTo>
                    <a:pt x="40" y="109"/>
                  </a:lnTo>
                  <a:lnTo>
                    <a:pt x="45" y="112"/>
                  </a:lnTo>
                  <a:lnTo>
                    <a:pt x="48" y="115"/>
                  </a:lnTo>
                  <a:lnTo>
                    <a:pt x="45" y="124"/>
                  </a:lnTo>
                  <a:lnTo>
                    <a:pt x="43" y="127"/>
                  </a:lnTo>
                  <a:lnTo>
                    <a:pt x="45" y="130"/>
                  </a:lnTo>
                  <a:lnTo>
                    <a:pt x="51" y="130"/>
                  </a:lnTo>
                  <a:lnTo>
                    <a:pt x="54" y="127"/>
                  </a:lnTo>
                  <a:lnTo>
                    <a:pt x="63" y="124"/>
                  </a:lnTo>
                  <a:lnTo>
                    <a:pt x="66" y="121"/>
                  </a:lnTo>
                  <a:lnTo>
                    <a:pt x="68" y="115"/>
                  </a:lnTo>
                  <a:lnTo>
                    <a:pt x="63" y="112"/>
                  </a:lnTo>
                  <a:lnTo>
                    <a:pt x="60" y="109"/>
                  </a:lnTo>
                  <a:lnTo>
                    <a:pt x="57" y="107"/>
                  </a:lnTo>
                  <a:lnTo>
                    <a:pt x="57" y="104"/>
                  </a:lnTo>
                  <a:lnTo>
                    <a:pt x="60" y="101"/>
                  </a:lnTo>
                  <a:lnTo>
                    <a:pt x="63" y="95"/>
                  </a:lnTo>
                  <a:lnTo>
                    <a:pt x="54" y="84"/>
                  </a:lnTo>
                  <a:lnTo>
                    <a:pt x="48" y="78"/>
                  </a:lnTo>
                  <a:lnTo>
                    <a:pt x="51" y="72"/>
                  </a:lnTo>
                  <a:lnTo>
                    <a:pt x="54" y="69"/>
                  </a:lnTo>
                  <a:lnTo>
                    <a:pt x="60" y="66"/>
                  </a:lnTo>
                  <a:lnTo>
                    <a:pt x="66" y="61"/>
                  </a:lnTo>
                  <a:lnTo>
                    <a:pt x="68" y="55"/>
                  </a:lnTo>
                  <a:lnTo>
                    <a:pt x="74" y="55"/>
                  </a:lnTo>
                  <a:lnTo>
                    <a:pt x="80" y="55"/>
                  </a:lnTo>
                  <a:lnTo>
                    <a:pt x="83" y="52"/>
                  </a:lnTo>
                  <a:lnTo>
                    <a:pt x="80" y="46"/>
                  </a:lnTo>
                  <a:lnTo>
                    <a:pt x="74" y="46"/>
                  </a:lnTo>
                  <a:lnTo>
                    <a:pt x="71" y="46"/>
                  </a:lnTo>
                  <a:lnTo>
                    <a:pt x="68" y="49"/>
                  </a:lnTo>
                  <a:lnTo>
                    <a:pt x="66" y="49"/>
                  </a:lnTo>
                  <a:lnTo>
                    <a:pt x="60" y="49"/>
                  </a:lnTo>
                  <a:lnTo>
                    <a:pt x="54" y="52"/>
                  </a:lnTo>
                  <a:lnTo>
                    <a:pt x="51" y="52"/>
                  </a:lnTo>
                  <a:lnTo>
                    <a:pt x="48" y="52"/>
                  </a:lnTo>
                  <a:lnTo>
                    <a:pt x="45" y="58"/>
                  </a:lnTo>
                  <a:lnTo>
                    <a:pt x="40" y="61"/>
                  </a:lnTo>
                  <a:lnTo>
                    <a:pt x="37" y="63"/>
                  </a:lnTo>
                  <a:lnTo>
                    <a:pt x="31" y="61"/>
                  </a:lnTo>
                  <a:lnTo>
                    <a:pt x="28" y="55"/>
                  </a:lnTo>
                  <a:lnTo>
                    <a:pt x="23" y="49"/>
                  </a:lnTo>
                  <a:lnTo>
                    <a:pt x="23" y="38"/>
                  </a:lnTo>
                  <a:lnTo>
                    <a:pt x="23" y="32"/>
                  </a:lnTo>
                  <a:lnTo>
                    <a:pt x="25" y="29"/>
                  </a:lnTo>
                  <a:lnTo>
                    <a:pt x="34" y="26"/>
                  </a:lnTo>
                  <a:lnTo>
                    <a:pt x="43" y="26"/>
                  </a:lnTo>
                  <a:lnTo>
                    <a:pt x="54" y="26"/>
                  </a:lnTo>
                  <a:lnTo>
                    <a:pt x="66" y="26"/>
                  </a:lnTo>
                  <a:lnTo>
                    <a:pt x="74" y="26"/>
                  </a:lnTo>
                  <a:lnTo>
                    <a:pt x="80" y="29"/>
                  </a:lnTo>
                  <a:lnTo>
                    <a:pt x="86" y="29"/>
                  </a:lnTo>
                  <a:lnTo>
                    <a:pt x="91" y="29"/>
                  </a:lnTo>
                  <a:lnTo>
                    <a:pt x="97" y="2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12" name="Freeform 112"/>
            <p:cNvSpPr>
              <a:spLocks/>
            </p:cNvSpPr>
            <p:nvPr/>
          </p:nvSpPr>
          <p:spPr bwMode="auto">
            <a:xfrm>
              <a:off x="7886700" y="2941638"/>
              <a:ext cx="9525" cy="4762"/>
            </a:xfrm>
            <a:custGeom>
              <a:avLst/>
              <a:gdLst>
                <a:gd name="T0" fmla="*/ 2147483647 w 6"/>
                <a:gd name="T1" fmla="*/ 2147483647 h 3"/>
                <a:gd name="T2" fmla="*/ 2147483647 w 6"/>
                <a:gd name="T3" fmla="*/ 0 h 3"/>
                <a:gd name="T4" fmla="*/ 0 w 6"/>
                <a:gd name="T5" fmla="*/ 0 h 3"/>
                <a:gd name="T6" fmla="*/ 2147483647 w 6"/>
                <a:gd name="T7" fmla="*/ 2147483647 h 3"/>
                <a:gd name="T8" fmla="*/ 2147483647 w 6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6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3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13" name="Freeform 113"/>
            <p:cNvSpPr>
              <a:spLocks/>
            </p:cNvSpPr>
            <p:nvPr/>
          </p:nvSpPr>
          <p:spPr bwMode="auto">
            <a:xfrm>
              <a:off x="7772400" y="2946400"/>
              <a:ext cx="7938" cy="19050"/>
            </a:xfrm>
            <a:custGeom>
              <a:avLst/>
              <a:gdLst>
                <a:gd name="T0" fmla="*/ 0 w 5"/>
                <a:gd name="T1" fmla="*/ 2147483647 h 12"/>
                <a:gd name="T2" fmla="*/ 0 w 5"/>
                <a:gd name="T3" fmla="*/ 2147483647 h 12"/>
                <a:gd name="T4" fmla="*/ 2147483647 w 5"/>
                <a:gd name="T5" fmla="*/ 2147483647 h 12"/>
                <a:gd name="T6" fmla="*/ 2147483647 w 5"/>
                <a:gd name="T7" fmla="*/ 2147483647 h 12"/>
                <a:gd name="T8" fmla="*/ 2147483647 w 5"/>
                <a:gd name="T9" fmla="*/ 2147483647 h 12"/>
                <a:gd name="T10" fmla="*/ 2147483647 w 5"/>
                <a:gd name="T11" fmla="*/ 0 h 12"/>
                <a:gd name="T12" fmla="*/ 0 w 5"/>
                <a:gd name="T13" fmla="*/ 2147483647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12"/>
                <a:gd name="T23" fmla="*/ 5 w 5"/>
                <a:gd name="T24" fmla="*/ 12 h 1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12">
                  <a:moveTo>
                    <a:pt x="0" y="6"/>
                  </a:moveTo>
                  <a:lnTo>
                    <a:pt x="0" y="9"/>
                  </a:lnTo>
                  <a:lnTo>
                    <a:pt x="2" y="12"/>
                  </a:lnTo>
                  <a:lnTo>
                    <a:pt x="5" y="9"/>
                  </a:lnTo>
                  <a:lnTo>
                    <a:pt x="5" y="6"/>
                  </a:lnTo>
                  <a:lnTo>
                    <a:pt x="5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14" name="Freeform 114"/>
            <p:cNvSpPr>
              <a:spLocks/>
            </p:cNvSpPr>
            <p:nvPr/>
          </p:nvSpPr>
          <p:spPr bwMode="auto">
            <a:xfrm>
              <a:off x="5778500" y="1814513"/>
              <a:ext cx="7938" cy="4762"/>
            </a:xfrm>
            <a:custGeom>
              <a:avLst/>
              <a:gdLst>
                <a:gd name="T0" fmla="*/ 2147483647 w 5"/>
                <a:gd name="T1" fmla="*/ 0 h 3"/>
                <a:gd name="T2" fmla="*/ 0 w 5"/>
                <a:gd name="T3" fmla="*/ 0 h 3"/>
                <a:gd name="T4" fmla="*/ 2147483647 w 5"/>
                <a:gd name="T5" fmla="*/ 2147483647 h 3"/>
                <a:gd name="T6" fmla="*/ 2147483647 w 5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3"/>
                <a:gd name="T14" fmla="*/ 5 w 5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5" y="3"/>
                  </a:ln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15" name="Freeform 115"/>
            <p:cNvSpPr>
              <a:spLocks/>
            </p:cNvSpPr>
            <p:nvPr/>
          </p:nvSpPr>
          <p:spPr bwMode="auto">
            <a:xfrm>
              <a:off x="5746750" y="1824038"/>
              <a:ext cx="12700" cy="3175"/>
            </a:xfrm>
            <a:custGeom>
              <a:avLst/>
              <a:gdLst>
                <a:gd name="T0" fmla="*/ 2147483647 w 8"/>
                <a:gd name="T1" fmla="*/ 2147483647 h 2"/>
                <a:gd name="T2" fmla="*/ 2147483647 w 8"/>
                <a:gd name="T3" fmla="*/ 2147483647 h 2"/>
                <a:gd name="T4" fmla="*/ 2147483647 w 8"/>
                <a:gd name="T5" fmla="*/ 0 h 2"/>
                <a:gd name="T6" fmla="*/ 2147483647 w 8"/>
                <a:gd name="T7" fmla="*/ 0 h 2"/>
                <a:gd name="T8" fmla="*/ 2147483647 w 8"/>
                <a:gd name="T9" fmla="*/ 0 h 2"/>
                <a:gd name="T10" fmla="*/ 0 w 8"/>
                <a:gd name="T11" fmla="*/ 0 h 2"/>
                <a:gd name="T12" fmla="*/ 0 w 8"/>
                <a:gd name="T13" fmla="*/ 2147483647 h 2"/>
                <a:gd name="T14" fmla="*/ 2147483647 w 8"/>
                <a:gd name="T15" fmla="*/ 2147483647 h 2"/>
                <a:gd name="T16" fmla="*/ 2147483647 w 8"/>
                <a:gd name="T17" fmla="*/ 2147483647 h 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"/>
                <a:gd name="T28" fmla="*/ 0 h 2"/>
                <a:gd name="T29" fmla="*/ 8 w 8"/>
                <a:gd name="T30" fmla="*/ 2 h 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" h="2">
                  <a:moveTo>
                    <a:pt x="8" y="2"/>
                  </a:moveTo>
                  <a:lnTo>
                    <a:pt x="8" y="2"/>
                  </a:lnTo>
                  <a:lnTo>
                    <a:pt x="8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5" y="2"/>
                  </a:lnTo>
                  <a:lnTo>
                    <a:pt x="8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16" name="Freeform 116"/>
            <p:cNvSpPr>
              <a:spLocks/>
            </p:cNvSpPr>
            <p:nvPr/>
          </p:nvSpPr>
          <p:spPr bwMode="auto">
            <a:xfrm>
              <a:off x="5781675" y="1819275"/>
              <a:ext cx="11113" cy="7938"/>
            </a:xfrm>
            <a:custGeom>
              <a:avLst/>
              <a:gdLst>
                <a:gd name="T0" fmla="*/ 0 w 6"/>
                <a:gd name="T1" fmla="*/ 2147483647 h 5"/>
                <a:gd name="T2" fmla="*/ 2147483647 w 6"/>
                <a:gd name="T3" fmla="*/ 2147483647 h 5"/>
                <a:gd name="T4" fmla="*/ 2147483647 w 6"/>
                <a:gd name="T5" fmla="*/ 0 h 5"/>
                <a:gd name="T6" fmla="*/ 0 w 6"/>
                <a:gd name="T7" fmla="*/ 2147483647 h 5"/>
                <a:gd name="T8" fmla="*/ 0 w 6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5"/>
                <a:gd name="T17" fmla="*/ 6 w 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5">
                  <a:moveTo>
                    <a:pt x="0" y="5"/>
                  </a:moveTo>
                  <a:lnTo>
                    <a:pt x="6" y="3"/>
                  </a:lnTo>
                  <a:lnTo>
                    <a:pt x="6" y="0"/>
                  </a:lnTo>
                  <a:lnTo>
                    <a:pt x="0" y="3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17" name="Freeform 117"/>
            <p:cNvSpPr>
              <a:spLocks/>
            </p:cNvSpPr>
            <p:nvPr/>
          </p:nvSpPr>
          <p:spPr bwMode="auto">
            <a:xfrm>
              <a:off x="5764213" y="1809750"/>
              <a:ext cx="9525" cy="4763"/>
            </a:xfrm>
            <a:custGeom>
              <a:avLst/>
              <a:gdLst>
                <a:gd name="T0" fmla="*/ 2147483647 w 6"/>
                <a:gd name="T1" fmla="*/ 2147483647 h 3"/>
                <a:gd name="T2" fmla="*/ 2147483647 w 6"/>
                <a:gd name="T3" fmla="*/ 0 h 3"/>
                <a:gd name="T4" fmla="*/ 0 w 6"/>
                <a:gd name="T5" fmla="*/ 0 h 3"/>
                <a:gd name="T6" fmla="*/ 0 w 6"/>
                <a:gd name="T7" fmla="*/ 2147483647 h 3"/>
                <a:gd name="T8" fmla="*/ 2147483647 w 6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3" y="3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18" name="Freeform 118"/>
            <p:cNvSpPr>
              <a:spLocks/>
            </p:cNvSpPr>
            <p:nvPr/>
          </p:nvSpPr>
          <p:spPr bwMode="auto">
            <a:xfrm>
              <a:off x="5816600" y="1782763"/>
              <a:ext cx="7938" cy="4762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2147483647 h 3"/>
                <a:gd name="T4" fmla="*/ 2147483647 w 5"/>
                <a:gd name="T5" fmla="*/ 2147483647 h 3"/>
                <a:gd name="T6" fmla="*/ 0 w 5"/>
                <a:gd name="T7" fmla="*/ 0 h 3"/>
                <a:gd name="T8" fmla="*/ 0 w 5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0" y="3"/>
                  </a:moveTo>
                  <a:lnTo>
                    <a:pt x="5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19" name="Freeform 119"/>
            <p:cNvSpPr>
              <a:spLocks/>
            </p:cNvSpPr>
            <p:nvPr/>
          </p:nvSpPr>
          <p:spPr bwMode="auto">
            <a:xfrm>
              <a:off x="5838825" y="1824038"/>
              <a:ext cx="14288" cy="7937"/>
            </a:xfrm>
            <a:custGeom>
              <a:avLst/>
              <a:gdLst>
                <a:gd name="T0" fmla="*/ 0 w 9"/>
                <a:gd name="T1" fmla="*/ 2147483647 h 5"/>
                <a:gd name="T2" fmla="*/ 2147483647 w 9"/>
                <a:gd name="T3" fmla="*/ 2147483647 h 5"/>
                <a:gd name="T4" fmla="*/ 2147483647 w 9"/>
                <a:gd name="T5" fmla="*/ 2147483647 h 5"/>
                <a:gd name="T6" fmla="*/ 2147483647 w 9"/>
                <a:gd name="T7" fmla="*/ 0 h 5"/>
                <a:gd name="T8" fmla="*/ 0 w 9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5"/>
                <a:gd name="T17" fmla="*/ 9 w 9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5">
                  <a:moveTo>
                    <a:pt x="0" y="5"/>
                  </a:moveTo>
                  <a:lnTo>
                    <a:pt x="9" y="5"/>
                  </a:lnTo>
                  <a:lnTo>
                    <a:pt x="9" y="2"/>
                  </a:lnTo>
                  <a:lnTo>
                    <a:pt x="3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20" name="Freeform 120"/>
            <p:cNvSpPr>
              <a:spLocks/>
            </p:cNvSpPr>
            <p:nvPr/>
          </p:nvSpPr>
          <p:spPr bwMode="auto">
            <a:xfrm>
              <a:off x="5289550" y="1916113"/>
              <a:ext cx="38100" cy="22225"/>
            </a:xfrm>
            <a:custGeom>
              <a:avLst/>
              <a:gdLst>
                <a:gd name="T0" fmla="*/ 2147483647 w 23"/>
                <a:gd name="T1" fmla="*/ 2147483647 h 14"/>
                <a:gd name="T2" fmla="*/ 2147483647 w 23"/>
                <a:gd name="T3" fmla="*/ 2147483647 h 14"/>
                <a:gd name="T4" fmla="*/ 2147483647 w 23"/>
                <a:gd name="T5" fmla="*/ 2147483647 h 14"/>
                <a:gd name="T6" fmla="*/ 2147483647 w 23"/>
                <a:gd name="T7" fmla="*/ 2147483647 h 14"/>
                <a:gd name="T8" fmla="*/ 2147483647 w 23"/>
                <a:gd name="T9" fmla="*/ 2147483647 h 14"/>
                <a:gd name="T10" fmla="*/ 2147483647 w 23"/>
                <a:gd name="T11" fmla="*/ 2147483647 h 14"/>
                <a:gd name="T12" fmla="*/ 2147483647 w 23"/>
                <a:gd name="T13" fmla="*/ 0 h 14"/>
                <a:gd name="T14" fmla="*/ 0 w 23"/>
                <a:gd name="T15" fmla="*/ 2147483647 h 14"/>
                <a:gd name="T16" fmla="*/ 0 w 23"/>
                <a:gd name="T17" fmla="*/ 2147483647 h 14"/>
                <a:gd name="T18" fmla="*/ 0 w 23"/>
                <a:gd name="T19" fmla="*/ 2147483647 h 14"/>
                <a:gd name="T20" fmla="*/ 0 w 23"/>
                <a:gd name="T21" fmla="*/ 2147483647 h 14"/>
                <a:gd name="T22" fmla="*/ 2147483647 w 23"/>
                <a:gd name="T23" fmla="*/ 2147483647 h 14"/>
                <a:gd name="T24" fmla="*/ 2147483647 w 23"/>
                <a:gd name="T25" fmla="*/ 2147483647 h 1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3"/>
                <a:gd name="T40" fmla="*/ 0 h 14"/>
                <a:gd name="T41" fmla="*/ 23 w 23"/>
                <a:gd name="T42" fmla="*/ 14 h 1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3" h="14">
                  <a:moveTo>
                    <a:pt x="3" y="14"/>
                  </a:moveTo>
                  <a:lnTo>
                    <a:pt x="3" y="14"/>
                  </a:lnTo>
                  <a:lnTo>
                    <a:pt x="15" y="14"/>
                  </a:lnTo>
                  <a:lnTo>
                    <a:pt x="20" y="11"/>
                  </a:lnTo>
                  <a:lnTo>
                    <a:pt x="23" y="6"/>
                  </a:lnTo>
                  <a:lnTo>
                    <a:pt x="15" y="3"/>
                  </a:lnTo>
                  <a:lnTo>
                    <a:pt x="9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0" y="11"/>
                  </a:lnTo>
                  <a:lnTo>
                    <a:pt x="3" y="1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21" name="Freeform 121"/>
            <p:cNvSpPr>
              <a:spLocks/>
            </p:cNvSpPr>
            <p:nvPr/>
          </p:nvSpPr>
          <p:spPr bwMode="auto">
            <a:xfrm>
              <a:off x="5668963" y="1814513"/>
              <a:ext cx="26987" cy="9525"/>
            </a:xfrm>
            <a:custGeom>
              <a:avLst/>
              <a:gdLst>
                <a:gd name="T0" fmla="*/ 2147483647 w 17"/>
                <a:gd name="T1" fmla="*/ 0 h 6"/>
                <a:gd name="T2" fmla="*/ 2147483647 w 17"/>
                <a:gd name="T3" fmla="*/ 0 h 6"/>
                <a:gd name="T4" fmla="*/ 2147483647 w 17"/>
                <a:gd name="T5" fmla="*/ 0 h 6"/>
                <a:gd name="T6" fmla="*/ 0 w 17"/>
                <a:gd name="T7" fmla="*/ 0 h 6"/>
                <a:gd name="T8" fmla="*/ 0 w 17"/>
                <a:gd name="T9" fmla="*/ 2147483647 h 6"/>
                <a:gd name="T10" fmla="*/ 0 w 17"/>
                <a:gd name="T11" fmla="*/ 2147483647 h 6"/>
                <a:gd name="T12" fmla="*/ 2147483647 w 17"/>
                <a:gd name="T13" fmla="*/ 2147483647 h 6"/>
                <a:gd name="T14" fmla="*/ 2147483647 w 17"/>
                <a:gd name="T15" fmla="*/ 2147483647 h 6"/>
                <a:gd name="T16" fmla="*/ 2147483647 w 17"/>
                <a:gd name="T17" fmla="*/ 2147483647 h 6"/>
                <a:gd name="T18" fmla="*/ 2147483647 w 17"/>
                <a:gd name="T19" fmla="*/ 2147483647 h 6"/>
                <a:gd name="T20" fmla="*/ 2147483647 w 17"/>
                <a:gd name="T21" fmla="*/ 2147483647 h 6"/>
                <a:gd name="T22" fmla="*/ 2147483647 w 17"/>
                <a:gd name="T23" fmla="*/ 0 h 6"/>
                <a:gd name="T24" fmla="*/ 2147483647 w 17"/>
                <a:gd name="T25" fmla="*/ 0 h 6"/>
                <a:gd name="T26" fmla="*/ 2147483647 w 17"/>
                <a:gd name="T27" fmla="*/ 0 h 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7"/>
                <a:gd name="T43" fmla="*/ 0 h 6"/>
                <a:gd name="T44" fmla="*/ 17 w 17"/>
                <a:gd name="T45" fmla="*/ 6 h 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7" h="6">
                  <a:moveTo>
                    <a:pt x="11" y="0"/>
                  </a:moveTo>
                  <a:lnTo>
                    <a:pt x="11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11" y="6"/>
                  </a:lnTo>
                  <a:lnTo>
                    <a:pt x="17" y="3"/>
                  </a:lnTo>
                  <a:lnTo>
                    <a:pt x="11" y="3"/>
                  </a:lnTo>
                  <a:lnTo>
                    <a:pt x="14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22" name="Freeform 122"/>
            <p:cNvSpPr>
              <a:spLocks/>
            </p:cNvSpPr>
            <p:nvPr/>
          </p:nvSpPr>
          <p:spPr bwMode="auto">
            <a:xfrm>
              <a:off x="5427663" y="1930400"/>
              <a:ext cx="9525" cy="3175"/>
            </a:xfrm>
            <a:custGeom>
              <a:avLst/>
              <a:gdLst>
                <a:gd name="T0" fmla="*/ 0 w 6"/>
                <a:gd name="T1" fmla="*/ 2147483647 h 2"/>
                <a:gd name="T2" fmla="*/ 2147483647 w 6"/>
                <a:gd name="T3" fmla="*/ 2147483647 h 2"/>
                <a:gd name="T4" fmla="*/ 2147483647 w 6"/>
                <a:gd name="T5" fmla="*/ 0 h 2"/>
                <a:gd name="T6" fmla="*/ 2147483647 w 6"/>
                <a:gd name="T7" fmla="*/ 0 h 2"/>
                <a:gd name="T8" fmla="*/ 0 w 6"/>
                <a:gd name="T9" fmla="*/ 2147483647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2"/>
                <a:gd name="T17" fmla="*/ 6 w 6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2">
                  <a:moveTo>
                    <a:pt x="0" y="2"/>
                  </a:moveTo>
                  <a:lnTo>
                    <a:pt x="6" y="2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23" name="Rectangle 123"/>
            <p:cNvSpPr>
              <a:spLocks noChangeArrowheads="1"/>
            </p:cNvSpPr>
            <p:nvPr/>
          </p:nvSpPr>
          <p:spPr bwMode="auto">
            <a:xfrm>
              <a:off x="5853113" y="1809750"/>
              <a:ext cx="3175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24" name="Freeform 124"/>
            <p:cNvSpPr>
              <a:spLocks/>
            </p:cNvSpPr>
            <p:nvPr/>
          </p:nvSpPr>
          <p:spPr bwMode="auto">
            <a:xfrm>
              <a:off x="6081713" y="1736725"/>
              <a:ext cx="9525" cy="4763"/>
            </a:xfrm>
            <a:custGeom>
              <a:avLst/>
              <a:gdLst>
                <a:gd name="T0" fmla="*/ 2147483647 w 6"/>
                <a:gd name="T1" fmla="*/ 0 h 3"/>
                <a:gd name="T2" fmla="*/ 0 w 6"/>
                <a:gd name="T3" fmla="*/ 0 h 3"/>
                <a:gd name="T4" fmla="*/ 0 w 6"/>
                <a:gd name="T5" fmla="*/ 2147483647 h 3"/>
                <a:gd name="T6" fmla="*/ 2147483647 w 6"/>
                <a:gd name="T7" fmla="*/ 0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6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25" name="Freeform 125"/>
            <p:cNvSpPr>
              <a:spLocks/>
            </p:cNvSpPr>
            <p:nvPr/>
          </p:nvSpPr>
          <p:spPr bwMode="auto">
            <a:xfrm>
              <a:off x="6064250" y="1736725"/>
              <a:ext cx="3175" cy="4763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2147483647 h 3"/>
                <a:gd name="T4" fmla="*/ 2147483647 w 2"/>
                <a:gd name="T5" fmla="*/ 0 h 3"/>
                <a:gd name="T6" fmla="*/ 0 w 2"/>
                <a:gd name="T7" fmla="*/ 0 h 3"/>
                <a:gd name="T8" fmla="*/ 0 w 2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0" y="0"/>
                  </a:moveTo>
                  <a:lnTo>
                    <a:pt x="0" y="3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26" name="Freeform 126"/>
            <p:cNvSpPr>
              <a:spLocks/>
            </p:cNvSpPr>
            <p:nvPr/>
          </p:nvSpPr>
          <p:spPr bwMode="auto">
            <a:xfrm>
              <a:off x="6045200" y="1736725"/>
              <a:ext cx="9525" cy="4763"/>
            </a:xfrm>
            <a:custGeom>
              <a:avLst/>
              <a:gdLst>
                <a:gd name="T0" fmla="*/ 2147483647 w 6"/>
                <a:gd name="T1" fmla="*/ 0 h 3"/>
                <a:gd name="T2" fmla="*/ 2147483647 w 6"/>
                <a:gd name="T3" fmla="*/ 0 h 3"/>
                <a:gd name="T4" fmla="*/ 0 w 6"/>
                <a:gd name="T5" fmla="*/ 0 h 3"/>
                <a:gd name="T6" fmla="*/ 0 w 6"/>
                <a:gd name="T7" fmla="*/ 2147483647 h 3"/>
                <a:gd name="T8" fmla="*/ 0 w 6"/>
                <a:gd name="T9" fmla="*/ 2147483647 h 3"/>
                <a:gd name="T10" fmla="*/ 2147483647 w 6"/>
                <a:gd name="T11" fmla="*/ 2147483647 h 3"/>
                <a:gd name="T12" fmla="*/ 2147483647 w 6"/>
                <a:gd name="T13" fmla="*/ 2147483647 h 3"/>
                <a:gd name="T14" fmla="*/ 2147483647 w 6"/>
                <a:gd name="T15" fmla="*/ 2147483647 h 3"/>
                <a:gd name="T16" fmla="*/ 2147483647 w 6"/>
                <a:gd name="T17" fmla="*/ 0 h 3"/>
                <a:gd name="T18" fmla="*/ 2147483647 w 6"/>
                <a:gd name="T19" fmla="*/ 0 h 3"/>
                <a:gd name="T20" fmla="*/ 2147483647 w 6"/>
                <a:gd name="T21" fmla="*/ 0 h 3"/>
                <a:gd name="T22" fmla="*/ 2147483647 w 6"/>
                <a:gd name="T23" fmla="*/ 0 h 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"/>
                <a:gd name="T37" fmla="*/ 0 h 3"/>
                <a:gd name="T38" fmla="*/ 6 w 6"/>
                <a:gd name="T39" fmla="*/ 3 h 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" h="3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27" name="Freeform 127"/>
            <p:cNvSpPr>
              <a:spLocks/>
            </p:cNvSpPr>
            <p:nvPr/>
          </p:nvSpPr>
          <p:spPr bwMode="auto">
            <a:xfrm>
              <a:off x="6054725" y="1746250"/>
              <a:ext cx="4763" cy="7938"/>
            </a:xfrm>
            <a:custGeom>
              <a:avLst/>
              <a:gdLst>
                <a:gd name="T0" fmla="*/ 2147483647 w 3"/>
                <a:gd name="T1" fmla="*/ 2147483647 h 5"/>
                <a:gd name="T2" fmla="*/ 2147483647 w 3"/>
                <a:gd name="T3" fmla="*/ 2147483647 h 5"/>
                <a:gd name="T4" fmla="*/ 0 w 3"/>
                <a:gd name="T5" fmla="*/ 0 h 5"/>
                <a:gd name="T6" fmla="*/ 0 w 3"/>
                <a:gd name="T7" fmla="*/ 2147483647 h 5"/>
                <a:gd name="T8" fmla="*/ 2147483647 w 3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3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5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28" name="Rectangle 128"/>
            <p:cNvSpPr>
              <a:spLocks noChangeArrowheads="1"/>
            </p:cNvSpPr>
            <p:nvPr/>
          </p:nvSpPr>
          <p:spPr bwMode="auto">
            <a:xfrm>
              <a:off x="5884863" y="1795463"/>
              <a:ext cx="3175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29" name="Freeform 129"/>
            <p:cNvSpPr>
              <a:spLocks/>
            </p:cNvSpPr>
            <p:nvPr/>
          </p:nvSpPr>
          <p:spPr bwMode="auto">
            <a:xfrm>
              <a:off x="6072188" y="1731963"/>
              <a:ext cx="4762" cy="9525"/>
            </a:xfrm>
            <a:custGeom>
              <a:avLst/>
              <a:gdLst>
                <a:gd name="T0" fmla="*/ 0 w 3"/>
                <a:gd name="T1" fmla="*/ 2147483647 h 6"/>
                <a:gd name="T2" fmla="*/ 2147483647 w 3"/>
                <a:gd name="T3" fmla="*/ 2147483647 h 6"/>
                <a:gd name="T4" fmla="*/ 2147483647 w 3"/>
                <a:gd name="T5" fmla="*/ 0 h 6"/>
                <a:gd name="T6" fmla="*/ 0 w 3"/>
                <a:gd name="T7" fmla="*/ 2147483647 h 6"/>
                <a:gd name="T8" fmla="*/ 0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0" y="6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30" name="Freeform 130"/>
            <p:cNvSpPr>
              <a:spLocks/>
            </p:cNvSpPr>
            <p:nvPr/>
          </p:nvSpPr>
          <p:spPr bwMode="auto">
            <a:xfrm>
              <a:off x="6100763" y="1731963"/>
              <a:ext cx="7937" cy="9525"/>
            </a:xfrm>
            <a:custGeom>
              <a:avLst/>
              <a:gdLst>
                <a:gd name="T0" fmla="*/ 2147483647 w 5"/>
                <a:gd name="T1" fmla="*/ 2147483647 h 6"/>
                <a:gd name="T2" fmla="*/ 2147483647 w 5"/>
                <a:gd name="T3" fmla="*/ 2147483647 h 6"/>
                <a:gd name="T4" fmla="*/ 2147483647 w 5"/>
                <a:gd name="T5" fmla="*/ 2147483647 h 6"/>
                <a:gd name="T6" fmla="*/ 2147483647 w 5"/>
                <a:gd name="T7" fmla="*/ 2147483647 h 6"/>
                <a:gd name="T8" fmla="*/ 2147483647 w 5"/>
                <a:gd name="T9" fmla="*/ 2147483647 h 6"/>
                <a:gd name="T10" fmla="*/ 2147483647 w 5"/>
                <a:gd name="T11" fmla="*/ 2147483647 h 6"/>
                <a:gd name="T12" fmla="*/ 2147483647 w 5"/>
                <a:gd name="T13" fmla="*/ 0 h 6"/>
                <a:gd name="T14" fmla="*/ 2147483647 w 5"/>
                <a:gd name="T15" fmla="*/ 0 h 6"/>
                <a:gd name="T16" fmla="*/ 0 w 5"/>
                <a:gd name="T17" fmla="*/ 0 h 6"/>
                <a:gd name="T18" fmla="*/ 0 w 5"/>
                <a:gd name="T19" fmla="*/ 2147483647 h 6"/>
                <a:gd name="T20" fmla="*/ 0 w 5"/>
                <a:gd name="T21" fmla="*/ 2147483647 h 6"/>
                <a:gd name="T22" fmla="*/ 2147483647 w 5"/>
                <a:gd name="T23" fmla="*/ 2147483647 h 6"/>
                <a:gd name="T24" fmla="*/ 2147483647 w 5"/>
                <a:gd name="T25" fmla="*/ 2147483647 h 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"/>
                <a:gd name="T40" fmla="*/ 0 h 6"/>
                <a:gd name="T41" fmla="*/ 5 w 5"/>
                <a:gd name="T42" fmla="*/ 6 h 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" h="6">
                  <a:moveTo>
                    <a:pt x="2" y="6"/>
                  </a:moveTo>
                  <a:lnTo>
                    <a:pt x="5" y="6"/>
                  </a:lnTo>
                  <a:lnTo>
                    <a:pt x="5" y="3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2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31" name="Freeform 131"/>
            <p:cNvSpPr>
              <a:spLocks/>
            </p:cNvSpPr>
            <p:nvPr/>
          </p:nvSpPr>
          <p:spPr bwMode="auto">
            <a:xfrm>
              <a:off x="6064250" y="1746250"/>
              <a:ext cx="7938" cy="4763"/>
            </a:xfrm>
            <a:custGeom>
              <a:avLst/>
              <a:gdLst>
                <a:gd name="T0" fmla="*/ 2147483647 w 5"/>
                <a:gd name="T1" fmla="*/ 0 h 3"/>
                <a:gd name="T2" fmla="*/ 2147483647 w 5"/>
                <a:gd name="T3" fmla="*/ 0 h 3"/>
                <a:gd name="T4" fmla="*/ 0 w 5"/>
                <a:gd name="T5" fmla="*/ 0 h 3"/>
                <a:gd name="T6" fmla="*/ 2147483647 w 5"/>
                <a:gd name="T7" fmla="*/ 2147483647 h 3"/>
                <a:gd name="T8" fmla="*/ 2147483647 w 5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5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3"/>
                  </a:ln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32" name="Freeform 132"/>
            <p:cNvSpPr>
              <a:spLocks/>
            </p:cNvSpPr>
            <p:nvPr/>
          </p:nvSpPr>
          <p:spPr bwMode="auto">
            <a:xfrm>
              <a:off x="5892800" y="1795463"/>
              <a:ext cx="14288" cy="4762"/>
            </a:xfrm>
            <a:custGeom>
              <a:avLst/>
              <a:gdLst>
                <a:gd name="T0" fmla="*/ 2147483647 w 9"/>
                <a:gd name="T1" fmla="*/ 2147483647 h 3"/>
                <a:gd name="T2" fmla="*/ 2147483647 w 9"/>
                <a:gd name="T3" fmla="*/ 0 h 3"/>
                <a:gd name="T4" fmla="*/ 0 w 9"/>
                <a:gd name="T5" fmla="*/ 0 h 3"/>
                <a:gd name="T6" fmla="*/ 0 w 9"/>
                <a:gd name="T7" fmla="*/ 2147483647 h 3"/>
                <a:gd name="T8" fmla="*/ 2147483647 w 9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3"/>
                <a:gd name="T17" fmla="*/ 9 w 9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3">
                  <a:moveTo>
                    <a:pt x="6" y="3"/>
                  </a:moveTo>
                  <a:lnTo>
                    <a:pt x="9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33" name="Rectangle 133"/>
            <p:cNvSpPr>
              <a:spLocks noChangeArrowheads="1"/>
            </p:cNvSpPr>
            <p:nvPr/>
          </p:nvSpPr>
          <p:spPr bwMode="auto">
            <a:xfrm>
              <a:off x="5916613" y="1800225"/>
              <a:ext cx="4762" cy="1588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34" name="Freeform 134"/>
            <p:cNvSpPr>
              <a:spLocks/>
            </p:cNvSpPr>
            <p:nvPr/>
          </p:nvSpPr>
          <p:spPr bwMode="auto">
            <a:xfrm>
              <a:off x="5924550" y="1787525"/>
              <a:ext cx="9525" cy="3175"/>
            </a:xfrm>
            <a:custGeom>
              <a:avLst/>
              <a:gdLst>
                <a:gd name="T0" fmla="*/ 2147483647 w 6"/>
                <a:gd name="T1" fmla="*/ 2147483647 h 2"/>
                <a:gd name="T2" fmla="*/ 2147483647 w 6"/>
                <a:gd name="T3" fmla="*/ 0 h 2"/>
                <a:gd name="T4" fmla="*/ 2147483647 w 6"/>
                <a:gd name="T5" fmla="*/ 0 h 2"/>
                <a:gd name="T6" fmla="*/ 2147483647 w 6"/>
                <a:gd name="T7" fmla="*/ 0 h 2"/>
                <a:gd name="T8" fmla="*/ 2147483647 w 6"/>
                <a:gd name="T9" fmla="*/ 0 h 2"/>
                <a:gd name="T10" fmla="*/ 2147483647 w 6"/>
                <a:gd name="T11" fmla="*/ 0 h 2"/>
                <a:gd name="T12" fmla="*/ 0 w 6"/>
                <a:gd name="T13" fmla="*/ 0 h 2"/>
                <a:gd name="T14" fmla="*/ 0 w 6"/>
                <a:gd name="T15" fmla="*/ 2147483647 h 2"/>
                <a:gd name="T16" fmla="*/ 0 w 6"/>
                <a:gd name="T17" fmla="*/ 2147483647 h 2"/>
                <a:gd name="T18" fmla="*/ 2147483647 w 6"/>
                <a:gd name="T19" fmla="*/ 2147483647 h 2"/>
                <a:gd name="T20" fmla="*/ 2147483647 w 6"/>
                <a:gd name="T21" fmla="*/ 2147483647 h 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"/>
                <a:gd name="T34" fmla="*/ 0 h 2"/>
                <a:gd name="T35" fmla="*/ 6 w 6"/>
                <a:gd name="T36" fmla="*/ 2 h 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" h="2">
                  <a:moveTo>
                    <a:pt x="6" y="2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6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35" name="Freeform 135"/>
            <p:cNvSpPr>
              <a:spLocks/>
            </p:cNvSpPr>
            <p:nvPr/>
          </p:nvSpPr>
          <p:spPr bwMode="auto">
            <a:xfrm>
              <a:off x="5916613" y="1787525"/>
              <a:ext cx="7937" cy="3175"/>
            </a:xfrm>
            <a:custGeom>
              <a:avLst/>
              <a:gdLst>
                <a:gd name="T0" fmla="*/ 0 w 5"/>
                <a:gd name="T1" fmla="*/ 0 h 2"/>
                <a:gd name="T2" fmla="*/ 0 w 5"/>
                <a:gd name="T3" fmla="*/ 2147483647 h 2"/>
                <a:gd name="T4" fmla="*/ 2147483647 w 5"/>
                <a:gd name="T5" fmla="*/ 2147483647 h 2"/>
                <a:gd name="T6" fmla="*/ 2147483647 w 5"/>
                <a:gd name="T7" fmla="*/ 2147483647 h 2"/>
                <a:gd name="T8" fmla="*/ 0 w 5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0" y="0"/>
                  </a:moveTo>
                  <a:lnTo>
                    <a:pt x="0" y="2"/>
                  </a:lnTo>
                  <a:lnTo>
                    <a:pt x="3" y="2"/>
                  </a:lnTo>
                  <a:lnTo>
                    <a:pt x="5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36" name="Freeform 136"/>
            <p:cNvSpPr>
              <a:spLocks/>
            </p:cNvSpPr>
            <p:nvPr/>
          </p:nvSpPr>
          <p:spPr bwMode="auto">
            <a:xfrm>
              <a:off x="5938838" y="1778000"/>
              <a:ext cx="9525" cy="12700"/>
            </a:xfrm>
            <a:custGeom>
              <a:avLst/>
              <a:gdLst>
                <a:gd name="T0" fmla="*/ 0 w 6"/>
                <a:gd name="T1" fmla="*/ 2147483647 h 8"/>
                <a:gd name="T2" fmla="*/ 0 w 6"/>
                <a:gd name="T3" fmla="*/ 2147483647 h 8"/>
                <a:gd name="T4" fmla="*/ 0 w 6"/>
                <a:gd name="T5" fmla="*/ 2147483647 h 8"/>
                <a:gd name="T6" fmla="*/ 2147483647 w 6"/>
                <a:gd name="T7" fmla="*/ 2147483647 h 8"/>
                <a:gd name="T8" fmla="*/ 2147483647 w 6"/>
                <a:gd name="T9" fmla="*/ 2147483647 h 8"/>
                <a:gd name="T10" fmla="*/ 2147483647 w 6"/>
                <a:gd name="T11" fmla="*/ 0 h 8"/>
                <a:gd name="T12" fmla="*/ 2147483647 w 6"/>
                <a:gd name="T13" fmla="*/ 0 h 8"/>
                <a:gd name="T14" fmla="*/ 0 w 6"/>
                <a:gd name="T15" fmla="*/ 2147483647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"/>
                <a:gd name="T25" fmla="*/ 0 h 8"/>
                <a:gd name="T26" fmla="*/ 6 w 6"/>
                <a:gd name="T27" fmla="*/ 8 h 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" h="8">
                  <a:moveTo>
                    <a:pt x="0" y="3"/>
                  </a:moveTo>
                  <a:lnTo>
                    <a:pt x="0" y="8"/>
                  </a:lnTo>
                  <a:lnTo>
                    <a:pt x="6" y="6"/>
                  </a:lnTo>
                  <a:lnTo>
                    <a:pt x="6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37" name="Freeform 137"/>
            <p:cNvSpPr>
              <a:spLocks/>
            </p:cNvSpPr>
            <p:nvPr/>
          </p:nvSpPr>
          <p:spPr bwMode="auto">
            <a:xfrm>
              <a:off x="5921375" y="1778000"/>
              <a:ext cx="7938" cy="4763"/>
            </a:xfrm>
            <a:custGeom>
              <a:avLst/>
              <a:gdLst>
                <a:gd name="T0" fmla="*/ 2147483647 w 5"/>
                <a:gd name="T1" fmla="*/ 2147483647 h 3"/>
                <a:gd name="T2" fmla="*/ 2147483647 w 5"/>
                <a:gd name="T3" fmla="*/ 0 h 3"/>
                <a:gd name="T4" fmla="*/ 2147483647 w 5"/>
                <a:gd name="T5" fmla="*/ 0 h 3"/>
                <a:gd name="T6" fmla="*/ 2147483647 w 5"/>
                <a:gd name="T7" fmla="*/ 2147483647 h 3"/>
                <a:gd name="T8" fmla="*/ 2147483647 w 5"/>
                <a:gd name="T9" fmla="*/ 2147483647 h 3"/>
                <a:gd name="T10" fmla="*/ 0 w 5"/>
                <a:gd name="T11" fmla="*/ 2147483647 h 3"/>
                <a:gd name="T12" fmla="*/ 2147483647 w 5"/>
                <a:gd name="T13" fmla="*/ 2147483647 h 3"/>
                <a:gd name="T14" fmla="*/ 2147483647 w 5"/>
                <a:gd name="T15" fmla="*/ 2147483647 h 3"/>
                <a:gd name="T16" fmla="*/ 2147483647 w 5"/>
                <a:gd name="T17" fmla="*/ 2147483647 h 3"/>
                <a:gd name="T18" fmla="*/ 2147483647 w 5"/>
                <a:gd name="T19" fmla="*/ 2147483647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"/>
                <a:gd name="T31" fmla="*/ 0 h 3"/>
                <a:gd name="T32" fmla="*/ 5 w 5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" h="3">
                  <a:moveTo>
                    <a:pt x="5" y="3"/>
                  </a:moveTo>
                  <a:lnTo>
                    <a:pt x="5" y="0"/>
                  </a:lnTo>
                  <a:lnTo>
                    <a:pt x="2" y="3"/>
                  </a:lnTo>
                  <a:lnTo>
                    <a:pt x="0" y="3"/>
                  </a:lnTo>
                  <a:lnTo>
                    <a:pt x="2" y="3"/>
                  </a:lnTo>
                  <a:lnTo>
                    <a:pt x="5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38" name="Rectangle 138"/>
            <p:cNvSpPr>
              <a:spLocks noChangeArrowheads="1"/>
            </p:cNvSpPr>
            <p:nvPr/>
          </p:nvSpPr>
          <p:spPr bwMode="auto">
            <a:xfrm>
              <a:off x="4792663" y="1874838"/>
              <a:ext cx="9525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39" name="Freeform 139"/>
            <p:cNvSpPr>
              <a:spLocks/>
            </p:cNvSpPr>
            <p:nvPr/>
          </p:nvSpPr>
          <p:spPr bwMode="auto">
            <a:xfrm>
              <a:off x="4370388" y="2371725"/>
              <a:ext cx="82550" cy="77788"/>
            </a:xfrm>
            <a:custGeom>
              <a:avLst/>
              <a:gdLst>
                <a:gd name="T0" fmla="*/ 2147483647 w 52"/>
                <a:gd name="T1" fmla="*/ 2147483647 h 49"/>
                <a:gd name="T2" fmla="*/ 2147483647 w 52"/>
                <a:gd name="T3" fmla="*/ 2147483647 h 49"/>
                <a:gd name="T4" fmla="*/ 2147483647 w 52"/>
                <a:gd name="T5" fmla="*/ 2147483647 h 49"/>
                <a:gd name="T6" fmla="*/ 2147483647 w 52"/>
                <a:gd name="T7" fmla="*/ 2147483647 h 49"/>
                <a:gd name="T8" fmla="*/ 2147483647 w 52"/>
                <a:gd name="T9" fmla="*/ 2147483647 h 49"/>
                <a:gd name="T10" fmla="*/ 2147483647 w 52"/>
                <a:gd name="T11" fmla="*/ 2147483647 h 49"/>
                <a:gd name="T12" fmla="*/ 2147483647 w 52"/>
                <a:gd name="T13" fmla="*/ 2147483647 h 49"/>
                <a:gd name="T14" fmla="*/ 2147483647 w 52"/>
                <a:gd name="T15" fmla="*/ 2147483647 h 49"/>
                <a:gd name="T16" fmla="*/ 2147483647 w 52"/>
                <a:gd name="T17" fmla="*/ 2147483647 h 49"/>
                <a:gd name="T18" fmla="*/ 2147483647 w 52"/>
                <a:gd name="T19" fmla="*/ 2147483647 h 49"/>
                <a:gd name="T20" fmla="*/ 2147483647 w 52"/>
                <a:gd name="T21" fmla="*/ 2147483647 h 49"/>
                <a:gd name="T22" fmla="*/ 2147483647 w 52"/>
                <a:gd name="T23" fmla="*/ 2147483647 h 49"/>
                <a:gd name="T24" fmla="*/ 2147483647 w 52"/>
                <a:gd name="T25" fmla="*/ 2147483647 h 49"/>
                <a:gd name="T26" fmla="*/ 2147483647 w 52"/>
                <a:gd name="T27" fmla="*/ 2147483647 h 49"/>
                <a:gd name="T28" fmla="*/ 2147483647 w 52"/>
                <a:gd name="T29" fmla="*/ 2147483647 h 49"/>
                <a:gd name="T30" fmla="*/ 2147483647 w 52"/>
                <a:gd name="T31" fmla="*/ 2147483647 h 49"/>
                <a:gd name="T32" fmla="*/ 2147483647 w 52"/>
                <a:gd name="T33" fmla="*/ 2147483647 h 49"/>
                <a:gd name="T34" fmla="*/ 2147483647 w 52"/>
                <a:gd name="T35" fmla="*/ 2147483647 h 49"/>
                <a:gd name="T36" fmla="*/ 2147483647 w 52"/>
                <a:gd name="T37" fmla="*/ 2147483647 h 49"/>
                <a:gd name="T38" fmla="*/ 2147483647 w 52"/>
                <a:gd name="T39" fmla="*/ 2147483647 h 49"/>
                <a:gd name="T40" fmla="*/ 2147483647 w 52"/>
                <a:gd name="T41" fmla="*/ 2147483647 h 49"/>
                <a:gd name="T42" fmla="*/ 2147483647 w 52"/>
                <a:gd name="T43" fmla="*/ 2147483647 h 49"/>
                <a:gd name="T44" fmla="*/ 2147483647 w 52"/>
                <a:gd name="T45" fmla="*/ 2147483647 h 49"/>
                <a:gd name="T46" fmla="*/ 2147483647 w 52"/>
                <a:gd name="T47" fmla="*/ 2147483647 h 49"/>
                <a:gd name="T48" fmla="*/ 2147483647 w 52"/>
                <a:gd name="T49" fmla="*/ 0 h 49"/>
                <a:gd name="T50" fmla="*/ 2147483647 w 52"/>
                <a:gd name="T51" fmla="*/ 0 h 49"/>
                <a:gd name="T52" fmla="*/ 2147483647 w 52"/>
                <a:gd name="T53" fmla="*/ 0 h 49"/>
                <a:gd name="T54" fmla="*/ 2147483647 w 52"/>
                <a:gd name="T55" fmla="*/ 0 h 49"/>
                <a:gd name="T56" fmla="*/ 2147483647 w 52"/>
                <a:gd name="T57" fmla="*/ 0 h 49"/>
                <a:gd name="T58" fmla="*/ 2147483647 w 52"/>
                <a:gd name="T59" fmla="*/ 0 h 49"/>
                <a:gd name="T60" fmla="*/ 2147483647 w 52"/>
                <a:gd name="T61" fmla="*/ 0 h 49"/>
                <a:gd name="T62" fmla="*/ 2147483647 w 52"/>
                <a:gd name="T63" fmla="*/ 2147483647 h 49"/>
                <a:gd name="T64" fmla="*/ 2147483647 w 52"/>
                <a:gd name="T65" fmla="*/ 2147483647 h 49"/>
                <a:gd name="T66" fmla="*/ 2147483647 w 52"/>
                <a:gd name="T67" fmla="*/ 2147483647 h 49"/>
                <a:gd name="T68" fmla="*/ 2147483647 w 52"/>
                <a:gd name="T69" fmla="*/ 2147483647 h 49"/>
                <a:gd name="T70" fmla="*/ 2147483647 w 52"/>
                <a:gd name="T71" fmla="*/ 2147483647 h 49"/>
                <a:gd name="T72" fmla="*/ 2147483647 w 52"/>
                <a:gd name="T73" fmla="*/ 2147483647 h 49"/>
                <a:gd name="T74" fmla="*/ 2147483647 w 52"/>
                <a:gd name="T75" fmla="*/ 2147483647 h 49"/>
                <a:gd name="T76" fmla="*/ 2147483647 w 52"/>
                <a:gd name="T77" fmla="*/ 2147483647 h 49"/>
                <a:gd name="T78" fmla="*/ 2147483647 w 52"/>
                <a:gd name="T79" fmla="*/ 2147483647 h 49"/>
                <a:gd name="T80" fmla="*/ 2147483647 w 52"/>
                <a:gd name="T81" fmla="*/ 2147483647 h 49"/>
                <a:gd name="T82" fmla="*/ 2147483647 w 52"/>
                <a:gd name="T83" fmla="*/ 2147483647 h 49"/>
                <a:gd name="T84" fmla="*/ 2147483647 w 52"/>
                <a:gd name="T85" fmla="*/ 2147483647 h 49"/>
                <a:gd name="T86" fmla="*/ 2147483647 w 52"/>
                <a:gd name="T87" fmla="*/ 2147483647 h 49"/>
                <a:gd name="T88" fmla="*/ 2147483647 w 52"/>
                <a:gd name="T89" fmla="*/ 2147483647 h 49"/>
                <a:gd name="T90" fmla="*/ 2147483647 w 52"/>
                <a:gd name="T91" fmla="*/ 2147483647 h 49"/>
                <a:gd name="T92" fmla="*/ 2147483647 w 52"/>
                <a:gd name="T93" fmla="*/ 2147483647 h 49"/>
                <a:gd name="T94" fmla="*/ 2147483647 w 52"/>
                <a:gd name="T95" fmla="*/ 2147483647 h 49"/>
                <a:gd name="T96" fmla="*/ 2147483647 w 52"/>
                <a:gd name="T97" fmla="*/ 2147483647 h 49"/>
                <a:gd name="T98" fmla="*/ 2147483647 w 52"/>
                <a:gd name="T99" fmla="*/ 2147483647 h 49"/>
                <a:gd name="T100" fmla="*/ 2147483647 w 52"/>
                <a:gd name="T101" fmla="*/ 2147483647 h 49"/>
                <a:gd name="T102" fmla="*/ 0 w 52"/>
                <a:gd name="T103" fmla="*/ 2147483647 h 49"/>
                <a:gd name="T104" fmla="*/ 2147483647 w 52"/>
                <a:gd name="T105" fmla="*/ 2147483647 h 49"/>
                <a:gd name="T106" fmla="*/ 2147483647 w 52"/>
                <a:gd name="T107" fmla="*/ 2147483647 h 49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2"/>
                <a:gd name="T163" fmla="*/ 0 h 49"/>
                <a:gd name="T164" fmla="*/ 52 w 52"/>
                <a:gd name="T165" fmla="*/ 49 h 49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2" h="49">
                  <a:moveTo>
                    <a:pt x="15" y="38"/>
                  </a:moveTo>
                  <a:lnTo>
                    <a:pt x="26" y="35"/>
                  </a:lnTo>
                  <a:lnTo>
                    <a:pt x="26" y="38"/>
                  </a:lnTo>
                  <a:lnTo>
                    <a:pt x="26" y="40"/>
                  </a:lnTo>
                  <a:lnTo>
                    <a:pt x="29" y="40"/>
                  </a:lnTo>
                  <a:lnTo>
                    <a:pt x="35" y="43"/>
                  </a:lnTo>
                  <a:lnTo>
                    <a:pt x="32" y="49"/>
                  </a:lnTo>
                  <a:lnTo>
                    <a:pt x="38" y="49"/>
                  </a:lnTo>
                  <a:lnTo>
                    <a:pt x="35" y="46"/>
                  </a:lnTo>
                  <a:lnTo>
                    <a:pt x="38" y="38"/>
                  </a:lnTo>
                  <a:lnTo>
                    <a:pt x="35" y="32"/>
                  </a:lnTo>
                  <a:lnTo>
                    <a:pt x="35" y="29"/>
                  </a:lnTo>
                  <a:lnTo>
                    <a:pt x="38" y="26"/>
                  </a:lnTo>
                  <a:lnTo>
                    <a:pt x="46" y="29"/>
                  </a:lnTo>
                  <a:lnTo>
                    <a:pt x="46" y="26"/>
                  </a:lnTo>
                  <a:lnTo>
                    <a:pt x="46" y="23"/>
                  </a:lnTo>
                  <a:lnTo>
                    <a:pt x="49" y="20"/>
                  </a:lnTo>
                  <a:lnTo>
                    <a:pt x="43" y="15"/>
                  </a:lnTo>
                  <a:lnTo>
                    <a:pt x="46" y="15"/>
                  </a:lnTo>
                  <a:lnTo>
                    <a:pt x="52" y="12"/>
                  </a:lnTo>
                  <a:lnTo>
                    <a:pt x="52" y="9"/>
                  </a:lnTo>
                  <a:lnTo>
                    <a:pt x="52" y="0"/>
                  </a:lnTo>
                  <a:lnTo>
                    <a:pt x="43" y="0"/>
                  </a:lnTo>
                  <a:lnTo>
                    <a:pt x="38" y="0"/>
                  </a:lnTo>
                  <a:lnTo>
                    <a:pt x="29" y="6"/>
                  </a:lnTo>
                  <a:lnTo>
                    <a:pt x="29" y="15"/>
                  </a:lnTo>
                  <a:lnTo>
                    <a:pt x="35" y="17"/>
                  </a:lnTo>
                  <a:lnTo>
                    <a:pt x="26" y="20"/>
                  </a:lnTo>
                  <a:lnTo>
                    <a:pt x="23" y="17"/>
                  </a:lnTo>
                  <a:lnTo>
                    <a:pt x="23" y="12"/>
                  </a:lnTo>
                  <a:lnTo>
                    <a:pt x="23" y="9"/>
                  </a:lnTo>
                  <a:lnTo>
                    <a:pt x="23" y="3"/>
                  </a:lnTo>
                  <a:lnTo>
                    <a:pt x="20" y="3"/>
                  </a:lnTo>
                  <a:lnTo>
                    <a:pt x="20" y="6"/>
                  </a:lnTo>
                  <a:lnTo>
                    <a:pt x="17" y="15"/>
                  </a:lnTo>
                  <a:lnTo>
                    <a:pt x="12" y="23"/>
                  </a:lnTo>
                  <a:lnTo>
                    <a:pt x="3" y="32"/>
                  </a:lnTo>
                  <a:lnTo>
                    <a:pt x="0" y="38"/>
                  </a:lnTo>
                  <a:lnTo>
                    <a:pt x="6" y="40"/>
                  </a:lnTo>
                  <a:lnTo>
                    <a:pt x="15" y="3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40" name="Freeform 140"/>
            <p:cNvSpPr>
              <a:spLocks/>
            </p:cNvSpPr>
            <p:nvPr/>
          </p:nvSpPr>
          <p:spPr bwMode="auto">
            <a:xfrm>
              <a:off x="4346575" y="2432050"/>
              <a:ext cx="84138" cy="58738"/>
            </a:xfrm>
            <a:custGeom>
              <a:avLst/>
              <a:gdLst>
                <a:gd name="T0" fmla="*/ 0 w 52"/>
                <a:gd name="T1" fmla="*/ 2147483647 h 37"/>
                <a:gd name="T2" fmla="*/ 0 w 52"/>
                <a:gd name="T3" fmla="*/ 2147483647 h 37"/>
                <a:gd name="T4" fmla="*/ 2147483647 w 52"/>
                <a:gd name="T5" fmla="*/ 2147483647 h 37"/>
                <a:gd name="T6" fmla="*/ 2147483647 w 52"/>
                <a:gd name="T7" fmla="*/ 2147483647 h 37"/>
                <a:gd name="T8" fmla="*/ 2147483647 w 52"/>
                <a:gd name="T9" fmla="*/ 2147483647 h 37"/>
                <a:gd name="T10" fmla="*/ 2147483647 w 52"/>
                <a:gd name="T11" fmla="*/ 2147483647 h 37"/>
                <a:gd name="T12" fmla="*/ 2147483647 w 52"/>
                <a:gd name="T13" fmla="*/ 2147483647 h 37"/>
                <a:gd name="T14" fmla="*/ 2147483647 w 52"/>
                <a:gd name="T15" fmla="*/ 2147483647 h 37"/>
                <a:gd name="T16" fmla="*/ 2147483647 w 52"/>
                <a:gd name="T17" fmla="*/ 2147483647 h 37"/>
                <a:gd name="T18" fmla="*/ 2147483647 w 52"/>
                <a:gd name="T19" fmla="*/ 2147483647 h 37"/>
                <a:gd name="T20" fmla="*/ 2147483647 w 52"/>
                <a:gd name="T21" fmla="*/ 2147483647 h 37"/>
                <a:gd name="T22" fmla="*/ 2147483647 w 52"/>
                <a:gd name="T23" fmla="*/ 2147483647 h 37"/>
                <a:gd name="T24" fmla="*/ 2147483647 w 52"/>
                <a:gd name="T25" fmla="*/ 2147483647 h 37"/>
                <a:gd name="T26" fmla="*/ 2147483647 w 52"/>
                <a:gd name="T27" fmla="*/ 2147483647 h 37"/>
                <a:gd name="T28" fmla="*/ 2147483647 w 52"/>
                <a:gd name="T29" fmla="*/ 2147483647 h 37"/>
                <a:gd name="T30" fmla="*/ 2147483647 w 52"/>
                <a:gd name="T31" fmla="*/ 2147483647 h 37"/>
                <a:gd name="T32" fmla="*/ 2147483647 w 52"/>
                <a:gd name="T33" fmla="*/ 2147483647 h 37"/>
                <a:gd name="T34" fmla="*/ 2147483647 w 52"/>
                <a:gd name="T35" fmla="*/ 2147483647 h 37"/>
                <a:gd name="T36" fmla="*/ 2147483647 w 52"/>
                <a:gd name="T37" fmla="*/ 2147483647 h 37"/>
                <a:gd name="T38" fmla="*/ 2147483647 w 52"/>
                <a:gd name="T39" fmla="*/ 2147483647 h 37"/>
                <a:gd name="T40" fmla="*/ 2147483647 w 52"/>
                <a:gd name="T41" fmla="*/ 2147483647 h 37"/>
                <a:gd name="T42" fmla="*/ 2147483647 w 52"/>
                <a:gd name="T43" fmla="*/ 2147483647 h 37"/>
                <a:gd name="T44" fmla="*/ 2147483647 w 52"/>
                <a:gd name="T45" fmla="*/ 2147483647 h 37"/>
                <a:gd name="T46" fmla="*/ 2147483647 w 52"/>
                <a:gd name="T47" fmla="*/ 2147483647 h 37"/>
                <a:gd name="T48" fmla="*/ 2147483647 w 52"/>
                <a:gd name="T49" fmla="*/ 2147483647 h 37"/>
                <a:gd name="T50" fmla="*/ 2147483647 w 52"/>
                <a:gd name="T51" fmla="*/ 2147483647 h 37"/>
                <a:gd name="T52" fmla="*/ 2147483647 w 52"/>
                <a:gd name="T53" fmla="*/ 2147483647 h 37"/>
                <a:gd name="T54" fmla="*/ 2147483647 w 52"/>
                <a:gd name="T55" fmla="*/ 0 h 37"/>
                <a:gd name="T56" fmla="*/ 2147483647 w 52"/>
                <a:gd name="T57" fmla="*/ 2147483647 h 37"/>
                <a:gd name="T58" fmla="*/ 2147483647 w 52"/>
                <a:gd name="T59" fmla="*/ 2147483647 h 37"/>
                <a:gd name="T60" fmla="*/ 2147483647 w 52"/>
                <a:gd name="T61" fmla="*/ 2147483647 h 37"/>
                <a:gd name="T62" fmla="*/ 2147483647 w 52"/>
                <a:gd name="T63" fmla="*/ 2147483647 h 37"/>
                <a:gd name="T64" fmla="*/ 2147483647 w 52"/>
                <a:gd name="T65" fmla="*/ 2147483647 h 37"/>
                <a:gd name="T66" fmla="*/ 2147483647 w 52"/>
                <a:gd name="T67" fmla="*/ 2147483647 h 37"/>
                <a:gd name="T68" fmla="*/ 2147483647 w 52"/>
                <a:gd name="T69" fmla="*/ 2147483647 h 37"/>
                <a:gd name="T70" fmla="*/ 0 w 52"/>
                <a:gd name="T71" fmla="*/ 2147483647 h 37"/>
                <a:gd name="T72" fmla="*/ 0 w 52"/>
                <a:gd name="T73" fmla="*/ 2147483647 h 37"/>
                <a:gd name="T74" fmla="*/ 0 w 52"/>
                <a:gd name="T75" fmla="*/ 2147483647 h 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52"/>
                <a:gd name="T115" fmla="*/ 0 h 37"/>
                <a:gd name="T116" fmla="*/ 52 w 52"/>
                <a:gd name="T117" fmla="*/ 37 h 37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52" h="37">
                  <a:moveTo>
                    <a:pt x="0" y="14"/>
                  </a:moveTo>
                  <a:lnTo>
                    <a:pt x="0" y="14"/>
                  </a:lnTo>
                  <a:lnTo>
                    <a:pt x="3" y="14"/>
                  </a:lnTo>
                  <a:lnTo>
                    <a:pt x="14" y="14"/>
                  </a:lnTo>
                  <a:lnTo>
                    <a:pt x="17" y="20"/>
                  </a:lnTo>
                  <a:lnTo>
                    <a:pt x="23" y="20"/>
                  </a:lnTo>
                  <a:lnTo>
                    <a:pt x="26" y="25"/>
                  </a:lnTo>
                  <a:lnTo>
                    <a:pt x="26" y="28"/>
                  </a:lnTo>
                  <a:lnTo>
                    <a:pt x="34" y="17"/>
                  </a:lnTo>
                  <a:lnTo>
                    <a:pt x="37" y="28"/>
                  </a:lnTo>
                  <a:lnTo>
                    <a:pt x="43" y="34"/>
                  </a:lnTo>
                  <a:lnTo>
                    <a:pt x="46" y="37"/>
                  </a:lnTo>
                  <a:lnTo>
                    <a:pt x="43" y="28"/>
                  </a:lnTo>
                  <a:lnTo>
                    <a:pt x="49" y="22"/>
                  </a:lnTo>
                  <a:lnTo>
                    <a:pt x="52" y="20"/>
                  </a:lnTo>
                  <a:lnTo>
                    <a:pt x="52" y="17"/>
                  </a:lnTo>
                  <a:lnTo>
                    <a:pt x="43" y="14"/>
                  </a:lnTo>
                  <a:lnTo>
                    <a:pt x="43" y="11"/>
                  </a:lnTo>
                  <a:lnTo>
                    <a:pt x="46" y="5"/>
                  </a:lnTo>
                  <a:lnTo>
                    <a:pt x="43" y="5"/>
                  </a:lnTo>
                  <a:lnTo>
                    <a:pt x="37" y="5"/>
                  </a:lnTo>
                  <a:lnTo>
                    <a:pt x="37" y="2"/>
                  </a:lnTo>
                  <a:lnTo>
                    <a:pt x="34" y="0"/>
                  </a:lnTo>
                  <a:lnTo>
                    <a:pt x="29" y="2"/>
                  </a:lnTo>
                  <a:lnTo>
                    <a:pt x="20" y="5"/>
                  </a:lnTo>
                  <a:lnTo>
                    <a:pt x="11" y="2"/>
                  </a:lnTo>
                  <a:lnTo>
                    <a:pt x="8" y="2"/>
                  </a:lnTo>
                  <a:lnTo>
                    <a:pt x="0" y="5"/>
                  </a:lnTo>
                  <a:lnTo>
                    <a:pt x="0" y="11"/>
                  </a:lnTo>
                  <a:lnTo>
                    <a:pt x="0" y="1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41" name="Freeform 141"/>
            <p:cNvSpPr>
              <a:spLocks/>
            </p:cNvSpPr>
            <p:nvPr/>
          </p:nvSpPr>
          <p:spPr bwMode="auto">
            <a:xfrm>
              <a:off x="4411663" y="1874838"/>
              <a:ext cx="528637" cy="363537"/>
            </a:xfrm>
            <a:custGeom>
              <a:avLst/>
              <a:gdLst>
                <a:gd name="T0" fmla="*/ 2147483647 w 330"/>
                <a:gd name="T1" fmla="*/ 2147483647 h 227"/>
                <a:gd name="T2" fmla="*/ 2147483647 w 330"/>
                <a:gd name="T3" fmla="*/ 2147483647 h 227"/>
                <a:gd name="T4" fmla="*/ 2147483647 w 330"/>
                <a:gd name="T5" fmla="*/ 2147483647 h 227"/>
                <a:gd name="T6" fmla="*/ 2147483647 w 330"/>
                <a:gd name="T7" fmla="*/ 2147483647 h 227"/>
                <a:gd name="T8" fmla="*/ 2147483647 w 330"/>
                <a:gd name="T9" fmla="*/ 2147483647 h 227"/>
                <a:gd name="T10" fmla="*/ 2147483647 w 330"/>
                <a:gd name="T11" fmla="*/ 2147483647 h 227"/>
                <a:gd name="T12" fmla="*/ 2147483647 w 330"/>
                <a:gd name="T13" fmla="*/ 2147483647 h 227"/>
                <a:gd name="T14" fmla="*/ 2147483647 w 330"/>
                <a:gd name="T15" fmla="*/ 2147483647 h 227"/>
                <a:gd name="T16" fmla="*/ 2147483647 w 330"/>
                <a:gd name="T17" fmla="*/ 2147483647 h 227"/>
                <a:gd name="T18" fmla="*/ 2147483647 w 330"/>
                <a:gd name="T19" fmla="*/ 2147483647 h 227"/>
                <a:gd name="T20" fmla="*/ 2147483647 w 330"/>
                <a:gd name="T21" fmla="*/ 2147483647 h 227"/>
                <a:gd name="T22" fmla="*/ 2147483647 w 330"/>
                <a:gd name="T23" fmla="*/ 2147483647 h 227"/>
                <a:gd name="T24" fmla="*/ 2147483647 w 330"/>
                <a:gd name="T25" fmla="*/ 2147483647 h 227"/>
                <a:gd name="T26" fmla="*/ 2147483647 w 330"/>
                <a:gd name="T27" fmla="*/ 2147483647 h 227"/>
                <a:gd name="T28" fmla="*/ 2147483647 w 330"/>
                <a:gd name="T29" fmla="*/ 2147483647 h 227"/>
                <a:gd name="T30" fmla="*/ 2147483647 w 330"/>
                <a:gd name="T31" fmla="*/ 2147483647 h 227"/>
                <a:gd name="T32" fmla="*/ 2147483647 w 330"/>
                <a:gd name="T33" fmla="*/ 2147483647 h 227"/>
                <a:gd name="T34" fmla="*/ 2147483647 w 330"/>
                <a:gd name="T35" fmla="*/ 2147483647 h 227"/>
                <a:gd name="T36" fmla="*/ 2147483647 w 330"/>
                <a:gd name="T37" fmla="*/ 2147483647 h 227"/>
                <a:gd name="T38" fmla="*/ 2147483647 w 330"/>
                <a:gd name="T39" fmla="*/ 2147483647 h 227"/>
                <a:gd name="T40" fmla="*/ 2147483647 w 330"/>
                <a:gd name="T41" fmla="*/ 2147483647 h 227"/>
                <a:gd name="T42" fmla="*/ 2147483647 w 330"/>
                <a:gd name="T43" fmla="*/ 2147483647 h 227"/>
                <a:gd name="T44" fmla="*/ 2147483647 w 330"/>
                <a:gd name="T45" fmla="*/ 2147483647 h 227"/>
                <a:gd name="T46" fmla="*/ 2147483647 w 330"/>
                <a:gd name="T47" fmla="*/ 2147483647 h 227"/>
                <a:gd name="T48" fmla="*/ 2147483647 w 330"/>
                <a:gd name="T49" fmla="*/ 2147483647 h 227"/>
                <a:gd name="T50" fmla="*/ 2147483647 w 330"/>
                <a:gd name="T51" fmla="*/ 2147483647 h 227"/>
                <a:gd name="T52" fmla="*/ 2147483647 w 330"/>
                <a:gd name="T53" fmla="*/ 2147483647 h 227"/>
                <a:gd name="T54" fmla="*/ 2147483647 w 330"/>
                <a:gd name="T55" fmla="*/ 2147483647 h 227"/>
                <a:gd name="T56" fmla="*/ 2147483647 w 330"/>
                <a:gd name="T57" fmla="*/ 2147483647 h 227"/>
                <a:gd name="T58" fmla="*/ 2147483647 w 330"/>
                <a:gd name="T59" fmla="*/ 2147483647 h 227"/>
                <a:gd name="T60" fmla="*/ 2147483647 w 330"/>
                <a:gd name="T61" fmla="*/ 2147483647 h 227"/>
                <a:gd name="T62" fmla="*/ 2147483647 w 330"/>
                <a:gd name="T63" fmla="*/ 2147483647 h 227"/>
                <a:gd name="T64" fmla="*/ 2147483647 w 330"/>
                <a:gd name="T65" fmla="*/ 2147483647 h 227"/>
                <a:gd name="T66" fmla="*/ 2147483647 w 330"/>
                <a:gd name="T67" fmla="*/ 2147483647 h 227"/>
                <a:gd name="T68" fmla="*/ 2147483647 w 330"/>
                <a:gd name="T69" fmla="*/ 0 h 227"/>
                <a:gd name="T70" fmla="*/ 2147483647 w 330"/>
                <a:gd name="T71" fmla="*/ 2147483647 h 227"/>
                <a:gd name="T72" fmla="*/ 2147483647 w 330"/>
                <a:gd name="T73" fmla="*/ 2147483647 h 227"/>
                <a:gd name="T74" fmla="*/ 2147483647 w 330"/>
                <a:gd name="T75" fmla="*/ 2147483647 h 227"/>
                <a:gd name="T76" fmla="*/ 2147483647 w 330"/>
                <a:gd name="T77" fmla="*/ 2147483647 h 227"/>
                <a:gd name="T78" fmla="*/ 2147483647 w 330"/>
                <a:gd name="T79" fmla="*/ 2147483647 h 227"/>
                <a:gd name="T80" fmla="*/ 2147483647 w 330"/>
                <a:gd name="T81" fmla="*/ 2147483647 h 227"/>
                <a:gd name="T82" fmla="*/ 2147483647 w 330"/>
                <a:gd name="T83" fmla="*/ 2147483647 h 227"/>
                <a:gd name="T84" fmla="*/ 2147483647 w 330"/>
                <a:gd name="T85" fmla="*/ 2147483647 h 227"/>
                <a:gd name="T86" fmla="*/ 2147483647 w 330"/>
                <a:gd name="T87" fmla="*/ 2147483647 h 227"/>
                <a:gd name="T88" fmla="*/ 2147483647 w 330"/>
                <a:gd name="T89" fmla="*/ 2147483647 h 227"/>
                <a:gd name="T90" fmla="*/ 2147483647 w 330"/>
                <a:gd name="T91" fmla="*/ 2147483647 h 227"/>
                <a:gd name="T92" fmla="*/ 2147483647 w 330"/>
                <a:gd name="T93" fmla="*/ 2147483647 h 227"/>
                <a:gd name="T94" fmla="*/ 2147483647 w 330"/>
                <a:gd name="T95" fmla="*/ 2147483647 h 227"/>
                <a:gd name="T96" fmla="*/ 2147483647 w 330"/>
                <a:gd name="T97" fmla="*/ 2147483647 h 227"/>
                <a:gd name="T98" fmla="*/ 2147483647 w 330"/>
                <a:gd name="T99" fmla="*/ 2147483647 h 227"/>
                <a:gd name="T100" fmla="*/ 2147483647 w 330"/>
                <a:gd name="T101" fmla="*/ 2147483647 h 227"/>
                <a:gd name="T102" fmla="*/ 2147483647 w 330"/>
                <a:gd name="T103" fmla="*/ 2147483647 h 227"/>
                <a:gd name="T104" fmla="*/ 2147483647 w 330"/>
                <a:gd name="T105" fmla="*/ 2147483647 h 227"/>
                <a:gd name="T106" fmla="*/ 2147483647 w 330"/>
                <a:gd name="T107" fmla="*/ 2147483647 h 227"/>
                <a:gd name="T108" fmla="*/ 2147483647 w 330"/>
                <a:gd name="T109" fmla="*/ 2147483647 h 227"/>
                <a:gd name="T110" fmla="*/ 2147483647 w 330"/>
                <a:gd name="T111" fmla="*/ 2147483647 h 227"/>
                <a:gd name="T112" fmla="*/ 2147483647 w 330"/>
                <a:gd name="T113" fmla="*/ 2147483647 h 227"/>
                <a:gd name="T114" fmla="*/ 2147483647 w 330"/>
                <a:gd name="T115" fmla="*/ 2147483647 h 227"/>
                <a:gd name="T116" fmla="*/ 2147483647 w 330"/>
                <a:gd name="T117" fmla="*/ 2147483647 h 227"/>
                <a:gd name="T118" fmla="*/ 2147483647 w 330"/>
                <a:gd name="T119" fmla="*/ 2147483647 h 227"/>
                <a:gd name="T120" fmla="*/ 2147483647 w 330"/>
                <a:gd name="T121" fmla="*/ 2147483647 h 2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30"/>
                <a:gd name="T184" fmla="*/ 0 h 227"/>
                <a:gd name="T185" fmla="*/ 330 w 330"/>
                <a:gd name="T186" fmla="*/ 227 h 22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30" h="227">
                  <a:moveTo>
                    <a:pt x="6" y="158"/>
                  </a:moveTo>
                  <a:lnTo>
                    <a:pt x="12" y="155"/>
                  </a:lnTo>
                  <a:lnTo>
                    <a:pt x="20" y="158"/>
                  </a:lnTo>
                  <a:lnTo>
                    <a:pt x="14" y="161"/>
                  </a:lnTo>
                  <a:lnTo>
                    <a:pt x="9" y="161"/>
                  </a:lnTo>
                  <a:lnTo>
                    <a:pt x="3" y="164"/>
                  </a:lnTo>
                  <a:lnTo>
                    <a:pt x="3" y="170"/>
                  </a:lnTo>
                  <a:lnTo>
                    <a:pt x="9" y="170"/>
                  </a:lnTo>
                  <a:lnTo>
                    <a:pt x="12" y="170"/>
                  </a:lnTo>
                  <a:lnTo>
                    <a:pt x="12" y="172"/>
                  </a:lnTo>
                  <a:lnTo>
                    <a:pt x="3" y="175"/>
                  </a:lnTo>
                  <a:lnTo>
                    <a:pt x="3" y="187"/>
                  </a:lnTo>
                  <a:lnTo>
                    <a:pt x="12" y="190"/>
                  </a:lnTo>
                  <a:lnTo>
                    <a:pt x="20" y="184"/>
                  </a:lnTo>
                  <a:lnTo>
                    <a:pt x="20" y="190"/>
                  </a:lnTo>
                  <a:lnTo>
                    <a:pt x="12" y="190"/>
                  </a:lnTo>
                  <a:lnTo>
                    <a:pt x="6" y="192"/>
                  </a:lnTo>
                  <a:lnTo>
                    <a:pt x="3" y="201"/>
                  </a:lnTo>
                  <a:lnTo>
                    <a:pt x="3" y="207"/>
                  </a:lnTo>
                  <a:lnTo>
                    <a:pt x="12" y="204"/>
                  </a:lnTo>
                  <a:lnTo>
                    <a:pt x="14" y="204"/>
                  </a:lnTo>
                  <a:lnTo>
                    <a:pt x="14" y="207"/>
                  </a:lnTo>
                  <a:lnTo>
                    <a:pt x="12" y="210"/>
                  </a:lnTo>
                  <a:lnTo>
                    <a:pt x="9" y="213"/>
                  </a:lnTo>
                  <a:lnTo>
                    <a:pt x="9" y="215"/>
                  </a:lnTo>
                  <a:lnTo>
                    <a:pt x="17" y="221"/>
                  </a:lnTo>
                  <a:lnTo>
                    <a:pt x="26" y="224"/>
                  </a:lnTo>
                  <a:lnTo>
                    <a:pt x="37" y="227"/>
                  </a:lnTo>
                  <a:lnTo>
                    <a:pt x="43" y="224"/>
                  </a:lnTo>
                  <a:lnTo>
                    <a:pt x="49" y="224"/>
                  </a:lnTo>
                  <a:lnTo>
                    <a:pt x="52" y="221"/>
                  </a:lnTo>
                  <a:lnTo>
                    <a:pt x="63" y="210"/>
                  </a:lnTo>
                  <a:lnTo>
                    <a:pt x="63" y="207"/>
                  </a:lnTo>
                  <a:lnTo>
                    <a:pt x="66" y="207"/>
                  </a:lnTo>
                  <a:lnTo>
                    <a:pt x="72" y="207"/>
                  </a:lnTo>
                  <a:lnTo>
                    <a:pt x="75" y="207"/>
                  </a:lnTo>
                  <a:lnTo>
                    <a:pt x="75" y="201"/>
                  </a:lnTo>
                  <a:lnTo>
                    <a:pt x="75" y="198"/>
                  </a:lnTo>
                  <a:lnTo>
                    <a:pt x="78" y="195"/>
                  </a:lnTo>
                  <a:lnTo>
                    <a:pt x="80" y="201"/>
                  </a:lnTo>
                  <a:lnTo>
                    <a:pt x="80" y="204"/>
                  </a:lnTo>
                  <a:lnTo>
                    <a:pt x="83" y="207"/>
                  </a:lnTo>
                  <a:lnTo>
                    <a:pt x="89" y="204"/>
                  </a:lnTo>
                  <a:lnTo>
                    <a:pt x="92" y="207"/>
                  </a:lnTo>
                  <a:lnTo>
                    <a:pt x="95" y="192"/>
                  </a:lnTo>
                  <a:lnTo>
                    <a:pt x="98" y="192"/>
                  </a:lnTo>
                  <a:lnTo>
                    <a:pt x="101" y="190"/>
                  </a:lnTo>
                  <a:lnTo>
                    <a:pt x="103" y="190"/>
                  </a:lnTo>
                  <a:lnTo>
                    <a:pt x="103" y="184"/>
                  </a:lnTo>
                  <a:lnTo>
                    <a:pt x="101" y="178"/>
                  </a:lnTo>
                  <a:lnTo>
                    <a:pt x="101" y="175"/>
                  </a:lnTo>
                  <a:lnTo>
                    <a:pt x="101" y="172"/>
                  </a:lnTo>
                  <a:lnTo>
                    <a:pt x="103" y="170"/>
                  </a:lnTo>
                  <a:lnTo>
                    <a:pt x="109" y="170"/>
                  </a:lnTo>
                  <a:lnTo>
                    <a:pt x="109" y="167"/>
                  </a:lnTo>
                  <a:lnTo>
                    <a:pt x="106" y="167"/>
                  </a:lnTo>
                  <a:lnTo>
                    <a:pt x="98" y="161"/>
                  </a:lnTo>
                  <a:lnTo>
                    <a:pt x="98" y="158"/>
                  </a:lnTo>
                  <a:lnTo>
                    <a:pt x="98" y="149"/>
                  </a:lnTo>
                  <a:lnTo>
                    <a:pt x="95" y="141"/>
                  </a:lnTo>
                  <a:lnTo>
                    <a:pt x="95" y="138"/>
                  </a:lnTo>
                  <a:lnTo>
                    <a:pt x="98" y="135"/>
                  </a:lnTo>
                  <a:lnTo>
                    <a:pt x="95" y="132"/>
                  </a:lnTo>
                  <a:lnTo>
                    <a:pt x="98" y="126"/>
                  </a:lnTo>
                  <a:lnTo>
                    <a:pt x="101" y="121"/>
                  </a:lnTo>
                  <a:lnTo>
                    <a:pt x="106" y="118"/>
                  </a:lnTo>
                  <a:lnTo>
                    <a:pt x="112" y="118"/>
                  </a:lnTo>
                  <a:lnTo>
                    <a:pt x="121" y="118"/>
                  </a:lnTo>
                  <a:lnTo>
                    <a:pt x="123" y="115"/>
                  </a:lnTo>
                  <a:lnTo>
                    <a:pt x="118" y="112"/>
                  </a:lnTo>
                  <a:lnTo>
                    <a:pt x="126" y="98"/>
                  </a:lnTo>
                  <a:lnTo>
                    <a:pt x="129" y="81"/>
                  </a:lnTo>
                  <a:lnTo>
                    <a:pt x="141" y="81"/>
                  </a:lnTo>
                  <a:lnTo>
                    <a:pt x="141" y="75"/>
                  </a:lnTo>
                  <a:lnTo>
                    <a:pt x="138" y="75"/>
                  </a:lnTo>
                  <a:lnTo>
                    <a:pt x="149" y="66"/>
                  </a:lnTo>
                  <a:lnTo>
                    <a:pt x="146" y="60"/>
                  </a:lnTo>
                  <a:lnTo>
                    <a:pt x="152" y="58"/>
                  </a:lnTo>
                  <a:lnTo>
                    <a:pt x="155" y="55"/>
                  </a:lnTo>
                  <a:lnTo>
                    <a:pt x="158" y="52"/>
                  </a:lnTo>
                  <a:lnTo>
                    <a:pt x="164" y="49"/>
                  </a:lnTo>
                  <a:lnTo>
                    <a:pt x="169" y="52"/>
                  </a:lnTo>
                  <a:lnTo>
                    <a:pt x="172" y="40"/>
                  </a:lnTo>
                  <a:lnTo>
                    <a:pt x="178" y="40"/>
                  </a:lnTo>
                  <a:lnTo>
                    <a:pt x="184" y="40"/>
                  </a:lnTo>
                  <a:lnTo>
                    <a:pt x="190" y="43"/>
                  </a:lnTo>
                  <a:lnTo>
                    <a:pt x="195" y="43"/>
                  </a:lnTo>
                  <a:lnTo>
                    <a:pt x="198" y="43"/>
                  </a:lnTo>
                  <a:lnTo>
                    <a:pt x="198" y="35"/>
                  </a:lnTo>
                  <a:lnTo>
                    <a:pt x="198" y="32"/>
                  </a:lnTo>
                  <a:lnTo>
                    <a:pt x="207" y="32"/>
                  </a:lnTo>
                  <a:lnTo>
                    <a:pt x="210" y="29"/>
                  </a:lnTo>
                  <a:lnTo>
                    <a:pt x="215" y="26"/>
                  </a:lnTo>
                  <a:lnTo>
                    <a:pt x="218" y="29"/>
                  </a:lnTo>
                  <a:lnTo>
                    <a:pt x="224" y="35"/>
                  </a:lnTo>
                  <a:lnTo>
                    <a:pt x="227" y="37"/>
                  </a:lnTo>
                  <a:lnTo>
                    <a:pt x="241" y="37"/>
                  </a:lnTo>
                  <a:lnTo>
                    <a:pt x="244" y="37"/>
                  </a:lnTo>
                  <a:lnTo>
                    <a:pt x="247" y="37"/>
                  </a:lnTo>
                  <a:lnTo>
                    <a:pt x="250" y="37"/>
                  </a:lnTo>
                  <a:lnTo>
                    <a:pt x="256" y="40"/>
                  </a:lnTo>
                  <a:lnTo>
                    <a:pt x="261" y="35"/>
                  </a:lnTo>
                  <a:lnTo>
                    <a:pt x="264" y="35"/>
                  </a:lnTo>
                  <a:lnTo>
                    <a:pt x="267" y="35"/>
                  </a:lnTo>
                  <a:lnTo>
                    <a:pt x="267" y="29"/>
                  </a:lnTo>
                  <a:lnTo>
                    <a:pt x="267" y="23"/>
                  </a:lnTo>
                  <a:lnTo>
                    <a:pt x="278" y="17"/>
                  </a:lnTo>
                  <a:lnTo>
                    <a:pt x="290" y="14"/>
                  </a:lnTo>
                  <a:lnTo>
                    <a:pt x="299" y="17"/>
                  </a:lnTo>
                  <a:lnTo>
                    <a:pt x="310" y="20"/>
                  </a:lnTo>
                  <a:lnTo>
                    <a:pt x="310" y="23"/>
                  </a:lnTo>
                  <a:lnTo>
                    <a:pt x="313" y="29"/>
                  </a:lnTo>
                  <a:lnTo>
                    <a:pt x="310" y="29"/>
                  </a:lnTo>
                  <a:lnTo>
                    <a:pt x="307" y="32"/>
                  </a:lnTo>
                  <a:lnTo>
                    <a:pt x="307" y="35"/>
                  </a:lnTo>
                  <a:lnTo>
                    <a:pt x="310" y="32"/>
                  </a:lnTo>
                  <a:lnTo>
                    <a:pt x="319" y="26"/>
                  </a:lnTo>
                  <a:lnTo>
                    <a:pt x="324" y="23"/>
                  </a:lnTo>
                  <a:lnTo>
                    <a:pt x="327" y="23"/>
                  </a:lnTo>
                  <a:lnTo>
                    <a:pt x="330" y="20"/>
                  </a:lnTo>
                  <a:lnTo>
                    <a:pt x="322" y="20"/>
                  </a:lnTo>
                  <a:lnTo>
                    <a:pt x="316" y="17"/>
                  </a:lnTo>
                  <a:lnTo>
                    <a:pt x="322" y="14"/>
                  </a:lnTo>
                  <a:lnTo>
                    <a:pt x="327" y="14"/>
                  </a:lnTo>
                  <a:lnTo>
                    <a:pt x="330" y="12"/>
                  </a:lnTo>
                  <a:lnTo>
                    <a:pt x="319" y="9"/>
                  </a:lnTo>
                  <a:lnTo>
                    <a:pt x="307" y="6"/>
                  </a:lnTo>
                  <a:lnTo>
                    <a:pt x="301" y="3"/>
                  </a:lnTo>
                  <a:lnTo>
                    <a:pt x="296" y="9"/>
                  </a:lnTo>
                  <a:lnTo>
                    <a:pt x="293" y="6"/>
                  </a:lnTo>
                  <a:lnTo>
                    <a:pt x="296" y="0"/>
                  </a:lnTo>
                  <a:lnTo>
                    <a:pt x="281" y="0"/>
                  </a:lnTo>
                  <a:lnTo>
                    <a:pt x="281" y="6"/>
                  </a:lnTo>
                  <a:lnTo>
                    <a:pt x="278" y="9"/>
                  </a:lnTo>
                  <a:lnTo>
                    <a:pt x="276" y="12"/>
                  </a:lnTo>
                  <a:lnTo>
                    <a:pt x="273" y="9"/>
                  </a:lnTo>
                  <a:lnTo>
                    <a:pt x="276" y="3"/>
                  </a:lnTo>
                  <a:lnTo>
                    <a:pt x="267" y="6"/>
                  </a:lnTo>
                  <a:lnTo>
                    <a:pt x="258" y="17"/>
                  </a:lnTo>
                  <a:lnTo>
                    <a:pt x="256" y="14"/>
                  </a:lnTo>
                  <a:lnTo>
                    <a:pt x="256" y="12"/>
                  </a:lnTo>
                  <a:lnTo>
                    <a:pt x="264" y="6"/>
                  </a:lnTo>
                  <a:lnTo>
                    <a:pt x="267" y="0"/>
                  </a:lnTo>
                  <a:lnTo>
                    <a:pt x="261" y="0"/>
                  </a:lnTo>
                  <a:lnTo>
                    <a:pt x="258" y="3"/>
                  </a:lnTo>
                  <a:lnTo>
                    <a:pt x="253" y="3"/>
                  </a:lnTo>
                  <a:lnTo>
                    <a:pt x="247" y="0"/>
                  </a:lnTo>
                  <a:lnTo>
                    <a:pt x="247" y="6"/>
                  </a:lnTo>
                  <a:lnTo>
                    <a:pt x="244" y="12"/>
                  </a:lnTo>
                  <a:lnTo>
                    <a:pt x="238" y="17"/>
                  </a:lnTo>
                  <a:lnTo>
                    <a:pt x="235" y="12"/>
                  </a:lnTo>
                  <a:lnTo>
                    <a:pt x="241" y="9"/>
                  </a:lnTo>
                  <a:lnTo>
                    <a:pt x="238" y="9"/>
                  </a:lnTo>
                  <a:lnTo>
                    <a:pt x="233" y="9"/>
                  </a:lnTo>
                  <a:lnTo>
                    <a:pt x="235" y="6"/>
                  </a:lnTo>
                  <a:lnTo>
                    <a:pt x="230" y="6"/>
                  </a:lnTo>
                  <a:lnTo>
                    <a:pt x="221" y="6"/>
                  </a:lnTo>
                  <a:lnTo>
                    <a:pt x="215" y="9"/>
                  </a:lnTo>
                  <a:lnTo>
                    <a:pt x="221" y="9"/>
                  </a:lnTo>
                  <a:lnTo>
                    <a:pt x="224" y="12"/>
                  </a:lnTo>
                  <a:lnTo>
                    <a:pt x="221" y="14"/>
                  </a:lnTo>
                  <a:lnTo>
                    <a:pt x="215" y="12"/>
                  </a:lnTo>
                  <a:lnTo>
                    <a:pt x="210" y="14"/>
                  </a:lnTo>
                  <a:lnTo>
                    <a:pt x="207" y="20"/>
                  </a:lnTo>
                  <a:lnTo>
                    <a:pt x="204" y="17"/>
                  </a:lnTo>
                  <a:lnTo>
                    <a:pt x="201" y="14"/>
                  </a:lnTo>
                  <a:lnTo>
                    <a:pt x="198" y="17"/>
                  </a:lnTo>
                  <a:lnTo>
                    <a:pt x="195" y="20"/>
                  </a:lnTo>
                  <a:lnTo>
                    <a:pt x="192" y="23"/>
                  </a:lnTo>
                  <a:lnTo>
                    <a:pt x="190" y="23"/>
                  </a:lnTo>
                  <a:lnTo>
                    <a:pt x="192" y="20"/>
                  </a:lnTo>
                  <a:lnTo>
                    <a:pt x="192" y="17"/>
                  </a:lnTo>
                  <a:lnTo>
                    <a:pt x="192" y="14"/>
                  </a:lnTo>
                  <a:lnTo>
                    <a:pt x="187" y="17"/>
                  </a:lnTo>
                  <a:lnTo>
                    <a:pt x="184" y="14"/>
                  </a:lnTo>
                  <a:lnTo>
                    <a:pt x="181" y="17"/>
                  </a:lnTo>
                  <a:lnTo>
                    <a:pt x="178" y="17"/>
                  </a:lnTo>
                  <a:lnTo>
                    <a:pt x="178" y="20"/>
                  </a:lnTo>
                  <a:lnTo>
                    <a:pt x="172" y="26"/>
                  </a:lnTo>
                  <a:lnTo>
                    <a:pt x="169" y="29"/>
                  </a:lnTo>
                  <a:lnTo>
                    <a:pt x="167" y="26"/>
                  </a:lnTo>
                  <a:lnTo>
                    <a:pt x="167" y="23"/>
                  </a:lnTo>
                  <a:lnTo>
                    <a:pt x="164" y="26"/>
                  </a:lnTo>
                  <a:lnTo>
                    <a:pt x="158" y="29"/>
                  </a:lnTo>
                  <a:lnTo>
                    <a:pt x="158" y="35"/>
                  </a:lnTo>
                  <a:lnTo>
                    <a:pt x="161" y="32"/>
                  </a:lnTo>
                  <a:lnTo>
                    <a:pt x="164" y="29"/>
                  </a:lnTo>
                  <a:lnTo>
                    <a:pt x="164" y="35"/>
                  </a:lnTo>
                  <a:lnTo>
                    <a:pt x="164" y="37"/>
                  </a:lnTo>
                  <a:lnTo>
                    <a:pt x="161" y="35"/>
                  </a:lnTo>
                  <a:lnTo>
                    <a:pt x="155" y="40"/>
                  </a:lnTo>
                  <a:lnTo>
                    <a:pt x="152" y="37"/>
                  </a:lnTo>
                  <a:lnTo>
                    <a:pt x="146" y="37"/>
                  </a:lnTo>
                  <a:lnTo>
                    <a:pt x="144" y="37"/>
                  </a:lnTo>
                  <a:lnTo>
                    <a:pt x="146" y="32"/>
                  </a:lnTo>
                  <a:lnTo>
                    <a:pt x="144" y="29"/>
                  </a:lnTo>
                  <a:lnTo>
                    <a:pt x="138" y="35"/>
                  </a:lnTo>
                  <a:lnTo>
                    <a:pt x="135" y="37"/>
                  </a:lnTo>
                  <a:lnTo>
                    <a:pt x="135" y="35"/>
                  </a:lnTo>
                  <a:lnTo>
                    <a:pt x="123" y="37"/>
                  </a:lnTo>
                  <a:lnTo>
                    <a:pt x="126" y="40"/>
                  </a:lnTo>
                  <a:lnTo>
                    <a:pt x="126" y="43"/>
                  </a:lnTo>
                  <a:lnTo>
                    <a:pt x="123" y="43"/>
                  </a:lnTo>
                  <a:lnTo>
                    <a:pt x="118" y="46"/>
                  </a:lnTo>
                  <a:lnTo>
                    <a:pt x="106" y="52"/>
                  </a:lnTo>
                  <a:lnTo>
                    <a:pt x="118" y="52"/>
                  </a:lnTo>
                  <a:lnTo>
                    <a:pt x="123" y="49"/>
                  </a:lnTo>
                  <a:lnTo>
                    <a:pt x="126" y="49"/>
                  </a:lnTo>
                  <a:lnTo>
                    <a:pt x="135" y="46"/>
                  </a:lnTo>
                  <a:lnTo>
                    <a:pt x="141" y="46"/>
                  </a:lnTo>
                  <a:lnTo>
                    <a:pt x="144" y="43"/>
                  </a:lnTo>
                  <a:lnTo>
                    <a:pt x="149" y="46"/>
                  </a:lnTo>
                  <a:lnTo>
                    <a:pt x="146" y="46"/>
                  </a:lnTo>
                  <a:lnTo>
                    <a:pt x="144" y="49"/>
                  </a:lnTo>
                  <a:lnTo>
                    <a:pt x="135" y="52"/>
                  </a:lnTo>
                  <a:lnTo>
                    <a:pt x="132" y="52"/>
                  </a:lnTo>
                  <a:lnTo>
                    <a:pt x="129" y="55"/>
                  </a:lnTo>
                  <a:lnTo>
                    <a:pt x="132" y="60"/>
                  </a:lnTo>
                  <a:lnTo>
                    <a:pt x="123" y="66"/>
                  </a:lnTo>
                  <a:lnTo>
                    <a:pt x="112" y="75"/>
                  </a:lnTo>
                  <a:lnTo>
                    <a:pt x="109" y="81"/>
                  </a:lnTo>
                  <a:lnTo>
                    <a:pt x="106" y="83"/>
                  </a:lnTo>
                  <a:lnTo>
                    <a:pt x="103" y="81"/>
                  </a:lnTo>
                  <a:lnTo>
                    <a:pt x="101" y="83"/>
                  </a:lnTo>
                  <a:lnTo>
                    <a:pt x="101" y="89"/>
                  </a:lnTo>
                  <a:lnTo>
                    <a:pt x="98" y="98"/>
                  </a:lnTo>
                  <a:lnTo>
                    <a:pt x="92" y="101"/>
                  </a:lnTo>
                  <a:lnTo>
                    <a:pt x="89" y="103"/>
                  </a:lnTo>
                  <a:lnTo>
                    <a:pt x="80" y="103"/>
                  </a:lnTo>
                  <a:lnTo>
                    <a:pt x="86" y="106"/>
                  </a:lnTo>
                  <a:lnTo>
                    <a:pt x="83" y="109"/>
                  </a:lnTo>
                  <a:lnTo>
                    <a:pt x="80" y="109"/>
                  </a:lnTo>
                  <a:lnTo>
                    <a:pt x="75" y="115"/>
                  </a:lnTo>
                  <a:lnTo>
                    <a:pt x="72" y="118"/>
                  </a:lnTo>
                  <a:lnTo>
                    <a:pt x="69" y="121"/>
                  </a:lnTo>
                  <a:lnTo>
                    <a:pt x="63" y="124"/>
                  </a:lnTo>
                  <a:lnTo>
                    <a:pt x="63" y="126"/>
                  </a:lnTo>
                  <a:lnTo>
                    <a:pt x="57" y="132"/>
                  </a:lnTo>
                  <a:lnTo>
                    <a:pt x="57" y="126"/>
                  </a:lnTo>
                  <a:lnTo>
                    <a:pt x="52" y="124"/>
                  </a:lnTo>
                  <a:lnTo>
                    <a:pt x="46" y="124"/>
                  </a:lnTo>
                  <a:lnTo>
                    <a:pt x="49" y="129"/>
                  </a:lnTo>
                  <a:lnTo>
                    <a:pt x="55" y="132"/>
                  </a:lnTo>
                  <a:lnTo>
                    <a:pt x="46" y="135"/>
                  </a:lnTo>
                  <a:lnTo>
                    <a:pt x="43" y="129"/>
                  </a:lnTo>
                  <a:lnTo>
                    <a:pt x="40" y="132"/>
                  </a:lnTo>
                  <a:lnTo>
                    <a:pt x="43" y="135"/>
                  </a:lnTo>
                  <a:lnTo>
                    <a:pt x="37" y="132"/>
                  </a:lnTo>
                  <a:lnTo>
                    <a:pt x="37" y="138"/>
                  </a:lnTo>
                  <a:lnTo>
                    <a:pt x="40" y="138"/>
                  </a:lnTo>
                  <a:lnTo>
                    <a:pt x="40" y="141"/>
                  </a:lnTo>
                  <a:lnTo>
                    <a:pt x="32" y="141"/>
                  </a:lnTo>
                  <a:lnTo>
                    <a:pt x="32" y="135"/>
                  </a:lnTo>
                  <a:lnTo>
                    <a:pt x="26" y="141"/>
                  </a:lnTo>
                  <a:lnTo>
                    <a:pt x="20" y="144"/>
                  </a:lnTo>
                  <a:lnTo>
                    <a:pt x="20" y="149"/>
                  </a:lnTo>
                  <a:lnTo>
                    <a:pt x="23" y="149"/>
                  </a:lnTo>
                  <a:lnTo>
                    <a:pt x="20" y="152"/>
                  </a:lnTo>
                  <a:lnTo>
                    <a:pt x="17" y="147"/>
                  </a:lnTo>
                  <a:lnTo>
                    <a:pt x="9" y="152"/>
                  </a:lnTo>
                  <a:lnTo>
                    <a:pt x="3" y="149"/>
                  </a:lnTo>
                  <a:lnTo>
                    <a:pt x="3" y="155"/>
                  </a:lnTo>
                  <a:lnTo>
                    <a:pt x="0" y="161"/>
                  </a:lnTo>
                  <a:lnTo>
                    <a:pt x="6" y="15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42" name="Freeform 142"/>
            <p:cNvSpPr>
              <a:spLocks/>
            </p:cNvSpPr>
            <p:nvPr/>
          </p:nvSpPr>
          <p:spPr bwMode="auto">
            <a:xfrm>
              <a:off x="4176713" y="2344738"/>
              <a:ext cx="12700" cy="9525"/>
            </a:xfrm>
            <a:custGeom>
              <a:avLst/>
              <a:gdLst>
                <a:gd name="T0" fmla="*/ 2147483647 w 8"/>
                <a:gd name="T1" fmla="*/ 0 h 6"/>
                <a:gd name="T2" fmla="*/ 0 w 8"/>
                <a:gd name="T3" fmla="*/ 2147483647 h 6"/>
                <a:gd name="T4" fmla="*/ 2147483647 w 8"/>
                <a:gd name="T5" fmla="*/ 2147483647 h 6"/>
                <a:gd name="T6" fmla="*/ 2147483647 w 8"/>
                <a:gd name="T7" fmla="*/ 2147483647 h 6"/>
                <a:gd name="T8" fmla="*/ 2147483647 w 8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6"/>
                <a:gd name="T17" fmla="*/ 8 w 8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6">
                  <a:moveTo>
                    <a:pt x="5" y="0"/>
                  </a:moveTo>
                  <a:lnTo>
                    <a:pt x="0" y="6"/>
                  </a:lnTo>
                  <a:lnTo>
                    <a:pt x="5" y="6"/>
                  </a:lnTo>
                  <a:lnTo>
                    <a:pt x="8" y="3"/>
                  </a:ln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43" name="Freeform 143"/>
            <p:cNvSpPr>
              <a:spLocks/>
            </p:cNvSpPr>
            <p:nvPr/>
          </p:nvSpPr>
          <p:spPr bwMode="auto">
            <a:xfrm>
              <a:off x="4033838" y="1616075"/>
              <a:ext cx="14287" cy="9525"/>
            </a:xfrm>
            <a:custGeom>
              <a:avLst/>
              <a:gdLst>
                <a:gd name="T0" fmla="*/ 2147483647 w 8"/>
                <a:gd name="T1" fmla="*/ 2147483647 h 6"/>
                <a:gd name="T2" fmla="*/ 2147483647 w 8"/>
                <a:gd name="T3" fmla="*/ 0 h 6"/>
                <a:gd name="T4" fmla="*/ 0 w 8"/>
                <a:gd name="T5" fmla="*/ 2147483647 h 6"/>
                <a:gd name="T6" fmla="*/ 2147483647 w 8"/>
                <a:gd name="T7" fmla="*/ 2147483647 h 6"/>
                <a:gd name="T8" fmla="*/ 2147483647 w 8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6"/>
                <a:gd name="T17" fmla="*/ 8 w 8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6">
                  <a:moveTo>
                    <a:pt x="8" y="6"/>
                  </a:moveTo>
                  <a:lnTo>
                    <a:pt x="5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8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44" name="Freeform 144"/>
            <p:cNvSpPr>
              <a:spLocks/>
            </p:cNvSpPr>
            <p:nvPr/>
          </p:nvSpPr>
          <p:spPr bwMode="auto">
            <a:xfrm>
              <a:off x="4014788" y="1611313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0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6" y="6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45" name="Freeform 145"/>
            <p:cNvSpPr>
              <a:spLocks/>
            </p:cNvSpPr>
            <p:nvPr/>
          </p:nvSpPr>
          <p:spPr bwMode="auto">
            <a:xfrm>
              <a:off x="4148138" y="2224088"/>
              <a:ext cx="179387" cy="247650"/>
            </a:xfrm>
            <a:custGeom>
              <a:avLst/>
              <a:gdLst>
                <a:gd name="T0" fmla="*/ 2147483647 w 112"/>
                <a:gd name="T1" fmla="*/ 2147483647 h 155"/>
                <a:gd name="T2" fmla="*/ 2147483647 w 112"/>
                <a:gd name="T3" fmla="*/ 2147483647 h 155"/>
                <a:gd name="T4" fmla="*/ 2147483647 w 112"/>
                <a:gd name="T5" fmla="*/ 2147483647 h 155"/>
                <a:gd name="T6" fmla="*/ 2147483647 w 112"/>
                <a:gd name="T7" fmla="*/ 2147483647 h 155"/>
                <a:gd name="T8" fmla="*/ 0 w 112"/>
                <a:gd name="T9" fmla="*/ 2147483647 h 155"/>
                <a:gd name="T10" fmla="*/ 2147483647 w 112"/>
                <a:gd name="T11" fmla="*/ 2147483647 h 155"/>
                <a:gd name="T12" fmla="*/ 2147483647 w 112"/>
                <a:gd name="T13" fmla="*/ 2147483647 h 155"/>
                <a:gd name="T14" fmla="*/ 2147483647 w 112"/>
                <a:gd name="T15" fmla="*/ 2147483647 h 155"/>
                <a:gd name="T16" fmla="*/ 2147483647 w 112"/>
                <a:gd name="T17" fmla="*/ 2147483647 h 155"/>
                <a:gd name="T18" fmla="*/ 2147483647 w 112"/>
                <a:gd name="T19" fmla="*/ 2147483647 h 155"/>
                <a:gd name="T20" fmla="*/ 2147483647 w 112"/>
                <a:gd name="T21" fmla="*/ 2147483647 h 155"/>
                <a:gd name="T22" fmla="*/ 2147483647 w 112"/>
                <a:gd name="T23" fmla="*/ 2147483647 h 155"/>
                <a:gd name="T24" fmla="*/ 2147483647 w 112"/>
                <a:gd name="T25" fmla="*/ 2147483647 h 155"/>
                <a:gd name="T26" fmla="*/ 2147483647 w 112"/>
                <a:gd name="T27" fmla="*/ 2147483647 h 155"/>
                <a:gd name="T28" fmla="*/ 2147483647 w 112"/>
                <a:gd name="T29" fmla="*/ 2147483647 h 155"/>
                <a:gd name="T30" fmla="*/ 2147483647 w 112"/>
                <a:gd name="T31" fmla="*/ 2147483647 h 155"/>
                <a:gd name="T32" fmla="*/ 2147483647 w 112"/>
                <a:gd name="T33" fmla="*/ 2147483647 h 155"/>
                <a:gd name="T34" fmla="*/ 2147483647 w 112"/>
                <a:gd name="T35" fmla="*/ 2147483647 h 155"/>
                <a:gd name="T36" fmla="*/ 2147483647 w 112"/>
                <a:gd name="T37" fmla="*/ 2147483647 h 155"/>
                <a:gd name="T38" fmla="*/ 2147483647 w 112"/>
                <a:gd name="T39" fmla="*/ 2147483647 h 155"/>
                <a:gd name="T40" fmla="*/ 2147483647 w 112"/>
                <a:gd name="T41" fmla="*/ 2147483647 h 155"/>
                <a:gd name="T42" fmla="*/ 2147483647 w 112"/>
                <a:gd name="T43" fmla="*/ 2147483647 h 155"/>
                <a:gd name="T44" fmla="*/ 2147483647 w 112"/>
                <a:gd name="T45" fmla="*/ 2147483647 h 155"/>
                <a:gd name="T46" fmla="*/ 2147483647 w 112"/>
                <a:gd name="T47" fmla="*/ 2147483647 h 155"/>
                <a:gd name="T48" fmla="*/ 2147483647 w 112"/>
                <a:gd name="T49" fmla="*/ 2147483647 h 155"/>
                <a:gd name="T50" fmla="*/ 2147483647 w 112"/>
                <a:gd name="T51" fmla="*/ 2147483647 h 155"/>
                <a:gd name="T52" fmla="*/ 2147483647 w 112"/>
                <a:gd name="T53" fmla="*/ 2147483647 h 155"/>
                <a:gd name="T54" fmla="*/ 0 w 112"/>
                <a:gd name="T55" fmla="*/ 2147483647 h 155"/>
                <a:gd name="T56" fmla="*/ 2147483647 w 112"/>
                <a:gd name="T57" fmla="*/ 2147483647 h 155"/>
                <a:gd name="T58" fmla="*/ 2147483647 w 112"/>
                <a:gd name="T59" fmla="*/ 2147483647 h 155"/>
                <a:gd name="T60" fmla="*/ 2147483647 w 112"/>
                <a:gd name="T61" fmla="*/ 2147483647 h 155"/>
                <a:gd name="T62" fmla="*/ 2147483647 w 112"/>
                <a:gd name="T63" fmla="*/ 2147483647 h 155"/>
                <a:gd name="T64" fmla="*/ 2147483647 w 112"/>
                <a:gd name="T65" fmla="*/ 2147483647 h 155"/>
                <a:gd name="T66" fmla="*/ 2147483647 w 112"/>
                <a:gd name="T67" fmla="*/ 2147483647 h 155"/>
                <a:gd name="T68" fmla="*/ 2147483647 w 112"/>
                <a:gd name="T69" fmla="*/ 2147483647 h 155"/>
                <a:gd name="T70" fmla="*/ 2147483647 w 112"/>
                <a:gd name="T71" fmla="*/ 2147483647 h 155"/>
                <a:gd name="T72" fmla="*/ 2147483647 w 112"/>
                <a:gd name="T73" fmla="*/ 2147483647 h 155"/>
                <a:gd name="T74" fmla="*/ 2147483647 w 112"/>
                <a:gd name="T75" fmla="*/ 2147483647 h 155"/>
                <a:gd name="T76" fmla="*/ 2147483647 w 112"/>
                <a:gd name="T77" fmla="*/ 2147483647 h 155"/>
                <a:gd name="T78" fmla="*/ 2147483647 w 112"/>
                <a:gd name="T79" fmla="*/ 2147483647 h 155"/>
                <a:gd name="T80" fmla="*/ 2147483647 w 112"/>
                <a:gd name="T81" fmla="*/ 2147483647 h 155"/>
                <a:gd name="T82" fmla="*/ 2147483647 w 112"/>
                <a:gd name="T83" fmla="*/ 2147483647 h 155"/>
                <a:gd name="T84" fmla="*/ 2147483647 w 112"/>
                <a:gd name="T85" fmla="*/ 2147483647 h 155"/>
                <a:gd name="T86" fmla="*/ 2147483647 w 112"/>
                <a:gd name="T87" fmla="*/ 2147483647 h 155"/>
                <a:gd name="T88" fmla="*/ 2147483647 w 112"/>
                <a:gd name="T89" fmla="*/ 2147483647 h 155"/>
                <a:gd name="T90" fmla="*/ 2147483647 w 112"/>
                <a:gd name="T91" fmla="*/ 2147483647 h 155"/>
                <a:gd name="T92" fmla="*/ 2147483647 w 112"/>
                <a:gd name="T93" fmla="*/ 2147483647 h 155"/>
                <a:gd name="T94" fmla="*/ 2147483647 w 112"/>
                <a:gd name="T95" fmla="*/ 2147483647 h 155"/>
                <a:gd name="T96" fmla="*/ 2147483647 w 112"/>
                <a:gd name="T97" fmla="*/ 2147483647 h 155"/>
                <a:gd name="T98" fmla="*/ 2147483647 w 112"/>
                <a:gd name="T99" fmla="*/ 2147483647 h 155"/>
                <a:gd name="T100" fmla="*/ 2147483647 w 112"/>
                <a:gd name="T101" fmla="*/ 2147483647 h 155"/>
                <a:gd name="T102" fmla="*/ 2147483647 w 112"/>
                <a:gd name="T103" fmla="*/ 2147483647 h 155"/>
                <a:gd name="T104" fmla="*/ 2147483647 w 112"/>
                <a:gd name="T105" fmla="*/ 2147483647 h 155"/>
                <a:gd name="T106" fmla="*/ 2147483647 w 112"/>
                <a:gd name="T107" fmla="*/ 2147483647 h 155"/>
                <a:gd name="T108" fmla="*/ 2147483647 w 112"/>
                <a:gd name="T109" fmla="*/ 2147483647 h 155"/>
                <a:gd name="T110" fmla="*/ 2147483647 w 112"/>
                <a:gd name="T111" fmla="*/ 2147483647 h 155"/>
                <a:gd name="T112" fmla="*/ 2147483647 w 112"/>
                <a:gd name="T113" fmla="*/ 2147483647 h 155"/>
                <a:gd name="T114" fmla="*/ 2147483647 w 112"/>
                <a:gd name="T115" fmla="*/ 2147483647 h 155"/>
                <a:gd name="T116" fmla="*/ 2147483647 w 112"/>
                <a:gd name="T117" fmla="*/ 0 h 155"/>
                <a:gd name="T118" fmla="*/ 2147483647 w 112"/>
                <a:gd name="T119" fmla="*/ 0 h 155"/>
                <a:gd name="T120" fmla="*/ 2147483647 w 112"/>
                <a:gd name="T121" fmla="*/ 2147483647 h 155"/>
                <a:gd name="T122" fmla="*/ 2147483647 w 112"/>
                <a:gd name="T123" fmla="*/ 2147483647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2"/>
                <a:gd name="T187" fmla="*/ 0 h 155"/>
                <a:gd name="T188" fmla="*/ 112 w 112"/>
                <a:gd name="T189" fmla="*/ 155 h 15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2" h="155">
                  <a:moveTo>
                    <a:pt x="12" y="15"/>
                  </a:moveTo>
                  <a:lnTo>
                    <a:pt x="12" y="20"/>
                  </a:lnTo>
                  <a:lnTo>
                    <a:pt x="9" y="23"/>
                  </a:lnTo>
                  <a:lnTo>
                    <a:pt x="9" y="29"/>
                  </a:lnTo>
                  <a:lnTo>
                    <a:pt x="6" y="35"/>
                  </a:lnTo>
                  <a:lnTo>
                    <a:pt x="3" y="35"/>
                  </a:lnTo>
                  <a:lnTo>
                    <a:pt x="3" y="41"/>
                  </a:lnTo>
                  <a:lnTo>
                    <a:pt x="9" y="38"/>
                  </a:lnTo>
                  <a:lnTo>
                    <a:pt x="18" y="38"/>
                  </a:lnTo>
                  <a:lnTo>
                    <a:pt x="15" y="41"/>
                  </a:lnTo>
                  <a:lnTo>
                    <a:pt x="12" y="43"/>
                  </a:lnTo>
                  <a:lnTo>
                    <a:pt x="6" y="43"/>
                  </a:lnTo>
                  <a:lnTo>
                    <a:pt x="0" y="49"/>
                  </a:lnTo>
                  <a:lnTo>
                    <a:pt x="0" y="52"/>
                  </a:lnTo>
                  <a:lnTo>
                    <a:pt x="6" y="49"/>
                  </a:lnTo>
                  <a:lnTo>
                    <a:pt x="9" y="52"/>
                  </a:lnTo>
                  <a:lnTo>
                    <a:pt x="9" y="55"/>
                  </a:lnTo>
                  <a:lnTo>
                    <a:pt x="6" y="61"/>
                  </a:lnTo>
                  <a:lnTo>
                    <a:pt x="15" y="55"/>
                  </a:lnTo>
                  <a:lnTo>
                    <a:pt x="15" y="58"/>
                  </a:lnTo>
                  <a:lnTo>
                    <a:pt x="18" y="55"/>
                  </a:lnTo>
                  <a:lnTo>
                    <a:pt x="23" y="49"/>
                  </a:lnTo>
                  <a:lnTo>
                    <a:pt x="21" y="58"/>
                  </a:lnTo>
                  <a:lnTo>
                    <a:pt x="21" y="61"/>
                  </a:lnTo>
                  <a:lnTo>
                    <a:pt x="18" y="63"/>
                  </a:lnTo>
                  <a:lnTo>
                    <a:pt x="15" y="66"/>
                  </a:lnTo>
                  <a:lnTo>
                    <a:pt x="18" y="69"/>
                  </a:lnTo>
                  <a:lnTo>
                    <a:pt x="21" y="66"/>
                  </a:lnTo>
                  <a:lnTo>
                    <a:pt x="23" y="69"/>
                  </a:lnTo>
                  <a:lnTo>
                    <a:pt x="26" y="66"/>
                  </a:lnTo>
                  <a:lnTo>
                    <a:pt x="32" y="66"/>
                  </a:lnTo>
                  <a:lnTo>
                    <a:pt x="35" y="66"/>
                  </a:lnTo>
                  <a:lnTo>
                    <a:pt x="41" y="63"/>
                  </a:lnTo>
                  <a:lnTo>
                    <a:pt x="38" y="69"/>
                  </a:lnTo>
                  <a:lnTo>
                    <a:pt x="38" y="78"/>
                  </a:lnTo>
                  <a:lnTo>
                    <a:pt x="43" y="78"/>
                  </a:lnTo>
                  <a:lnTo>
                    <a:pt x="43" y="84"/>
                  </a:lnTo>
                  <a:lnTo>
                    <a:pt x="43" y="92"/>
                  </a:lnTo>
                  <a:lnTo>
                    <a:pt x="41" y="95"/>
                  </a:lnTo>
                  <a:lnTo>
                    <a:pt x="35" y="95"/>
                  </a:lnTo>
                  <a:lnTo>
                    <a:pt x="23" y="95"/>
                  </a:lnTo>
                  <a:lnTo>
                    <a:pt x="18" y="95"/>
                  </a:lnTo>
                  <a:lnTo>
                    <a:pt x="12" y="98"/>
                  </a:lnTo>
                  <a:lnTo>
                    <a:pt x="21" y="98"/>
                  </a:lnTo>
                  <a:lnTo>
                    <a:pt x="26" y="98"/>
                  </a:lnTo>
                  <a:lnTo>
                    <a:pt x="29" y="101"/>
                  </a:lnTo>
                  <a:lnTo>
                    <a:pt x="23" y="101"/>
                  </a:lnTo>
                  <a:lnTo>
                    <a:pt x="21" y="104"/>
                  </a:lnTo>
                  <a:lnTo>
                    <a:pt x="26" y="104"/>
                  </a:lnTo>
                  <a:lnTo>
                    <a:pt x="26" y="109"/>
                  </a:lnTo>
                  <a:lnTo>
                    <a:pt x="26" y="115"/>
                  </a:lnTo>
                  <a:lnTo>
                    <a:pt x="21" y="118"/>
                  </a:lnTo>
                  <a:lnTo>
                    <a:pt x="12" y="118"/>
                  </a:lnTo>
                  <a:lnTo>
                    <a:pt x="12" y="127"/>
                  </a:lnTo>
                  <a:lnTo>
                    <a:pt x="21" y="127"/>
                  </a:lnTo>
                  <a:lnTo>
                    <a:pt x="26" y="127"/>
                  </a:lnTo>
                  <a:lnTo>
                    <a:pt x="32" y="130"/>
                  </a:lnTo>
                  <a:lnTo>
                    <a:pt x="35" y="130"/>
                  </a:lnTo>
                  <a:lnTo>
                    <a:pt x="41" y="132"/>
                  </a:lnTo>
                  <a:lnTo>
                    <a:pt x="43" y="130"/>
                  </a:lnTo>
                  <a:lnTo>
                    <a:pt x="46" y="127"/>
                  </a:lnTo>
                  <a:lnTo>
                    <a:pt x="41" y="132"/>
                  </a:lnTo>
                  <a:lnTo>
                    <a:pt x="35" y="135"/>
                  </a:lnTo>
                  <a:lnTo>
                    <a:pt x="29" y="132"/>
                  </a:lnTo>
                  <a:lnTo>
                    <a:pt x="21" y="141"/>
                  </a:lnTo>
                  <a:lnTo>
                    <a:pt x="15" y="147"/>
                  </a:lnTo>
                  <a:lnTo>
                    <a:pt x="6" y="152"/>
                  </a:lnTo>
                  <a:lnTo>
                    <a:pt x="0" y="155"/>
                  </a:lnTo>
                  <a:lnTo>
                    <a:pt x="6" y="155"/>
                  </a:lnTo>
                  <a:lnTo>
                    <a:pt x="15" y="150"/>
                  </a:lnTo>
                  <a:lnTo>
                    <a:pt x="21" y="150"/>
                  </a:lnTo>
                  <a:lnTo>
                    <a:pt x="26" y="152"/>
                  </a:lnTo>
                  <a:lnTo>
                    <a:pt x="32" y="147"/>
                  </a:lnTo>
                  <a:lnTo>
                    <a:pt x="43" y="144"/>
                  </a:lnTo>
                  <a:lnTo>
                    <a:pt x="52" y="144"/>
                  </a:lnTo>
                  <a:lnTo>
                    <a:pt x="58" y="144"/>
                  </a:lnTo>
                  <a:lnTo>
                    <a:pt x="61" y="144"/>
                  </a:lnTo>
                  <a:lnTo>
                    <a:pt x="66" y="147"/>
                  </a:lnTo>
                  <a:lnTo>
                    <a:pt x="72" y="144"/>
                  </a:lnTo>
                  <a:lnTo>
                    <a:pt x="87" y="144"/>
                  </a:lnTo>
                  <a:lnTo>
                    <a:pt x="89" y="144"/>
                  </a:lnTo>
                  <a:lnTo>
                    <a:pt x="95" y="141"/>
                  </a:lnTo>
                  <a:lnTo>
                    <a:pt x="107" y="135"/>
                  </a:lnTo>
                  <a:lnTo>
                    <a:pt x="110" y="132"/>
                  </a:lnTo>
                  <a:lnTo>
                    <a:pt x="110" y="130"/>
                  </a:lnTo>
                  <a:lnTo>
                    <a:pt x="107" y="130"/>
                  </a:lnTo>
                  <a:lnTo>
                    <a:pt x="95" y="130"/>
                  </a:lnTo>
                  <a:lnTo>
                    <a:pt x="104" y="124"/>
                  </a:lnTo>
                  <a:lnTo>
                    <a:pt x="112" y="115"/>
                  </a:lnTo>
                  <a:lnTo>
                    <a:pt x="112" y="109"/>
                  </a:lnTo>
                  <a:lnTo>
                    <a:pt x="110" y="101"/>
                  </a:lnTo>
                  <a:lnTo>
                    <a:pt x="107" y="101"/>
                  </a:lnTo>
                  <a:lnTo>
                    <a:pt x="98" y="101"/>
                  </a:lnTo>
                  <a:lnTo>
                    <a:pt x="92" y="104"/>
                  </a:lnTo>
                  <a:lnTo>
                    <a:pt x="89" y="104"/>
                  </a:lnTo>
                  <a:lnTo>
                    <a:pt x="87" y="104"/>
                  </a:lnTo>
                  <a:lnTo>
                    <a:pt x="89" y="101"/>
                  </a:lnTo>
                  <a:lnTo>
                    <a:pt x="92" y="101"/>
                  </a:lnTo>
                  <a:lnTo>
                    <a:pt x="92" y="98"/>
                  </a:lnTo>
                  <a:lnTo>
                    <a:pt x="92" y="92"/>
                  </a:lnTo>
                  <a:lnTo>
                    <a:pt x="89" y="89"/>
                  </a:lnTo>
                  <a:lnTo>
                    <a:pt x="87" y="86"/>
                  </a:lnTo>
                  <a:lnTo>
                    <a:pt x="87" y="81"/>
                  </a:lnTo>
                  <a:lnTo>
                    <a:pt x="84" y="78"/>
                  </a:lnTo>
                  <a:lnTo>
                    <a:pt x="84" y="75"/>
                  </a:lnTo>
                  <a:lnTo>
                    <a:pt x="81" y="72"/>
                  </a:lnTo>
                  <a:lnTo>
                    <a:pt x="72" y="72"/>
                  </a:lnTo>
                  <a:lnTo>
                    <a:pt x="69" y="66"/>
                  </a:lnTo>
                  <a:lnTo>
                    <a:pt x="69" y="58"/>
                  </a:lnTo>
                  <a:lnTo>
                    <a:pt x="66" y="52"/>
                  </a:lnTo>
                  <a:lnTo>
                    <a:pt x="55" y="43"/>
                  </a:lnTo>
                  <a:lnTo>
                    <a:pt x="46" y="46"/>
                  </a:lnTo>
                  <a:lnTo>
                    <a:pt x="41" y="43"/>
                  </a:lnTo>
                  <a:lnTo>
                    <a:pt x="43" y="43"/>
                  </a:lnTo>
                  <a:lnTo>
                    <a:pt x="46" y="41"/>
                  </a:lnTo>
                  <a:lnTo>
                    <a:pt x="52" y="41"/>
                  </a:lnTo>
                  <a:lnTo>
                    <a:pt x="46" y="38"/>
                  </a:lnTo>
                  <a:lnTo>
                    <a:pt x="55" y="35"/>
                  </a:lnTo>
                  <a:lnTo>
                    <a:pt x="58" y="29"/>
                  </a:lnTo>
                  <a:lnTo>
                    <a:pt x="61" y="29"/>
                  </a:lnTo>
                  <a:lnTo>
                    <a:pt x="64" y="26"/>
                  </a:lnTo>
                  <a:lnTo>
                    <a:pt x="66" y="23"/>
                  </a:lnTo>
                  <a:lnTo>
                    <a:pt x="66" y="20"/>
                  </a:lnTo>
                  <a:lnTo>
                    <a:pt x="69" y="18"/>
                  </a:lnTo>
                  <a:lnTo>
                    <a:pt x="66" y="15"/>
                  </a:lnTo>
                  <a:lnTo>
                    <a:pt x="61" y="15"/>
                  </a:lnTo>
                  <a:lnTo>
                    <a:pt x="52" y="15"/>
                  </a:lnTo>
                  <a:lnTo>
                    <a:pt x="46" y="15"/>
                  </a:lnTo>
                  <a:lnTo>
                    <a:pt x="41" y="18"/>
                  </a:lnTo>
                  <a:lnTo>
                    <a:pt x="38" y="18"/>
                  </a:lnTo>
                  <a:lnTo>
                    <a:pt x="32" y="20"/>
                  </a:lnTo>
                  <a:lnTo>
                    <a:pt x="32" y="12"/>
                  </a:lnTo>
                  <a:lnTo>
                    <a:pt x="41" y="6"/>
                  </a:lnTo>
                  <a:lnTo>
                    <a:pt x="49" y="3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26" y="0"/>
                  </a:lnTo>
                  <a:lnTo>
                    <a:pt x="23" y="3"/>
                  </a:lnTo>
                  <a:lnTo>
                    <a:pt x="21" y="9"/>
                  </a:lnTo>
                  <a:lnTo>
                    <a:pt x="21" y="12"/>
                  </a:lnTo>
                  <a:lnTo>
                    <a:pt x="15" y="12"/>
                  </a:lnTo>
                  <a:lnTo>
                    <a:pt x="12" y="1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46" name="Freeform 146"/>
            <p:cNvSpPr>
              <a:spLocks/>
            </p:cNvSpPr>
            <p:nvPr/>
          </p:nvSpPr>
          <p:spPr bwMode="auto">
            <a:xfrm>
              <a:off x="4167188" y="2444750"/>
              <a:ext cx="307975" cy="263525"/>
            </a:xfrm>
            <a:custGeom>
              <a:avLst/>
              <a:gdLst>
                <a:gd name="T0" fmla="*/ 2147483647 w 192"/>
                <a:gd name="T1" fmla="*/ 2147483647 h 164"/>
                <a:gd name="T2" fmla="*/ 2147483647 w 192"/>
                <a:gd name="T3" fmla="*/ 2147483647 h 164"/>
                <a:gd name="T4" fmla="*/ 2147483647 w 192"/>
                <a:gd name="T5" fmla="*/ 2147483647 h 164"/>
                <a:gd name="T6" fmla="*/ 2147483647 w 192"/>
                <a:gd name="T7" fmla="*/ 2147483647 h 164"/>
                <a:gd name="T8" fmla="*/ 2147483647 w 192"/>
                <a:gd name="T9" fmla="*/ 2147483647 h 164"/>
                <a:gd name="T10" fmla="*/ 2147483647 w 192"/>
                <a:gd name="T11" fmla="*/ 2147483647 h 164"/>
                <a:gd name="T12" fmla="*/ 2147483647 w 192"/>
                <a:gd name="T13" fmla="*/ 2147483647 h 164"/>
                <a:gd name="T14" fmla="*/ 2147483647 w 192"/>
                <a:gd name="T15" fmla="*/ 2147483647 h 164"/>
                <a:gd name="T16" fmla="*/ 2147483647 w 192"/>
                <a:gd name="T17" fmla="*/ 2147483647 h 164"/>
                <a:gd name="T18" fmla="*/ 2147483647 w 192"/>
                <a:gd name="T19" fmla="*/ 2147483647 h 164"/>
                <a:gd name="T20" fmla="*/ 2147483647 w 192"/>
                <a:gd name="T21" fmla="*/ 2147483647 h 164"/>
                <a:gd name="T22" fmla="*/ 0 w 192"/>
                <a:gd name="T23" fmla="*/ 2147483647 h 164"/>
                <a:gd name="T24" fmla="*/ 2147483647 w 192"/>
                <a:gd name="T25" fmla="*/ 2147483647 h 164"/>
                <a:gd name="T26" fmla="*/ 2147483647 w 192"/>
                <a:gd name="T27" fmla="*/ 2147483647 h 164"/>
                <a:gd name="T28" fmla="*/ 2147483647 w 192"/>
                <a:gd name="T29" fmla="*/ 2147483647 h 164"/>
                <a:gd name="T30" fmla="*/ 2147483647 w 192"/>
                <a:gd name="T31" fmla="*/ 2147483647 h 164"/>
                <a:gd name="T32" fmla="*/ 2147483647 w 192"/>
                <a:gd name="T33" fmla="*/ 2147483647 h 164"/>
                <a:gd name="T34" fmla="*/ 2147483647 w 192"/>
                <a:gd name="T35" fmla="*/ 2147483647 h 164"/>
                <a:gd name="T36" fmla="*/ 2147483647 w 192"/>
                <a:gd name="T37" fmla="*/ 2147483647 h 164"/>
                <a:gd name="T38" fmla="*/ 2147483647 w 192"/>
                <a:gd name="T39" fmla="*/ 2147483647 h 164"/>
                <a:gd name="T40" fmla="*/ 2147483647 w 192"/>
                <a:gd name="T41" fmla="*/ 2147483647 h 164"/>
                <a:gd name="T42" fmla="*/ 2147483647 w 192"/>
                <a:gd name="T43" fmla="*/ 2147483647 h 164"/>
                <a:gd name="T44" fmla="*/ 2147483647 w 192"/>
                <a:gd name="T45" fmla="*/ 2147483647 h 164"/>
                <a:gd name="T46" fmla="*/ 2147483647 w 192"/>
                <a:gd name="T47" fmla="*/ 2147483647 h 164"/>
                <a:gd name="T48" fmla="*/ 2147483647 w 192"/>
                <a:gd name="T49" fmla="*/ 2147483647 h 164"/>
                <a:gd name="T50" fmla="*/ 2147483647 w 192"/>
                <a:gd name="T51" fmla="*/ 2147483647 h 164"/>
                <a:gd name="T52" fmla="*/ 2147483647 w 192"/>
                <a:gd name="T53" fmla="*/ 2147483647 h 164"/>
                <a:gd name="T54" fmla="*/ 2147483647 w 192"/>
                <a:gd name="T55" fmla="*/ 2147483647 h 164"/>
                <a:gd name="T56" fmla="*/ 2147483647 w 192"/>
                <a:gd name="T57" fmla="*/ 2147483647 h 164"/>
                <a:gd name="T58" fmla="*/ 2147483647 w 192"/>
                <a:gd name="T59" fmla="*/ 2147483647 h 164"/>
                <a:gd name="T60" fmla="*/ 2147483647 w 192"/>
                <a:gd name="T61" fmla="*/ 2147483647 h 164"/>
                <a:gd name="T62" fmla="*/ 2147483647 w 192"/>
                <a:gd name="T63" fmla="*/ 2147483647 h 164"/>
                <a:gd name="T64" fmla="*/ 2147483647 w 192"/>
                <a:gd name="T65" fmla="*/ 2147483647 h 164"/>
                <a:gd name="T66" fmla="*/ 2147483647 w 192"/>
                <a:gd name="T67" fmla="*/ 2147483647 h 164"/>
                <a:gd name="T68" fmla="*/ 2147483647 w 192"/>
                <a:gd name="T69" fmla="*/ 2147483647 h 164"/>
                <a:gd name="T70" fmla="*/ 2147483647 w 192"/>
                <a:gd name="T71" fmla="*/ 2147483647 h 164"/>
                <a:gd name="T72" fmla="*/ 2147483647 w 192"/>
                <a:gd name="T73" fmla="*/ 2147483647 h 164"/>
                <a:gd name="T74" fmla="*/ 2147483647 w 192"/>
                <a:gd name="T75" fmla="*/ 2147483647 h 164"/>
                <a:gd name="T76" fmla="*/ 2147483647 w 192"/>
                <a:gd name="T77" fmla="*/ 2147483647 h 164"/>
                <a:gd name="T78" fmla="*/ 2147483647 w 192"/>
                <a:gd name="T79" fmla="*/ 2147483647 h 164"/>
                <a:gd name="T80" fmla="*/ 2147483647 w 192"/>
                <a:gd name="T81" fmla="*/ 2147483647 h 164"/>
                <a:gd name="T82" fmla="*/ 2147483647 w 192"/>
                <a:gd name="T83" fmla="*/ 2147483647 h 164"/>
                <a:gd name="T84" fmla="*/ 2147483647 w 192"/>
                <a:gd name="T85" fmla="*/ 2147483647 h 164"/>
                <a:gd name="T86" fmla="*/ 2147483647 w 192"/>
                <a:gd name="T87" fmla="*/ 2147483647 h 164"/>
                <a:gd name="T88" fmla="*/ 2147483647 w 192"/>
                <a:gd name="T89" fmla="*/ 2147483647 h 164"/>
                <a:gd name="T90" fmla="*/ 2147483647 w 192"/>
                <a:gd name="T91" fmla="*/ 2147483647 h 164"/>
                <a:gd name="T92" fmla="*/ 2147483647 w 192"/>
                <a:gd name="T93" fmla="*/ 2147483647 h 164"/>
                <a:gd name="T94" fmla="*/ 2147483647 w 192"/>
                <a:gd name="T95" fmla="*/ 2147483647 h 164"/>
                <a:gd name="T96" fmla="*/ 2147483647 w 192"/>
                <a:gd name="T97" fmla="*/ 2147483647 h 164"/>
                <a:gd name="T98" fmla="*/ 2147483647 w 192"/>
                <a:gd name="T99" fmla="*/ 2147483647 h 164"/>
                <a:gd name="T100" fmla="*/ 2147483647 w 192"/>
                <a:gd name="T101" fmla="*/ 2147483647 h 164"/>
                <a:gd name="T102" fmla="*/ 2147483647 w 192"/>
                <a:gd name="T103" fmla="*/ 2147483647 h 164"/>
                <a:gd name="T104" fmla="*/ 2147483647 w 192"/>
                <a:gd name="T105" fmla="*/ 2147483647 h 164"/>
                <a:gd name="T106" fmla="*/ 2147483647 w 192"/>
                <a:gd name="T107" fmla="*/ 0 h 164"/>
                <a:gd name="T108" fmla="*/ 2147483647 w 192"/>
                <a:gd name="T109" fmla="*/ 0 h 164"/>
                <a:gd name="T110" fmla="*/ 2147483647 w 192"/>
                <a:gd name="T111" fmla="*/ 2147483647 h 164"/>
                <a:gd name="T112" fmla="*/ 2147483647 w 192"/>
                <a:gd name="T113" fmla="*/ 2147483647 h 1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2"/>
                <a:gd name="T172" fmla="*/ 0 h 164"/>
                <a:gd name="T173" fmla="*/ 192 w 192"/>
                <a:gd name="T174" fmla="*/ 164 h 1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2" h="164">
                  <a:moveTo>
                    <a:pt x="77" y="23"/>
                  </a:moveTo>
                  <a:lnTo>
                    <a:pt x="77" y="23"/>
                  </a:lnTo>
                  <a:lnTo>
                    <a:pt x="75" y="26"/>
                  </a:lnTo>
                  <a:lnTo>
                    <a:pt x="72" y="29"/>
                  </a:lnTo>
                  <a:lnTo>
                    <a:pt x="69" y="32"/>
                  </a:lnTo>
                  <a:lnTo>
                    <a:pt x="63" y="32"/>
                  </a:lnTo>
                  <a:lnTo>
                    <a:pt x="54" y="32"/>
                  </a:lnTo>
                  <a:lnTo>
                    <a:pt x="54" y="29"/>
                  </a:lnTo>
                  <a:lnTo>
                    <a:pt x="52" y="23"/>
                  </a:lnTo>
                  <a:lnTo>
                    <a:pt x="49" y="23"/>
                  </a:lnTo>
                  <a:lnTo>
                    <a:pt x="43" y="23"/>
                  </a:lnTo>
                  <a:lnTo>
                    <a:pt x="46" y="32"/>
                  </a:lnTo>
                  <a:lnTo>
                    <a:pt x="46" y="40"/>
                  </a:lnTo>
                  <a:lnTo>
                    <a:pt x="46" y="43"/>
                  </a:lnTo>
                  <a:lnTo>
                    <a:pt x="40" y="43"/>
                  </a:lnTo>
                  <a:lnTo>
                    <a:pt x="34" y="46"/>
                  </a:lnTo>
                  <a:lnTo>
                    <a:pt x="29" y="46"/>
                  </a:lnTo>
                  <a:lnTo>
                    <a:pt x="26" y="43"/>
                  </a:lnTo>
                  <a:lnTo>
                    <a:pt x="26" y="40"/>
                  </a:lnTo>
                  <a:lnTo>
                    <a:pt x="20" y="43"/>
                  </a:lnTo>
                  <a:lnTo>
                    <a:pt x="14" y="43"/>
                  </a:lnTo>
                  <a:lnTo>
                    <a:pt x="6" y="43"/>
                  </a:lnTo>
                  <a:lnTo>
                    <a:pt x="0" y="46"/>
                  </a:lnTo>
                  <a:lnTo>
                    <a:pt x="0" y="49"/>
                  </a:lnTo>
                  <a:lnTo>
                    <a:pt x="0" y="52"/>
                  </a:lnTo>
                  <a:lnTo>
                    <a:pt x="3" y="49"/>
                  </a:lnTo>
                  <a:lnTo>
                    <a:pt x="3" y="52"/>
                  </a:lnTo>
                  <a:lnTo>
                    <a:pt x="3" y="55"/>
                  </a:lnTo>
                  <a:lnTo>
                    <a:pt x="3" y="58"/>
                  </a:lnTo>
                  <a:lnTo>
                    <a:pt x="3" y="60"/>
                  </a:lnTo>
                  <a:lnTo>
                    <a:pt x="9" y="60"/>
                  </a:lnTo>
                  <a:lnTo>
                    <a:pt x="14" y="60"/>
                  </a:lnTo>
                  <a:lnTo>
                    <a:pt x="20" y="63"/>
                  </a:lnTo>
                  <a:lnTo>
                    <a:pt x="23" y="66"/>
                  </a:lnTo>
                  <a:lnTo>
                    <a:pt x="26" y="66"/>
                  </a:lnTo>
                  <a:lnTo>
                    <a:pt x="31" y="66"/>
                  </a:lnTo>
                  <a:lnTo>
                    <a:pt x="31" y="69"/>
                  </a:lnTo>
                  <a:lnTo>
                    <a:pt x="37" y="69"/>
                  </a:lnTo>
                  <a:lnTo>
                    <a:pt x="34" y="72"/>
                  </a:lnTo>
                  <a:lnTo>
                    <a:pt x="40" y="75"/>
                  </a:lnTo>
                  <a:lnTo>
                    <a:pt x="34" y="78"/>
                  </a:lnTo>
                  <a:lnTo>
                    <a:pt x="40" y="83"/>
                  </a:lnTo>
                  <a:lnTo>
                    <a:pt x="49" y="89"/>
                  </a:lnTo>
                  <a:lnTo>
                    <a:pt x="49" y="92"/>
                  </a:lnTo>
                  <a:lnTo>
                    <a:pt x="49" y="98"/>
                  </a:lnTo>
                  <a:lnTo>
                    <a:pt x="49" y="103"/>
                  </a:lnTo>
                  <a:lnTo>
                    <a:pt x="52" y="103"/>
                  </a:lnTo>
                  <a:lnTo>
                    <a:pt x="49" y="106"/>
                  </a:lnTo>
                  <a:lnTo>
                    <a:pt x="49" y="118"/>
                  </a:lnTo>
                  <a:lnTo>
                    <a:pt x="46" y="129"/>
                  </a:lnTo>
                  <a:lnTo>
                    <a:pt x="43" y="138"/>
                  </a:lnTo>
                  <a:lnTo>
                    <a:pt x="40" y="144"/>
                  </a:lnTo>
                  <a:lnTo>
                    <a:pt x="43" y="147"/>
                  </a:lnTo>
                  <a:lnTo>
                    <a:pt x="49" y="152"/>
                  </a:lnTo>
                  <a:lnTo>
                    <a:pt x="57" y="152"/>
                  </a:lnTo>
                  <a:lnTo>
                    <a:pt x="63" y="152"/>
                  </a:lnTo>
                  <a:lnTo>
                    <a:pt x="66" y="155"/>
                  </a:lnTo>
                  <a:lnTo>
                    <a:pt x="75" y="155"/>
                  </a:lnTo>
                  <a:lnTo>
                    <a:pt x="77" y="147"/>
                  </a:lnTo>
                  <a:lnTo>
                    <a:pt x="86" y="155"/>
                  </a:lnTo>
                  <a:lnTo>
                    <a:pt x="92" y="155"/>
                  </a:lnTo>
                  <a:lnTo>
                    <a:pt x="98" y="161"/>
                  </a:lnTo>
                  <a:lnTo>
                    <a:pt x="103" y="158"/>
                  </a:lnTo>
                  <a:lnTo>
                    <a:pt x="103" y="161"/>
                  </a:lnTo>
                  <a:lnTo>
                    <a:pt x="106" y="164"/>
                  </a:lnTo>
                  <a:lnTo>
                    <a:pt x="112" y="161"/>
                  </a:lnTo>
                  <a:lnTo>
                    <a:pt x="115" y="164"/>
                  </a:lnTo>
                  <a:lnTo>
                    <a:pt x="115" y="155"/>
                  </a:lnTo>
                  <a:lnTo>
                    <a:pt x="118" y="149"/>
                  </a:lnTo>
                  <a:lnTo>
                    <a:pt x="129" y="144"/>
                  </a:lnTo>
                  <a:lnTo>
                    <a:pt x="143" y="147"/>
                  </a:lnTo>
                  <a:lnTo>
                    <a:pt x="164" y="149"/>
                  </a:lnTo>
                  <a:lnTo>
                    <a:pt x="172" y="147"/>
                  </a:lnTo>
                  <a:lnTo>
                    <a:pt x="175" y="147"/>
                  </a:lnTo>
                  <a:lnTo>
                    <a:pt x="181" y="147"/>
                  </a:lnTo>
                  <a:lnTo>
                    <a:pt x="184" y="141"/>
                  </a:lnTo>
                  <a:lnTo>
                    <a:pt x="181" y="135"/>
                  </a:lnTo>
                  <a:lnTo>
                    <a:pt x="184" y="135"/>
                  </a:lnTo>
                  <a:lnTo>
                    <a:pt x="184" y="132"/>
                  </a:lnTo>
                  <a:lnTo>
                    <a:pt x="175" y="129"/>
                  </a:lnTo>
                  <a:lnTo>
                    <a:pt x="169" y="129"/>
                  </a:lnTo>
                  <a:lnTo>
                    <a:pt x="172" y="118"/>
                  </a:lnTo>
                  <a:lnTo>
                    <a:pt x="169" y="109"/>
                  </a:lnTo>
                  <a:lnTo>
                    <a:pt x="172" y="106"/>
                  </a:lnTo>
                  <a:lnTo>
                    <a:pt x="175" y="106"/>
                  </a:lnTo>
                  <a:lnTo>
                    <a:pt x="169" y="101"/>
                  </a:lnTo>
                  <a:lnTo>
                    <a:pt x="175" y="95"/>
                  </a:lnTo>
                  <a:lnTo>
                    <a:pt x="172" y="92"/>
                  </a:lnTo>
                  <a:lnTo>
                    <a:pt x="169" y="89"/>
                  </a:lnTo>
                  <a:lnTo>
                    <a:pt x="166" y="95"/>
                  </a:lnTo>
                  <a:lnTo>
                    <a:pt x="155" y="92"/>
                  </a:lnTo>
                  <a:lnTo>
                    <a:pt x="164" y="81"/>
                  </a:lnTo>
                  <a:lnTo>
                    <a:pt x="172" y="69"/>
                  </a:lnTo>
                  <a:lnTo>
                    <a:pt x="175" y="63"/>
                  </a:lnTo>
                  <a:lnTo>
                    <a:pt x="181" y="66"/>
                  </a:lnTo>
                  <a:lnTo>
                    <a:pt x="184" y="60"/>
                  </a:lnTo>
                  <a:lnTo>
                    <a:pt x="184" y="63"/>
                  </a:lnTo>
                  <a:lnTo>
                    <a:pt x="186" y="46"/>
                  </a:lnTo>
                  <a:lnTo>
                    <a:pt x="192" y="37"/>
                  </a:lnTo>
                  <a:lnTo>
                    <a:pt x="189" y="37"/>
                  </a:lnTo>
                  <a:lnTo>
                    <a:pt x="184" y="35"/>
                  </a:lnTo>
                  <a:lnTo>
                    <a:pt x="181" y="37"/>
                  </a:lnTo>
                  <a:lnTo>
                    <a:pt x="178" y="35"/>
                  </a:lnTo>
                  <a:lnTo>
                    <a:pt x="172" y="35"/>
                  </a:lnTo>
                  <a:lnTo>
                    <a:pt x="166" y="32"/>
                  </a:lnTo>
                  <a:lnTo>
                    <a:pt x="158" y="32"/>
                  </a:lnTo>
                  <a:lnTo>
                    <a:pt x="152" y="29"/>
                  </a:lnTo>
                  <a:lnTo>
                    <a:pt x="143" y="23"/>
                  </a:lnTo>
                  <a:lnTo>
                    <a:pt x="143" y="17"/>
                  </a:lnTo>
                  <a:lnTo>
                    <a:pt x="141" y="23"/>
                  </a:lnTo>
                  <a:lnTo>
                    <a:pt x="138" y="23"/>
                  </a:lnTo>
                  <a:lnTo>
                    <a:pt x="135" y="20"/>
                  </a:lnTo>
                  <a:lnTo>
                    <a:pt x="132" y="14"/>
                  </a:lnTo>
                  <a:lnTo>
                    <a:pt x="126" y="14"/>
                  </a:lnTo>
                  <a:lnTo>
                    <a:pt x="126" y="12"/>
                  </a:lnTo>
                  <a:lnTo>
                    <a:pt x="123" y="9"/>
                  </a:lnTo>
                  <a:lnTo>
                    <a:pt x="115" y="12"/>
                  </a:lnTo>
                  <a:lnTo>
                    <a:pt x="103" y="3"/>
                  </a:lnTo>
                  <a:lnTo>
                    <a:pt x="106" y="3"/>
                  </a:lnTo>
                  <a:lnTo>
                    <a:pt x="109" y="3"/>
                  </a:lnTo>
                  <a:lnTo>
                    <a:pt x="109" y="0"/>
                  </a:lnTo>
                  <a:lnTo>
                    <a:pt x="103" y="0"/>
                  </a:lnTo>
                  <a:lnTo>
                    <a:pt x="100" y="3"/>
                  </a:lnTo>
                  <a:lnTo>
                    <a:pt x="98" y="9"/>
                  </a:lnTo>
                  <a:lnTo>
                    <a:pt x="95" y="14"/>
                  </a:lnTo>
                  <a:lnTo>
                    <a:pt x="89" y="17"/>
                  </a:lnTo>
                  <a:lnTo>
                    <a:pt x="77" y="2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47" name="Rectangle 147"/>
            <p:cNvSpPr>
              <a:spLocks noChangeArrowheads="1"/>
            </p:cNvSpPr>
            <p:nvPr/>
          </p:nvSpPr>
          <p:spPr bwMode="auto">
            <a:xfrm>
              <a:off x="5189538" y="1989138"/>
              <a:ext cx="4762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48" name="Freeform 148"/>
            <p:cNvSpPr>
              <a:spLocks/>
            </p:cNvSpPr>
            <p:nvPr/>
          </p:nvSpPr>
          <p:spPr bwMode="auto">
            <a:xfrm>
              <a:off x="5938838" y="1787525"/>
              <a:ext cx="15875" cy="12700"/>
            </a:xfrm>
            <a:custGeom>
              <a:avLst/>
              <a:gdLst>
                <a:gd name="T0" fmla="*/ 2147483647 w 9"/>
                <a:gd name="T1" fmla="*/ 2147483647 h 8"/>
                <a:gd name="T2" fmla="*/ 2147483647 w 9"/>
                <a:gd name="T3" fmla="*/ 2147483647 h 8"/>
                <a:gd name="T4" fmla="*/ 2147483647 w 9"/>
                <a:gd name="T5" fmla="*/ 2147483647 h 8"/>
                <a:gd name="T6" fmla="*/ 2147483647 w 9"/>
                <a:gd name="T7" fmla="*/ 2147483647 h 8"/>
                <a:gd name="T8" fmla="*/ 2147483647 w 9"/>
                <a:gd name="T9" fmla="*/ 2147483647 h 8"/>
                <a:gd name="T10" fmla="*/ 2147483647 w 9"/>
                <a:gd name="T11" fmla="*/ 2147483647 h 8"/>
                <a:gd name="T12" fmla="*/ 2147483647 w 9"/>
                <a:gd name="T13" fmla="*/ 0 h 8"/>
                <a:gd name="T14" fmla="*/ 0 w 9"/>
                <a:gd name="T15" fmla="*/ 2147483647 h 8"/>
                <a:gd name="T16" fmla="*/ 2147483647 w 9"/>
                <a:gd name="T17" fmla="*/ 2147483647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8"/>
                <a:gd name="T29" fmla="*/ 9 w 9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8">
                  <a:moveTo>
                    <a:pt x="3" y="8"/>
                  </a:moveTo>
                  <a:lnTo>
                    <a:pt x="3" y="5"/>
                  </a:lnTo>
                  <a:lnTo>
                    <a:pt x="6" y="5"/>
                  </a:lnTo>
                  <a:lnTo>
                    <a:pt x="9" y="5"/>
                  </a:lnTo>
                  <a:lnTo>
                    <a:pt x="9" y="2"/>
                  </a:lnTo>
                  <a:lnTo>
                    <a:pt x="6" y="0"/>
                  </a:lnTo>
                  <a:lnTo>
                    <a:pt x="0" y="5"/>
                  </a:lnTo>
                  <a:lnTo>
                    <a:pt x="3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49" name="Freeform 149"/>
            <p:cNvSpPr>
              <a:spLocks/>
            </p:cNvSpPr>
            <p:nvPr/>
          </p:nvSpPr>
          <p:spPr bwMode="auto">
            <a:xfrm>
              <a:off x="7472363" y="2338388"/>
              <a:ext cx="9525" cy="15875"/>
            </a:xfrm>
            <a:custGeom>
              <a:avLst/>
              <a:gdLst>
                <a:gd name="T0" fmla="*/ 0 w 6"/>
                <a:gd name="T1" fmla="*/ 2147483647 h 9"/>
                <a:gd name="T2" fmla="*/ 0 w 6"/>
                <a:gd name="T3" fmla="*/ 2147483647 h 9"/>
                <a:gd name="T4" fmla="*/ 2147483647 w 6"/>
                <a:gd name="T5" fmla="*/ 2147483647 h 9"/>
                <a:gd name="T6" fmla="*/ 2147483647 w 6"/>
                <a:gd name="T7" fmla="*/ 2147483647 h 9"/>
                <a:gd name="T8" fmla="*/ 2147483647 w 6"/>
                <a:gd name="T9" fmla="*/ 2147483647 h 9"/>
                <a:gd name="T10" fmla="*/ 2147483647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0 h 9"/>
                <a:gd name="T16" fmla="*/ 2147483647 w 6"/>
                <a:gd name="T17" fmla="*/ 0 h 9"/>
                <a:gd name="T18" fmla="*/ 2147483647 w 6"/>
                <a:gd name="T19" fmla="*/ 0 h 9"/>
                <a:gd name="T20" fmla="*/ 2147483647 w 6"/>
                <a:gd name="T21" fmla="*/ 0 h 9"/>
                <a:gd name="T22" fmla="*/ 0 w 6"/>
                <a:gd name="T23" fmla="*/ 2147483647 h 9"/>
                <a:gd name="T24" fmla="*/ 0 w 6"/>
                <a:gd name="T25" fmla="*/ 2147483647 h 9"/>
                <a:gd name="T26" fmla="*/ 0 w 6"/>
                <a:gd name="T27" fmla="*/ 2147483647 h 9"/>
                <a:gd name="T28" fmla="*/ 0 w 6"/>
                <a:gd name="T29" fmla="*/ 2147483647 h 9"/>
                <a:gd name="T30" fmla="*/ 0 w 6"/>
                <a:gd name="T31" fmla="*/ 2147483647 h 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6"/>
                <a:gd name="T49" fmla="*/ 0 h 9"/>
                <a:gd name="T50" fmla="*/ 6 w 6"/>
                <a:gd name="T51" fmla="*/ 9 h 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6" h="9">
                  <a:moveTo>
                    <a:pt x="0" y="9"/>
                  </a:moveTo>
                  <a:lnTo>
                    <a:pt x="0" y="9"/>
                  </a:lnTo>
                  <a:lnTo>
                    <a:pt x="3" y="9"/>
                  </a:lnTo>
                  <a:lnTo>
                    <a:pt x="6" y="9"/>
                  </a:lnTo>
                  <a:lnTo>
                    <a:pt x="6" y="6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50" name="Freeform 150"/>
            <p:cNvSpPr>
              <a:spLocks/>
            </p:cNvSpPr>
            <p:nvPr/>
          </p:nvSpPr>
          <p:spPr bwMode="auto">
            <a:xfrm>
              <a:off x="7440613" y="2320925"/>
              <a:ext cx="9525" cy="7938"/>
            </a:xfrm>
            <a:custGeom>
              <a:avLst/>
              <a:gdLst>
                <a:gd name="T0" fmla="*/ 2147483647 w 6"/>
                <a:gd name="T1" fmla="*/ 0 h 5"/>
                <a:gd name="T2" fmla="*/ 2147483647 w 6"/>
                <a:gd name="T3" fmla="*/ 0 h 5"/>
                <a:gd name="T4" fmla="*/ 0 w 6"/>
                <a:gd name="T5" fmla="*/ 2147483647 h 5"/>
                <a:gd name="T6" fmla="*/ 0 w 6"/>
                <a:gd name="T7" fmla="*/ 2147483647 h 5"/>
                <a:gd name="T8" fmla="*/ 2147483647 w 6"/>
                <a:gd name="T9" fmla="*/ 2147483647 h 5"/>
                <a:gd name="T10" fmla="*/ 2147483647 w 6"/>
                <a:gd name="T11" fmla="*/ 2147483647 h 5"/>
                <a:gd name="T12" fmla="*/ 2147483647 w 6"/>
                <a:gd name="T13" fmla="*/ 2147483647 h 5"/>
                <a:gd name="T14" fmla="*/ 2147483647 w 6"/>
                <a:gd name="T15" fmla="*/ 0 h 5"/>
                <a:gd name="T16" fmla="*/ 2147483647 w 6"/>
                <a:gd name="T17" fmla="*/ 0 h 5"/>
                <a:gd name="T18" fmla="*/ 2147483647 w 6"/>
                <a:gd name="T19" fmla="*/ 0 h 5"/>
                <a:gd name="T20" fmla="*/ 2147483647 w 6"/>
                <a:gd name="T21" fmla="*/ 0 h 5"/>
                <a:gd name="T22" fmla="*/ 2147483647 w 6"/>
                <a:gd name="T23" fmla="*/ 0 h 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"/>
                <a:gd name="T37" fmla="*/ 0 h 5"/>
                <a:gd name="T38" fmla="*/ 6 w 6"/>
                <a:gd name="T39" fmla="*/ 5 h 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" h="5">
                  <a:moveTo>
                    <a:pt x="3" y="0"/>
                  </a:moveTo>
                  <a:lnTo>
                    <a:pt x="3" y="0"/>
                  </a:lnTo>
                  <a:lnTo>
                    <a:pt x="0" y="2"/>
                  </a:lnTo>
                  <a:lnTo>
                    <a:pt x="3" y="5"/>
                  </a:lnTo>
                  <a:lnTo>
                    <a:pt x="6" y="5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51" name="Freeform 151"/>
            <p:cNvSpPr>
              <a:spLocks/>
            </p:cNvSpPr>
            <p:nvPr/>
          </p:nvSpPr>
          <p:spPr bwMode="auto">
            <a:xfrm>
              <a:off x="7458075" y="2316163"/>
              <a:ext cx="19050" cy="17462"/>
            </a:xfrm>
            <a:custGeom>
              <a:avLst/>
              <a:gdLst>
                <a:gd name="T0" fmla="*/ 2147483647 w 12"/>
                <a:gd name="T1" fmla="*/ 2147483647 h 11"/>
                <a:gd name="T2" fmla="*/ 2147483647 w 12"/>
                <a:gd name="T3" fmla="*/ 2147483647 h 11"/>
                <a:gd name="T4" fmla="*/ 2147483647 w 12"/>
                <a:gd name="T5" fmla="*/ 2147483647 h 11"/>
                <a:gd name="T6" fmla="*/ 2147483647 w 12"/>
                <a:gd name="T7" fmla="*/ 2147483647 h 11"/>
                <a:gd name="T8" fmla="*/ 2147483647 w 12"/>
                <a:gd name="T9" fmla="*/ 2147483647 h 11"/>
                <a:gd name="T10" fmla="*/ 2147483647 w 12"/>
                <a:gd name="T11" fmla="*/ 2147483647 h 11"/>
                <a:gd name="T12" fmla="*/ 2147483647 w 12"/>
                <a:gd name="T13" fmla="*/ 0 h 11"/>
                <a:gd name="T14" fmla="*/ 2147483647 w 12"/>
                <a:gd name="T15" fmla="*/ 0 h 11"/>
                <a:gd name="T16" fmla="*/ 0 w 12"/>
                <a:gd name="T17" fmla="*/ 0 h 11"/>
                <a:gd name="T18" fmla="*/ 0 w 12"/>
                <a:gd name="T19" fmla="*/ 2147483647 h 11"/>
                <a:gd name="T20" fmla="*/ 0 w 12"/>
                <a:gd name="T21" fmla="*/ 2147483647 h 11"/>
                <a:gd name="T22" fmla="*/ 0 w 12"/>
                <a:gd name="T23" fmla="*/ 2147483647 h 11"/>
                <a:gd name="T24" fmla="*/ 0 w 12"/>
                <a:gd name="T25" fmla="*/ 2147483647 h 11"/>
                <a:gd name="T26" fmla="*/ 0 w 12"/>
                <a:gd name="T27" fmla="*/ 2147483647 h 11"/>
                <a:gd name="T28" fmla="*/ 2147483647 w 12"/>
                <a:gd name="T29" fmla="*/ 2147483647 h 11"/>
                <a:gd name="T30" fmla="*/ 2147483647 w 12"/>
                <a:gd name="T31" fmla="*/ 2147483647 h 11"/>
                <a:gd name="T32" fmla="*/ 2147483647 w 12"/>
                <a:gd name="T33" fmla="*/ 2147483647 h 11"/>
                <a:gd name="T34" fmla="*/ 2147483647 w 12"/>
                <a:gd name="T35" fmla="*/ 2147483647 h 11"/>
                <a:gd name="T36" fmla="*/ 2147483647 w 12"/>
                <a:gd name="T37" fmla="*/ 2147483647 h 11"/>
                <a:gd name="T38" fmla="*/ 2147483647 w 12"/>
                <a:gd name="T39" fmla="*/ 2147483647 h 1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2"/>
                <a:gd name="T61" fmla="*/ 0 h 11"/>
                <a:gd name="T62" fmla="*/ 12 w 12"/>
                <a:gd name="T63" fmla="*/ 11 h 11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2" h="11">
                  <a:moveTo>
                    <a:pt x="9" y="11"/>
                  </a:moveTo>
                  <a:lnTo>
                    <a:pt x="9" y="11"/>
                  </a:lnTo>
                  <a:lnTo>
                    <a:pt x="12" y="8"/>
                  </a:lnTo>
                  <a:lnTo>
                    <a:pt x="9" y="5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8"/>
                  </a:lnTo>
                  <a:lnTo>
                    <a:pt x="3" y="8"/>
                  </a:lnTo>
                  <a:lnTo>
                    <a:pt x="6" y="8"/>
                  </a:lnTo>
                  <a:lnTo>
                    <a:pt x="9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52" name="Freeform 152"/>
            <p:cNvSpPr>
              <a:spLocks noEditPoints="1"/>
            </p:cNvSpPr>
            <p:nvPr/>
          </p:nvSpPr>
          <p:spPr bwMode="auto">
            <a:xfrm>
              <a:off x="4903788" y="1714500"/>
              <a:ext cx="3365500" cy="1141413"/>
            </a:xfrm>
            <a:custGeom>
              <a:avLst/>
              <a:gdLst>
                <a:gd name="T0" fmla="*/ 2147483647 w 2099"/>
                <a:gd name="T1" fmla="*/ 2147483647 h 712"/>
                <a:gd name="T2" fmla="*/ 2147483647 w 2099"/>
                <a:gd name="T3" fmla="*/ 2147483647 h 712"/>
                <a:gd name="T4" fmla="*/ 2147483647 w 2099"/>
                <a:gd name="T5" fmla="*/ 2147483647 h 712"/>
                <a:gd name="T6" fmla="*/ 2147483647 w 2099"/>
                <a:gd name="T7" fmla="*/ 2147483647 h 712"/>
                <a:gd name="T8" fmla="*/ 2147483647 w 2099"/>
                <a:gd name="T9" fmla="*/ 2147483647 h 712"/>
                <a:gd name="T10" fmla="*/ 2147483647 w 2099"/>
                <a:gd name="T11" fmla="*/ 2147483647 h 712"/>
                <a:gd name="T12" fmla="*/ 2147483647 w 2099"/>
                <a:gd name="T13" fmla="*/ 2147483647 h 712"/>
                <a:gd name="T14" fmla="*/ 2147483647 w 2099"/>
                <a:gd name="T15" fmla="*/ 2147483647 h 712"/>
                <a:gd name="T16" fmla="*/ 2147483647 w 2099"/>
                <a:gd name="T17" fmla="*/ 2147483647 h 712"/>
                <a:gd name="T18" fmla="*/ 2147483647 w 2099"/>
                <a:gd name="T19" fmla="*/ 2147483647 h 712"/>
                <a:gd name="T20" fmla="*/ 2147483647 w 2099"/>
                <a:gd name="T21" fmla="*/ 2147483647 h 712"/>
                <a:gd name="T22" fmla="*/ 2147483647 w 2099"/>
                <a:gd name="T23" fmla="*/ 2147483647 h 712"/>
                <a:gd name="T24" fmla="*/ 2147483647 w 2099"/>
                <a:gd name="T25" fmla="*/ 2147483647 h 712"/>
                <a:gd name="T26" fmla="*/ 2147483647 w 2099"/>
                <a:gd name="T27" fmla="*/ 2147483647 h 712"/>
                <a:gd name="T28" fmla="*/ 2147483647 w 2099"/>
                <a:gd name="T29" fmla="*/ 2147483647 h 712"/>
                <a:gd name="T30" fmla="*/ 2147483647 w 2099"/>
                <a:gd name="T31" fmla="*/ 2147483647 h 712"/>
                <a:gd name="T32" fmla="*/ 2147483647 w 2099"/>
                <a:gd name="T33" fmla="*/ 2147483647 h 712"/>
                <a:gd name="T34" fmla="*/ 2147483647 w 2099"/>
                <a:gd name="T35" fmla="*/ 2147483647 h 712"/>
                <a:gd name="T36" fmla="*/ 2147483647 w 2099"/>
                <a:gd name="T37" fmla="*/ 2147483647 h 712"/>
                <a:gd name="T38" fmla="*/ 2147483647 w 2099"/>
                <a:gd name="T39" fmla="*/ 2147483647 h 712"/>
                <a:gd name="T40" fmla="*/ 2147483647 w 2099"/>
                <a:gd name="T41" fmla="*/ 2147483647 h 712"/>
                <a:gd name="T42" fmla="*/ 2147483647 w 2099"/>
                <a:gd name="T43" fmla="*/ 2147483647 h 712"/>
                <a:gd name="T44" fmla="*/ 2147483647 w 2099"/>
                <a:gd name="T45" fmla="*/ 2147483647 h 712"/>
                <a:gd name="T46" fmla="*/ 2147483647 w 2099"/>
                <a:gd name="T47" fmla="*/ 2147483647 h 712"/>
                <a:gd name="T48" fmla="*/ 0 w 2099"/>
                <a:gd name="T49" fmla="*/ 2147483647 h 712"/>
                <a:gd name="T50" fmla="*/ 2147483647 w 2099"/>
                <a:gd name="T51" fmla="*/ 2147483647 h 712"/>
                <a:gd name="T52" fmla="*/ 2147483647 w 2099"/>
                <a:gd name="T53" fmla="*/ 2147483647 h 712"/>
                <a:gd name="T54" fmla="*/ 2147483647 w 2099"/>
                <a:gd name="T55" fmla="*/ 2147483647 h 712"/>
                <a:gd name="T56" fmla="*/ 2147483647 w 2099"/>
                <a:gd name="T57" fmla="*/ 2147483647 h 712"/>
                <a:gd name="T58" fmla="*/ 2147483647 w 2099"/>
                <a:gd name="T59" fmla="*/ 2147483647 h 712"/>
                <a:gd name="T60" fmla="*/ 2147483647 w 2099"/>
                <a:gd name="T61" fmla="*/ 2147483647 h 712"/>
                <a:gd name="T62" fmla="*/ 2147483647 w 2099"/>
                <a:gd name="T63" fmla="*/ 2147483647 h 712"/>
                <a:gd name="T64" fmla="*/ 2147483647 w 2099"/>
                <a:gd name="T65" fmla="*/ 2147483647 h 712"/>
                <a:gd name="T66" fmla="*/ 2147483647 w 2099"/>
                <a:gd name="T67" fmla="*/ 2147483647 h 712"/>
                <a:gd name="T68" fmla="*/ 2147483647 w 2099"/>
                <a:gd name="T69" fmla="*/ 2147483647 h 712"/>
                <a:gd name="T70" fmla="*/ 2147483647 w 2099"/>
                <a:gd name="T71" fmla="*/ 2147483647 h 712"/>
                <a:gd name="T72" fmla="*/ 2147483647 w 2099"/>
                <a:gd name="T73" fmla="*/ 2147483647 h 712"/>
                <a:gd name="T74" fmla="*/ 2147483647 w 2099"/>
                <a:gd name="T75" fmla="*/ 2147483647 h 712"/>
                <a:gd name="T76" fmla="*/ 2147483647 w 2099"/>
                <a:gd name="T77" fmla="*/ 2147483647 h 712"/>
                <a:gd name="T78" fmla="*/ 2147483647 w 2099"/>
                <a:gd name="T79" fmla="*/ 2147483647 h 712"/>
                <a:gd name="T80" fmla="*/ 2147483647 w 2099"/>
                <a:gd name="T81" fmla="*/ 2147483647 h 712"/>
                <a:gd name="T82" fmla="*/ 2147483647 w 2099"/>
                <a:gd name="T83" fmla="*/ 2147483647 h 712"/>
                <a:gd name="T84" fmla="*/ 2147483647 w 2099"/>
                <a:gd name="T85" fmla="*/ 2147483647 h 712"/>
                <a:gd name="T86" fmla="*/ 2147483647 w 2099"/>
                <a:gd name="T87" fmla="*/ 2147483647 h 712"/>
                <a:gd name="T88" fmla="*/ 2147483647 w 2099"/>
                <a:gd name="T89" fmla="*/ 2147483647 h 712"/>
                <a:gd name="T90" fmla="*/ 2147483647 w 2099"/>
                <a:gd name="T91" fmla="*/ 2147483647 h 712"/>
                <a:gd name="T92" fmla="*/ 2147483647 w 2099"/>
                <a:gd name="T93" fmla="*/ 2147483647 h 712"/>
                <a:gd name="T94" fmla="*/ 2147483647 w 2099"/>
                <a:gd name="T95" fmla="*/ 2147483647 h 712"/>
                <a:gd name="T96" fmla="*/ 2147483647 w 2099"/>
                <a:gd name="T97" fmla="*/ 2147483647 h 712"/>
                <a:gd name="T98" fmla="*/ 2147483647 w 2099"/>
                <a:gd name="T99" fmla="*/ 2147483647 h 712"/>
                <a:gd name="T100" fmla="*/ 2147483647 w 2099"/>
                <a:gd name="T101" fmla="*/ 2147483647 h 712"/>
                <a:gd name="T102" fmla="*/ 2147483647 w 2099"/>
                <a:gd name="T103" fmla="*/ 2147483647 h 712"/>
                <a:gd name="T104" fmla="*/ 2147483647 w 2099"/>
                <a:gd name="T105" fmla="*/ 2147483647 h 712"/>
                <a:gd name="T106" fmla="*/ 2147483647 w 2099"/>
                <a:gd name="T107" fmla="*/ 2147483647 h 712"/>
                <a:gd name="T108" fmla="*/ 2147483647 w 2099"/>
                <a:gd name="T109" fmla="*/ 2147483647 h 712"/>
                <a:gd name="T110" fmla="*/ 2147483647 w 2099"/>
                <a:gd name="T111" fmla="*/ 2147483647 h 712"/>
                <a:gd name="T112" fmla="*/ 2147483647 w 2099"/>
                <a:gd name="T113" fmla="*/ 2147483647 h 712"/>
                <a:gd name="T114" fmla="*/ 2147483647 w 2099"/>
                <a:gd name="T115" fmla="*/ 2147483647 h 712"/>
                <a:gd name="T116" fmla="*/ 2147483647 w 2099"/>
                <a:gd name="T117" fmla="*/ 2147483647 h 712"/>
                <a:gd name="T118" fmla="*/ 2147483647 w 2099"/>
                <a:gd name="T119" fmla="*/ 2147483647 h 712"/>
                <a:gd name="T120" fmla="*/ 2147483647 w 2099"/>
                <a:gd name="T121" fmla="*/ 2147483647 h 712"/>
                <a:gd name="T122" fmla="*/ 2147483647 w 2099"/>
                <a:gd name="T123" fmla="*/ 2147483647 h 712"/>
                <a:gd name="T124" fmla="*/ 2147483647 w 2099"/>
                <a:gd name="T125" fmla="*/ 2147483647 h 71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099"/>
                <a:gd name="T190" fmla="*/ 0 h 712"/>
                <a:gd name="T191" fmla="*/ 2099 w 2099"/>
                <a:gd name="T192" fmla="*/ 712 h 71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099" h="712">
                  <a:moveTo>
                    <a:pt x="2099" y="209"/>
                  </a:moveTo>
                  <a:lnTo>
                    <a:pt x="2093" y="206"/>
                  </a:lnTo>
                  <a:lnTo>
                    <a:pt x="2093" y="201"/>
                  </a:lnTo>
                  <a:lnTo>
                    <a:pt x="2087" y="203"/>
                  </a:lnTo>
                  <a:lnTo>
                    <a:pt x="2087" y="201"/>
                  </a:lnTo>
                  <a:lnTo>
                    <a:pt x="2078" y="195"/>
                  </a:lnTo>
                  <a:lnTo>
                    <a:pt x="2090" y="192"/>
                  </a:lnTo>
                  <a:lnTo>
                    <a:pt x="2093" y="189"/>
                  </a:lnTo>
                  <a:lnTo>
                    <a:pt x="2087" y="183"/>
                  </a:lnTo>
                  <a:lnTo>
                    <a:pt x="2081" y="175"/>
                  </a:lnTo>
                  <a:lnTo>
                    <a:pt x="2078" y="178"/>
                  </a:lnTo>
                  <a:lnTo>
                    <a:pt x="2078" y="181"/>
                  </a:lnTo>
                  <a:lnTo>
                    <a:pt x="2070" y="178"/>
                  </a:lnTo>
                  <a:lnTo>
                    <a:pt x="2064" y="175"/>
                  </a:lnTo>
                  <a:lnTo>
                    <a:pt x="2058" y="172"/>
                  </a:lnTo>
                  <a:lnTo>
                    <a:pt x="2050" y="169"/>
                  </a:lnTo>
                  <a:lnTo>
                    <a:pt x="2047" y="169"/>
                  </a:lnTo>
                  <a:lnTo>
                    <a:pt x="2038" y="166"/>
                  </a:lnTo>
                  <a:lnTo>
                    <a:pt x="2027" y="166"/>
                  </a:lnTo>
                  <a:lnTo>
                    <a:pt x="2007" y="166"/>
                  </a:lnTo>
                  <a:lnTo>
                    <a:pt x="2021" y="172"/>
                  </a:lnTo>
                  <a:lnTo>
                    <a:pt x="2027" y="175"/>
                  </a:lnTo>
                  <a:lnTo>
                    <a:pt x="2021" y="178"/>
                  </a:lnTo>
                  <a:lnTo>
                    <a:pt x="2015" y="175"/>
                  </a:lnTo>
                  <a:lnTo>
                    <a:pt x="2004" y="166"/>
                  </a:lnTo>
                  <a:lnTo>
                    <a:pt x="1998" y="160"/>
                  </a:lnTo>
                  <a:lnTo>
                    <a:pt x="1987" y="158"/>
                  </a:lnTo>
                  <a:lnTo>
                    <a:pt x="1969" y="152"/>
                  </a:lnTo>
                  <a:lnTo>
                    <a:pt x="1926" y="143"/>
                  </a:lnTo>
                  <a:lnTo>
                    <a:pt x="1906" y="137"/>
                  </a:lnTo>
                  <a:lnTo>
                    <a:pt x="1880" y="129"/>
                  </a:lnTo>
                  <a:lnTo>
                    <a:pt x="1832" y="120"/>
                  </a:lnTo>
                  <a:lnTo>
                    <a:pt x="1809" y="120"/>
                  </a:lnTo>
                  <a:lnTo>
                    <a:pt x="1789" y="120"/>
                  </a:lnTo>
                  <a:lnTo>
                    <a:pt x="1763" y="117"/>
                  </a:lnTo>
                  <a:lnTo>
                    <a:pt x="1745" y="114"/>
                  </a:lnTo>
                  <a:lnTo>
                    <a:pt x="1751" y="120"/>
                  </a:lnTo>
                  <a:lnTo>
                    <a:pt x="1763" y="126"/>
                  </a:lnTo>
                  <a:lnTo>
                    <a:pt x="1768" y="129"/>
                  </a:lnTo>
                  <a:lnTo>
                    <a:pt x="1771" y="132"/>
                  </a:lnTo>
                  <a:lnTo>
                    <a:pt x="1774" y="135"/>
                  </a:lnTo>
                  <a:lnTo>
                    <a:pt x="1771" y="137"/>
                  </a:lnTo>
                  <a:lnTo>
                    <a:pt x="1766" y="137"/>
                  </a:lnTo>
                  <a:lnTo>
                    <a:pt x="1757" y="135"/>
                  </a:lnTo>
                  <a:lnTo>
                    <a:pt x="1751" y="132"/>
                  </a:lnTo>
                  <a:lnTo>
                    <a:pt x="1740" y="129"/>
                  </a:lnTo>
                  <a:lnTo>
                    <a:pt x="1731" y="126"/>
                  </a:lnTo>
                  <a:lnTo>
                    <a:pt x="1734" y="126"/>
                  </a:lnTo>
                  <a:lnTo>
                    <a:pt x="1737" y="123"/>
                  </a:lnTo>
                  <a:lnTo>
                    <a:pt x="1740" y="123"/>
                  </a:lnTo>
                  <a:lnTo>
                    <a:pt x="1743" y="123"/>
                  </a:lnTo>
                  <a:lnTo>
                    <a:pt x="1740" y="120"/>
                  </a:lnTo>
                  <a:lnTo>
                    <a:pt x="1734" y="120"/>
                  </a:lnTo>
                  <a:lnTo>
                    <a:pt x="1728" y="117"/>
                  </a:lnTo>
                  <a:lnTo>
                    <a:pt x="1720" y="117"/>
                  </a:lnTo>
                  <a:lnTo>
                    <a:pt x="1717" y="120"/>
                  </a:lnTo>
                  <a:lnTo>
                    <a:pt x="1717" y="123"/>
                  </a:lnTo>
                  <a:lnTo>
                    <a:pt x="1708" y="126"/>
                  </a:lnTo>
                  <a:lnTo>
                    <a:pt x="1668" y="120"/>
                  </a:lnTo>
                  <a:lnTo>
                    <a:pt x="1651" y="123"/>
                  </a:lnTo>
                  <a:lnTo>
                    <a:pt x="1639" y="123"/>
                  </a:lnTo>
                  <a:lnTo>
                    <a:pt x="1628" y="120"/>
                  </a:lnTo>
                  <a:lnTo>
                    <a:pt x="1619" y="123"/>
                  </a:lnTo>
                  <a:lnTo>
                    <a:pt x="1616" y="120"/>
                  </a:lnTo>
                  <a:lnTo>
                    <a:pt x="1611" y="112"/>
                  </a:lnTo>
                  <a:lnTo>
                    <a:pt x="1602" y="106"/>
                  </a:lnTo>
                  <a:lnTo>
                    <a:pt x="1590" y="103"/>
                  </a:lnTo>
                  <a:lnTo>
                    <a:pt x="1570" y="100"/>
                  </a:lnTo>
                  <a:lnTo>
                    <a:pt x="1533" y="100"/>
                  </a:lnTo>
                  <a:lnTo>
                    <a:pt x="1522" y="103"/>
                  </a:lnTo>
                  <a:lnTo>
                    <a:pt x="1513" y="103"/>
                  </a:lnTo>
                  <a:lnTo>
                    <a:pt x="1499" y="100"/>
                  </a:lnTo>
                  <a:lnTo>
                    <a:pt x="1490" y="97"/>
                  </a:lnTo>
                  <a:lnTo>
                    <a:pt x="1479" y="97"/>
                  </a:lnTo>
                  <a:lnTo>
                    <a:pt x="1473" y="94"/>
                  </a:lnTo>
                  <a:lnTo>
                    <a:pt x="1467" y="94"/>
                  </a:lnTo>
                  <a:lnTo>
                    <a:pt x="1458" y="94"/>
                  </a:lnTo>
                  <a:lnTo>
                    <a:pt x="1453" y="89"/>
                  </a:lnTo>
                  <a:lnTo>
                    <a:pt x="1447" y="83"/>
                  </a:lnTo>
                  <a:lnTo>
                    <a:pt x="1427" y="80"/>
                  </a:lnTo>
                  <a:lnTo>
                    <a:pt x="1415" y="80"/>
                  </a:lnTo>
                  <a:lnTo>
                    <a:pt x="1410" y="80"/>
                  </a:lnTo>
                  <a:lnTo>
                    <a:pt x="1410" y="86"/>
                  </a:lnTo>
                  <a:lnTo>
                    <a:pt x="1410" y="89"/>
                  </a:lnTo>
                  <a:lnTo>
                    <a:pt x="1401" y="89"/>
                  </a:lnTo>
                  <a:lnTo>
                    <a:pt x="1395" y="86"/>
                  </a:lnTo>
                  <a:lnTo>
                    <a:pt x="1398" y="83"/>
                  </a:lnTo>
                  <a:lnTo>
                    <a:pt x="1404" y="83"/>
                  </a:lnTo>
                  <a:lnTo>
                    <a:pt x="1404" y="86"/>
                  </a:lnTo>
                  <a:lnTo>
                    <a:pt x="1407" y="86"/>
                  </a:lnTo>
                  <a:lnTo>
                    <a:pt x="1404" y="80"/>
                  </a:lnTo>
                  <a:lnTo>
                    <a:pt x="1390" y="80"/>
                  </a:lnTo>
                  <a:lnTo>
                    <a:pt x="1387" y="77"/>
                  </a:lnTo>
                  <a:lnTo>
                    <a:pt x="1372" y="74"/>
                  </a:lnTo>
                  <a:lnTo>
                    <a:pt x="1324" y="71"/>
                  </a:lnTo>
                  <a:lnTo>
                    <a:pt x="1326" y="74"/>
                  </a:lnTo>
                  <a:lnTo>
                    <a:pt x="1329" y="77"/>
                  </a:lnTo>
                  <a:lnTo>
                    <a:pt x="1321" y="77"/>
                  </a:lnTo>
                  <a:lnTo>
                    <a:pt x="1315" y="77"/>
                  </a:lnTo>
                  <a:lnTo>
                    <a:pt x="1315" y="83"/>
                  </a:lnTo>
                  <a:lnTo>
                    <a:pt x="1318" y="83"/>
                  </a:lnTo>
                  <a:lnTo>
                    <a:pt x="1326" y="83"/>
                  </a:lnTo>
                  <a:lnTo>
                    <a:pt x="1326" y="86"/>
                  </a:lnTo>
                  <a:lnTo>
                    <a:pt x="1332" y="89"/>
                  </a:lnTo>
                  <a:lnTo>
                    <a:pt x="1338" y="94"/>
                  </a:lnTo>
                  <a:lnTo>
                    <a:pt x="1329" y="94"/>
                  </a:lnTo>
                  <a:lnTo>
                    <a:pt x="1324" y="92"/>
                  </a:lnTo>
                  <a:lnTo>
                    <a:pt x="1321" y="92"/>
                  </a:lnTo>
                  <a:lnTo>
                    <a:pt x="1315" y="92"/>
                  </a:lnTo>
                  <a:lnTo>
                    <a:pt x="1309" y="92"/>
                  </a:lnTo>
                  <a:lnTo>
                    <a:pt x="1306" y="94"/>
                  </a:lnTo>
                  <a:lnTo>
                    <a:pt x="1301" y="92"/>
                  </a:lnTo>
                  <a:lnTo>
                    <a:pt x="1292" y="92"/>
                  </a:lnTo>
                  <a:lnTo>
                    <a:pt x="1280" y="94"/>
                  </a:lnTo>
                  <a:lnTo>
                    <a:pt x="1272" y="94"/>
                  </a:lnTo>
                  <a:lnTo>
                    <a:pt x="1266" y="94"/>
                  </a:lnTo>
                  <a:lnTo>
                    <a:pt x="1243" y="86"/>
                  </a:lnTo>
                  <a:lnTo>
                    <a:pt x="1243" y="89"/>
                  </a:lnTo>
                  <a:lnTo>
                    <a:pt x="1243" y="94"/>
                  </a:lnTo>
                  <a:lnTo>
                    <a:pt x="1246" y="97"/>
                  </a:lnTo>
                  <a:lnTo>
                    <a:pt x="1249" y="100"/>
                  </a:lnTo>
                  <a:lnTo>
                    <a:pt x="1252" y="106"/>
                  </a:lnTo>
                  <a:lnTo>
                    <a:pt x="1249" y="106"/>
                  </a:lnTo>
                  <a:lnTo>
                    <a:pt x="1243" y="103"/>
                  </a:lnTo>
                  <a:lnTo>
                    <a:pt x="1235" y="103"/>
                  </a:lnTo>
                  <a:lnTo>
                    <a:pt x="1226" y="100"/>
                  </a:lnTo>
                  <a:lnTo>
                    <a:pt x="1214" y="97"/>
                  </a:lnTo>
                  <a:lnTo>
                    <a:pt x="1203" y="92"/>
                  </a:lnTo>
                  <a:lnTo>
                    <a:pt x="1200" y="89"/>
                  </a:lnTo>
                  <a:lnTo>
                    <a:pt x="1186" y="80"/>
                  </a:lnTo>
                  <a:lnTo>
                    <a:pt x="1197" y="83"/>
                  </a:lnTo>
                  <a:lnTo>
                    <a:pt x="1197" y="77"/>
                  </a:lnTo>
                  <a:lnTo>
                    <a:pt x="1191" y="77"/>
                  </a:lnTo>
                  <a:lnTo>
                    <a:pt x="1183" y="77"/>
                  </a:lnTo>
                  <a:lnTo>
                    <a:pt x="1186" y="74"/>
                  </a:lnTo>
                  <a:lnTo>
                    <a:pt x="1180" y="71"/>
                  </a:lnTo>
                  <a:lnTo>
                    <a:pt x="1177" y="66"/>
                  </a:lnTo>
                  <a:lnTo>
                    <a:pt x="1174" y="66"/>
                  </a:lnTo>
                  <a:lnTo>
                    <a:pt x="1166" y="66"/>
                  </a:lnTo>
                  <a:lnTo>
                    <a:pt x="1146" y="63"/>
                  </a:lnTo>
                  <a:lnTo>
                    <a:pt x="1140" y="63"/>
                  </a:lnTo>
                  <a:lnTo>
                    <a:pt x="1134" y="60"/>
                  </a:lnTo>
                  <a:lnTo>
                    <a:pt x="1111" y="57"/>
                  </a:lnTo>
                  <a:lnTo>
                    <a:pt x="1100" y="60"/>
                  </a:lnTo>
                  <a:lnTo>
                    <a:pt x="1108" y="66"/>
                  </a:lnTo>
                  <a:lnTo>
                    <a:pt x="1114" y="69"/>
                  </a:lnTo>
                  <a:lnTo>
                    <a:pt x="1117" y="71"/>
                  </a:lnTo>
                  <a:lnTo>
                    <a:pt x="1111" y="74"/>
                  </a:lnTo>
                  <a:lnTo>
                    <a:pt x="1105" y="71"/>
                  </a:lnTo>
                  <a:lnTo>
                    <a:pt x="1091" y="71"/>
                  </a:lnTo>
                  <a:lnTo>
                    <a:pt x="1071" y="69"/>
                  </a:lnTo>
                  <a:lnTo>
                    <a:pt x="1048" y="66"/>
                  </a:lnTo>
                  <a:lnTo>
                    <a:pt x="1051" y="63"/>
                  </a:lnTo>
                  <a:lnTo>
                    <a:pt x="1048" y="60"/>
                  </a:lnTo>
                  <a:lnTo>
                    <a:pt x="1039" y="60"/>
                  </a:lnTo>
                  <a:lnTo>
                    <a:pt x="1025" y="57"/>
                  </a:lnTo>
                  <a:lnTo>
                    <a:pt x="1016" y="57"/>
                  </a:lnTo>
                  <a:lnTo>
                    <a:pt x="1011" y="57"/>
                  </a:lnTo>
                  <a:lnTo>
                    <a:pt x="996" y="60"/>
                  </a:lnTo>
                  <a:lnTo>
                    <a:pt x="988" y="63"/>
                  </a:lnTo>
                  <a:lnTo>
                    <a:pt x="993" y="66"/>
                  </a:lnTo>
                  <a:lnTo>
                    <a:pt x="988" y="63"/>
                  </a:lnTo>
                  <a:lnTo>
                    <a:pt x="985" y="60"/>
                  </a:lnTo>
                  <a:lnTo>
                    <a:pt x="982" y="57"/>
                  </a:lnTo>
                  <a:lnTo>
                    <a:pt x="973" y="54"/>
                  </a:lnTo>
                  <a:lnTo>
                    <a:pt x="970" y="57"/>
                  </a:lnTo>
                  <a:lnTo>
                    <a:pt x="968" y="57"/>
                  </a:lnTo>
                  <a:lnTo>
                    <a:pt x="965" y="60"/>
                  </a:lnTo>
                  <a:lnTo>
                    <a:pt x="959" y="57"/>
                  </a:lnTo>
                  <a:lnTo>
                    <a:pt x="953" y="54"/>
                  </a:lnTo>
                  <a:lnTo>
                    <a:pt x="950" y="54"/>
                  </a:lnTo>
                  <a:lnTo>
                    <a:pt x="936" y="57"/>
                  </a:lnTo>
                  <a:lnTo>
                    <a:pt x="942" y="60"/>
                  </a:lnTo>
                  <a:lnTo>
                    <a:pt x="947" y="60"/>
                  </a:lnTo>
                  <a:lnTo>
                    <a:pt x="939" y="63"/>
                  </a:lnTo>
                  <a:lnTo>
                    <a:pt x="927" y="66"/>
                  </a:lnTo>
                  <a:lnTo>
                    <a:pt x="913" y="66"/>
                  </a:lnTo>
                  <a:lnTo>
                    <a:pt x="907" y="69"/>
                  </a:lnTo>
                  <a:lnTo>
                    <a:pt x="899" y="74"/>
                  </a:lnTo>
                  <a:lnTo>
                    <a:pt x="896" y="71"/>
                  </a:lnTo>
                  <a:lnTo>
                    <a:pt x="904" y="66"/>
                  </a:lnTo>
                  <a:lnTo>
                    <a:pt x="907" y="63"/>
                  </a:lnTo>
                  <a:lnTo>
                    <a:pt x="913" y="60"/>
                  </a:lnTo>
                  <a:lnTo>
                    <a:pt x="916" y="60"/>
                  </a:lnTo>
                  <a:lnTo>
                    <a:pt x="919" y="60"/>
                  </a:lnTo>
                  <a:lnTo>
                    <a:pt x="925" y="54"/>
                  </a:lnTo>
                  <a:lnTo>
                    <a:pt x="933" y="54"/>
                  </a:lnTo>
                  <a:lnTo>
                    <a:pt x="933" y="48"/>
                  </a:lnTo>
                  <a:lnTo>
                    <a:pt x="939" y="46"/>
                  </a:lnTo>
                  <a:lnTo>
                    <a:pt x="945" y="43"/>
                  </a:lnTo>
                  <a:lnTo>
                    <a:pt x="953" y="40"/>
                  </a:lnTo>
                  <a:lnTo>
                    <a:pt x="956" y="31"/>
                  </a:lnTo>
                  <a:lnTo>
                    <a:pt x="950" y="28"/>
                  </a:lnTo>
                  <a:lnTo>
                    <a:pt x="945" y="23"/>
                  </a:lnTo>
                  <a:lnTo>
                    <a:pt x="942" y="23"/>
                  </a:lnTo>
                  <a:lnTo>
                    <a:pt x="933" y="17"/>
                  </a:lnTo>
                  <a:lnTo>
                    <a:pt x="933" y="20"/>
                  </a:lnTo>
                  <a:lnTo>
                    <a:pt x="933" y="23"/>
                  </a:lnTo>
                  <a:lnTo>
                    <a:pt x="930" y="20"/>
                  </a:lnTo>
                  <a:lnTo>
                    <a:pt x="925" y="14"/>
                  </a:lnTo>
                  <a:lnTo>
                    <a:pt x="916" y="14"/>
                  </a:lnTo>
                  <a:lnTo>
                    <a:pt x="913" y="14"/>
                  </a:lnTo>
                  <a:lnTo>
                    <a:pt x="910" y="14"/>
                  </a:lnTo>
                  <a:lnTo>
                    <a:pt x="899" y="14"/>
                  </a:lnTo>
                  <a:lnTo>
                    <a:pt x="870" y="14"/>
                  </a:lnTo>
                  <a:lnTo>
                    <a:pt x="858" y="17"/>
                  </a:lnTo>
                  <a:lnTo>
                    <a:pt x="856" y="17"/>
                  </a:lnTo>
                  <a:lnTo>
                    <a:pt x="858" y="11"/>
                  </a:lnTo>
                  <a:lnTo>
                    <a:pt x="850" y="11"/>
                  </a:lnTo>
                  <a:lnTo>
                    <a:pt x="838" y="8"/>
                  </a:lnTo>
                  <a:lnTo>
                    <a:pt x="824" y="11"/>
                  </a:lnTo>
                  <a:lnTo>
                    <a:pt x="830" y="5"/>
                  </a:lnTo>
                  <a:lnTo>
                    <a:pt x="836" y="3"/>
                  </a:lnTo>
                  <a:lnTo>
                    <a:pt x="824" y="0"/>
                  </a:lnTo>
                  <a:lnTo>
                    <a:pt x="813" y="0"/>
                  </a:lnTo>
                  <a:lnTo>
                    <a:pt x="795" y="0"/>
                  </a:lnTo>
                  <a:lnTo>
                    <a:pt x="792" y="3"/>
                  </a:lnTo>
                  <a:lnTo>
                    <a:pt x="790" y="5"/>
                  </a:lnTo>
                  <a:lnTo>
                    <a:pt x="790" y="11"/>
                  </a:lnTo>
                  <a:lnTo>
                    <a:pt x="792" y="14"/>
                  </a:lnTo>
                  <a:lnTo>
                    <a:pt x="795" y="17"/>
                  </a:lnTo>
                  <a:lnTo>
                    <a:pt x="790" y="17"/>
                  </a:lnTo>
                  <a:lnTo>
                    <a:pt x="778" y="17"/>
                  </a:lnTo>
                  <a:lnTo>
                    <a:pt x="772" y="17"/>
                  </a:lnTo>
                  <a:lnTo>
                    <a:pt x="775" y="20"/>
                  </a:lnTo>
                  <a:lnTo>
                    <a:pt x="778" y="23"/>
                  </a:lnTo>
                  <a:lnTo>
                    <a:pt x="787" y="23"/>
                  </a:lnTo>
                  <a:lnTo>
                    <a:pt x="770" y="23"/>
                  </a:lnTo>
                  <a:lnTo>
                    <a:pt x="761" y="23"/>
                  </a:lnTo>
                  <a:lnTo>
                    <a:pt x="749" y="23"/>
                  </a:lnTo>
                  <a:lnTo>
                    <a:pt x="752" y="20"/>
                  </a:lnTo>
                  <a:lnTo>
                    <a:pt x="741" y="20"/>
                  </a:lnTo>
                  <a:lnTo>
                    <a:pt x="729" y="23"/>
                  </a:lnTo>
                  <a:lnTo>
                    <a:pt x="724" y="25"/>
                  </a:lnTo>
                  <a:lnTo>
                    <a:pt x="718" y="25"/>
                  </a:lnTo>
                  <a:lnTo>
                    <a:pt x="715" y="23"/>
                  </a:lnTo>
                  <a:lnTo>
                    <a:pt x="709" y="23"/>
                  </a:lnTo>
                  <a:lnTo>
                    <a:pt x="709" y="25"/>
                  </a:lnTo>
                  <a:lnTo>
                    <a:pt x="703" y="28"/>
                  </a:lnTo>
                  <a:lnTo>
                    <a:pt x="678" y="31"/>
                  </a:lnTo>
                  <a:lnTo>
                    <a:pt x="669" y="34"/>
                  </a:lnTo>
                  <a:lnTo>
                    <a:pt x="666" y="37"/>
                  </a:lnTo>
                  <a:lnTo>
                    <a:pt x="655" y="37"/>
                  </a:lnTo>
                  <a:lnTo>
                    <a:pt x="652" y="46"/>
                  </a:lnTo>
                  <a:lnTo>
                    <a:pt x="660" y="51"/>
                  </a:lnTo>
                  <a:lnTo>
                    <a:pt x="666" y="54"/>
                  </a:lnTo>
                  <a:lnTo>
                    <a:pt x="666" y="57"/>
                  </a:lnTo>
                  <a:lnTo>
                    <a:pt x="655" y="57"/>
                  </a:lnTo>
                  <a:lnTo>
                    <a:pt x="629" y="60"/>
                  </a:lnTo>
                  <a:lnTo>
                    <a:pt x="614" y="60"/>
                  </a:lnTo>
                  <a:lnTo>
                    <a:pt x="600" y="60"/>
                  </a:lnTo>
                  <a:lnTo>
                    <a:pt x="597" y="66"/>
                  </a:lnTo>
                  <a:lnTo>
                    <a:pt x="594" y="66"/>
                  </a:lnTo>
                  <a:lnTo>
                    <a:pt x="597" y="69"/>
                  </a:lnTo>
                  <a:lnTo>
                    <a:pt x="603" y="69"/>
                  </a:lnTo>
                  <a:lnTo>
                    <a:pt x="606" y="71"/>
                  </a:lnTo>
                  <a:lnTo>
                    <a:pt x="609" y="77"/>
                  </a:lnTo>
                  <a:lnTo>
                    <a:pt x="614" y="80"/>
                  </a:lnTo>
                  <a:lnTo>
                    <a:pt x="626" y="80"/>
                  </a:lnTo>
                  <a:lnTo>
                    <a:pt x="635" y="83"/>
                  </a:lnTo>
                  <a:lnTo>
                    <a:pt x="640" y="89"/>
                  </a:lnTo>
                  <a:lnTo>
                    <a:pt x="643" y="89"/>
                  </a:lnTo>
                  <a:lnTo>
                    <a:pt x="640" y="89"/>
                  </a:lnTo>
                  <a:lnTo>
                    <a:pt x="632" y="92"/>
                  </a:lnTo>
                  <a:lnTo>
                    <a:pt x="623" y="89"/>
                  </a:lnTo>
                  <a:lnTo>
                    <a:pt x="606" y="83"/>
                  </a:lnTo>
                  <a:lnTo>
                    <a:pt x="589" y="80"/>
                  </a:lnTo>
                  <a:lnTo>
                    <a:pt x="580" y="80"/>
                  </a:lnTo>
                  <a:lnTo>
                    <a:pt x="577" y="77"/>
                  </a:lnTo>
                  <a:lnTo>
                    <a:pt x="571" y="77"/>
                  </a:lnTo>
                  <a:lnTo>
                    <a:pt x="566" y="80"/>
                  </a:lnTo>
                  <a:lnTo>
                    <a:pt x="574" y="83"/>
                  </a:lnTo>
                  <a:lnTo>
                    <a:pt x="574" y="86"/>
                  </a:lnTo>
                  <a:lnTo>
                    <a:pt x="583" y="83"/>
                  </a:lnTo>
                  <a:lnTo>
                    <a:pt x="586" y="86"/>
                  </a:lnTo>
                  <a:lnTo>
                    <a:pt x="586" y="89"/>
                  </a:lnTo>
                  <a:lnTo>
                    <a:pt x="577" y="89"/>
                  </a:lnTo>
                  <a:lnTo>
                    <a:pt x="569" y="86"/>
                  </a:lnTo>
                  <a:lnTo>
                    <a:pt x="563" y="86"/>
                  </a:lnTo>
                  <a:lnTo>
                    <a:pt x="560" y="86"/>
                  </a:lnTo>
                  <a:lnTo>
                    <a:pt x="566" y="92"/>
                  </a:lnTo>
                  <a:lnTo>
                    <a:pt x="571" y="94"/>
                  </a:lnTo>
                  <a:lnTo>
                    <a:pt x="586" y="97"/>
                  </a:lnTo>
                  <a:lnTo>
                    <a:pt x="594" y="100"/>
                  </a:lnTo>
                  <a:lnTo>
                    <a:pt x="603" y="103"/>
                  </a:lnTo>
                  <a:lnTo>
                    <a:pt x="597" y="103"/>
                  </a:lnTo>
                  <a:lnTo>
                    <a:pt x="586" y="100"/>
                  </a:lnTo>
                  <a:lnTo>
                    <a:pt x="574" y="97"/>
                  </a:lnTo>
                  <a:lnTo>
                    <a:pt x="557" y="97"/>
                  </a:lnTo>
                  <a:lnTo>
                    <a:pt x="557" y="92"/>
                  </a:lnTo>
                  <a:lnTo>
                    <a:pt x="551" y="86"/>
                  </a:lnTo>
                  <a:lnTo>
                    <a:pt x="551" y="80"/>
                  </a:lnTo>
                  <a:lnTo>
                    <a:pt x="543" y="74"/>
                  </a:lnTo>
                  <a:lnTo>
                    <a:pt x="537" y="74"/>
                  </a:lnTo>
                  <a:lnTo>
                    <a:pt x="543" y="80"/>
                  </a:lnTo>
                  <a:lnTo>
                    <a:pt x="546" y="83"/>
                  </a:lnTo>
                  <a:lnTo>
                    <a:pt x="546" y="86"/>
                  </a:lnTo>
                  <a:lnTo>
                    <a:pt x="543" y="86"/>
                  </a:lnTo>
                  <a:lnTo>
                    <a:pt x="534" y="89"/>
                  </a:lnTo>
                  <a:lnTo>
                    <a:pt x="531" y="92"/>
                  </a:lnTo>
                  <a:lnTo>
                    <a:pt x="531" y="97"/>
                  </a:lnTo>
                  <a:lnTo>
                    <a:pt x="534" y="97"/>
                  </a:lnTo>
                  <a:lnTo>
                    <a:pt x="540" y="100"/>
                  </a:lnTo>
                  <a:lnTo>
                    <a:pt x="548" y="106"/>
                  </a:lnTo>
                  <a:lnTo>
                    <a:pt x="551" y="109"/>
                  </a:lnTo>
                  <a:lnTo>
                    <a:pt x="551" y="112"/>
                  </a:lnTo>
                  <a:lnTo>
                    <a:pt x="548" y="117"/>
                  </a:lnTo>
                  <a:lnTo>
                    <a:pt x="551" y="120"/>
                  </a:lnTo>
                  <a:lnTo>
                    <a:pt x="551" y="126"/>
                  </a:lnTo>
                  <a:lnTo>
                    <a:pt x="557" y="126"/>
                  </a:lnTo>
                  <a:lnTo>
                    <a:pt x="557" y="129"/>
                  </a:lnTo>
                  <a:lnTo>
                    <a:pt x="560" y="132"/>
                  </a:lnTo>
                  <a:lnTo>
                    <a:pt x="563" y="132"/>
                  </a:lnTo>
                  <a:lnTo>
                    <a:pt x="571" y="132"/>
                  </a:lnTo>
                  <a:lnTo>
                    <a:pt x="580" y="132"/>
                  </a:lnTo>
                  <a:lnTo>
                    <a:pt x="594" y="132"/>
                  </a:lnTo>
                  <a:lnTo>
                    <a:pt x="603" y="135"/>
                  </a:lnTo>
                  <a:lnTo>
                    <a:pt x="606" y="135"/>
                  </a:lnTo>
                  <a:lnTo>
                    <a:pt x="612" y="137"/>
                  </a:lnTo>
                  <a:lnTo>
                    <a:pt x="617" y="146"/>
                  </a:lnTo>
                  <a:lnTo>
                    <a:pt x="620" y="146"/>
                  </a:lnTo>
                  <a:lnTo>
                    <a:pt x="617" y="152"/>
                  </a:lnTo>
                  <a:lnTo>
                    <a:pt x="620" y="155"/>
                  </a:lnTo>
                  <a:lnTo>
                    <a:pt x="626" y="158"/>
                  </a:lnTo>
                  <a:lnTo>
                    <a:pt x="614" y="158"/>
                  </a:lnTo>
                  <a:lnTo>
                    <a:pt x="612" y="149"/>
                  </a:lnTo>
                  <a:lnTo>
                    <a:pt x="609" y="146"/>
                  </a:lnTo>
                  <a:lnTo>
                    <a:pt x="606" y="140"/>
                  </a:lnTo>
                  <a:lnTo>
                    <a:pt x="597" y="137"/>
                  </a:lnTo>
                  <a:lnTo>
                    <a:pt x="594" y="135"/>
                  </a:lnTo>
                  <a:lnTo>
                    <a:pt x="592" y="135"/>
                  </a:lnTo>
                  <a:lnTo>
                    <a:pt x="574" y="137"/>
                  </a:lnTo>
                  <a:lnTo>
                    <a:pt x="571" y="140"/>
                  </a:lnTo>
                  <a:lnTo>
                    <a:pt x="574" y="143"/>
                  </a:lnTo>
                  <a:lnTo>
                    <a:pt x="580" y="149"/>
                  </a:lnTo>
                  <a:lnTo>
                    <a:pt x="583" y="152"/>
                  </a:lnTo>
                  <a:lnTo>
                    <a:pt x="583" y="155"/>
                  </a:lnTo>
                  <a:lnTo>
                    <a:pt x="583" y="158"/>
                  </a:lnTo>
                  <a:lnTo>
                    <a:pt x="580" y="160"/>
                  </a:lnTo>
                  <a:lnTo>
                    <a:pt x="577" y="172"/>
                  </a:lnTo>
                  <a:lnTo>
                    <a:pt x="569" y="175"/>
                  </a:lnTo>
                  <a:lnTo>
                    <a:pt x="566" y="181"/>
                  </a:lnTo>
                  <a:lnTo>
                    <a:pt x="563" y="183"/>
                  </a:lnTo>
                  <a:lnTo>
                    <a:pt x="554" y="178"/>
                  </a:lnTo>
                  <a:lnTo>
                    <a:pt x="546" y="178"/>
                  </a:lnTo>
                  <a:lnTo>
                    <a:pt x="540" y="178"/>
                  </a:lnTo>
                  <a:lnTo>
                    <a:pt x="531" y="175"/>
                  </a:lnTo>
                  <a:lnTo>
                    <a:pt x="526" y="172"/>
                  </a:lnTo>
                  <a:lnTo>
                    <a:pt x="537" y="172"/>
                  </a:lnTo>
                  <a:lnTo>
                    <a:pt x="551" y="169"/>
                  </a:lnTo>
                  <a:lnTo>
                    <a:pt x="557" y="160"/>
                  </a:lnTo>
                  <a:lnTo>
                    <a:pt x="563" y="155"/>
                  </a:lnTo>
                  <a:lnTo>
                    <a:pt x="563" y="152"/>
                  </a:lnTo>
                  <a:lnTo>
                    <a:pt x="560" y="149"/>
                  </a:lnTo>
                  <a:lnTo>
                    <a:pt x="563" y="143"/>
                  </a:lnTo>
                  <a:lnTo>
                    <a:pt x="557" y="140"/>
                  </a:lnTo>
                  <a:lnTo>
                    <a:pt x="551" y="137"/>
                  </a:lnTo>
                  <a:lnTo>
                    <a:pt x="543" y="129"/>
                  </a:lnTo>
                  <a:lnTo>
                    <a:pt x="540" y="123"/>
                  </a:lnTo>
                  <a:lnTo>
                    <a:pt x="534" y="112"/>
                  </a:lnTo>
                  <a:lnTo>
                    <a:pt x="534" y="109"/>
                  </a:lnTo>
                  <a:lnTo>
                    <a:pt x="531" y="103"/>
                  </a:lnTo>
                  <a:lnTo>
                    <a:pt x="526" y="100"/>
                  </a:lnTo>
                  <a:lnTo>
                    <a:pt x="520" y="97"/>
                  </a:lnTo>
                  <a:lnTo>
                    <a:pt x="511" y="94"/>
                  </a:lnTo>
                  <a:lnTo>
                    <a:pt x="514" y="92"/>
                  </a:lnTo>
                  <a:lnTo>
                    <a:pt x="517" y="86"/>
                  </a:lnTo>
                  <a:lnTo>
                    <a:pt x="517" y="80"/>
                  </a:lnTo>
                  <a:lnTo>
                    <a:pt x="517" y="77"/>
                  </a:lnTo>
                  <a:lnTo>
                    <a:pt x="514" y="74"/>
                  </a:lnTo>
                  <a:lnTo>
                    <a:pt x="508" y="74"/>
                  </a:lnTo>
                  <a:lnTo>
                    <a:pt x="500" y="71"/>
                  </a:lnTo>
                  <a:lnTo>
                    <a:pt x="485" y="71"/>
                  </a:lnTo>
                  <a:lnTo>
                    <a:pt x="477" y="71"/>
                  </a:lnTo>
                  <a:lnTo>
                    <a:pt x="471" y="71"/>
                  </a:lnTo>
                  <a:lnTo>
                    <a:pt x="468" y="77"/>
                  </a:lnTo>
                  <a:lnTo>
                    <a:pt x="471" y="83"/>
                  </a:lnTo>
                  <a:lnTo>
                    <a:pt x="471" y="86"/>
                  </a:lnTo>
                  <a:lnTo>
                    <a:pt x="471" y="92"/>
                  </a:lnTo>
                  <a:lnTo>
                    <a:pt x="462" y="97"/>
                  </a:lnTo>
                  <a:lnTo>
                    <a:pt x="457" y="100"/>
                  </a:lnTo>
                  <a:lnTo>
                    <a:pt x="457" y="103"/>
                  </a:lnTo>
                  <a:lnTo>
                    <a:pt x="459" y="103"/>
                  </a:lnTo>
                  <a:lnTo>
                    <a:pt x="462" y="103"/>
                  </a:lnTo>
                  <a:lnTo>
                    <a:pt x="465" y="106"/>
                  </a:lnTo>
                  <a:lnTo>
                    <a:pt x="465" y="112"/>
                  </a:lnTo>
                  <a:lnTo>
                    <a:pt x="468" y="114"/>
                  </a:lnTo>
                  <a:lnTo>
                    <a:pt x="468" y="117"/>
                  </a:lnTo>
                  <a:lnTo>
                    <a:pt x="468" y="120"/>
                  </a:lnTo>
                  <a:lnTo>
                    <a:pt x="468" y="126"/>
                  </a:lnTo>
                  <a:lnTo>
                    <a:pt x="477" y="126"/>
                  </a:lnTo>
                  <a:lnTo>
                    <a:pt x="482" y="126"/>
                  </a:lnTo>
                  <a:lnTo>
                    <a:pt x="485" y="126"/>
                  </a:lnTo>
                  <a:lnTo>
                    <a:pt x="488" y="129"/>
                  </a:lnTo>
                  <a:lnTo>
                    <a:pt x="488" y="132"/>
                  </a:lnTo>
                  <a:lnTo>
                    <a:pt x="491" y="132"/>
                  </a:lnTo>
                  <a:lnTo>
                    <a:pt x="505" y="137"/>
                  </a:lnTo>
                  <a:lnTo>
                    <a:pt x="503" y="143"/>
                  </a:lnTo>
                  <a:lnTo>
                    <a:pt x="503" y="149"/>
                  </a:lnTo>
                  <a:lnTo>
                    <a:pt x="497" y="146"/>
                  </a:lnTo>
                  <a:lnTo>
                    <a:pt x="497" y="143"/>
                  </a:lnTo>
                  <a:lnTo>
                    <a:pt x="494" y="143"/>
                  </a:lnTo>
                  <a:lnTo>
                    <a:pt x="485" y="140"/>
                  </a:lnTo>
                  <a:lnTo>
                    <a:pt x="474" y="137"/>
                  </a:lnTo>
                  <a:lnTo>
                    <a:pt x="457" y="132"/>
                  </a:lnTo>
                  <a:lnTo>
                    <a:pt x="442" y="126"/>
                  </a:lnTo>
                  <a:lnTo>
                    <a:pt x="408" y="120"/>
                  </a:lnTo>
                  <a:lnTo>
                    <a:pt x="393" y="120"/>
                  </a:lnTo>
                  <a:lnTo>
                    <a:pt x="393" y="123"/>
                  </a:lnTo>
                  <a:lnTo>
                    <a:pt x="391" y="123"/>
                  </a:lnTo>
                  <a:lnTo>
                    <a:pt x="388" y="120"/>
                  </a:lnTo>
                  <a:lnTo>
                    <a:pt x="379" y="114"/>
                  </a:lnTo>
                  <a:lnTo>
                    <a:pt x="368" y="109"/>
                  </a:lnTo>
                  <a:lnTo>
                    <a:pt x="362" y="112"/>
                  </a:lnTo>
                  <a:lnTo>
                    <a:pt x="362" y="114"/>
                  </a:lnTo>
                  <a:lnTo>
                    <a:pt x="368" y="117"/>
                  </a:lnTo>
                  <a:lnTo>
                    <a:pt x="373" y="120"/>
                  </a:lnTo>
                  <a:lnTo>
                    <a:pt x="379" y="123"/>
                  </a:lnTo>
                  <a:lnTo>
                    <a:pt x="382" y="123"/>
                  </a:lnTo>
                  <a:lnTo>
                    <a:pt x="388" y="126"/>
                  </a:lnTo>
                  <a:lnTo>
                    <a:pt x="391" y="132"/>
                  </a:lnTo>
                  <a:lnTo>
                    <a:pt x="393" y="132"/>
                  </a:lnTo>
                  <a:lnTo>
                    <a:pt x="399" y="132"/>
                  </a:lnTo>
                  <a:lnTo>
                    <a:pt x="399" y="135"/>
                  </a:lnTo>
                  <a:lnTo>
                    <a:pt x="393" y="140"/>
                  </a:lnTo>
                  <a:lnTo>
                    <a:pt x="391" y="140"/>
                  </a:lnTo>
                  <a:lnTo>
                    <a:pt x="388" y="140"/>
                  </a:lnTo>
                  <a:lnTo>
                    <a:pt x="391" y="143"/>
                  </a:lnTo>
                  <a:lnTo>
                    <a:pt x="391" y="146"/>
                  </a:lnTo>
                  <a:lnTo>
                    <a:pt x="382" y="146"/>
                  </a:lnTo>
                  <a:lnTo>
                    <a:pt x="382" y="140"/>
                  </a:lnTo>
                  <a:lnTo>
                    <a:pt x="385" y="140"/>
                  </a:lnTo>
                  <a:lnTo>
                    <a:pt x="382" y="137"/>
                  </a:lnTo>
                  <a:lnTo>
                    <a:pt x="379" y="137"/>
                  </a:lnTo>
                  <a:lnTo>
                    <a:pt x="376" y="135"/>
                  </a:lnTo>
                  <a:lnTo>
                    <a:pt x="376" y="132"/>
                  </a:lnTo>
                  <a:lnTo>
                    <a:pt x="376" y="129"/>
                  </a:lnTo>
                  <a:lnTo>
                    <a:pt x="370" y="129"/>
                  </a:lnTo>
                  <a:lnTo>
                    <a:pt x="373" y="135"/>
                  </a:lnTo>
                  <a:lnTo>
                    <a:pt x="368" y="137"/>
                  </a:lnTo>
                  <a:lnTo>
                    <a:pt x="356" y="137"/>
                  </a:lnTo>
                  <a:lnTo>
                    <a:pt x="356" y="140"/>
                  </a:lnTo>
                  <a:lnTo>
                    <a:pt x="345" y="140"/>
                  </a:lnTo>
                  <a:lnTo>
                    <a:pt x="336" y="140"/>
                  </a:lnTo>
                  <a:lnTo>
                    <a:pt x="330" y="143"/>
                  </a:lnTo>
                  <a:lnTo>
                    <a:pt x="330" y="149"/>
                  </a:lnTo>
                  <a:lnTo>
                    <a:pt x="325" y="146"/>
                  </a:lnTo>
                  <a:lnTo>
                    <a:pt x="322" y="146"/>
                  </a:lnTo>
                  <a:lnTo>
                    <a:pt x="316" y="146"/>
                  </a:lnTo>
                  <a:lnTo>
                    <a:pt x="313" y="140"/>
                  </a:lnTo>
                  <a:lnTo>
                    <a:pt x="319" y="137"/>
                  </a:lnTo>
                  <a:lnTo>
                    <a:pt x="316" y="135"/>
                  </a:lnTo>
                  <a:lnTo>
                    <a:pt x="310" y="135"/>
                  </a:lnTo>
                  <a:lnTo>
                    <a:pt x="296" y="140"/>
                  </a:lnTo>
                  <a:lnTo>
                    <a:pt x="299" y="143"/>
                  </a:lnTo>
                  <a:lnTo>
                    <a:pt x="296" y="146"/>
                  </a:lnTo>
                  <a:lnTo>
                    <a:pt x="293" y="146"/>
                  </a:lnTo>
                  <a:lnTo>
                    <a:pt x="293" y="143"/>
                  </a:lnTo>
                  <a:lnTo>
                    <a:pt x="287" y="143"/>
                  </a:lnTo>
                  <a:lnTo>
                    <a:pt x="276" y="143"/>
                  </a:lnTo>
                  <a:lnTo>
                    <a:pt x="270" y="149"/>
                  </a:lnTo>
                  <a:lnTo>
                    <a:pt x="261" y="152"/>
                  </a:lnTo>
                  <a:lnTo>
                    <a:pt x="253" y="155"/>
                  </a:lnTo>
                  <a:lnTo>
                    <a:pt x="256" y="158"/>
                  </a:lnTo>
                  <a:lnTo>
                    <a:pt x="250" y="158"/>
                  </a:lnTo>
                  <a:lnTo>
                    <a:pt x="244" y="158"/>
                  </a:lnTo>
                  <a:lnTo>
                    <a:pt x="244" y="166"/>
                  </a:lnTo>
                  <a:lnTo>
                    <a:pt x="244" y="169"/>
                  </a:lnTo>
                  <a:lnTo>
                    <a:pt x="236" y="172"/>
                  </a:lnTo>
                  <a:lnTo>
                    <a:pt x="227" y="172"/>
                  </a:lnTo>
                  <a:lnTo>
                    <a:pt x="221" y="169"/>
                  </a:lnTo>
                  <a:lnTo>
                    <a:pt x="207" y="160"/>
                  </a:lnTo>
                  <a:lnTo>
                    <a:pt x="210" y="158"/>
                  </a:lnTo>
                  <a:lnTo>
                    <a:pt x="215" y="155"/>
                  </a:lnTo>
                  <a:lnTo>
                    <a:pt x="230" y="155"/>
                  </a:lnTo>
                  <a:lnTo>
                    <a:pt x="224" y="152"/>
                  </a:lnTo>
                  <a:lnTo>
                    <a:pt x="218" y="146"/>
                  </a:lnTo>
                  <a:lnTo>
                    <a:pt x="215" y="140"/>
                  </a:lnTo>
                  <a:lnTo>
                    <a:pt x="213" y="140"/>
                  </a:lnTo>
                  <a:lnTo>
                    <a:pt x="207" y="140"/>
                  </a:lnTo>
                  <a:lnTo>
                    <a:pt x="190" y="140"/>
                  </a:lnTo>
                  <a:lnTo>
                    <a:pt x="184" y="140"/>
                  </a:lnTo>
                  <a:lnTo>
                    <a:pt x="193" y="146"/>
                  </a:lnTo>
                  <a:lnTo>
                    <a:pt x="195" y="149"/>
                  </a:lnTo>
                  <a:lnTo>
                    <a:pt x="195" y="155"/>
                  </a:lnTo>
                  <a:lnTo>
                    <a:pt x="193" y="160"/>
                  </a:lnTo>
                  <a:lnTo>
                    <a:pt x="195" y="163"/>
                  </a:lnTo>
                  <a:lnTo>
                    <a:pt x="201" y="166"/>
                  </a:lnTo>
                  <a:lnTo>
                    <a:pt x="204" y="166"/>
                  </a:lnTo>
                  <a:lnTo>
                    <a:pt x="204" y="169"/>
                  </a:lnTo>
                  <a:lnTo>
                    <a:pt x="204" y="172"/>
                  </a:lnTo>
                  <a:lnTo>
                    <a:pt x="204" y="178"/>
                  </a:lnTo>
                  <a:lnTo>
                    <a:pt x="204" y="183"/>
                  </a:lnTo>
                  <a:lnTo>
                    <a:pt x="201" y="183"/>
                  </a:lnTo>
                  <a:lnTo>
                    <a:pt x="195" y="181"/>
                  </a:lnTo>
                  <a:lnTo>
                    <a:pt x="190" y="178"/>
                  </a:lnTo>
                  <a:lnTo>
                    <a:pt x="181" y="178"/>
                  </a:lnTo>
                  <a:lnTo>
                    <a:pt x="178" y="178"/>
                  </a:lnTo>
                  <a:lnTo>
                    <a:pt x="170" y="183"/>
                  </a:lnTo>
                  <a:lnTo>
                    <a:pt x="164" y="186"/>
                  </a:lnTo>
                  <a:lnTo>
                    <a:pt x="161" y="186"/>
                  </a:lnTo>
                  <a:lnTo>
                    <a:pt x="152" y="192"/>
                  </a:lnTo>
                  <a:lnTo>
                    <a:pt x="149" y="195"/>
                  </a:lnTo>
                  <a:lnTo>
                    <a:pt x="155" y="201"/>
                  </a:lnTo>
                  <a:lnTo>
                    <a:pt x="161" y="203"/>
                  </a:lnTo>
                  <a:lnTo>
                    <a:pt x="161" y="206"/>
                  </a:lnTo>
                  <a:lnTo>
                    <a:pt x="161" y="209"/>
                  </a:lnTo>
                  <a:lnTo>
                    <a:pt x="155" y="209"/>
                  </a:lnTo>
                  <a:lnTo>
                    <a:pt x="141" y="206"/>
                  </a:lnTo>
                  <a:lnTo>
                    <a:pt x="127" y="203"/>
                  </a:lnTo>
                  <a:lnTo>
                    <a:pt x="124" y="201"/>
                  </a:lnTo>
                  <a:lnTo>
                    <a:pt x="118" y="198"/>
                  </a:lnTo>
                  <a:lnTo>
                    <a:pt x="109" y="203"/>
                  </a:lnTo>
                  <a:lnTo>
                    <a:pt x="115" y="209"/>
                  </a:lnTo>
                  <a:lnTo>
                    <a:pt x="124" y="215"/>
                  </a:lnTo>
                  <a:lnTo>
                    <a:pt x="127" y="212"/>
                  </a:lnTo>
                  <a:lnTo>
                    <a:pt x="129" y="212"/>
                  </a:lnTo>
                  <a:lnTo>
                    <a:pt x="135" y="218"/>
                  </a:lnTo>
                  <a:lnTo>
                    <a:pt x="127" y="221"/>
                  </a:lnTo>
                  <a:lnTo>
                    <a:pt x="118" y="221"/>
                  </a:lnTo>
                  <a:lnTo>
                    <a:pt x="112" y="218"/>
                  </a:lnTo>
                  <a:lnTo>
                    <a:pt x="106" y="215"/>
                  </a:lnTo>
                  <a:lnTo>
                    <a:pt x="92" y="212"/>
                  </a:lnTo>
                  <a:lnTo>
                    <a:pt x="92" y="209"/>
                  </a:lnTo>
                  <a:lnTo>
                    <a:pt x="89" y="206"/>
                  </a:lnTo>
                  <a:lnTo>
                    <a:pt x="83" y="198"/>
                  </a:lnTo>
                  <a:lnTo>
                    <a:pt x="83" y="192"/>
                  </a:lnTo>
                  <a:lnTo>
                    <a:pt x="86" y="186"/>
                  </a:lnTo>
                  <a:lnTo>
                    <a:pt x="78" y="181"/>
                  </a:lnTo>
                  <a:lnTo>
                    <a:pt x="66" y="178"/>
                  </a:lnTo>
                  <a:lnTo>
                    <a:pt x="60" y="175"/>
                  </a:lnTo>
                  <a:lnTo>
                    <a:pt x="49" y="169"/>
                  </a:lnTo>
                  <a:lnTo>
                    <a:pt x="60" y="175"/>
                  </a:lnTo>
                  <a:lnTo>
                    <a:pt x="75" y="175"/>
                  </a:lnTo>
                  <a:lnTo>
                    <a:pt x="92" y="178"/>
                  </a:lnTo>
                  <a:lnTo>
                    <a:pt x="109" y="181"/>
                  </a:lnTo>
                  <a:lnTo>
                    <a:pt x="121" y="183"/>
                  </a:lnTo>
                  <a:lnTo>
                    <a:pt x="138" y="183"/>
                  </a:lnTo>
                  <a:lnTo>
                    <a:pt x="149" y="181"/>
                  </a:lnTo>
                  <a:lnTo>
                    <a:pt x="161" y="175"/>
                  </a:lnTo>
                  <a:lnTo>
                    <a:pt x="161" y="163"/>
                  </a:lnTo>
                  <a:lnTo>
                    <a:pt x="155" y="160"/>
                  </a:lnTo>
                  <a:lnTo>
                    <a:pt x="158" y="158"/>
                  </a:lnTo>
                  <a:lnTo>
                    <a:pt x="147" y="155"/>
                  </a:lnTo>
                  <a:lnTo>
                    <a:pt x="135" y="149"/>
                  </a:lnTo>
                  <a:lnTo>
                    <a:pt x="132" y="146"/>
                  </a:lnTo>
                  <a:lnTo>
                    <a:pt x="127" y="146"/>
                  </a:lnTo>
                  <a:lnTo>
                    <a:pt x="118" y="143"/>
                  </a:lnTo>
                  <a:lnTo>
                    <a:pt x="112" y="140"/>
                  </a:lnTo>
                  <a:lnTo>
                    <a:pt x="104" y="137"/>
                  </a:lnTo>
                  <a:lnTo>
                    <a:pt x="89" y="132"/>
                  </a:lnTo>
                  <a:lnTo>
                    <a:pt x="72" y="129"/>
                  </a:lnTo>
                  <a:lnTo>
                    <a:pt x="60" y="129"/>
                  </a:lnTo>
                  <a:lnTo>
                    <a:pt x="55" y="129"/>
                  </a:lnTo>
                  <a:lnTo>
                    <a:pt x="52" y="126"/>
                  </a:lnTo>
                  <a:lnTo>
                    <a:pt x="46" y="126"/>
                  </a:lnTo>
                  <a:lnTo>
                    <a:pt x="49" y="123"/>
                  </a:lnTo>
                  <a:lnTo>
                    <a:pt x="38" y="120"/>
                  </a:lnTo>
                  <a:lnTo>
                    <a:pt x="29" y="123"/>
                  </a:lnTo>
                  <a:lnTo>
                    <a:pt x="26" y="123"/>
                  </a:lnTo>
                  <a:lnTo>
                    <a:pt x="23" y="129"/>
                  </a:lnTo>
                  <a:lnTo>
                    <a:pt x="20" y="129"/>
                  </a:lnTo>
                  <a:lnTo>
                    <a:pt x="17" y="126"/>
                  </a:lnTo>
                  <a:lnTo>
                    <a:pt x="12" y="129"/>
                  </a:lnTo>
                  <a:lnTo>
                    <a:pt x="6" y="135"/>
                  </a:lnTo>
                  <a:lnTo>
                    <a:pt x="0" y="137"/>
                  </a:lnTo>
                  <a:lnTo>
                    <a:pt x="0" y="146"/>
                  </a:lnTo>
                  <a:lnTo>
                    <a:pt x="9" y="149"/>
                  </a:lnTo>
                  <a:lnTo>
                    <a:pt x="17" y="155"/>
                  </a:lnTo>
                  <a:lnTo>
                    <a:pt x="17" y="158"/>
                  </a:lnTo>
                  <a:lnTo>
                    <a:pt x="17" y="160"/>
                  </a:lnTo>
                  <a:lnTo>
                    <a:pt x="15" y="163"/>
                  </a:lnTo>
                  <a:lnTo>
                    <a:pt x="9" y="166"/>
                  </a:lnTo>
                  <a:lnTo>
                    <a:pt x="9" y="169"/>
                  </a:lnTo>
                  <a:lnTo>
                    <a:pt x="17" y="178"/>
                  </a:lnTo>
                  <a:lnTo>
                    <a:pt x="26" y="186"/>
                  </a:lnTo>
                  <a:lnTo>
                    <a:pt x="26" y="189"/>
                  </a:lnTo>
                  <a:lnTo>
                    <a:pt x="20" y="192"/>
                  </a:lnTo>
                  <a:lnTo>
                    <a:pt x="23" y="198"/>
                  </a:lnTo>
                  <a:lnTo>
                    <a:pt x="23" y="201"/>
                  </a:lnTo>
                  <a:lnTo>
                    <a:pt x="20" y="201"/>
                  </a:lnTo>
                  <a:lnTo>
                    <a:pt x="26" y="203"/>
                  </a:lnTo>
                  <a:lnTo>
                    <a:pt x="29" y="206"/>
                  </a:lnTo>
                  <a:lnTo>
                    <a:pt x="29" y="212"/>
                  </a:lnTo>
                  <a:lnTo>
                    <a:pt x="38" y="215"/>
                  </a:lnTo>
                  <a:lnTo>
                    <a:pt x="38" y="218"/>
                  </a:lnTo>
                  <a:lnTo>
                    <a:pt x="35" y="221"/>
                  </a:lnTo>
                  <a:lnTo>
                    <a:pt x="32" y="224"/>
                  </a:lnTo>
                  <a:lnTo>
                    <a:pt x="40" y="229"/>
                  </a:lnTo>
                  <a:lnTo>
                    <a:pt x="52" y="238"/>
                  </a:lnTo>
                  <a:lnTo>
                    <a:pt x="55" y="241"/>
                  </a:lnTo>
                  <a:lnTo>
                    <a:pt x="52" y="241"/>
                  </a:lnTo>
                  <a:lnTo>
                    <a:pt x="46" y="247"/>
                  </a:lnTo>
                  <a:lnTo>
                    <a:pt x="38" y="255"/>
                  </a:lnTo>
                  <a:lnTo>
                    <a:pt x="38" y="258"/>
                  </a:lnTo>
                  <a:lnTo>
                    <a:pt x="32" y="264"/>
                  </a:lnTo>
                  <a:lnTo>
                    <a:pt x="15" y="275"/>
                  </a:lnTo>
                  <a:lnTo>
                    <a:pt x="9" y="281"/>
                  </a:lnTo>
                  <a:lnTo>
                    <a:pt x="20" y="278"/>
                  </a:lnTo>
                  <a:lnTo>
                    <a:pt x="20" y="281"/>
                  </a:lnTo>
                  <a:lnTo>
                    <a:pt x="20" y="284"/>
                  </a:lnTo>
                  <a:lnTo>
                    <a:pt x="26" y="287"/>
                  </a:lnTo>
                  <a:lnTo>
                    <a:pt x="32" y="290"/>
                  </a:lnTo>
                  <a:lnTo>
                    <a:pt x="38" y="290"/>
                  </a:lnTo>
                  <a:lnTo>
                    <a:pt x="40" y="290"/>
                  </a:lnTo>
                  <a:lnTo>
                    <a:pt x="32" y="292"/>
                  </a:lnTo>
                  <a:lnTo>
                    <a:pt x="20" y="292"/>
                  </a:lnTo>
                  <a:lnTo>
                    <a:pt x="15" y="295"/>
                  </a:lnTo>
                  <a:lnTo>
                    <a:pt x="12" y="295"/>
                  </a:lnTo>
                  <a:lnTo>
                    <a:pt x="12" y="298"/>
                  </a:lnTo>
                  <a:lnTo>
                    <a:pt x="9" y="310"/>
                  </a:lnTo>
                  <a:lnTo>
                    <a:pt x="6" y="315"/>
                  </a:lnTo>
                  <a:lnTo>
                    <a:pt x="9" y="321"/>
                  </a:lnTo>
                  <a:lnTo>
                    <a:pt x="9" y="324"/>
                  </a:lnTo>
                  <a:lnTo>
                    <a:pt x="17" y="330"/>
                  </a:lnTo>
                  <a:lnTo>
                    <a:pt x="12" y="336"/>
                  </a:lnTo>
                  <a:lnTo>
                    <a:pt x="15" y="336"/>
                  </a:lnTo>
                  <a:lnTo>
                    <a:pt x="17" y="338"/>
                  </a:lnTo>
                  <a:lnTo>
                    <a:pt x="17" y="341"/>
                  </a:lnTo>
                  <a:lnTo>
                    <a:pt x="15" y="347"/>
                  </a:lnTo>
                  <a:lnTo>
                    <a:pt x="20" y="350"/>
                  </a:lnTo>
                  <a:lnTo>
                    <a:pt x="23" y="359"/>
                  </a:lnTo>
                  <a:lnTo>
                    <a:pt x="26" y="359"/>
                  </a:lnTo>
                  <a:lnTo>
                    <a:pt x="29" y="359"/>
                  </a:lnTo>
                  <a:lnTo>
                    <a:pt x="29" y="361"/>
                  </a:lnTo>
                  <a:lnTo>
                    <a:pt x="35" y="361"/>
                  </a:lnTo>
                  <a:lnTo>
                    <a:pt x="43" y="361"/>
                  </a:lnTo>
                  <a:lnTo>
                    <a:pt x="40" y="361"/>
                  </a:lnTo>
                  <a:lnTo>
                    <a:pt x="40" y="364"/>
                  </a:lnTo>
                  <a:lnTo>
                    <a:pt x="43" y="367"/>
                  </a:lnTo>
                  <a:lnTo>
                    <a:pt x="46" y="361"/>
                  </a:lnTo>
                  <a:lnTo>
                    <a:pt x="49" y="361"/>
                  </a:lnTo>
                  <a:lnTo>
                    <a:pt x="55" y="364"/>
                  </a:lnTo>
                  <a:lnTo>
                    <a:pt x="63" y="367"/>
                  </a:lnTo>
                  <a:lnTo>
                    <a:pt x="66" y="367"/>
                  </a:lnTo>
                  <a:lnTo>
                    <a:pt x="63" y="376"/>
                  </a:lnTo>
                  <a:lnTo>
                    <a:pt x="66" y="379"/>
                  </a:lnTo>
                  <a:lnTo>
                    <a:pt x="66" y="381"/>
                  </a:lnTo>
                  <a:lnTo>
                    <a:pt x="63" y="384"/>
                  </a:lnTo>
                  <a:lnTo>
                    <a:pt x="66" y="387"/>
                  </a:lnTo>
                  <a:lnTo>
                    <a:pt x="72" y="393"/>
                  </a:lnTo>
                  <a:lnTo>
                    <a:pt x="78" y="396"/>
                  </a:lnTo>
                  <a:lnTo>
                    <a:pt x="81" y="396"/>
                  </a:lnTo>
                  <a:lnTo>
                    <a:pt x="83" y="402"/>
                  </a:lnTo>
                  <a:lnTo>
                    <a:pt x="86" y="399"/>
                  </a:lnTo>
                  <a:lnTo>
                    <a:pt x="89" y="402"/>
                  </a:lnTo>
                  <a:lnTo>
                    <a:pt x="92" y="404"/>
                  </a:lnTo>
                  <a:lnTo>
                    <a:pt x="92" y="407"/>
                  </a:lnTo>
                  <a:lnTo>
                    <a:pt x="98" y="410"/>
                  </a:lnTo>
                  <a:lnTo>
                    <a:pt x="95" y="413"/>
                  </a:lnTo>
                  <a:lnTo>
                    <a:pt x="92" y="416"/>
                  </a:lnTo>
                  <a:lnTo>
                    <a:pt x="86" y="419"/>
                  </a:lnTo>
                  <a:lnTo>
                    <a:pt x="78" y="416"/>
                  </a:lnTo>
                  <a:lnTo>
                    <a:pt x="75" y="419"/>
                  </a:lnTo>
                  <a:lnTo>
                    <a:pt x="81" y="433"/>
                  </a:lnTo>
                  <a:lnTo>
                    <a:pt x="89" y="436"/>
                  </a:lnTo>
                  <a:lnTo>
                    <a:pt x="89" y="427"/>
                  </a:lnTo>
                  <a:lnTo>
                    <a:pt x="98" y="433"/>
                  </a:lnTo>
                  <a:lnTo>
                    <a:pt x="104" y="427"/>
                  </a:lnTo>
                  <a:lnTo>
                    <a:pt x="112" y="430"/>
                  </a:lnTo>
                  <a:lnTo>
                    <a:pt x="118" y="433"/>
                  </a:lnTo>
                  <a:lnTo>
                    <a:pt x="127" y="442"/>
                  </a:lnTo>
                  <a:lnTo>
                    <a:pt x="121" y="445"/>
                  </a:lnTo>
                  <a:lnTo>
                    <a:pt x="121" y="448"/>
                  </a:lnTo>
                  <a:lnTo>
                    <a:pt x="132" y="450"/>
                  </a:lnTo>
                  <a:lnTo>
                    <a:pt x="135" y="450"/>
                  </a:lnTo>
                  <a:lnTo>
                    <a:pt x="138" y="453"/>
                  </a:lnTo>
                  <a:lnTo>
                    <a:pt x="144" y="459"/>
                  </a:lnTo>
                  <a:lnTo>
                    <a:pt x="144" y="465"/>
                  </a:lnTo>
                  <a:lnTo>
                    <a:pt x="147" y="465"/>
                  </a:lnTo>
                  <a:lnTo>
                    <a:pt x="149" y="462"/>
                  </a:lnTo>
                  <a:lnTo>
                    <a:pt x="161" y="468"/>
                  </a:lnTo>
                  <a:lnTo>
                    <a:pt x="172" y="465"/>
                  </a:lnTo>
                  <a:lnTo>
                    <a:pt x="184" y="473"/>
                  </a:lnTo>
                  <a:lnTo>
                    <a:pt x="187" y="473"/>
                  </a:lnTo>
                  <a:lnTo>
                    <a:pt x="198" y="479"/>
                  </a:lnTo>
                  <a:lnTo>
                    <a:pt x="215" y="479"/>
                  </a:lnTo>
                  <a:lnTo>
                    <a:pt x="218" y="488"/>
                  </a:lnTo>
                  <a:lnTo>
                    <a:pt x="218" y="491"/>
                  </a:lnTo>
                  <a:lnTo>
                    <a:pt x="215" y="493"/>
                  </a:lnTo>
                  <a:lnTo>
                    <a:pt x="218" y="496"/>
                  </a:lnTo>
                  <a:lnTo>
                    <a:pt x="215" y="499"/>
                  </a:lnTo>
                  <a:lnTo>
                    <a:pt x="213" y="502"/>
                  </a:lnTo>
                  <a:lnTo>
                    <a:pt x="218" y="508"/>
                  </a:lnTo>
                  <a:lnTo>
                    <a:pt x="215" y="519"/>
                  </a:lnTo>
                  <a:lnTo>
                    <a:pt x="201" y="516"/>
                  </a:lnTo>
                  <a:lnTo>
                    <a:pt x="195" y="522"/>
                  </a:lnTo>
                  <a:lnTo>
                    <a:pt x="193" y="528"/>
                  </a:lnTo>
                  <a:lnTo>
                    <a:pt x="207" y="528"/>
                  </a:lnTo>
                  <a:lnTo>
                    <a:pt x="204" y="534"/>
                  </a:lnTo>
                  <a:lnTo>
                    <a:pt x="190" y="539"/>
                  </a:lnTo>
                  <a:lnTo>
                    <a:pt x="193" y="542"/>
                  </a:lnTo>
                  <a:lnTo>
                    <a:pt x="195" y="545"/>
                  </a:lnTo>
                  <a:lnTo>
                    <a:pt x="190" y="554"/>
                  </a:lnTo>
                  <a:lnTo>
                    <a:pt x="184" y="562"/>
                  </a:lnTo>
                  <a:lnTo>
                    <a:pt x="172" y="562"/>
                  </a:lnTo>
                  <a:lnTo>
                    <a:pt x="155" y="565"/>
                  </a:lnTo>
                  <a:lnTo>
                    <a:pt x="149" y="559"/>
                  </a:lnTo>
                  <a:lnTo>
                    <a:pt x="144" y="554"/>
                  </a:lnTo>
                  <a:lnTo>
                    <a:pt x="132" y="551"/>
                  </a:lnTo>
                  <a:lnTo>
                    <a:pt x="124" y="554"/>
                  </a:lnTo>
                  <a:lnTo>
                    <a:pt x="109" y="562"/>
                  </a:lnTo>
                  <a:lnTo>
                    <a:pt x="118" y="562"/>
                  </a:lnTo>
                  <a:lnTo>
                    <a:pt x="127" y="568"/>
                  </a:lnTo>
                  <a:lnTo>
                    <a:pt x="124" y="574"/>
                  </a:lnTo>
                  <a:lnTo>
                    <a:pt x="124" y="577"/>
                  </a:lnTo>
                  <a:lnTo>
                    <a:pt x="127" y="580"/>
                  </a:lnTo>
                  <a:lnTo>
                    <a:pt x="138" y="580"/>
                  </a:lnTo>
                  <a:lnTo>
                    <a:pt x="149" y="571"/>
                  </a:lnTo>
                  <a:lnTo>
                    <a:pt x="158" y="568"/>
                  </a:lnTo>
                  <a:lnTo>
                    <a:pt x="167" y="568"/>
                  </a:lnTo>
                  <a:lnTo>
                    <a:pt x="175" y="568"/>
                  </a:lnTo>
                  <a:lnTo>
                    <a:pt x="187" y="574"/>
                  </a:lnTo>
                  <a:lnTo>
                    <a:pt x="195" y="577"/>
                  </a:lnTo>
                  <a:lnTo>
                    <a:pt x="204" y="585"/>
                  </a:lnTo>
                  <a:lnTo>
                    <a:pt x="204" y="582"/>
                  </a:lnTo>
                  <a:lnTo>
                    <a:pt x="210" y="585"/>
                  </a:lnTo>
                  <a:lnTo>
                    <a:pt x="221" y="594"/>
                  </a:lnTo>
                  <a:lnTo>
                    <a:pt x="227" y="600"/>
                  </a:lnTo>
                  <a:lnTo>
                    <a:pt x="230" y="594"/>
                  </a:lnTo>
                  <a:lnTo>
                    <a:pt x="233" y="594"/>
                  </a:lnTo>
                  <a:lnTo>
                    <a:pt x="247" y="600"/>
                  </a:lnTo>
                  <a:lnTo>
                    <a:pt x="264" y="603"/>
                  </a:lnTo>
                  <a:lnTo>
                    <a:pt x="267" y="603"/>
                  </a:lnTo>
                  <a:lnTo>
                    <a:pt x="276" y="603"/>
                  </a:lnTo>
                  <a:lnTo>
                    <a:pt x="284" y="608"/>
                  </a:lnTo>
                  <a:lnTo>
                    <a:pt x="290" y="611"/>
                  </a:lnTo>
                  <a:lnTo>
                    <a:pt x="296" y="611"/>
                  </a:lnTo>
                  <a:lnTo>
                    <a:pt x="293" y="614"/>
                  </a:lnTo>
                  <a:lnTo>
                    <a:pt x="299" y="614"/>
                  </a:lnTo>
                  <a:lnTo>
                    <a:pt x="307" y="611"/>
                  </a:lnTo>
                  <a:lnTo>
                    <a:pt x="322" y="617"/>
                  </a:lnTo>
                  <a:lnTo>
                    <a:pt x="325" y="623"/>
                  </a:lnTo>
                  <a:lnTo>
                    <a:pt x="333" y="628"/>
                  </a:lnTo>
                  <a:lnTo>
                    <a:pt x="336" y="628"/>
                  </a:lnTo>
                  <a:lnTo>
                    <a:pt x="339" y="628"/>
                  </a:lnTo>
                  <a:lnTo>
                    <a:pt x="345" y="631"/>
                  </a:lnTo>
                  <a:lnTo>
                    <a:pt x="348" y="640"/>
                  </a:lnTo>
                  <a:lnTo>
                    <a:pt x="350" y="640"/>
                  </a:lnTo>
                  <a:lnTo>
                    <a:pt x="359" y="640"/>
                  </a:lnTo>
                  <a:lnTo>
                    <a:pt x="365" y="634"/>
                  </a:lnTo>
                  <a:lnTo>
                    <a:pt x="368" y="628"/>
                  </a:lnTo>
                  <a:lnTo>
                    <a:pt x="362" y="626"/>
                  </a:lnTo>
                  <a:lnTo>
                    <a:pt x="353" y="617"/>
                  </a:lnTo>
                  <a:lnTo>
                    <a:pt x="350" y="611"/>
                  </a:lnTo>
                  <a:lnTo>
                    <a:pt x="348" y="603"/>
                  </a:lnTo>
                  <a:lnTo>
                    <a:pt x="348" y="594"/>
                  </a:lnTo>
                  <a:lnTo>
                    <a:pt x="339" y="585"/>
                  </a:lnTo>
                  <a:lnTo>
                    <a:pt x="330" y="582"/>
                  </a:lnTo>
                  <a:lnTo>
                    <a:pt x="333" y="574"/>
                  </a:lnTo>
                  <a:lnTo>
                    <a:pt x="339" y="568"/>
                  </a:lnTo>
                  <a:lnTo>
                    <a:pt x="339" y="557"/>
                  </a:lnTo>
                  <a:lnTo>
                    <a:pt x="345" y="557"/>
                  </a:lnTo>
                  <a:lnTo>
                    <a:pt x="350" y="557"/>
                  </a:lnTo>
                  <a:lnTo>
                    <a:pt x="353" y="551"/>
                  </a:lnTo>
                  <a:lnTo>
                    <a:pt x="359" y="554"/>
                  </a:lnTo>
                  <a:lnTo>
                    <a:pt x="359" y="551"/>
                  </a:lnTo>
                  <a:lnTo>
                    <a:pt x="359" y="548"/>
                  </a:lnTo>
                  <a:lnTo>
                    <a:pt x="362" y="548"/>
                  </a:lnTo>
                  <a:lnTo>
                    <a:pt x="345" y="537"/>
                  </a:lnTo>
                  <a:lnTo>
                    <a:pt x="348" y="537"/>
                  </a:lnTo>
                  <a:lnTo>
                    <a:pt x="353" y="537"/>
                  </a:lnTo>
                  <a:lnTo>
                    <a:pt x="348" y="525"/>
                  </a:lnTo>
                  <a:lnTo>
                    <a:pt x="333" y="516"/>
                  </a:lnTo>
                  <a:lnTo>
                    <a:pt x="327" y="519"/>
                  </a:lnTo>
                  <a:lnTo>
                    <a:pt x="325" y="514"/>
                  </a:lnTo>
                  <a:lnTo>
                    <a:pt x="325" y="511"/>
                  </a:lnTo>
                  <a:lnTo>
                    <a:pt x="313" y="505"/>
                  </a:lnTo>
                  <a:lnTo>
                    <a:pt x="313" y="502"/>
                  </a:lnTo>
                  <a:lnTo>
                    <a:pt x="313" y="499"/>
                  </a:lnTo>
                  <a:lnTo>
                    <a:pt x="316" y="496"/>
                  </a:lnTo>
                  <a:lnTo>
                    <a:pt x="319" y="491"/>
                  </a:lnTo>
                  <a:lnTo>
                    <a:pt x="316" y="488"/>
                  </a:lnTo>
                  <a:lnTo>
                    <a:pt x="313" y="482"/>
                  </a:lnTo>
                  <a:lnTo>
                    <a:pt x="313" y="479"/>
                  </a:lnTo>
                  <a:lnTo>
                    <a:pt x="319" y="473"/>
                  </a:lnTo>
                  <a:lnTo>
                    <a:pt x="319" y="470"/>
                  </a:lnTo>
                  <a:lnTo>
                    <a:pt x="319" y="465"/>
                  </a:lnTo>
                  <a:lnTo>
                    <a:pt x="322" y="465"/>
                  </a:lnTo>
                  <a:lnTo>
                    <a:pt x="325" y="465"/>
                  </a:lnTo>
                  <a:lnTo>
                    <a:pt x="330" y="470"/>
                  </a:lnTo>
                  <a:lnTo>
                    <a:pt x="333" y="473"/>
                  </a:lnTo>
                  <a:lnTo>
                    <a:pt x="339" y="476"/>
                  </a:lnTo>
                  <a:lnTo>
                    <a:pt x="342" y="476"/>
                  </a:lnTo>
                  <a:lnTo>
                    <a:pt x="342" y="473"/>
                  </a:lnTo>
                  <a:lnTo>
                    <a:pt x="333" y="462"/>
                  </a:lnTo>
                  <a:lnTo>
                    <a:pt x="336" y="462"/>
                  </a:lnTo>
                  <a:lnTo>
                    <a:pt x="342" y="459"/>
                  </a:lnTo>
                  <a:lnTo>
                    <a:pt x="348" y="456"/>
                  </a:lnTo>
                  <a:lnTo>
                    <a:pt x="345" y="450"/>
                  </a:lnTo>
                  <a:lnTo>
                    <a:pt x="356" y="450"/>
                  </a:lnTo>
                  <a:lnTo>
                    <a:pt x="359" y="445"/>
                  </a:lnTo>
                  <a:lnTo>
                    <a:pt x="362" y="442"/>
                  </a:lnTo>
                  <a:lnTo>
                    <a:pt x="368" y="439"/>
                  </a:lnTo>
                  <a:lnTo>
                    <a:pt x="370" y="442"/>
                  </a:lnTo>
                  <a:lnTo>
                    <a:pt x="373" y="445"/>
                  </a:lnTo>
                  <a:lnTo>
                    <a:pt x="379" y="445"/>
                  </a:lnTo>
                  <a:lnTo>
                    <a:pt x="382" y="442"/>
                  </a:lnTo>
                  <a:lnTo>
                    <a:pt x="388" y="439"/>
                  </a:lnTo>
                  <a:lnTo>
                    <a:pt x="393" y="445"/>
                  </a:lnTo>
                  <a:lnTo>
                    <a:pt x="408" y="445"/>
                  </a:lnTo>
                  <a:lnTo>
                    <a:pt x="416" y="450"/>
                  </a:lnTo>
                  <a:lnTo>
                    <a:pt x="422" y="459"/>
                  </a:lnTo>
                  <a:lnTo>
                    <a:pt x="425" y="465"/>
                  </a:lnTo>
                  <a:lnTo>
                    <a:pt x="425" y="462"/>
                  </a:lnTo>
                  <a:lnTo>
                    <a:pt x="422" y="456"/>
                  </a:lnTo>
                  <a:lnTo>
                    <a:pt x="425" y="453"/>
                  </a:lnTo>
                  <a:lnTo>
                    <a:pt x="439" y="465"/>
                  </a:lnTo>
                  <a:lnTo>
                    <a:pt x="445" y="459"/>
                  </a:lnTo>
                  <a:lnTo>
                    <a:pt x="451" y="453"/>
                  </a:lnTo>
                  <a:lnTo>
                    <a:pt x="459" y="453"/>
                  </a:lnTo>
                  <a:lnTo>
                    <a:pt x="468" y="456"/>
                  </a:lnTo>
                  <a:lnTo>
                    <a:pt x="471" y="453"/>
                  </a:lnTo>
                  <a:lnTo>
                    <a:pt x="474" y="453"/>
                  </a:lnTo>
                  <a:lnTo>
                    <a:pt x="480" y="450"/>
                  </a:lnTo>
                  <a:lnTo>
                    <a:pt x="482" y="450"/>
                  </a:lnTo>
                  <a:lnTo>
                    <a:pt x="485" y="453"/>
                  </a:lnTo>
                  <a:lnTo>
                    <a:pt x="488" y="459"/>
                  </a:lnTo>
                  <a:lnTo>
                    <a:pt x="491" y="459"/>
                  </a:lnTo>
                  <a:lnTo>
                    <a:pt x="503" y="462"/>
                  </a:lnTo>
                  <a:lnTo>
                    <a:pt x="505" y="459"/>
                  </a:lnTo>
                  <a:lnTo>
                    <a:pt x="505" y="456"/>
                  </a:lnTo>
                  <a:lnTo>
                    <a:pt x="508" y="459"/>
                  </a:lnTo>
                  <a:lnTo>
                    <a:pt x="511" y="459"/>
                  </a:lnTo>
                  <a:lnTo>
                    <a:pt x="517" y="459"/>
                  </a:lnTo>
                  <a:lnTo>
                    <a:pt x="523" y="459"/>
                  </a:lnTo>
                  <a:lnTo>
                    <a:pt x="523" y="453"/>
                  </a:lnTo>
                  <a:lnTo>
                    <a:pt x="517" y="450"/>
                  </a:lnTo>
                  <a:lnTo>
                    <a:pt x="511" y="448"/>
                  </a:lnTo>
                  <a:lnTo>
                    <a:pt x="505" y="445"/>
                  </a:lnTo>
                  <a:lnTo>
                    <a:pt x="494" y="439"/>
                  </a:lnTo>
                  <a:lnTo>
                    <a:pt x="508" y="430"/>
                  </a:lnTo>
                  <a:lnTo>
                    <a:pt x="505" y="425"/>
                  </a:lnTo>
                  <a:lnTo>
                    <a:pt x="511" y="416"/>
                  </a:lnTo>
                  <a:lnTo>
                    <a:pt x="517" y="416"/>
                  </a:lnTo>
                  <a:lnTo>
                    <a:pt x="511" y="413"/>
                  </a:lnTo>
                  <a:lnTo>
                    <a:pt x="505" y="413"/>
                  </a:lnTo>
                  <a:lnTo>
                    <a:pt x="508" y="410"/>
                  </a:lnTo>
                  <a:lnTo>
                    <a:pt x="508" y="407"/>
                  </a:lnTo>
                  <a:lnTo>
                    <a:pt x="503" y="407"/>
                  </a:lnTo>
                  <a:lnTo>
                    <a:pt x="503" y="404"/>
                  </a:lnTo>
                  <a:lnTo>
                    <a:pt x="500" y="399"/>
                  </a:lnTo>
                  <a:lnTo>
                    <a:pt x="503" y="399"/>
                  </a:lnTo>
                  <a:lnTo>
                    <a:pt x="508" y="396"/>
                  </a:lnTo>
                  <a:lnTo>
                    <a:pt x="523" y="396"/>
                  </a:lnTo>
                  <a:lnTo>
                    <a:pt x="531" y="396"/>
                  </a:lnTo>
                  <a:lnTo>
                    <a:pt x="540" y="393"/>
                  </a:lnTo>
                  <a:lnTo>
                    <a:pt x="546" y="390"/>
                  </a:lnTo>
                  <a:lnTo>
                    <a:pt x="554" y="390"/>
                  </a:lnTo>
                  <a:lnTo>
                    <a:pt x="557" y="390"/>
                  </a:lnTo>
                  <a:lnTo>
                    <a:pt x="560" y="384"/>
                  </a:lnTo>
                  <a:lnTo>
                    <a:pt x="566" y="384"/>
                  </a:lnTo>
                  <a:lnTo>
                    <a:pt x="586" y="384"/>
                  </a:lnTo>
                  <a:lnTo>
                    <a:pt x="597" y="379"/>
                  </a:lnTo>
                  <a:lnTo>
                    <a:pt x="597" y="376"/>
                  </a:lnTo>
                  <a:lnTo>
                    <a:pt x="606" y="370"/>
                  </a:lnTo>
                  <a:lnTo>
                    <a:pt x="626" y="376"/>
                  </a:lnTo>
                  <a:lnTo>
                    <a:pt x="635" y="373"/>
                  </a:lnTo>
                  <a:lnTo>
                    <a:pt x="643" y="381"/>
                  </a:lnTo>
                  <a:lnTo>
                    <a:pt x="646" y="387"/>
                  </a:lnTo>
                  <a:lnTo>
                    <a:pt x="649" y="393"/>
                  </a:lnTo>
                  <a:lnTo>
                    <a:pt x="655" y="393"/>
                  </a:lnTo>
                  <a:lnTo>
                    <a:pt x="660" y="390"/>
                  </a:lnTo>
                  <a:lnTo>
                    <a:pt x="669" y="399"/>
                  </a:lnTo>
                  <a:lnTo>
                    <a:pt x="672" y="396"/>
                  </a:lnTo>
                  <a:lnTo>
                    <a:pt x="675" y="396"/>
                  </a:lnTo>
                  <a:lnTo>
                    <a:pt x="678" y="399"/>
                  </a:lnTo>
                  <a:lnTo>
                    <a:pt x="686" y="396"/>
                  </a:lnTo>
                  <a:lnTo>
                    <a:pt x="692" y="402"/>
                  </a:lnTo>
                  <a:lnTo>
                    <a:pt x="683" y="407"/>
                  </a:lnTo>
                  <a:lnTo>
                    <a:pt x="686" y="410"/>
                  </a:lnTo>
                  <a:lnTo>
                    <a:pt x="692" y="407"/>
                  </a:lnTo>
                  <a:lnTo>
                    <a:pt x="698" y="407"/>
                  </a:lnTo>
                  <a:lnTo>
                    <a:pt x="703" y="402"/>
                  </a:lnTo>
                  <a:lnTo>
                    <a:pt x="709" y="396"/>
                  </a:lnTo>
                  <a:lnTo>
                    <a:pt x="729" y="387"/>
                  </a:lnTo>
                  <a:lnTo>
                    <a:pt x="729" y="396"/>
                  </a:lnTo>
                  <a:lnTo>
                    <a:pt x="729" y="399"/>
                  </a:lnTo>
                  <a:lnTo>
                    <a:pt x="744" y="404"/>
                  </a:lnTo>
                  <a:lnTo>
                    <a:pt x="752" y="413"/>
                  </a:lnTo>
                  <a:lnTo>
                    <a:pt x="767" y="425"/>
                  </a:lnTo>
                  <a:lnTo>
                    <a:pt x="784" y="436"/>
                  </a:lnTo>
                  <a:lnTo>
                    <a:pt x="795" y="448"/>
                  </a:lnTo>
                  <a:lnTo>
                    <a:pt x="804" y="456"/>
                  </a:lnTo>
                  <a:lnTo>
                    <a:pt x="807" y="448"/>
                  </a:lnTo>
                  <a:lnTo>
                    <a:pt x="818" y="450"/>
                  </a:lnTo>
                  <a:lnTo>
                    <a:pt x="818" y="453"/>
                  </a:lnTo>
                  <a:lnTo>
                    <a:pt x="821" y="456"/>
                  </a:lnTo>
                  <a:lnTo>
                    <a:pt x="827" y="459"/>
                  </a:lnTo>
                  <a:lnTo>
                    <a:pt x="836" y="459"/>
                  </a:lnTo>
                  <a:lnTo>
                    <a:pt x="847" y="453"/>
                  </a:lnTo>
                  <a:lnTo>
                    <a:pt x="853" y="453"/>
                  </a:lnTo>
                  <a:lnTo>
                    <a:pt x="861" y="456"/>
                  </a:lnTo>
                  <a:lnTo>
                    <a:pt x="867" y="462"/>
                  </a:lnTo>
                  <a:lnTo>
                    <a:pt x="873" y="468"/>
                  </a:lnTo>
                  <a:lnTo>
                    <a:pt x="876" y="470"/>
                  </a:lnTo>
                  <a:lnTo>
                    <a:pt x="881" y="470"/>
                  </a:lnTo>
                  <a:lnTo>
                    <a:pt x="884" y="476"/>
                  </a:lnTo>
                  <a:lnTo>
                    <a:pt x="887" y="479"/>
                  </a:lnTo>
                  <a:lnTo>
                    <a:pt x="902" y="482"/>
                  </a:lnTo>
                  <a:lnTo>
                    <a:pt x="907" y="479"/>
                  </a:lnTo>
                  <a:lnTo>
                    <a:pt x="910" y="476"/>
                  </a:lnTo>
                  <a:lnTo>
                    <a:pt x="913" y="476"/>
                  </a:lnTo>
                  <a:lnTo>
                    <a:pt x="916" y="485"/>
                  </a:lnTo>
                  <a:lnTo>
                    <a:pt x="922" y="491"/>
                  </a:lnTo>
                  <a:lnTo>
                    <a:pt x="930" y="491"/>
                  </a:lnTo>
                  <a:lnTo>
                    <a:pt x="933" y="491"/>
                  </a:lnTo>
                  <a:lnTo>
                    <a:pt x="933" y="482"/>
                  </a:lnTo>
                  <a:lnTo>
                    <a:pt x="939" y="482"/>
                  </a:lnTo>
                  <a:lnTo>
                    <a:pt x="947" y="482"/>
                  </a:lnTo>
                  <a:lnTo>
                    <a:pt x="950" y="479"/>
                  </a:lnTo>
                  <a:lnTo>
                    <a:pt x="953" y="473"/>
                  </a:lnTo>
                  <a:lnTo>
                    <a:pt x="956" y="470"/>
                  </a:lnTo>
                  <a:lnTo>
                    <a:pt x="962" y="468"/>
                  </a:lnTo>
                  <a:lnTo>
                    <a:pt x="965" y="470"/>
                  </a:lnTo>
                  <a:lnTo>
                    <a:pt x="968" y="468"/>
                  </a:lnTo>
                  <a:lnTo>
                    <a:pt x="976" y="465"/>
                  </a:lnTo>
                  <a:lnTo>
                    <a:pt x="976" y="462"/>
                  </a:lnTo>
                  <a:lnTo>
                    <a:pt x="976" y="459"/>
                  </a:lnTo>
                  <a:lnTo>
                    <a:pt x="979" y="459"/>
                  </a:lnTo>
                  <a:lnTo>
                    <a:pt x="982" y="459"/>
                  </a:lnTo>
                  <a:lnTo>
                    <a:pt x="985" y="456"/>
                  </a:lnTo>
                  <a:lnTo>
                    <a:pt x="991" y="459"/>
                  </a:lnTo>
                  <a:lnTo>
                    <a:pt x="993" y="456"/>
                  </a:lnTo>
                  <a:lnTo>
                    <a:pt x="996" y="459"/>
                  </a:lnTo>
                  <a:lnTo>
                    <a:pt x="999" y="459"/>
                  </a:lnTo>
                  <a:lnTo>
                    <a:pt x="1016" y="462"/>
                  </a:lnTo>
                  <a:lnTo>
                    <a:pt x="1022" y="465"/>
                  </a:lnTo>
                  <a:lnTo>
                    <a:pt x="1025" y="470"/>
                  </a:lnTo>
                  <a:lnTo>
                    <a:pt x="1039" y="473"/>
                  </a:lnTo>
                  <a:lnTo>
                    <a:pt x="1042" y="473"/>
                  </a:lnTo>
                  <a:lnTo>
                    <a:pt x="1045" y="470"/>
                  </a:lnTo>
                  <a:lnTo>
                    <a:pt x="1059" y="473"/>
                  </a:lnTo>
                  <a:lnTo>
                    <a:pt x="1068" y="479"/>
                  </a:lnTo>
                  <a:lnTo>
                    <a:pt x="1077" y="473"/>
                  </a:lnTo>
                  <a:lnTo>
                    <a:pt x="1077" y="465"/>
                  </a:lnTo>
                  <a:lnTo>
                    <a:pt x="1071" y="462"/>
                  </a:lnTo>
                  <a:lnTo>
                    <a:pt x="1062" y="453"/>
                  </a:lnTo>
                  <a:lnTo>
                    <a:pt x="1059" y="450"/>
                  </a:lnTo>
                  <a:lnTo>
                    <a:pt x="1062" y="445"/>
                  </a:lnTo>
                  <a:lnTo>
                    <a:pt x="1065" y="442"/>
                  </a:lnTo>
                  <a:lnTo>
                    <a:pt x="1065" y="439"/>
                  </a:lnTo>
                  <a:lnTo>
                    <a:pt x="1068" y="433"/>
                  </a:lnTo>
                  <a:lnTo>
                    <a:pt x="1068" y="430"/>
                  </a:lnTo>
                  <a:lnTo>
                    <a:pt x="1071" y="433"/>
                  </a:lnTo>
                  <a:lnTo>
                    <a:pt x="1080" y="436"/>
                  </a:lnTo>
                  <a:lnTo>
                    <a:pt x="1094" y="442"/>
                  </a:lnTo>
                  <a:lnTo>
                    <a:pt x="1120" y="445"/>
                  </a:lnTo>
                  <a:lnTo>
                    <a:pt x="1128" y="450"/>
                  </a:lnTo>
                  <a:lnTo>
                    <a:pt x="1131" y="453"/>
                  </a:lnTo>
                  <a:lnTo>
                    <a:pt x="1140" y="459"/>
                  </a:lnTo>
                  <a:lnTo>
                    <a:pt x="1148" y="465"/>
                  </a:lnTo>
                  <a:lnTo>
                    <a:pt x="1160" y="468"/>
                  </a:lnTo>
                  <a:lnTo>
                    <a:pt x="1166" y="468"/>
                  </a:lnTo>
                  <a:lnTo>
                    <a:pt x="1169" y="468"/>
                  </a:lnTo>
                  <a:lnTo>
                    <a:pt x="1180" y="465"/>
                  </a:lnTo>
                  <a:lnTo>
                    <a:pt x="1183" y="465"/>
                  </a:lnTo>
                  <a:lnTo>
                    <a:pt x="1194" y="465"/>
                  </a:lnTo>
                  <a:lnTo>
                    <a:pt x="1203" y="465"/>
                  </a:lnTo>
                  <a:lnTo>
                    <a:pt x="1209" y="468"/>
                  </a:lnTo>
                  <a:lnTo>
                    <a:pt x="1214" y="470"/>
                  </a:lnTo>
                  <a:lnTo>
                    <a:pt x="1217" y="473"/>
                  </a:lnTo>
                  <a:lnTo>
                    <a:pt x="1223" y="473"/>
                  </a:lnTo>
                  <a:lnTo>
                    <a:pt x="1226" y="473"/>
                  </a:lnTo>
                  <a:lnTo>
                    <a:pt x="1240" y="485"/>
                  </a:lnTo>
                  <a:lnTo>
                    <a:pt x="1243" y="485"/>
                  </a:lnTo>
                  <a:lnTo>
                    <a:pt x="1257" y="488"/>
                  </a:lnTo>
                  <a:lnTo>
                    <a:pt x="1275" y="488"/>
                  </a:lnTo>
                  <a:lnTo>
                    <a:pt x="1280" y="488"/>
                  </a:lnTo>
                  <a:lnTo>
                    <a:pt x="1298" y="482"/>
                  </a:lnTo>
                  <a:lnTo>
                    <a:pt x="1303" y="482"/>
                  </a:lnTo>
                  <a:lnTo>
                    <a:pt x="1303" y="476"/>
                  </a:lnTo>
                  <a:lnTo>
                    <a:pt x="1312" y="470"/>
                  </a:lnTo>
                  <a:lnTo>
                    <a:pt x="1324" y="468"/>
                  </a:lnTo>
                  <a:lnTo>
                    <a:pt x="1329" y="468"/>
                  </a:lnTo>
                  <a:lnTo>
                    <a:pt x="1332" y="470"/>
                  </a:lnTo>
                  <a:lnTo>
                    <a:pt x="1338" y="476"/>
                  </a:lnTo>
                  <a:lnTo>
                    <a:pt x="1346" y="470"/>
                  </a:lnTo>
                  <a:lnTo>
                    <a:pt x="1361" y="476"/>
                  </a:lnTo>
                  <a:lnTo>
                    <a:pt x="1367" y="479"/>
                  </a:lnTo>
                  <a:lnTo>
                    <a:pt x="1375" y="482"/>
                  </a:lnTo>
                  <a:lnTo>
                    <a:pt x="1378" y="482"/>
                  </a:lnTo>
                  <a:lnTo>
                    <a:pt x="1384" y="473"/>
                  </a:lnTo>
                  <a:lnTo>
                    <a:pt x="1387" y="473"/>
                  </a:lnTo>
                  <a:lnTo>
                    <a:pt x="1392" y="473"/>
                  </a:lnTo>
                  <a:lnTo>
                    <a:pt x="1390" y="470"/>
                  </a:lnTo>
                  <a:lnTo>
                    <a:pt x="1387" y="465"/>
                  </a:lnTo>
                  <a:lnTo>
                    <a:pt x="1387" y="456"/>
                  </a:lnTo>
                  <a:lnTo>
                    <a:pt x="1387" y="450"/>
                  </a:lnTo>
                  <a:lnTo>
                    <a:pt x="1387" y="445"/>
                  </a:lnTo>
                  <a:lnTo>
                    <a:pt x="1387" y="442"/>
                  </a:lnTo>
                  <a:lnTo>
                    <a:pt x="1392" y="439"/>
                  </a:lnTo>
                  <a:lnTo>
                    <a:pt x="1390" y="439"/>
                  </a:lnTo>
                  <a:lnTo>
                    <a:pt x="1387" y="430"/>
                  </a:lnTo>
                  <a:lnTo>
                    <a:pt x="1381" y="427"/>
                  </a:lnTo>
                  <a:lnTo>
                    <a:pt x="1369" y="425"/>
                  </a:lnTo>
                  <a:lnTo>
                    <a:pt x="1378" y="413"/>
                  </a:lnTo>
                  <a:lnTo>
                    <a:pt x="1384" y="410"/>
                  </a:lnTo>
                  <a:lnTo>
                    <a:pt x="1390" y="407"/>
                  </a:lnTo>
                  <a:lnTo>
                    <a:pt x="1398" y="407"/>
                  </a:lnTo>
                  <a:lnTo>
                    <a:pt x="1413" y="404"/>
                  </a:lnTo>
                  <a:lnTo>
                    <a:pt x="1421" y="407"/>
                  </a:lnTo>
                  <a:lnTo>
                    <a:pt x="1435" y="413"/>
                  </a:lnTo>
                  <a:lnTo>
                    <a:pt x="1441" y="410"/>
                  </a:lnTo>
                  <a:lnTo>
                    <a:pt x="1444" y="410"/>
                  </a:lnTo>
                  <a:lnTo>
                    <a:pt x="1456" y="419"/>
                  </a:lnTo>
                  <a:lnTo>
                    <a:pt x="1464" y="427"/>
                  </a:lnTo>
                  <a:lnTo>
                    <a:pt x="1473" y="433"/>
                  </a:lnTo>
                  <a:lnTo>
                    <a:pt x="1476" y="436"/>
                  </a:lnTo>
                  <a:lnTo>
                    <a:pt x="1479" y="436"/>
                  </a:lnTo>
                  <a:lnTo>
                    <a:pt x="1484" y="439"/>
                  </a:lnTo>
                  <a:lnTo>
                    <a:pt x="1490" y="445"/>
                  </a:lnTo>
                  <a:lnTo>
                    <a:pt x="1499" y="456"/>
                  </a:lnTo>
                  <a:lnTo>
                    <a:pt x="1507" y="465"/>
                  </a:lnTo>
                  <a:lnTo>
                    <a:pt x="1513" y="468"/>
                  </a:lnTo>
                  <a:lnTo>
                    <a:pt x="1516" y="468"/>
                  </a:lnTo>
                  <a:lnTo>
                    <a:pt x="1519" y="470"/>
                  </a:lnTo>
                  <a:lnTo>
                    <a:pt x="1524" y="476"/>
                  </a:lnTo>
                  <a:lnTo>
                    <a:pt x="1524" y="479"/>
                  </a:lnTo>
                  <a:lnTo>
                    <a:pt x="1527" y="479"/>
                  </a:lnTo>
                  <a:lnTo>
                    <a:pt x="1533" y="482"/>
                  </a:lnTo>
                  <a:lnTo>
                    <a:pt x="1542" y="482"/>
                  </a:lnTo>
                  <a:lnTo>
                    <a:pt x="1553" y="482"/>
                  </a:lnTo>
                  <a:lnTo>
                    <a:pt x="1570" y="493"/>
                  </a:lnTo>
                  <a:lnTo>
                    <a:pt x="1579" y="493"/>
                  </a:lnTo>
                  <a:lnTo>
                    <a:pt x="1582" y="493"/>
                  </a:lnTo>
                  <a:lnTo>
                    <a:pt x="1582" y="499"/>
                  </a:lnTo>
                  <a:lnTo>
                    <a:pt x="1588" y="505"/>
                  </a:lnTo>
                  <a:lnTo>
                    <a:pt x="1596" y="519"/>
                  </a:lnTo>
                  <a:lnTo>
                    <a:pt x="1619" y="516"/>
                  </a:lnTo>
                  <a:lnTo>
                    <a:pt x="1631" y="511"/>
                  </a:lnTo>
                  <a:lnTo>
                    <a:pt x="1636" y="505"/>
                  </a:lnTo>
                  <a:lnTo>
                    <a:pt x="1651" y="502"/>
                  </a:lnTo>
                  <a:lnTo>
                    <a:pt x="1651" y="511"/>
                  </a:lnTo>
                  <a:lnTo>
                    <a:pt x="1654" y="514"/>
                  </a:lnTo>
                  <a:lnTo>
                    <a:pt x="1657" y="516"/>
                  </a:lnTo>
                  <a:lnTo>
                    <a:pt x="1654" y="525"/>
                  </a:lnTo>
                  <a:lnTo>
                    <a:pt x="1654" y="531"/>
                  </a:lnTo>
                  <a:lnTo>
                    <a:pt x="1659" y="542"/>
                  </a:lnTo>
                  <a:lnTo>
                    <a:pt x="1662" y="551"/>
                  </a:lnTo>
                  <a:lnTo>
                    <a:pt x="1659" y="557"/>
                  </a:lnTo>
                  <a:lnTo>
                    <a:pt x="1662" y="568"/>
                  </a:lnTo>
                  <a:lnTo>
                    <a:pt x="1636" y="565"/>
                  </a:lnTo>
                  <a:lnTo>
                    <a:pt x="1631" y="571"/>
                  </a:lnTo>
                  <a:lnTo>
                    <a:pt x="1642" y="585"/>
                  </a:lnTo>
                  <a:lnTo>
                    <a:pt x="1651" y="600"/>
                  </a:lnTo>
                  <a:lnTo>
                    <a:pt x="1654" y="611"/>
                  </a:lnTo>
                  <a:lnTo>
                    <a:pt x="1642" y="614"/>
                  </a:lnTo>
                  <a:lnTo>
                    <a:pt x="1636" y="611"/>
                  </a:lnTo>
                  <a:lnTo>
                    <a:pt x="1636" y="614"/>
                  </a:lnTo>
                  <a:lnTo>
                    <a:pt x="1636" y="620"/>
                  </a:lnTo>
                  <a:lnTo>
                    <a:pt x="1634" y="620"/>
                  </a:lnTo>
                  <a:lnTo>
                    <a:pt x="1631" y="623"/>
                  </a:lnTo>
                  <a:lnTo>
                    <a:pt x="1631" y="626"/>
                  </a:lnTo>
                  <a:lnTo>
                    <a:pt x="1628" y="628"/>
                  </a:lnTo>
                  <a:lnTo>
                    <a:pt x="1619" y="628"/>
                  </a:lnTo>
                  <a:lnTo>
                    <a:pt x="1625" y="640"/>
                  </a:lnTo>
                  <a:lnTo>
                    <a:pt x="1622" y="640"/>
                  </a:lnTo>
                  <a:lnTo>
                    <a:pt x="1611" y="634"/>
                  </a:lnTo>
                  <a:lnTo>
                    <a:pt x="1599" y="631"/>
                  </a:lnTo>
                  <a:lnTo>
                    <a:pt x="1596" y="643"/>
                  </a:lnTo>
                  <a:lnTo>
                    <a:pt x="1590" y="651"/>
                  </a:lnTo>
                  <a:lnTo>
                    <a:pt x="1585" y="657"/>
                  </a:lnTo>
                  <a:lnTo>
                    <a:pt x="1576" y="663"/>
                  </a:lnTo>
                  <a:lnTo>
                    <a:pt x="1576" y="669"/>
                  </a:lnTo>
                  <a:lnTo>
                    <a:pt x="1585" y="671"/>
                  </a:lnTo>
                  <a:lnTo>
                    <a:pt x="1593" y="671"/>
                  </a:lnTo>
                  <a:lnTo>
                    <a:pt x="1596" y="677"/>
                  </a:lnTo>
                  <a:lnTo>
                    <a:pt x="1599" y="689"/>
                  </a:lnTo>
                  <a:lnTo>
                    <a:pt x="1605" y="692"/>
                  </a:lnTo>
                  <a:lnTo>
                    <a:pt x="1599" y="694"/>
                  </a:lnTo>
                  <a:lnTo>
                    <a:pt x="1599" y="700"/>
                  </a:lnTo>
                  <a:lnTo>
                    <a:pt x="1599" y="703"/>
                  </a:lnTo>
                  <a:lnTo>
                    <a:pt x="1605" y="703"/>
                  </a:lnTo>
                  <a:lnTo>
                    <a:pt x="1608" y="706"/>
                  </a:lnTo>
                  <a:lnTo>
                    <a:pt x="1611" y="712"/>
                  </a:lnTo>
                  <a:lnTo>
                    <a:pt x="1616" y="709"/>
                  </a:lnTo>
                  <a:lnTo>
                    <a:pt x="1622" y="709"/>
                  </a:lnTo>
                  <a:lnTo>
                    <a:pt x="1628" y="709"/>
                  </a:lnTo>
                  <a:lnTo>
                    <a:pt x="1634" y="697"/>
                  </a:lnTo>
                  <a:lnTo>
                    <a:pt x="1645" y="694"/>
                  </a:lnTo>
                  <a:lnTo>
                    <a:pt x="1648" y="694"/>
                  </a:lnTo>
                  <a:lnTo>
                    <a:pt x="1651" y="694"/>
                  </a:lnTo>
                  <a:lnTo>
                    <a:pt x="1654" y="692"/>
                  </a:lnTo>
                  <a:lnTo>
                    <a:pt x="1648" y="692"/>
                  </a:lnTo>
                  <a:lnTo>
                    <a:pt x="1642" y="686"/>
                  </a:lnTo>
                  <a:lnTo>
                    <a:pt x="1634" y="680"/>
                  </a:lnTo>
                  <a:lnTo>
                    <a:pt x="1628" y="677"/>
                  </a:lnTo>
                  <a:lnTo>
                    <a:pt x="1628" y="671"/>
                  </a:lnTo>
                  <a:lnTo>
                    <a:pt x="1631" y="666"/>
                  </a:lnTo>
                  <a:lnTo>
                    <a:pt x="1636" y="663"/>
                  </a:lnTo>
                  <a:lnTo>
                    <a:pt x="1639" y="663"/>
                  </a:lnTo>
                  <a:lnTo>
                    <a:pt x="1648" y="654"/>
                  </a:lnTo>
                  <a:lnTo>
                    <a:pt x="1654" y="648"/>
                  </a:lnTo>
                  <a:lnTo>
                    <a:pt x="1651" y="640"/>
                  </a:lnTo>
                  <a:lnTo>
                    <a:pt x="1645" y="634"/>
                  </a:lnTo>
                  <a:lnTo>
                    <a:pt x="1651" y="620"/>
                  </a:lnTo>
                  <a:lnTo>
                    <a:pt x="1659" y="620"/>
                  </a:lnTo>
                  <a:lnTo>
                    <a:pt x="1659" y="614"/>
                  </a:lnTo>
                  <a:lnTo>
                    <a:pt x="1659" y="600"/>
                  </a:lnTo>
                  <a:lnTo>
                    <a:pt x="1662" y="605"/>
                  </a:lnTo>
                  <a:lnTo>
                    <a:pt x="1662" y="608"/>
                  </a:lnTo>
                  <a:lnTo>
                    <a:pt x="1668" y="605"/>
                  </a:lnTo>
                  <a:lnTo>
                    <a:pt x="1671" y="611"/>
                  </a:lnTo>
                  <a:lnTo>
                    <a:pt x="1679" y="614"/>
                  </a:lnTo>
                  <a:lnTo>
                    <a:pt x="1682" y="614"/>
                  </a:lnTo>
                  <a:lnTo>
                    <a:pt x="1685" y="614"/>
                  </a:lnTo>
                  <a:lnTo>
                    <a:pt x="1700" y="611"/>
                  </a:lnTo>
                  <a:lnTo>
                    <a:pt x="1705" y="605"/>
                  </a:lnTo>
                  <a:lnTo>
                    <a:pt x="1708" y="600"/>
                  </a:lnTo>
                  <a:lnTo>
                    <a:pt x="1714" y="582"/>
                  </a:lnTo>
                  <a:lnTo>
                    <a:pt x="1717" y="565"/>
                  </a:lnTo>
                  <a:lnTo>
                    <a:pt x="1723" y="554"/>
                  </a:lnTo>
                  <a:lnTo>
                    <a:pt x="1725" y="545"/>
                  </a:lnTo>
                  <a:lnTo>
                    <a:pt x="1723" y="531"/>
                  </a:lnTo>
                  <a:lnTo>
                    <a:pt x="1723" y="525"/>
                  </a:lnTo>
                  <a:lnTo>
                    <a:pt x="1723" y="519"/>
                  </a:lnTo>
                  <a:lnTo>
                    <a:pt x="1723" y="516"/>
                  </a:lnTo>
                  <a:lnTo>
                    <a:pt x="1728" y="505"/>
                  </a:lnTo>
                  <a:lnTo>
                    <a:pt x="1725" y="502"/>
                  </a:lnTo>
                  <a:lnTo>
                    <a:pt x="1723" y="493"/>
                  </a:lnTo>
                  <a:lnTo>
                    <a:pt x="1720" y="485"/>
                  </a:lnTo>
                  <a:lnTo>
                    <a:pt x="1720" y="482"/>
                  </a:lnTo>
                  <a:lnTo>
                    <a:pt x="1714" y="476"/>
                  </a:lnTo>
                  <a:lnTo>
                    <a:pt x="1714" y="470"/>
                  </a:lnTo>
                  <a:lnTo>
                    <a:pt x="1711" y="468"/>
                  </a:lnTo>
                  <a:lnTo>
                    <a:pt x="1708" y="465"/>
                  </a:lnTo>
                  <a:lnTo>
                    <a:pt x="1702" y="462"/>
                  </a:lnTo>
                  <a:lnTo>
                    <a:pt x="1702" y="459"/>
                  </a:lnTo>
                  <a:lnTo>
                    <a:pt x="1700" y="450"/>
                  </a:lnTo>
                  <a:lnTo>
                    <a:pt x="1700" y="439"/>
                  </a:lnTo>
                  <a:lnTo>
                    <a:pt x="1694" y="430"/>
                  </a:lnTo>
                  <a:lnTo>
                    <a:pt x="1685" y="425"/>
                  </a:lnTo>
                  <a:lnTo>
                    <a:pt x="1679" y="419"/>
                  </a:lnTo>
                  <a:lnTo>
                    <a:pt x="1679" y="413"/>
                  </a:lnTo>
                  <a:lnTo>
                    <a:pt x="1671" y="410"/>
                  </a:lnTo>
                  <a:lnTo>
                    <a:pt x="1662" y="404"/>
                  </a:lnTo>
                  <a:lnTo>
                    <a:pt x="1654" y="399"/>
                  </a:lnTo>
                  <a:lnTo>
                    <a:pt x="1648" y="396"/>
                  </a:lnTo>
                  <a:lnTo>
                    <a:pt x="1642" y="396"/>
                  </a:lnTo>
                  <a:lnTo>
                    <a:pt x="1642" y="393"/>
                  </a:lnTo>
                  <a:lnTo>
                    <a:pt x="1636" y="390"/>
                  </a:lnTo>
                  <a:lnTo>
                    <a:pt x="1631" y="390"/>
                  </a:lnTo>
                  <a:lnTo>
                    <a:pt x="1622" y="393"/>
                  </a:lnTo>
                  <a:lnTo>
                    <a:pt x="1625" y="399"/>
                  </a:lnTo>
                  <a:lnTo>
                    <a:pt x="1625" y="404"/>
                  </a:lnTo>
                  <a:lnTo>
                    <a:pt x="1619" y="407"/>
                  </a:lnTo>
                  <a:lnTo>
                    <a:pt x="1616" y="407"/>
                  </a:lnTo>
                  <a:lnTo>
                    <a:pt x="1616" y="402"/>
                  </a:lnTo>
                  <a:lnTo>
                    <a:pt x="1605" y="402"/>
                  </a:lnTo>
                  <a:lnTo>
                    <a:pt x="1602" y="402"/>
                  </a:lnTo>
                  <a:lnTo>
                    <a:pt x="1596" y="393"/>
                  </a:lnTo>
                  <a:lnTo>
                    <a:pt x="1593" y="390"/>
                  </a:lnTo>
                  <a:lnTo>
                    <a:pt x="1590" y="390"/>
                  </a:lnTo>
                  <a:lnTo>
                    <a:pt x="1579" y="387"/>
                  </a:lnTo>
                  <a:lnTo>
                    <a:pt x="1570" y="387"/>
                  </a:lnTo>
                  <a:lnTo>
                    <a:pt x="1565" y="384"/>
                  </a:lnTo>
                  <a:lnTo>
                    <a:pt x="1565" y="381"/>
                  </a:lnTo>
                  <a:lnTo>
                    <a:pt x="1565" y="379"/>
                  </a:lnTo>
                  <a:lnTo>
                    <a:pt x="1570" y="376"/>
                  </a:lnTo>
                  <a:lnTo>
                    <a:pt x="1570" y="373"/>
                  </a:lnTo>
                  <a:lnTo>
                    <a:pt x="1573" y="370"/>
                  </a:lnTo>
                  <a:lnTo>
                    <a:pt x="1576" y="367"/>
                  </a:lnTo>
                  <a:lnTo>
                    <a:pt x="1579" y="364"/>
                  </a:lnTo>
                  <a:lnTo>
                    <a:pt x="1582" y="356"/>
                  </a:lnTo>
                  <a:lnTo>
                    <a:pt x="1585" y="344"/>
                  </a:lnTo>
                  <a:lnTo>
                    <a:pt x="1588" y="336"/>
                  </a:lnTo>
                  <a:lnTo>
                    <a:pt x="1590" y="330"/>
                  </a:lnTo>
                  <a:lnTo>
                    <a:pt x="1593" y="327"/>
                  </a:lnTo>
                  <a:lnTo>
                    <a:pt x="1590" y="321"/>
                  </a:lnTo>
                  <a:lnTo>
                    <a:pt x="1596" y="315"/>
                  </a:lnTo>
                  <a:lnTo>
                    <a:pt x="1596" y="307"/>
                  </a:lnTo>
                  <a:lnTo>
                    <a:pt x="1599" y="307"/>
                  </a:lnTo>
                  <a:lnTo>
                    <a:pt x="1605" y="304"/>
                  </a:lnTo>
                  <a:lnTo>
                    <a:pt x="1622" y="301"/>
                  </a:lnTo>
                  <a:lnTo>
                    <a:pt x="1636" y="301"/>
                  </a:lnTo>
                  <a:lnTo>
                    <a:pt x="1639" y="304"/>
                  </a:lnTo>
                  <a:lnTo>
                    <a:pt x="1642" y="307"/>
                  </a:lnTo>
                  <a:lnTo>
                    <a:pt x="1651" y="307"/>
                  </a:lnTo>
                  <a:lnTo>
                    <a:pt x="1648" y="301"/>
                  </a:lnTo>
                  <a:lnTo>
                    <a:pt x="1654" y="301"/>
                  </a:lnTo>
                  <a:lnTo>
                    <a:pt x="1659" y="304"/>
                  </a:lnTo>
                  <a:lnTo>
                    <a:pt x="1662" y="304"/>
                  </a:lnTo>
                  <a:lnTo>
                    <a:pt x="1668" y="304"/>
                  </a:lnTo>
                  <a:lnTo>
                    <a:pt x="1671" y="304"/>
                  </a:lnTo>
                  <a:lnTo>
                    <a:pt x="1671" y="301"/>
                  </a:lnTo>
                  <a:lnTo>
                    <a:pt x="1674" y="301"/>
                  </a:lnTo>
                  <a:lnTo>
                    <a:pt x="1677" y="304"/>
                  </a:lnTo>
                  <a:lnTo>
                    <a:pt x="1682" y="304"/>
                  </a:lnTo>
                  <a:lnTo>
                    <a:pt x="1685" y="304"/>
                  </a:lnTo>
                  <a:lnTo>
                    <a:pt x="1685" y="298"/>
                  </a:lnTo>
                  <a:lnTo>
                    <a:pt x="1682" y="295"/>
                  </a:lnTo>
                  <a:lnTo>
                    <a:pt x="1688" y="295"/>
                  </a:lnTo>
                  <a:lnTo>
                    <a:pt x="1691" y="292"/>
                  </a:lnTo>
                  <a:lnTo>
                    <a:pt x="1700" y="298"/>
                  </a:lnTo>
                  <a:lnTo>
                    <a:pt x="1705" y="298"/>
                  </a:lnTo>
                  <a:lnTo>
                    <a:pt x="1708" y="298"/>
                  </a:lnTo>
                  <a:lnTo>
                    <a:pt x="1720" y="298"/>
                  </a:lnTo>
                  <a:lnTo>
                    <a:pt x="1725" y="301"/>
                  </a:lnTo>
                  <a:lnTo>
                    <a:pt x="1731" y="301"/>
                  </a:lnTo>
                  <a:lnTo>
                    <a:pt x="1725" y="304"/>
                  </a:lnTo>
                  <a:lnTo>
                    <a:pt x="1717" y="304"/>
                  </a:lnTo>
                  <a:lnTo>
                    <a:pt x="1720" y="307"/>
                  </a:lnTo>
                  <a:lnTo>
                    <a:pt x="1725" y="310"/>
                  </a:lnTo>
                  <a:lnTo>
                    <a:pt x="1740" y="310"/>
                  </a:lnTo>
                  <a:lnTo>
                    <a:pt x="1743" y="310"/>
                  </a:lnTo>
                  <a:lnTo>
                    <a:pt x="1748" y="307"/>
                  </a:lnTo>
                  <a:lnTo>
                    <a:pt x="1751" y="304"/>
                  </a:lnTo>
                  <a:lnTo>
                    <a:pt x="1754" y="307"/>
                  </a:lnTo>
                  <a:lnTo>
                    <a:pt x="1760" y="307"/>
                  </a:lnTo>
                  <a:lnTo>
                    <a:pt x="1763" y="307"/>
                  </a:lnTo>
                  <a:lnTo>
                    <a:pt x="1768" y="307"/>
                  </a:lnTo>
                  <a:lnTo>
                    <a:pt x="1771" y="301"/>
                  </a:lnTo>
                  <a:lnTo>
                    <a:pt x="1766" y="298"/>
                  </a:lnTo>
                  <a:lnTo>
                    <a:pt x="1760" y="298"/>
                  </a:lnTo>
                  <a:lnTo>
                    <a:pt x="1754" y="298"/>
                  </a:lnTo>
                  <a:lnTo>
                    <a:pt x="1748" y="292"/>
                  </a:lnTo>
                  <a:lnTo>
                    <a:pt x="1748" y="284"/>
                  </a:lnTo>
                  <a:lnTo>
                    <a:pt x="1751" y="281"/>
                  </a:lnTo>
                  <a:lnTo>
                    <a:pt x="1754" y="272"/>
                  </a:lnTo>
                  <a:lnTo>
                    <a:pt x="1754" y="270"/>
                  </a:lnTo>
                  <a:lnTo>
                    <a:pt x="1751" y="264"/>
                  </a:lnTo>
                  <a:lnTo>
                    <a:pt x="1751" y="261"/>
                  </a:lnTo>
                  <a:lnTo>
                    <a:pt x="1754" y="258"/>
                  </a:lnTo>
                  <a:lnTo>
                    <a:pt x="1757" y="258"/>
                  </a:lnTo>
                  <a:lnTo>
                    <a:pt x="1771" y="258"/>
                  </a:lnTo>
                  <a:lnTo>
                    <a:pt x="1774" y="255"/>
                  </a:lnTo>
                  <a:lnTo>
                    <a:pt x="1777" y="255"/>
                  </a:lnTo>
                  <a:lnTo>
                    <a:pt x="1780" y="255"/>
                  </a:lnTo>
                  <a:lnTo>
                    <a:pt x="1783" y="258"/>
                  </a:lnTo>
                  <a:lnTo>
                    <a:pt x="1786" y="261"/>
                  </a:lnTo>
                  <a:lnTo>
                    <a:pt x="1791" y="255"/>
                  </a:lnTo>
                  <a:lnTo>
                    <a:pt x="1794" y="264"/>
                  </a:lnTo>
                  <a:lnTo>
                    <a:pt x="1800" y="270"/>
                  </a:lnTo>
                  <a:lnTo>
                    <a:pt x="1803" y="272"/>
                  </a:lnTo>
                  <a:lnTo>
                    <a:pt x="1806" y="270"/>
                  </a:lnTo>
                  <a:lnTo>
                    <a:pt x="1812" y="272"/>
                  </a:lnTo>
                  <a:lnTo>
                    <a:pt x="1814" y="278"/>
                  </a:lnTo>
                  <a:lnTo>
                    <a:pt x="1817" y="278"/>
                  </a:lnTo>
                  <a:lnTo>
                    <a:pt x="1820" y="278"/>
                  </a:lnTo>
                  <a:lnTo>
                    <a:pt x="1823" y="272"/>
                  </a:lnTo>
                  <a:lnTo>
                    <a:pt x="1823" y="267"/>
                  </a:lnTo>
                  <a:lnTo>
                    <a:pt x="1823" y="264"/>
                  </a:lnTo>
                  <a:lnTo>
                    <a:pt x="1826" y="261"/>
                  </a:lnTo>
                  <a:lnTo>
                    <a:pt x="1834" y="261"/>
                  </a:lnTo>
                  <a:lnTo>
                    <a:pt x="1834" y="258"/>
                  </a:lnTo>
                  <a:lnTo>
                    <a:pt x="1829" y="255"/>
                  </a:lnTo>
                  <a:lnTo>
                    <a:pt x="1823" y="249"/>
                  </a:lnTo>
                  <a:lnTo>
                    <a:pt x="1823" y="244"/>
                  </a:lnTo>
                  <a:lnTo>
                    <a:pt x="1829" y="241"/>
                  </a:lnTo>
                  <a:lnTo>
                    <a:pt x="1834" y="244"/>
                  </a:lnTo>
                  <a:lnTo>
                    <a:pt x="1834" y="249"/>
                  </a:lnTo>
                  <a:lnTo>
                    <a:pt x="1843" y="255"/>
                  </a:lnTo>
                  <a:lnTo>
                    <a:pt x="1846" y="261"/>
                  </a:lnTo>
                  <a:lnTo>
                    <a:pt x="1849" y="264"/>
                  </a:lnTo>
                  <a:lnTo>
                    <a:pt x="1852" y="264"/>
                  </a:lnTo>
                  <a:lnTo>
                    <a:pt x="1855" y="272"/>
                  </a:lnTo>
                  <a:lnTo>
                    <a:pt x="1852" y="275"/>
                  </a:lnTo>
                  <a:lnTo>
                    <a:pt x="1843" y="284"/>
                  </a:lnTo>
                  <a:lnTo>
                    <a:pt x="1846" y="287"/>
                  </a:lnTo>
                  <a:lnTo>
                    <a:pt x="1840" y="298"/>
                  </a:lnTo>
                  <a:lnTo>
                    <a:pt x="1840" y="304"/>
                  </a:lnTo>
                  <a:lnTo>
                    <a:pt x="1843" y="310"/>
                  </a:lnTo>
                  <a:lnTo>
                    <a:pt x="1840" y="321"/>
                  </a:lnTo>
                  <a:lnTo>
                    <a:pt x="1837" y="327"/>
                  </a:lnTo>
                  <a:lnTo>
                    <a:pt x="1832" y="324"/>
                  </a:lnTo>
                  <a:lnTo>
                    <a:pt x="1832" y="330"/>
                  </a:lnTo>
                  <a:lnTo>
                    <a:pt x="1826" y="330"/>
                  </a:lnTo>
                  <a:lnTo>
                    <a:pt x="1823" y="330"/>
                  </a:lnTo>
                  <a:lnTo>
                    <a:pt x="1829" y="333"/>
                  </a:lnTo>
                  <a:lnTo>
                    <a:pt x="1832" y="336"/>
                  </a:lnTo>
                  <a:lnTo>
                    <a:pt x="1832" y="338"/>
                  </a:lnTo>
                  <a:lnTo>
                    <a:pt x="1832" y="341"/>
                  </a:lnTo>
                  <a:lnTo>
                    <a:pt x="1829" y="350"/>
                  </a:lnTo>
                  <a:lnTo>
                    <a:pt x="1832" y="356"/>
                  </a:lnTo>
                  <a:lnTo>
                    <a:pt x="1843" y="367"/>
                  </a:lnTo>
                  <a:lnTo>
                    <a:pt x="1860" y="384"/>
                  </a:lnTo>
                  <a:lnTo>
                    <a:pt x="1878" y="399"/>
                  </a:lnTo>
                  <a:lnTo>
                    <a:pt x="1895" y="416"/>
                  </a:lnTo>
                  <a:lnTo>
                    <a:pt x="1926" y="445"/>
                  </a:lnTo>
                  <a:lnTo>
                    <a:pt x="1938" y="453"/>
                  </a:lnTo>
                  <a:lnTo>
                    <a:pt x="1941" y="456"/>
                  </a:lnTo>
                  <a:lnTo>
                    <a:pt x="1944" y="450"/>
                  </a:lnTo>
                  <a:lnTo>
                    <a:pt x="1944" y="445"/>
                  </a:lnTo>
                  <a:lnTo>
                    <a:pt x="1946" y="436"/>
                  </a:lnTo>
                  <a:lnTo>
                    <a:pt x="1944" y="427"/>
                  </a:lnTo>
                  <a:lnTo>
                    <a:pt x="1938" y="419"/>
                  </a:lnTo>
                  <a:lnTo>
                    <a:pt x="1941" y="416"/>
                  </a:lnTo>
                  <a:lnTo>
                    <a:pt x="1944" y="413"/>
                  </a:lnTo>
                  <a:lnTo>
                    <a:pt x="1952" y="416"/>
                  </a:lnTo>
                  <a:lnTo>
                    <a:pt x="1952" y="413"/>
                  </a:lnTo>
                  <a:lnTo>
                    <a:pt x="1946" y="407"/>
                  </a:lnTo>
                  <a:lnTo>
                    <a:pt x="1941" y="404"/>
                  </a:lnTo>
                  <a:lnTo>
                    <a:pt x="1935" y="399"/>
                  </a:lnTo>
                  <a:lnTo>
                    <a:pt x="1938" y="390"/>
                  </a:lnTo>
                  <a:lnTo>
                    <a:pt x="1944" y="390"/>
                  </a:lnTo>
                  <a:lnTo>
                    <a:pt x="1952" y="390"/>
                  </a:lnTo>
                  <a:lnTo>
                    <a:pt x="1952" y="387"/>
                  </a:lnTo>
                  <a:lnTo>
                    <a:pt x="1952" y="381"/>
                  </a:lnTo>
                  <a:lnTo>
                    <a:pt x="1941" y="376"/>
                  </a:lnTo>
                  <a:lnTo>
                    <a:pt x="1932" y="370"/>
                  </a:lnTo>
                  <a:lnTo>
                    <a:pt x="1932" y="364"/>
                  </a:lnTo>
                  <a:lnTo>
                    <a:pt x="1929" y="361"/>
                  </a:lnTo>
                  <a:lnTo>
                    <a:pt x="1932" y="359"/>
                  </a:lnTo>
                  <a:lnTo>
                    <a:pt x="1938" y="359"/>
                  </a:lnTo>
                  <a:lnTo>
                    <a:pt x="1944" y="359"/>
                  </a:lnTo>
                  <a:lnTo>
                    <a:pt x="1944" y="356"/>
                  </a:lnTo>
                  <a:lnTo>
                    <a:pt x="1941" y="353"/>
                  </a:lnTo>
                  <a:lnTo>
                    <a:pt x="1938" y="353"/>
                  </a:lnTo>
                  <a:lnTo>
                    <a:pt x="1932" y="350"/>
                  </a:lnTo>
                  <a:lnTo>
                    <a:pt x="1926" y="347"/>
                  </a:lnTo>
                  <a:lnTo>
                    <a:pt x="1921" y="344"/>
                  </a:lnTo>
                  <a:lnTo>
                    <a:pt x="1918" y="341"/>
                  </a:lnTo>
                  <a:lnTo>
                    <a:pt x="1915" y="341"/>
                  </a:lnTo>
                  <a:lnTo>
                    <a:pt x="1915" y="338"/>
                  </a:lnTo>
                  <a:lnTo>
                    <a:pt x="1915" y="330"/>
                  </a:lnTo>
                  <a:lnTo>
                    <a:pt x="1906" y="327"/>
                  </a:lnTo>
                  <a:lnTo>
                    <a:pt x="1898" y="327"/>
                  </a:lnTo>
                  <a:lnTo>
                    <a:pt x="1892" y="327"/>
                  </a:lnTo>
                  <a:lnTo>
                    <a:pt x="1889" y="324"/>
                  </a:lnTo>
                  <a:lnTo>
                    <a:pt x="1886" y="318"/>
                  </a:lnTo>
                  <a:lnTo>
                    <a:pt x="1883" y="313"/>
                  </a:lnTo>
                  <a:lnTo>
                    <a:pt x="1886" y="310"/>
                  </a:lnTo>
                  <a:lnTo>
                    <a:pt x="1886" y="304"/>
                  </a:lnTo>
                  <a:lnTo>
                    <a:pt x="1883" y="301"/>
                  </a:lnTo>
                  <a:lnTo>
                    <a:pt x="1880" y="295"/>
                  </a:lnTo>
                  <a:lnTo>
                    <a:pt x="1880" y="287"/>
                  </a:lnTo>
                  <a:lnTo>
                    <a:pt x="1889" y="292"/>
                  </a:lnTo>
                  <a:lnTo>
                    <a:pt x="1898" y="292"/>
                  </a:lnTo>
                  <a:lnTo>
                    <a:pt x="1895" y="287"/>
                  </a:lnTo>
                  <a:lnTo>
                    <a:pt x="1895" y="284"/>
                  </a:lnTo>
                  <a:lnTo>
                    <a:pt x="1898" y="281"/>
                  </a:lnTo>
                  <a:lnTo>
                    <a:pt x="1901" y="281"/>
                  </a:lnTo>
                  <a:lnTo>
                    <a:pt x="1903" y="284"/>
                  </a:lnTo>
                  <a:lnTo>
                    <a:pt x="1906" y="287"/>
                  </a:lnTo>
                  <a:lnTo>
                    <a:pt x="1912" y="292"/>
                  </a:lnTo>
                  <a:lnTo>
                    <a:pt x="1915" y="292"/>
                  </a:lnTo>
                  <a:lnTo>
                    <a:pt x="1915" y="287"/>
                  </a:lnTo>
                  <a:lnTo>
                    <a:pt x="1918" y="284"/>
                  </a:lnTo>
                  <a:lnTo>
                    <a:pt x="1929" y="278"/>
                  </a:lnTo>
                  <a:lnTo>
                    <a:pt x="1935" y="278"/>
                  </a:lnTo>
                  <a:lnTo>
                    <a:pt x="1941" y="281"/>
                  </a:lnTo>
                  <a:lnTo>
                    <a:pt x="1952" y="287"/>
                  </a:lnTo>
                  <a:lnTo>
                    <a:pt x="1967" y="292"/>
                  </a:lnTo>
                  <a:lnTo>
                    <a:pt x="1967" y="287"/>
                  </a:lnTo>
                  <a:lnTo>
                    <a:pt x="1964" y="281"/>
                  </a:lnTo>
                  <a:lnTo>
                    <a:pt x="1969" y="278"/>
                  </a:lnTo>
                  <a:lnTo>
                    <a:pt x="1969" y="275"/>
                  </a:lnTo>
                  <a:lnTo>
                    <a:pt x="1972" y="270"/>
                  </a:lnTo>
                  <a:lnTo>
                    <a:pt x="1978" y="261"/>
                  </a:lnTo>
                  <a:lnTo>
                    <a:pt x="1984" y="258"/>
                  </a:lnTo>
                  <a:lnTo>
                    <a:pt x="1989" y="252"/>
                  </a:lnTo>
                  <a:lnTo>
                    <a:pt x="1995" y="249"/>
                  </a:lnTo>
                  <a:lnTo>
                    <a:pt x="2001" y="244"/>
                  </a:lnTo>
                  <a:lnTo>
                    <a:pt x="2010" y="244"/>
                  </a:lnTo>
                  <a:lnTo>
                    <a:pt x="2024" y="247"/>
                  </a:lnTo>
                  <a:lnTo>
                    <a:pt x="2035" y="249"/>
                  </a:lnTo>
                  <a:lnTo>
                    <a:pt x="2033" y="238"/>
                  </a:lnTo>
                  <a:lnTo>
                    <a:pt x="2024" y="235"/>
                  </a:lnTo>
                  <a:lnTo>
                    <a:pt x="2018" y="232"/>
                  </a:lnTo>
                  <a:lnTo>
                    <a:pt x="2012" y="229"/>
                  </a:lnTo>
                  <a:lnTo>
                    <a:pt x="2001" y="226"/>
                  </a:lnTo>
                  <a:lnTo>
                    <a:pt x="1989" y="218"/>
                  </a:lnTo>
                  <a:lnTo>
                    <a:pt x="1981" y="212"/>
                  </a:lnTo>
                  <a:lnTo>
                    <a:pt x="1978" y="212"/>
                  </a:lnTo>
                  <a:lnTo>
                    <a:pt x="1969" y="212"/>
                  </a:lnTo>
                  <a:lnTo>
                    <a:pt x="1961" y="206"/>
                  </a:lnTo>
                  <a:lnTo>
                    <a:pt x="1955" y="203"/>
                  </a:lnTo>
                  <a:lnTo>
                    <a:pt x="1944" y="203"/>
                  </a:lnTo>
                  <a:lnTo>
                    <a:pt x="1935" y="201"/>
                  </a:lnTo>
                  <a:lnTo>
                    <a:pt x="1946" y="201"/>
                  </a:lnTo>
                  <a:lnTo>
                    <a:pt x="1955" y="203"/>
                  </a:lnTo>
                  <a:lnTo>
                    <a:pt x="1964" y="206"/>
                  </a:lnTo>
                  <a:lnTo>
                    <a:pt x="1975" y="206"/>
                  </a:lnTo>
                  <a:lnTo>
                    <a:pt x="1981" y="203"/>
                  </a:lnTo>
                  <a:lnTo>
                    <a:pt x="1984" y="201"/>
                  </a:lnTo>
                  <a:lnTo>
                    <a:pt x="1984" y="198"/>
                  </a:lnTo>
                  <a:lnTo>
                    <a:pt x="1984" y="192"/>
                  </a:lnTo>
                  <a:lnTo>
                    <a:pt x="1981" y="189"/>
                  </a:lnTo>
                  <a:lnTo>
                    <a:pt x="1969" y="186"/>
                  </a:lnTo>
                  <a:lnTo>
                    <a:pt x="1961" y="181"/>
                  </a:lnTo>
                  <a:lnTo>
                    <a:pt x="1967" y="181"/>
                  </a:lnTo>
                  <a:lnTo>
                    <a:pt x="1969" y="181"/>
                  </a:lnTo>
                  <a:lnTo>
                    <a:pt x="1978" y="181"/>
                  </a:lnTo>
                  <a:lnTo>
                    <a:pt x="1981" y="186"/>
                  </a:lnTo>
                  <a:lnTo>
                    <a:pt x="1992" y="189"/>
                  </a:lnTo>
                  <a:lnTo>
                    <a:pt x="2001" y="192"/>
                  </a:lnTo>
                  <a:lnTo>
                    <a:pt x="2010" y="192"/>
                  </a:lnTo>
                  <a:lnTo>
                    <a:pt x="2015" y="192"/>
                  </a:lnTo>
                  <a:lnTo>
                    <a:pt x="2024" y="192"/>
                  </a:lnTo>
                  <a:lnTo>
                    <a:pt x="2041" y="203"/>
                  </a:lnTo>
                  <a:lnTo>
                    <a:pt x="2050" y="203"/>
                  </a:lnTo>
                  <a:lnTo>
                    <a:pt x="2058" y="206"/>
                  </a:lnTo>
                  <a:lnTo>
                    <a:pt x="2067" y="206"/>
                  </a:lnTo>
                  <a:lnTo>
                    <a:pt x="2076" y="209"/>
                  </a:lnTo>
                  <a:lnTo>
                    <a:pt x="2087" y="212"/>
                  </a:lnTo>
                  <a:lnTo>
                    <a:pt x="2099" y="209"/>
                  </a:lnTo>
                  <a:close/>
                  <a:moveTo>
                    <a:pt x="1157" y="439"/>
                  </a:moveTo>
                  <a:lnTo>
                    <a:pt x="1157" y="439"/>
                  </a:lnTo>
                  <a:lnTo>
                    <a:pt x="1163" y="439"/>
                  </a:lnTo>
                  <a:lnTo>
                    <a:pt x="1166" y="436"/>
                  </a:lnTo>
                  <a:lnTo>
                    <a:pt x="1171" y="430"/>
                  </a:lnTo>
                  <a:lnTo>
                    <a:pt x="1177" y="422"/>
                  </a:lnTo>
                  <a:lnTo>
                    <a:pt x="1177" y="419"/>
                  </a:lnTo>
                  <a:lnTo>
                    <a:pt x="1177" y="416"/>
                  </a:lnTo>
                  <a:lnTo>
                    <a:pt x="1180" y="413"/>
                  </a:lnTo>
                  <a:lnTo>
                    <a:pt x="1183" y="410"/>
                  </a:lnTo>
                  <a:lnTo>
                    <a:pt x="1183" y="404"/>
                  </a:lnTo>
                  <a:lnTo>
                    <a:pt x="1186" y="402"/>
                  </a:lnTo>
                  <a:lnTo>
                    <a:pt x="1186" y="396"/>
                  </a:lnTo>
                  <a:lnTo>
                    <a:pt x="1186" y="387"/>
                  </a:lnTo>
                  <a:lnTo>
                    <a:pt x="1186" y="379"/>
                  </a:lnTo>
                  <a:lnTo>
                    <a:pt x="1183" y="373"/>
                  </a:lnTo>
                  <a:lnTo>
                    <a:pt x="1183" y="367"/>
                  </a:lnTo>
                  <a:lnTo>
                    <a:pt x="1186" y="367"/>
                  </a:lnTo>
                  <a:lnTo>
                    <a:pt x="1189" y="367"/>
                  </a:lnTo>
                  <a:lnTo>
                    <a:pt x="1194" y="379"/>
                  </a:lnTo>
                  <a:lnTo>
                    <a:pt x="1197" y="390"/>
                  </a:lnTo>
                  <a:lnTo>
                    <a:pt x="1206" y="399"/>
                  </a:lnTo>
                  <a:lnTo>
                    <a:pt x="1203" y="402"/>
                  </a:lnTo>
                  <a:lnTo>
                    <a:pt x="1197" y="402"/>
                  </a:lnTo>
                  <a:lnTo>
                    <a:pt x="1200" y="407"/>
                  </a:lnTo>
                  <a:lnTo>
                    <a:pt x="1203" y="407"/>
                  </a:lnTo>
                  <a:lnTo>
                    <a:pt x="1203" y="413"/>
                  </a:lnTo>
                  <a:lnTo>
                    <a:pt x="1200" y="413"/>
                  </a:lnTo>
                  <a:lnTo>
                    <a:pt x="1200" y="416"/>
                  </a:lnTo>
                  <a:lnTo>
                    <a:pt x="1194" y="425"/>
                  </a:lnTo>
                  <a:lnTo>
                    <a:pt x="1189" y="425"/>
                  </a:lnTo>
                  <a:lnTo>
                    <a:pt x="1183" y="430"/>
                  </a:lnTo>
                  <a:lnTo>
                    <a:pt x="1174" y="430"/>
                  </a:lnTo>
                  <a:lnTo>
                    <a:pt x="1177" y="442"/>
                  </a:lnTo>
                  <a:lnTo>
                    <a:pt x="1169" y="445"/>
                  </a:lnTo>
                  <a:lnTo>
                    <a:pt x="1154" y="448"/>
                  </a:lnTo>
                  <a:lnTo>
                    <a:pt x="1146" y="442"/>
                  </a:lnTo>
                  <a:lnTo>
                    <a:pt x="1157" y="43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53" name="Freeform 153"/>
            <p:cNvSpPr>
              <a:spLocks/>
            </p:cNvSpPr>
            <p:nvPr/>
          </p:nvSpPr>
          <p:spPr bwMode="auto">
            <a:xfrm>
              <a:off x="4903788" y="1714500"/>
              <a:ext cx="3365500" cy="1141413"/>
            </a:xfrm>
            <a:custGeom>
              <a:avLst/>
              <a:gdLst>
                <a:gd name="T0" fmla="*/ 2147483647 w 2099"/>
                <a:gd name="T1" fmla="*/ 2147483647 h 712"/>
                <a:gd name="T2" fmla="*/ 2147483647 w 2099"/>
                <a:gd name="T3" fmla="*/ 2147483647 h 712"/>
                <a:gd name="T4" fmla="*/ 2147483647 w 2099"/>
                <a:gd name="T5" fmla="*/ 2147483647 h 712"/>
                <a:gd name="T6" fmla="*/ 2147483647 w 2099"/>
                <a:gd name="T7" fmla="*/ 2147483647 h 712"/>
                <a:gd name="T8" fmla="*/ 2147483647 w 2099"/>
                <a:gd name="T9" fmla="*/ 2147483647 h 712"/>
                <a:gd name="T10" fmla="*/ 2147483647 w 2099"/>
                <a:gd name="T11" fmla="*/ 2147483647 h 712"/>
                <a:gd name="T12" fmla="*/ 2147483647 w 2099"/>
                <a:gd name="T13" fmla="*/ 2147483647 h 712"/>
                <a:gd name="T14" fmla="*/ 2147483647 w 2099"/>
                <a:gd name="T15" fmla="*/ 2147483647 h 712"/>
                <a:gd name="T16" fmla="*/ 2147483647 w 2099"/>
                <a:gd name="T17" fmla="*/ 2147483647 h 712"/>
                <a:gd name="T18" fmla="*/ 2147483647 w 2099"/>
                <a:gd name="T19" fmla="*/ 0 h 712"/>
                <a:gd name="T20" fmla="*/ 2147483647 w 2099"/>
                <a:gd name="T21" fmla="*/ 2147483647 h 712"/>
                <a:gd name="T22" fmla="*/ 2147483647 w 2099"/>
                <a:gd name="T23" fmla="*/ 2147483647 h 712"/>
                <a:gd name="T24" fmla="*/ 2147483647 w 2099"/>
                <a:gd name="T25" fmla="*/ 2147483647 h 712"/>
                <a:gd name="T26" fmla="*/ 2147483647 w 2099"/>
                <a:gd name="T27" fmla="*/ 2147483647 h 712"/>
                <a:gd name="T28" fmla="*/ 2147483647 w 2099"/>
                <a:gd name="T29" fmla="*/ 2147483647 h 712"/>
                <a:gd name="T30" fmla="*/ 2147483647 w 2099"/>
                <a:gd name="T31" fmla="*/ 2147483647 h 712"/>
                <a:gd name="T32" fmla="*/ 2147483647 w 2099"/>
                <a:gd name="T33" fmla="*/ 2147483647 h 712"/>
                <a:gd name="T34" fmla="*/ 2147483647 w 2099"/>
                <a:gd name="T35" fmla="*/ 2147483647 h 712"/>
                <a:gd name="T36" fmla="*/ 2147483647 w 2099"/>
                <a:gd name="T37" fmla="*/ 2147483647 h 712"/>
                <a:gd name="T38" fmla="*/ 2147483647 w 2099"/>
                <a:gd name="T39" fmla="*/ 2147483647 h 712"/>
                <a:gd name="T40" fmla="*/ 2147483647 w 2099"/>
                <a:gd name="T41" fmla="*/ 2147483647 h 712"/>
                <a:gd name="T42" fmla="*/ 2147483647 w 2099"/>
                <a:gd name="T43" fmla="*/ 2147483647 h 712"/>
                <a:gd name="T44" fmla="*/ 2147483647 w 2099"/>
                <a:gd name="T45" fmla="*/ 2147483647 h 712"/>
                <a:gd name="T46" fmla="*/ 2147483647 w 2099"/>
                <a:gd name="T47" fmla="*/ 2147483647 h 712"/>
                <a:gd name="T48" fmla="*/ 2147483647 w 2099"/>
                <a:gd name="T49" fmla="*/ 2147483647 h 712"/>
                <a:gd name="T50" fmla="*/ 2147483647 w 2099"/>
                <a:gd name="T51" fmla="*/ 2147483647 h 712"/>
                <a:gd name="T52" fmla="*/ 2147483647 w 2099"/>
                <a:gd name="T53" fmla="*/ 2147483647 h 712"/>
                <a:gd name="T54" fmla="*/ 2147483647 w 2099"/>
                <a:gd name="T55" fmla="*/ 2147483647 h 712"/>
                <a:gd name="T56" fmla="*/ 2147483647 w 2099"/>
                <a:gd name="T57" fmla="*/ 2147483647 h 712"/>
                <a:gd name="T58" fmla="*/ 2147483647 w 2099"/>
                <a:gd name="T59" fmla="*/ 2147483647 h 712"/>
                <a:gd name="T60" fmla="*/ 2147483647 w 2099"/>
                <a:gd name="T61" fmla="*/ 2147483647 h 712"/>
                <a:gd name="T62" fmla="*/ 2147483647 w 2099"/>
                <a:gd name="T63" fmla="*/ 2147483647 h 712"/>
                <a:gd name="T64" fmla="*/ 2147483647 w 2099"/>
                <a:gd name="T65" fmla="*/ 2147483647 h 712"/>
                <a:gd name="T66" fmla="*/ 2147483647 w 2099"/>
                <a:gd name="T67" fmla="*/ 2147483647 h 712"/>
                <a:gd name="T68" fmla="*/ 2147483647 w 2099"/>
                <a:gd name="T69" fmla="*/ 2147483647 h 712"/>
                <a:gd name="T70" fmla="*/ 2147483647 w 2099"/>
                <a:gd name="T71" fmla="*/ 2147483647 h 712"/>
                <a:gd name="T72" fmla="*/ 2147483647 w 2099"/>
                <a:gd name="T73" fmla="*/ 2147483647 h 712"/>
                <a:gd name="T74" fmla="*/ 2147483647 w 2099"/>
                <a:gd name="T75" fmla="*/ 2147483647 h 712"/>
                <a:gd name="T76" fmla="*/ 2147483647 w 2099"/>
                <a:gd name="T77" fmla="*/ 2147483647 h 712"/>
                <a:gd name="T78" fmla="*/ 2147483647 w 2099"/>
                <a:gd name="T79" fmla="*/ 2147483647 h 712"/>
                <a:gd name="T80" fmla="*/ 2147483647 w 2099"/>
                <a:gd name="T81" fmla="*/ 2147483647 h 712"/>
                <a:gd name="T82" fmla="*/ 2147483647 w 2099"/>
                <a:gd name="T83" fmla="*/ 2147483647 h 712"/>
                <a:gd name="T84" fmla="*/ 2147483647 w 2099"/>
                <a:gd name="T85" fmla="*/ 2147483647 h 712"/>
                <a:gd name="T86" fmla="*/ 2147483647 w 2099"/>
                <a:gd name="T87" fmla="*/ 2147483647 h 712"/>
                <a:gd name="T88" fmla="*/ 2147483647 w 2099"/>
                <a:gd name="T89" fmla="*/ 2147483647 h 712"/>
                <a:gd name="T90" fmla="*/ 2147483647 w 2099"/>
                <a:gd name="T91" fmla="*/ 2147483647 h 712"/>
                <a:gd name="T92" fmla="*/ 2147483647 w 2099"/>
                <a:gd name="T93" fmla="*/ 2147483647 h 712"/>
                <a:gd name="T94" fmla="*/ 2147483647 w 2099"/>
                <a:gd name="T95" fmla="*/ 2147483647 h 712"/>
                <a:gd name="T96" fmla="*/ 2147483647 w 2099"/>
                <a:gd name="T97" fmla="*/ 2147483647 h 712"/>
                <a:gd name="T98" fmla="*/ 2147483647 w 2099"/>
                <a:gd name="T99" fmla="*/ 2147483647 h 712"/>
                <a:gd name="T100" fmla="*/ 2147483647 w 2099"/>
                <a:gd name="T101" fmla="*/ 2147483647 h 712"/>
                <a:gd name="T102" fmla="*/ 2147483647 w 2099"/>
                <a:gd name="T103" fmla="*/ 2147483647 h 712"/>
                <a:gd name="T104" fmla="*/ 2147483647 w 2099"/>
                <a:gd name="T105" fmla="*/ 2147483647 h 712"/>
                <a:gd name="T106" fmla="*/ 2147483647 w 2099"/>
                <a:gd name="T107" fmla="*/ 2147483647 h 712"/>
                <a:gd name="T108" fmla="*/ 2147483647 w 2099"/>
                <a:gd name="T109" fmla="*/ 2147483647 h 712"/>
                <a:gd name="T110" fmla="*/ 2147483647 w 2099"/>
                <a:gd name="T111" fmla="*/ 2147483647 h 712"/>
                <a:gd name="T112" fmla="*/ 2147483647 w 2099"/>
                <a:gd name="T113" fmla="*/ 2147483647 h 712"/>
                <a:gd name="T114" fmla="*/ 2147483647 w 2099"/>
                <a:gd name="T115" fmla="*/ 2147483647 h 712"/>
                <a:gd name="T116" fmla="*/ 2147483647 w 2099"/>
                <a:gd name="T117" fmla="*/ 2147483647 h 712"/>
                <a:gd name="T118" fmla="*/ 2147483647 w 2099"/>
                <a:gd name="T119" fmla="*/ 2147483647 h 712"/>
                <a:gd name="T120" fmla="*/ 2147483647 w 2099"/>
                <a:gd name="T121" fmla="*/ 2147483647 h 712"/>
                <a:gd name="T122" fmla="*/ 2147483647 w 2099"/>
                <a:gd name="T123" fmla="*/ 2147483647 h 712"/>
                <a:gd name="T124" fmla="*/ 2147483647 w 2099"/>
                <a:gd name="T125" fmla="*/ 2147483647 h 71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099"/>
                <a:gd name="T190" fmla="*/ 0 h 712"/>
                <a:gd name="T191" fmla="*/ 2099 w 2099"/>
                <a:gd name="T192" fmla="*/ 712 h 71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099" h="712">
                  <a:moveTo>
                    <a:pt x="2099" y="209"/>
                  </a:moveTo>
                  <a:lnTo>
                    <a:pt x="2093" y="206"/>
                  </a:lnTo>
                  <a:lnTo>
                    <a:pt x="2093" y="201"/>
                  </a:lnTo>
                  <a:lnTo>
                    <a:pt x="2087" y="203"/>
                  </a:lnTo>
                  <a:lnTo>
                    <a:pt x="2087" y="201"/>
                  </a:lnTo>
                  <a:lnTo>
                    <a:pt x="2078" y="195"/>
                  </a:lnTo>
                  <a:lnTo>
                    <a:pt x="2090" y="192"/>
                  </a:lnTo>
                  <a:lnTo>
                    <a:pt x="2093" y="189"/>
                  </a:lnTo>
                  <a:lnTo>
                    <a:pt x="2087" y="183"/>
                  </a:lnTo>
                  <a:lnTo>
                    <a:pt x="2081" y="175"/>
                  </a:lnTo>
                  <a:lnTo>
                    <a:pt x="2078" y="178"/>
                  </a:lnTo>
                  <a:lnTo>
                    <a:pt x="2078" y="181"/>
                  </a:lnTo>
                  <a:lnTo>
                    <a:pt x="2070" y="178"/>
                  </a:lnTo>
                  <a:lnTo>
                    <a:pt x="2064" y="175"/>
                  </a:lnTo>
                  <a:lnTo>
                    <a:pt x="2058" y="172"/>
                  </a:lnTo>
                  <a:lnTo>
                    <a:pt x="2050" y="169"/>
                  </a:lnTo>
                  <a:lnTo>
                    <a:pt x="2047" y="169"/>
                  </a:lnTo>
                  <a:lnTo>
                    <a:pt x="2038" y="166"/>
                  </a:lnTo>
                  <a:lnTo>
                    <a:pt x="2027" y="166"/>
                  </a:lnTo>
                  <a:lnTo>
                    <a:pt x="2007" y="166"/>
                  </a:lnTo>
                  <a:lnTo>
                    <a:pt x="2021" y="172"/>
                  </a:lnTo>
                  <a:lnTo>
                    <a:pt x="2027" y="175"/>
                  </a:lnTo>
                  <a:lnTo>
                    <a:pt x="2021" y="178"/>
                  </a:lnTo>
                  <a:lnTo>
                    <a:pt x="2015" y="175"/>
                  </a:lnTo>
                  <a:lnTo>
                    <a:pt x="2004" y="166"/>
                  </a:lnTo>
                  <a:lnTo>
                    <a:pt x="1998" y="160"/>
                  </a:lnTo>
                  <a:lnTo>
                    <a:pt x="1987" y="158"/>
                  </a:lnTo>
                  <a:lnTo>
                    <a:pt x="1969" y="152"/>
                  </a:lnTo>
                  <a:lnTo>
                    <a:pt x="1926" y="143"/>
                  </a:lnTo>
                  <a:lnTo>
                    <a:pt x="1906" y="137"/>
                  </a:lnTo>
                  <a:lnTo>
                    <a:pt x="1880" y="129"/>
                  </a:lnTo>
                  <a:lnTo>
                    <a:pt x="1832" y="120"/>
                  </a:lnTo>
                  <a:lnTo>
                    <a:pt x="1809" y="120"/>
                  </a:lnTo>
                  <a:lnTo>
                    <a:pt x="1789" y="120"/>
                  </a:lnTo>
                  <a:lnTo>
                    <a:pt x="1763" y="117"/>
                  </a:lnTo>
                  <a:lnTo>
                    <a:pt x="1745" y="114"/>
                  </a:lnTo>
                  <a:lnTo>
                    <a:pt x="1751" y="120"/>
                  </a:lnTo>
                  <a:lnTo>
                    <a:pt x="1763" y="126"/>
                  </a:lnTo>
                  <a:lnTo>
                    <a:pt x="1768" y="129"/>
                  </a:lnTo>
                  <a:lnTo>
                    <a:pt x="1771" y="132"/>
                  </a:lnTo>
                  <a:lnTo>
                    <a:pt x="1774" y="135"/>
                  </a:lnTo>
                  <a:lnTo>
                    <a:pt x="1771" y="137"/>
                  </a:lnTo>
                  <a:lnTo>
                    <a:pt x="1766" y="137"/>
                  </a:lnTo>
                  <a:lnTo>
                    <a:pt x="1757" y="135"/>
                  </a:lnTo>
                  <a:lnTo>
                    <a:pt x="1751" y="132"/>
                  </a:lnTo>
                  <a:lnTo>
                    <a:pt x="1740" y="129"/>
                  </a:lnTo>
                  <a:lnTo>
                    <a:pt x="1731" y="126"/>
                  </a:lnTo>
                  <a:lnTo>
                    <a:pt x="1734" y="126"/>
                  </a:lnTo>
                  <a:lnTo>
                    <a:pt x="1737" y="123"/>
                  </a:lnTo>
                  <a:lnTo>
                    <a:pt x="1740" y="123"/>
                  </a:lnTo>
                  <a:lnTo>
                    <a:pt x="1743" y="123"/>
                  </a:lnTo>
                  <a:lnTo>
                    <a:pt x="1740" y="120"/>
                  </a:lnTo>
                  <a:lnTo>
                    <a:pt x="1734" y="120"/>
                  </a:lnTo>
                  <a:lnTo>
                    <a:pt x="1728" y="117"/>
                  </a:lnTo>
                  <a:lnTo>
                    <a:pt x="1720" y="117"/>
                  </a:lnTo>
                  <a:lnTo>
                    <a:pt x="1717" y="120"/>
                  </a:lnTo>
                  <a:lnTo>
                    <a:pt x="1717" y="123"/>
                  </a:lnTo>
                  <a:lnTo>
                    <a:pt x="1708" y="126"/>
                  </a:lnTo>
                  <a:lnTo>
                    <a:pt x="1668" y="120"/>
                  </a:lnTo>
                  <a:lnTo>
                    <a:pt x="1651" y="123"/>
                  </a:lnTo>
                  <a:lnTo>
                    <a:pt x="1639" y="123"/>
                  </a:lnTo>
                  <a:lnTo>
                    <a:pt x="1628" y="120"/>
                  </a:lnTo>
                  <a:lnTo>
                    <a:pt x="1619" y="123"/>
                  </a:lnTo>
                  <a:lnTo>
                    <a:pt x="1616" y="120"/>
                  </a:lnTo>
                  <a:lnTo>
                    <a:pt x="1611" y="112"/>
                  </a:lnTo>
                  <a:lnTo>
                    <a:pt x="1602" y="106"/>
                  </a:lnTo>
                  <a:lnTo>
                    <a:pt x="1590" y="103"/>
                  </a:lnTo>
                  <a:lnTo>
                    <a:pt x="1570" y="100"/>
                  </a:lnTo>
                  <a:lnTo>
                    <a:pt x="1533" y="100"/>
                  </a:lnTo>
                  <a:lnTo>
                    <a:pt x="1522" y="103"/>
                  </a:lnTo>
                  <a:lnTo>
                    <a:pt x="1513" y="103"/>
                  </a:lnTo>
                  <a:lnTo>
                    <a:pt x="1499" y="100"/>
                  </a:lnTo>
                  <a:lnTo>
                    <a:pt x="1490" y="97"/>
                  </a:lnTo>
                  <a:lnTo>
                    <a:pt x="1479" y="97"/>
                  </a:lnTo>
                  <a:lnTo>
                    <a:pt x="1473" y="94"/>
                  </a:lnTo>
                  <a:lnTo>
                    <a:pt x="1467" y="94"/>
                  </a:lnTo>
                  <a:lnTo>
                    <a:pt x="1458" y="94"/>
                  </a:lnTo>
                  <a:lnTo>
                    <a:pt x="1453" y="89"/>
                  </a:lnTo>
                  <a:lnTo>
                    <a:pt x="1447" y="83"/>
                  </a:lnTo>
                  <a:lnTo>
                    <a:pt x="1427" y="80"/>
                  </a:lnTo>
                  <a:lnTo>
                    <a:pt x="1415" y="80"/>
                  </a:lnTo>
                  <a:lnTo>
                    <a:pt x="1410" y="80"/>
                  </a:lnTo>
                  <a:lnTo>
                    <a:pt x="1410" y="86"/>
                  </a:lnTo>
                  <a:lnTo>
                    <a:pt x="1410" y="89"/>
                  </a:lnTo>
                  <a:lnTo>
                    <a:pt x="1401" y="89"/>
                  </a:lnTo>
                  <a:lnTo>
                    <a:pt x="1395" y="86"/>
                  </a:lnTo>
                  <a:lnTo>
                    <a:pt x="1398" y="83"/>
                  </a:lnTo>
                  <a:lnTo>
                    <a:pt x="1404" y="83"/>
                  </a:lnTo>
                  <a:lnTo>
                    <a:pt x="1404" y="86"/>
                  </a:lnTo>
                  <a:lnTo>
                    <a:pt x="1407" y="86"/>
                  </a:lnTo>
                  <a:lnTo>
                    <a:pt x="1404" y="80"/>
                  </a:lnTo>
                  <a:lnTo>
                    <a:pt x="1390" y="80"/>
                  </a:lnTo>
                  <a:lnTo>
                    <a:pt x="1387" y="77"/>
                  </a:lnTo>
                  <a:lnTo>
                    <a:pt x="1372" y="74"/>
                  </a:lnTo>
                  <a:lnTo>
                    <a:pt x="1324" y="71"/>
                  </a:lnTo>
                  <a:lnTo>
                    <a:pt x="1326" y="74"/>
                  </a:lnTo>
                  <a:lnTo>
                    <a:pt x="1329" y="77"/>
                  </a:lnTo>
                  <a:lnTo>
                    <a:pt x="1321" y="77"/>
                  </a:lnTo>
                  <a:lnTo>
                    <a:pt x="1315" y="77"/>
                  </a:lnTo>
                  <a:lnTo>
                    <a:pt x="1315" y="83"/>
                  </a:lnTo>
                  <a:lnTo>
                    <a:pt x="1318" y="83"/>
                  </a:lnTo>
                  <a:lnTo>
                    <a:pt x="1326" y="83"/>
                  </a:lnTo>
                  <a:lnTo>
                    <a:pt x="1326" y="86"/>
                  </a:lnTo>
                  <a:lnTo>
                    <a:pt x="1332" y="89"/>
                  </a:lnTo>
                  <a:lnTo>
                    <a:pt x="1338" y="94"/>
                  </a:lnTo>
                  <a:lnTo>
                    <a:pt x="1329" y="94"/>
                  </a:lnTo>
                  <a:lnTo>
                    <a:pt x="1324" y="92"/>
                  </a:lnTo>
                  <a:lnTo>
                    <a:pt x="1321" y="92"/>
                  </a:lnTo>
                  <a:lnTo>
                    <a:pt x="1315" y="92"/>
                  </a:lnTo>
                  <a:lnTo>
                    <a:pt x="1309" y="92"/>
                  </a:lnTo>
                  <a:lnTo>
                    <a:pt x="1306" y="94"/>
                  </a:lnTo>
                  <a:lnTo>
                    <a:pt x="1301" y="92"/>
                  </a:lnTo>
                  <a:lnTo>
                    <a:pt x="1292" y="92"/>
                  </a:lnTo>
                  <a:lnTo>
                    <a:pt x="1280" y="94"/>
                  </a:lnTo>
                  <a:lnTo>
                    <a:pt x="1272" y="94"/>
                  </a:lnTo>
                  <a:lnTo>
                    <a:pt x="1266" y="94"/>
                  </a:lnTo>
                  <a:lnTo>
                    <a:pt x="1243" y="86"/>
                  </a:lnTo>
                  <a:lnTo>
                    <a:pt x="1243" y="89"/>
                  </a:lnTo>
                  <a:lnTo>
                    <a:pt x="1243" y="94"/>
                  </a:lnTo>
                  <a:lnTo>
                    <a:pt x="1246" y="97"/>
                  </a:lnTo>
                  <a:lnTo>
                    <a:pt x="1249" y="100"/>
                  </a:lnTo>
                  <a:lnTo>
                    <a:pt x="1252" y="106"/>
                  </a:lnTo>
                  <a:lnTo>
                    <a:pt x="1249" y="106"/>
                  </a:lnTo>
                  <a:lnTo>
                    <a:pt x="1243" y="103"/>
                  </a:lnTo>
                  <a:lnTo>
                    <a:pt x="1235" y="103"/>
                  </a:lnTo>
                  <a:lnTo>
                    <a:pt x="1226" y="100"/>
                  </a:lnTo>
                  <a:lnTo>
                    <a:pt x="1214" y="97"/>
                  </a:lnTo>
                  <a:lnTo>
                    <a:pt x="1203" y="92"/>
                  </a:lnTo>
                  <a:lnTo>
                    <a:pt x="1200" y="89"/>
                  </a:lnTo>
                  <a:lnTo>
                    <a:pt x="1186" y="80"/>
                  </a:lnTo>
                  <a:lnTo>
                    <a:pt x="1197" y="83"/>
                  </a:lnTo>
                  <a:lnTo>
                    <a:pt x="1197" y="77"/>
                  </a:lnTo>
                  <a:lnTo>
                    <a:pt x="1191" y="77"/>
                  </a:lnTo>
                  <a:lnTo>
                    <a:pt x="1183" y="77"/>
                  </a:lnTo>
                  <a:lnTo>
                    <a:pt x="1186" y="74"/>
                  </a:lnTo>
                  <a:lnTo>
                    <a:pt x="1180" y="71"/>
                  </a:lnTo>
                  <a:lnTo>
                    <a:pt x="1177" y="66"/>
                  </a:lnTo>
                  <a:lnTo>
                    <a:pt x="1174" y="66"/>
                  </a:lnTo>
                  <a:lnTo>
                    <a:pt x="1166" y="66"/>
                  </a:lnTo>
                  <a:lnTo>
                    <a:pt x="1146" y="63"/>
                  </a:lnTo>
                  <a:lnTo>
                    <a:pt x="1140" y="63"/>
                  </a:lnTo>
                  <a:lnTo>
                    <a:pt x="1134" y="60"/>
                  </a:lnTo>
                  <a:lnTo>
                    <a:pt x="1111" y="57"/>
                  </a:lnTo>
                  <a:lnTo>
                    <a:pt x="1100" y="60"/>
                  </a:lnTo>
                  <a:lnTo>
                    <a:pt x="1108" y="66"/>
                  </a:lnTo>
                  <a:lnTo>
                    <a:pt x="1114" y="69"/>
                  </a:lnTo>
                  <a:lnTo>
                    <a:pt x="1117" y="71"/>
                  </a:lnTo>
                  <a:lnTo>
                    <a:pt x="1111" y="74"/>
                  </a:lnTo>
                  <a:lnTo>
                    <a:pt x="1105" y="71"/>
                  </a:lnTo>
                  <a:lnTo>
                    <a:pt x="1091" y="71"/>
                  </a:lnTo>
                  <a:lnTo>
                    <a:pt x="1071" y="69"/>
                  </a:lnTo>
                  <a:lnTo>
                    <a:pt x="1048" y="66"/>
                  </a:lnTo>
                  <a:lnTo>
                    <a:pt x="1051" y="63"/>
                  </a:lnTo>
                  <a:lnTo>
                    <a:pt x="1048" y="60"/>
                  </a:lnTo>
                  <a:lnTo>
                    <a:pt x="1039" y="60"/>
                  </a:lnTo>
                  <a:lnTo>
                    <a:pt x="1025" y="57"/>
                  </a:lnTo>
                  <a:lnTo>
                    <a:pt x="1016" y="57"/>
                  </a:lnTo>
                  <a:lnTo>
                    <a:pt x="1011" y="57"/>
                  </a:lnTo>
                  <a:lnTo>
                    <a:pt x="996" y="60"/>
                  </a:lnTo>
                  <a:lnTo>
                    <a:pt x="988" y="63"/>
                  </a:lnTo>
                  <a:lnTo>
                    <a:pt x="993" y="66"/>
                  </a:lnTo>
                  <a:lnTo>
                    <a:pt x="988" y="63"/>
                  </a:lnTo>
                  <a:lnTo>
                    <a:pt x="985" y="60"/>
                  </a:lnTo>
                  <a:lnTo>
                    <a:pt x="982" y="57"/>
                  </a:lnTo>
                  <a:lnTo>
                    <a:pt x="973" y="54"/>
                  </a:lnTo>
                  <a:lnTo>
                    <a:pt x="970" y="57"/>
                  </a:lnTo>
                  <a:lnTo>
                    <a:pt x="968" y="57"/>
                  </a:lnTo>
                  <a:lnTo>
                    <a:pt x="965" y="60"/>
                  </a:lnTo>
                  <a:lnTo>
                    <a:pt x="959" y="57"/>
                  </a:lnTo>
                  <a:lnTo>
                    <a:pt x="953" y="54"/>
                  </a:lnTo>
                  <a:lnTo>
                    <a:pt x="950" y="54"/>
                  </a:lnTo>
                  <a:lnTo>
                    <a:pt x="936" y="57"/>
                  </a:lnTo>
                  <a:lnTo>
                    <a:pt x="942" y="60"/>
                  </a:lnTo>
                  <a:lnTo>
                    <a:pt x="947" y="60"/>
                  </a:lnTo>
                  <a:lnTo>
                    <a:pt x="939" y="63"/>
                  </a:lnTo>
                  <a:lnTo>
                    <a:pt x="927" y="66"/>
                  </a:lnTo>
                  <a:lnTo>
                    <a:pt x="913" y="66"/>
                  </a:lnTo>
                  <a:lnTo>
                    <a:pt x="907" y="69"/>
                  </a:lnTo>
                  <a:lnTo>
                    <a:pt x="899" y="74"/>
                  </a:lnTo>
                  <a:lnTo>
                    <a:pt x="896" y="71"/>
                  </a:lnTo>
                  <a:lnTo>
                    <a:pt x="904" y="66"/>
                  </a:lnTo>
                  <a:lnTo>
                    <a:pt x="907" y="63"/>
                  </a:lnTo>
                  <a:lnTo>
                    <a:pt x="913" y="60"/>
                  </a:lnTo>
                  <a:lnTo>
                    <a:pt x="916" y="60"/>
                  </a:lnTo>
                  <a:lnTo>
                    <a:pt x="919" y="60"/>
                  </a:lnTo>
                  <a:lnTo>
                    <a:pt x="925" y="54"/>
                  </a:lnTo>
                  <a:lnTo>
                    <a:pt x="933" y="54"/>
                  </a:lnTo>
                  <a:lnTo>
                    <a:pt x="933" y="48"/>
                  </a:lnTo>
                  <a:lnTo>
                    <a:pt x="939" y="46"/>
                  </a:lnTo>
                  <a:lnTo>
                    <a:pt x="945" y="43"/>
                  </a:lnTo>
                  <a:lnTo>
                    <a:pt x="953" y="40"/>
                  </a:lnTo>
                  <a:lnTo>
                    <a:pt x="956" y="31"/>
                  </a:lnTo>
                  <a:lnTo>
                    <a:pt x="950" y="28"/>
                  </a:lnTo>
                  <a:lnTo>
                    <a:pt x="945" y="23"/>
                  </a:lnTo>
                  <a:lnTo>
                    <a:pt x="942" y="23"/>
                  </a:lnTo>
                  <a:lnTo>
                    <a:pt x="933" y="17"/>
                  </a:lnTo>
                  <a:lnTo>
                    <a:pt x="933" y="20"/>
                  </a:lnTo>
                  <a:lnTo>
                    <a:pt x="933" y="23"/>
                  </a:lnTo>
                  <a:lnTo>
                    <a:pt x="930" y="20"/>
                  </a:lnTo>
                  <a:lnTo>
                    <a:pt x="925" y="14"/>
                  </a:lnTo>
                  <a:lnTo>
                    <a:pt x="916" y="14"/>
                  </a:lnTo>
                  <a:lnTo>
                    <a:pt x="913" y="14"/>
                  </a:lnTo>
                  <a:lnTo>
                    <a:pt x="910" y="14"/>
                  </a:lnTo>
                  <a:lnTo>
                    <a:pt x="899" y="14"/>
                  </a:lnTo>
                  <a:lnTo>
                    <a:pt x="870" y="14"/>
                  </a:lnTo>
                  <a:lnTo>
                    <a:pt x="858" y="17"/>
                  </a:lnTo>
                  <a:lnTo>
                    <a:pt x="856" y="17"/>
                  </a:lnTo>
                  <a:lnTo>
                    <a:pt x="858" y="11"/>
                  </a:lnTo>
                  <a:lnTo>
                    <a:pt x="850" y="11"/>
                  </a:lnTo>
                  <a:lnTo>
                    <a:pt x="838" y="8"/>
                  </a:lnTo>
                  <a:lnTo>
                    <a:pt x="824" y="11"/>
                  </a:lnTo>
                  <a:lnTo>
                    <a:pt x="830" y="5"/>
                  </a:lnTo>
                  <a:lnTo>
                    <a:pt x="836" y="3"/>
                  </a:lnTo>
                  <a:lnTo>
                    <a:pt x="824" y="0"/>
                  </a:lnTo>
                  <a:lnTo>
                    <a:pt x="813" y="0"/>
                  </a:lnTo>
                  <a:lnTo>
                    <a:pt x="795" y="0"/>
                  </a:lnTo>
                  <a:lnTo>
                    <a:pt x="792" y="3"/>
                  </a:lnTo>
                  <a:lnTo>
                    <a:pt x="790" y="5"/>
                  </a:lnTo>
                  <a:lnTo>
                    <a:pt x="790" y="11"/>
                  </a:lnTo>
                  <a:lnTo>
                    <a:pt x="792" y="14"/>
                  </a:lnTo>
                  <a:lnTo>
                    <a:pt x="795" y="17"/>
                  </a:lnTo>
                  <a:lnTo>
                    <a:pt x="790" y="17"/>
                  </a:lnTo>
                  <a:lnTo>
                    <a:pt x="778" y="17"/>
                  </a:lnTo>
                  <a:lnTo>
                    <a:pt x="772" y="17"/>
                  </a:lnTo>
                  <a:lnTo>
                    <a:pt x="775" y="20"/>
                  </a:lnTo>
                  <a:lnTo>
                    <a:pt x="778" y="23"/>
                  </a:lnTo>
                  <a:lnTo>
                    <a:pt x="787" y="23"/>
                  </a:lnTo>
                  <a:lnTo>
                    <a:pt x="770" y="23"/>
                  </a:lnTo>
                  <a:lnTo>
                    <a:pt x="761" y="23"/>
                  </a:lnTo>
                  <a:lnTo>
                    <a:pt x="749" y="23"/>
                  </a:lnTo>
                  <a:lnTo>
                    <a:pt x="752" y="20"/>
                  </a:lnTo>
                  <a:lnTo>
                    <a:pt x="741" y="20"/>
                  </a:lnTo>
                  <a:lnTo>
                    <a:pt x="729" y="23"/>
                  </a:lnTo>
                  <a:lnTo>
                    <a:pt x="724" y="25"/>
                  </a:lnTo>
                  <a:lnTo>
                    <a:pt x="718" y="25"/>
                  </a:lnTo>
                  <a:lnTo>
                    <a:pt x="715" y="23"/>
                  </a:lnTo>
                  <a:lnTo>
                    <a:pt x="709" y="23"/>
                  </a:lnTo>
                  <a:lnTo>
                    <a:pt x="709" y="25"/>
                  </a:lnTo>
                  <a:lnTo>
                    <a:pt x="703" y="28"/>
                  </a:lnTo>
                  <a:lnTo>
                    <a:pt x="678" y="31"/>
                  </a:lnTo>
                  <a:lnTo>
                    <a:pt x="669" y="34"/>
                  </a:lnTo>
                  <a:lnTo>
                    <a:pt x="666" y="37"/>
                  </a:lnTo>
                  <a:lnTo>
                    <a:pt x="655" y="37"/>
                  </a:lnTo>
                  <a:lnTo>
                    <a:pt x="652" y="46"/>
                  </a:lnTo>
                  <a:lnTo>
                    <a:pt x="660" y="51"/>
                  </a:lnTo>
                  <a:lnTo>
                    <a:pt x="666" y="54"/>
                  </a:lnTo>
                  <a:lnTo>
                    <a:pt x="666" y="57"/>
                  </a:lnTo>
                  <a:lnTo>
                    <a:pt x="655" y="57"/>
                  </a:lnTo>
                  <a:lnTo>
                    <a:pt x="629" y="60"/>
                  </a:lnTo>
                  <a:lnTo>
                    <a:pt x="614" y="60"/>
                  </a:lnTo>
                  <a:lnTo>
                    <a:pt x="600" y="60"/>
                  </a:lnTo>
                  <a:lnTo>
                    <a:pt x="597" y="66"/>
                  </a:lnTo>
                  <a:lnTo>
                    <a:pt x="594" y="66"/>
                  </a:lnTo>
                  <a:lnTo>
                    <a:pt x="597" y="69"/>
                  </a:lnTo>
                  <a:lnTo>
                    <a:pt x="603" y="69"/>
                  </a:lnTo>
                  <a:lnTo>
                    <a:pt x="606" y="71"/>
                  </a:lnTo>
                  <a:lnTo>
                    <a:pt x="609" y="77"/>
                  </a:lnTo>
                  <a:lnTo>
                    <a:pt x="614" y="80"/>
                  </a:lnTo>
                  <a:lnTo>
                    <a:pt x="626" y="80"/>
                  </a:lnTo>
                  <a:lnTo>
                    <a:pt x="635" y="83"/>
                  </a:lnTo>
                  <a:lnTo>
                    <a:pt x="640" y="89"/>
                  </a:lnTo>
                  <a:lnTo>
                    <a:pt x="643" y="89"/>
                  </a:lnTo>
                  <a:lnTo>
                    <a:pt x="640" y="89"/>
                  </a:lnTo>
                  <a:lnTo>
                    <a:pt x="632" y="92"/>
                  </a:lnTo>
                  <a:lnTo>
                    <a:pt x="623" y="89"/>
                  </a:lnTo>
                  <a:lnTo>
                    <a:pt x="606" y="83"/>
                  </a:lnTo>
                  <a:lnTo>
                    <a:pt x="589" y="80"/>
                  </a:lnTo>
                  <a:lnTo>
                    <a:pt x="580" y="80"/>
                  </a:lnTo>
                  <a:lnTo>
                    <a:pt x="577" y="77"/>
                  </a:lnTo>
                  <a:lnTo>
                    <a:pt x="571" y="77"/>
                  </a:lnTo>
                  <a:lnTo>
                    <a:pt x="566" y="80"/>
                  </a:lnTo>
                  <a:lnTo>
                    <a:pt x="574" y="83"/>
                  </a:lnTo>
                  <a:lnTo>
                    <a:pt x="574" y="86"/>
                  </a:lnTo>
                  <a:lnTo>
                    <a:pt x="583" y="83"/>
                  </a:lnTo>
                  <a:lnTo>
                    <a:pt x="586" y="86"/>
                  </a:lnTo>
                  <a:lnTo>
                    <a:pt x="586" y="89"/>
                  </a:lnTo>
                  <a:lnTo>
                    <a:pt x="577" y="89"/>
                  </a:lnTo>
                  <a:lnTo>
                    <a:pt x="569" y="86"/>
                  </a:lnTo>
                  <a:lnTo>
                    <a:pt x="563" y="86"/>
                  </a:lnTo>
                  <a:lnTo>
                    <a:pt x="560" y="86"/>
                  </a:lnTo>
                  <a:lnTo>
                    <a:pt x="566" y="92"/>
                  </a:lnTo>
                  <a:lnTo>
                    <a:pt x="571" y="94"/>
                  </a:lnTo>
                  <a:lnTo>
                    <a:pt x="586" y="97"/>
                  </a:lnTo>
                  <a:lnTo>
                    <a:pt x="594" y="100"/>
                  </a:lnTo>
                  <a:lnTo>
                    <a:pt x="603" y="103"/>
                  </a:lnTo>
                  <a:lnTo>
                    <a:pt x="597" y="103"/>
                  </a:lnTo>
                  <a:lnTo>
                    <a:pt x="586" y="100"/>
                  </a:lnTo>
                  <a:lnTo>
                    <a:pt x="574" y="97"/>
                  </a:lnTo>
                  <a:lnTo>
                    <a:pt x="557" y="97"/>
                  </a:lnTo>
                  <a:lnTo>
                    <a:pt x="557" y="92"/>
                  </a:lnTo>
                  <a:lnTo>
                    <a:pt x="551" y="86"/>
                  </a:lnTo>
                  <a:lnTo>
                    <a:pt x="551" y="80"/>
                  </a:lnTo>
                  <a:lnTo>
                    <a:pt x="543" y="74"/>
                  </a:lnTo>
                  <a:lnTo>
                    <a:pt x="537" y="74"/>
                  </a:lnTo>
                  <a:lnTo>
                    <a:pt x="543" y="80"/>
                  </a:lnTo>
                  <a:lnTo>
                    <a:pt x="546" y="83"/>
                  </a:lnTo>
                  <a:lnTo>
                    <a:pt x="546" y="86"/>
                  </a:lnTo>
                  <a:lnTo>
                    <a:pt x="543" y="86"/>
                  </a:lnTo>
                  <a:lnTo>
                    <a:pt x="534" y="89"/>
                  </a:lnTo>
                  <a:lnTo>
                    <a:pt x="531" y="92"/>
                  </a:lnTo>
                  <a:lnTo>
                    <a:pt x="531" y="97"/>
                  </a:lnTo>
                  <a:lnTo>
                    <a:pt x="534" y="97"/>
                  </a:lnTo>
                  <a:lnTo>
                    <a:pt x="540" y="100"/>
                  </a:lnTo>
                  <a:lnTo>
                    <a:pt x="548" y="106"/>
                  </a:lnTo>
                  <a:lnTo>
                    <a:pt x="551" y="109"/>
                  </a:lnTo>
                  <a:lnTo>
                    <a:pt x="551" y="112"/>
                  </a:lnTo>
                  <a:lnTo>
                    <a:pt x="548" y="117"/>
                  </a:lnTo>
                  <a:lnTo>
                    <a:pt x="551" y="120"/>
                  </a:lnTo>
                  <a:lnTo>
                    <a:pt x="551" y="126"/>
                  </a:lnTo>
                  <a:lnTo>
                    <a:pt x="557" y="126"/>
                  </a:lnTo>
                  <a:lnTo>
                    <a:pt x="557" y="129"/>
                  </a:lnTo>
                  <a:lnTo>
                    <a:pt x="560" y="132"/>
                  </a:lnTo>
                  <a:lnTo>
                    <a:pt x="563" y="132"/>
                  </a:lnTo>
                  <a:lnTo>
                    <a:pt x="571" y="132"/>
                  </a:lnTo>
                  <a:lnTo>
                    <a:pt x="580" y="132"/>
                  </a:lnTo>
                  <a:lnTo>
                    <a:pt x="594" y="132"/>
                  </a:lnTo>
                  <a:lnTo>
                    <a:pt x="603" y="135"/>
                  </a:lnTo>
                  <a:lnTo>
                    <a:pt x="606" y="135"/>
                  </a:lnTo>
                  <a:lnTo>
                    <a:pt x="612" y="137"/>
                  </a:lnTo>
                  <a:lnTo>
                    <a:pt x="617" y="146"/>
                  </a:lnTo>
                  <a:lnTo>
                    <a:pt x="620" y="146"/>
                  </a:lnTo>
                  <a:lnTo>
                    <a:pt x="617" y="152"/>
                  </a:lnTo>
                  <a:lnTo>
                    <a:pt x="620" y="155"/>
                  </a:lnTo>
                  <a:lnTo>
                    <a:pt x="626" y="158"/>
                  </a:lnTo>
                  <a:lnTo>
                    <a:pt x="614" y="158"/>
                  </a:lnTo>
                  <a:lnTo>
                    <a:pt x="612" y="149"/>
                  </a:lnTo>
                  <a:lnTo>
                    <a:pt x="609" y="146"/>
                  </a:lnTo>
                  <a:lnTo>
                    <a:pt x="606" y="140"/>
                  </a:lnTo>
                  <a:lnTo>
                    <a:pt x="597" y="137"/>
                  </a:lnTo>
                  <a:lnTo>
                    <a:pt x="594" y="135"/>
                  </a:lnTo>
                  <a:lnTo>
                    <a:pt x="592" y="135"/>
                  </a:lnTo>
                  <a:lnTo>
                    <a:pt x="574" y="137"/>
                  </a:lnTo>
                  <a:lnTo>
                    <a:pt x="571" y="140"/>
                  </a:lnTo>
                  <a:lnTo>
                    <a:pt x="574" y="143"/>
                  </a:lnTo>
                  <a:lnTo>
                    <a:pt x="580" y="149"/>
                  </a:lnTo>
                  <a:lnTo>
                    <a:pt x="583" y="152"/>
                  </a:lnTo>
                  <a:lnTo>
                    <a:pt x="583" y="155"/>
                  </a:lnTo>
                  <a:lnTo>
                    <a:pt x="583" y="158"/>
                  </a:lnTo>
                  <a:lnTo>
                    <a:pt x="580" y="160"/>
                  </a:lnTo>
                  <a:lnTo>
                    <a:pt x="577" y="172"/>
                  </a:lnTo>
                  <a:lnTo>
                    <a:pt x="569" y="175"/>
                  </a:lnTo>
                  <a:lnTo>
                    <a:pt x="566" y="181"/>
                  </a:lnTo>
                  <a:lnTo>
                    <a:pt x="563" y="183"/>
                  </a:lnTo>
                  <a:lnTo>
                    <a:pt x="554" y="178"/>
                  </a:lnTo>
                  <a:lnTo>
                    <a:pt x="546" y="178"/>
                  </a:lnTo>
                  <a:lnTo>
                    <a:pt x="540" y="178"/>
                  </a:lnTo>
                  <a:lnTo>
                    <a:pt x="531" y="175"/>
                  </a:lnTo>
                  <a:lnTo>
                    <a:pt x="526" y="172"/>
                  </a:lnTo>
                  <a:lnTo>
                    <a:pt x="537" y="172"/>
                  </a:lnTo>
                  <a:lnTo>
                    <a:pt x="551" y="169"/>
                  </a:lnTo>
                  <a:lnTo>
                    <a:pt x="557" y="160"/>
                  </a:lnTo>
                  <a:lnTo>
                    <a:pt x="563" y="155"/>
                  </a:lnTo>
                  <a:lnTo>
                    <a:pt x="563" y="152"/>
                  </a:lnTo>
                  <a:lnTo>
                    <a:pt x="560" y="149"/>
                  </a:lnTo>
                  <a:lnTo>
                    <a:pt x="563" y="143"/>
                  </a:lnTo>
                  <a:lnTo>
                    <a:pt x="557" y="140"/>
                  </a:lnTo>
                  <a:lnTo>
                    <a:pt x="551" y="137"/>
                  </a:lnTo>
                  <a:lnTo>
                    <a:pt x="543" y="129"/>
                  </a:lnTo>
                  <a:lnTo>
                    <a:pt x="540" y="123"/>
                  </a:lnTo>
                  <a:lnTo>
                    <a:pt x="534" y="112"/>
                  </a:lnTo>
                  <a:lnTo>
                    <a:pt x="534" y="109"/>
                  </a:lnTo>
                  <a:lnTo>
                    <a:pt x="531" y="103"/>
                  </a:lnTo>
                  <a:lnTo>
                    <a:pt x="526" y="100"/>
                  </a:lnTo>
                  <a:lnTo>
                    <a:pt x="520" y="97"/>
                  </a:lnTo>
                  <a:lnTo>
                    <a:pt x="511" y="94"/>
                  </a:lnTo>
                  <a:lnTo>
                    <a:pt x="514" y="92"/>
                  </a:lnTo>
                  <a:lnTo>
                    <a:pt x="517" y="86"/>
                  </a:lnTo>
                  <a:lnTo>
                    <a:pt x="517" y="80"/>
                  </a:lnTo>
                  <a:lnTo>
                    <a:pt x="517" y="77"/>
                  </a:lnTo>
                  <a:lnTo>
                    <a:pt x="514" y="74"/>
                  </a:lnTo>
                  <a:lnTo>
                    <a:pt x="508" y="74"/>
                  </a:lnTo>
                  <a:lnTo>
                    <a:pt x="500" y="71"/>
                  </a:lnTo>
                  <a:lnTo>
                    <a:pt x="485" y="71"/>
                  </a:lnTo>
                  <a:lnTo>
                    <a:pt x="477" y="71"/>
                  </a:lnTo>
                  <a:lnTo>
                    <a:pt x="471" y="71"/>
                  </a:lnTo>
                  <a:lnTo>
                    <a:pt x="468" y="77"/>
                  </a:lnTo>
                  <a:lnTo>
                    <a:pt x="471" y="83"/>
                  </a:lnTo>
                  <a:lnTo>
                    <a:pt x="471" y="86"/>
                  </a:lnTo>
                  <a:lnTo>
                    <a:pt x="471" y="92"/>
                  </a:lnTo>
                  <a:lnTo>
                    <a:pt x="462" y="97"/>
                  </a:lnTo>
                  <a:lnTo>
                    <a:pt x="457" y="100"/>
                  </a:lnTo>
                  <a:lnTo>
                    <a:pt x="457" y="103"/>
                  </a:lnTo>
                  <a:lnTo>
                    <a:pt x="459" y="103"/>
                  </a:lnTo>
                  <a:lnTo>
                    <a:pt x="462" y="103"/>
                  </a:lnTo>
                  <a:lnTo>
                    <a:pt x="465" y="106"/>
                  </a:lnTo>
                  <a:lnTo>
                    <a:pt x="465" y="112"/>
                  </a:lnTo>
                  <a:lnTo>
                    <a:pt x="468" y="114"/>
                  </a:lnTo>
                  <a:lnTo>
                    <a:pt x="468" y="117"/>
                  </a:lnTo>
                  <a:lnTo>
                    <a:pt x="468" y="120"/>
                  </a:lnTo>
                  <a:lnTo>
                    <a:pt x="468" y="126"/>
                  </a:lnTo>
                  <a:lnTo>
                    <a:pt x="477" y="126"/>
                  </a:lnTo>
                  <a:lnTo>
                    <a:pt x="482" y="126"/>
                  </a:lnTo>
                  <a:lnTo>
                    <a:pt x="485" y="126"/>
                  </a:lnTo>
                  <a:lnTo>
                    <a:pt x="488" y="129"/>
                  </a:lnTo>
                  <a:lnTo>
                    <a:pt x="488" y="132"/>
                  </a:lnTo>
                  <a:lnTo>
                    <a:pt x="491" y="132"/>
                  </a:lnTo>
                  <a:lnTo>
                    <a:pt x="505" y="137"/>
                  </a:lnTo>
                  <a:lnTo>
                    <a:pt x="503" y="143"/>
                  </a:lnTo>
                  <a:lnTo>
                    <a:pt x="503" y="149"/>
                  </a:lnTo>
                  <a:lnTo>
                    <a:pt x="497" y="146"/>
                  </a:lnTo>
                  <a:lnTo>
                    <a:pt x="497" y="143"/>
                  </a:lnTo>
                  <a:lnTo>
                    <a:pt x="494" y="143"/>
                  </a:lnTo>
                  <a:lnTo>
                    <a:pt x="485" y="140"/>
                  </a:lnTo>
                  <a:lnTo>
                    <a:pt x="474" y="137"/>
                  </a:lnTo>
                  <a:lnTo>
                    <a:pt x="457" y="132"/>
                  </a:lnTo>
                  <a:lnTo>
                    <a:pt x="442" y="126"/>
                  </a:lnTo>
                  <a:lnTo>
                    <a:pt x="408" y="120"/>
                  </a:lnTo>
                  <a:lnTo>
                    <a:pt x="393" y="120"/>
                  </a:lnTo>
                  <a:lnTo>
                    <a:pt x="393" y="123"/>
                  </a:lnTo>
                  <a:lnTo>
                    <a:pt x="391" y="123"/>
                  </a:lnTo>
                  <a:lnTo>
                    <a:pt x="388" y="120"/>
                  </a:lnTo>
                  <a:lnTo>
                    <a:pt x="379" y="114"/>
                  </a:lnTo>
                  <a:lnTo>
                    <a:pt x="368" y="109"/>
                  </a:lnTo>
                  <a:lnTo>
                    <a:pt x="362" y="112"/>
                  </a:lnTo>
                  <a:lnTo>
                    <a:pt x="362" y="114"/>
                  </a:lnTo>
                  <a:lnTo>
                    <a:pt x="368" y="117"/>
                  </a:lnTo>
                  <a:lnTo>
                    <a:pt x="373" y="120"/>
                  </a:lnTo>
                  <a:lnTo>
                    <a:pt x="379" y="123"/>
                  </a:lnTo>
                  <a:lnTo>
                    <a:pt x="382" y="123"/>
                  </a:lnTo>
                  <a:lnTo>
                    <a:pt x="388" y="126"/>
                  </a:lnTo>
                  <a:lnTo>
                    <a:pt x="391" y="132"/>
                  </a:lnTo>
                  <a:lnTo>
                    <a:pt x="393" y="132"/>
                  </a:lnTo>
                  <a:lnTo>
                    <a:pt x="399" y="132"/>
                  </a:lnTo>
                  <a:lnTo>
                    <a:pt x="399" y="135"/>
                  </a:lnTo>
                  <a:lnTo>
                    <a:pt x="393" y="140"/>
                  </a:lnTo>
                  <a:lnTo>
                    <a:pt x="391" y="140"/>
                  </a:lnTo>
                  <a:lnTo>
                    <a:pt x="388" y="140"/>
                  </a:lnTo>
                  <a:lnTo>
                    <a:pt x="391" y="143"/>
                  </a:lnTo>
                  <a:lnTo>
                    <a:pt x="391" y="146"/>
                  </a:lnTo>
                  <a:lnTo>
                    <a:pt x="382" y="146"/>
                  </a:lnTo>
                  <a:lnTo>
                    <a:pt x="382" y="140"/>
                  </a:lnTo>
                  <a:lnTo>
                    <a:pt x="385" y="140"/>
                  </a:lnTo>
                  <a:lnTo>
                    <a:pt x="382" y="137"/>
                  </a:lnTo>
                  <a:lnTo>
                    <a:pt x="379" y="137"/>
                  </a:lnTo>
                  <a:lnTo>
                    <a:pt x="376" y="135"/>
                  </a:lnTo>
                  <a:lnTo>
                    <a:pt x="376" y="132"/>
                  </a:lnTo>
                  <a:lnTo>
                    <a:pt x="376" y="129"/>
                  </a:lnTo>
                  <a:lnTo>
                    <a:pt x="370" y="129"/>
                  </a:lnTo>
                  <a:lnTo>
                    <a:pt x="373" y="135"/>
                  </a:lnTo>
                  <a:lnTo>
                    <a:pt x="368" y="137"/>
                  </a:lnTo>
                  <a:lnTo>
                    <a:pt x="356" y="137"/>
                  </a:lnTo>
                  <a:lnTo>
                    <a:pt x="356" y="140"/>
                  </a:lnTo>
                  <a:lnTo>
                    <a:pt x="345" y="140"/>
                  </a:lnTo>
                  <a:lnTo>
                    <a:pt x="336" y="140"/>
                  </a:lnTo>
                  <a:lnTo>
                    <a:pt x="330" y="143"/>
                  </a:lnTo>
                  <a:lnTo>
                    <a:pt x="330" y="149"/>
                  </a:lnTo>
                  <a:lnTo>
                    <a:pt x="325" y="146"/>
                  </a:lnTo>
                  <a:lnTo>
                    <a:pt x="322" y="146"/>
                  </a:lnTo>
                  <a:lnTo>
                    <a:pt x="316" y="146"/>
                  </a:lnTo>
                  <a:lnTo>
                    <a:pt x="313" y="140"/>
                  </a:lnTo>
                  <a:lnTo>
                    <a:pt x="319" y="137"/>
                  </a:lnTo>
                  <a:lnTo>
                    <a:pt x="316" y="135"/>
                  </a:lnTo>
                  <a:lnTo>
                    <a:pt x="310" y="135"/>
                  </a:lnTo>
                  <a:lnTo>
                    <a:pt x="296" y="140"/>
                  </a:lnTo>
                  <a:lnTo>
                    <a:pt x="299" y="143"/>
                  </a:lnTo>
                  <a:lnTo>
                    <a:pt x="296" y="146"/>
                  </a:lnTo>
                  <a:lnTo>
                    <a:pt x="293" y="146"/>
                  </a:lnTo>
                  <a:lnTo>
                    <a:pt x="293" y="143"/>
                  </a:lnTo>
                  <a:lnTo>
                    <a:pt x="287" y="143"/>
                  </a:lnTo>
                  <a:lnTo>
                    <a:pt x="276" y="143"/>
                  </a:lnTo>
                  <a:lnTo>
                    <a:pt x="270" y="149"/>
                  </a:lnTo>
                  <a:lnTo>
                    <a:pt x="261" y="152"/>
                  </a:lnTo>
                  <a:lnTo>
                    <a:pt x="253" y="155"/>
                  </a:lnTo>
                  <a:lnTo>
                    <a:pt x="256" y="158"/>
                  </a:lnTo>
                  <a:lnTo>
                    <a:pt x="250" y="158"/>
                  </a:lnTo>
                  <a:lnTo>
                    <a:pt x="244" y="158"/>
                  </a:lnTo>
                  <a:lnTo>
                    <a:pt x="244" y="166"/>
                  </a:lnTo>
                  <a:lnTo>
                    <a:pt x="244" y="169"/>
                  </a:lnTo>
                  <a:lnTo>
                    <a:pt x="236" y="172"/>
                  </a:lnTo>
                  <a:lnTo>
                    <a:pt x="227" y="172"/>
                  </a:lnTo>
                  <a:lnTo>
                    <a:pt x="221" y="169"/>
                  </a:lnTo>
                  <a:lnTo>
                    <a:pt x="207" y="160"/>
                  </a:lnTo>
                  <a:lnTo>
                    <a:pt x="210" y="158"/>
                  </a:lnTo>
                  <a:lnTo>
                    <a:pt x="215" y="155"/>
                  </a:lnTo>
                  <a:lnTo>
                    <a:pt x="230" y="155"/>
                  </a:lnTo>
                  <a:lnTo>
                    <a:pt x="224" y="152"/>
                  </a:lnTo>
                  <a:lnTo>
                    <a:pt x="218" y="146"/>
                  </a:lnTo>
                  <a:lnTo>
                    <a:pt x="215" y="140"/>
                  </a:lnTo>
                  <a:lnTo>
                    <a:pt x="213" y="140"/>
                  </a:lnTo>
                  <a:lnTo>
                    <a:pt x="207" y="140"/>
                  </a:lnTo>
                  <a:lnTo>
                    <a:pt x="190" y="140"/>
                  </a:lnTo>
                  <a:lnTo>
                    <a:pt x="184" y="140"/>
                  </a:lnTo>
                  <a:lnTo>
                    <a:pt x="193" y="146"/>
                  </a:lnTo>
                  <a:lnTo>
                    <a:pt x="195" y="149"/>
                  </a:lnTo>
                  <a:lnTo>
                    <a:pt x="195" y="155"/>
                  </a:lnTo>
                  <a:lnTo>
                    <a:pt x="193" y="160"/>
                  </a:lnTo>
                  <a:lnTo>
                    <a:pt x="195" y="163"/>
                  </a:lnTo>
                  <a:lnTo>
                    <a:pt x="201" y="166"/>
                  </a:lnTo>
                  <a:lnTo>
                    <a:pt x="204" y="166"/>
                  </a:lnTo>
                  <a:lnTo>
                    <a:pt x="204" y="169"/>
                  </a:lnTo>
                  <a:lnTo>
                    <a:pt x="204" y="172"/>
                  </a:lnTo>
                  <a:lnTo>
                    <a:pt x="204" y="178"/>
                  </a:lnTo>
                  <a:lnTo>
                    <a:pt x="204" y="183"/>
                  </a:lnTo>
                  <a:lnTo>
                    <a:pt x="201" y="183"/>
                  </a:lnTo>
                  <a:lnTo>
                    <a:pt x="195" y="181"/>
                  </a:lnTo>
                  <a:lnTo>
                    <a:pt x="190" y="178"/>
                  </a:lnTo>
                  <a:lnTo>
                    <a:pt x="181" y="178"/>
                  </a:lnTo>
                  <a:lnTo>
                    <a:pt x="178" y="178"/>
                  </a:lnTo>
                  <a:lnTo>
                    <a:pt x="170" y="183"/>
                  </a:lnTo>
                  <a:lnTo>
                    <a:pt x="164" y="186"/>
                  </a:lnTo>
                  <a:lnTo>
                    <a:pt x="161" y="186"/>
                  </a:lnTo>
                  <a:lnTo>
                    <a:pt x="152" y="192"/>
                  </a:lnTo>
                  <a:lnTo>
                    <a:pt x="149" y="195"/>
                  </a:lnTo>
                  <a:lnTo>
                    <a:pt x="155" y="201"/>
                  </a:lnTo>
                  <a:lnTo>
                    <a:pt x="161" y="203"/>
                  </a:lnTo>
                  <a:lnTo>
                    <a:pt x="161" y="206"/>
                  </a:lnTo>
                  <a:lnTo>
                    <a:pt x="161" y="209"/>
                  </a:lnTo>
                  <a:lnTo>
                    <a:pt x="155" y="209"/>
                  </a:lnTo>
                  <a:lnTo>
                    <a:pt x="141" y="206"/>
                  </a:lnTo>
                  <a:lnTo>
                    <a:pt x="127" y="203"/>
                  </a:lnTo>
                  <a:lnTo>
                    <a:pt x="124" y="201"/>
                  </a:lnTo>
                  <a:lnTo>
                    <a:pt x="118" y="198"/>
                  </a:lnTo>
                  <a:lnTo>
                    <a:pt x="109" y="203"/>
                  </a:lnTo>
                  <a:lnTo>
                    <a:pt x="115" y="209"/>
                  </a:lnTo>
                  <a:lnTo>
                    <a:pt x="124" y="215"/>
                  </a:lnTo>
                  <a:lnTo>
                    <a:pt x="127" y="212"/>
                  </a:lnTo>
                  <a:lnTo>
                    <a:pt x="129" y="212"/>
                  </a:lnTo>
                  <a:lnTo>
                    <a:pt x="135" y="218"/>
                  </a:lnTo>
                  <a:lnTo>
                    <a:pt x="127" y="221"/>
                  </a:lnTo>
                  <a:lnTo>
                    <a:pt x="118" y="221"/>
                  </a:lnTo>
                  <a:lnTo>
                    <a:pt x="112" y="218"/>
                  </a:lnTo>
                  <a:lnTo>
                    <a:pt x="106" y="215"/>
                  </a:lnTo>
                  <a:lnTo>
                    <a:pt x="92" y="212"/>
                  </a:lnTo>
                  <a:lnTo>
                    <a:pt x="92" y="209"/>
                  </a:lnTo>
                  <a:lnTo>
                    <a:pt x="89" y="206"/>
                  </a:lnTo>
                  <a:lnTo>
                    <a:pt x="83" y="198"/>
                  </a:lnTo>
                  <a:lnTo>
                    <a:pt x="83" y="192"/>
                  </a:lnTo>
                  <a:lnTo>
                    <a:pt x="86" y="186"/>
                  </a:lnTo>
                  <a:lnTo>
                    <a:pt x="78" y="181"/>
                  </a:lnTo>
                  <a:lnTo>
                    <a:pt x="66" y="178"/>
                  </a:lnTo>
                  <a:lnTo>
                    <a:pt x="60" y="175"/>
                  </a:lnTo>
                  <a:lnTo>
                    <a:pt x="49" y="169"/>
                  </a:lnTo>
                  <a:lnTo>
                    <a:pt x="60" y="175"/>
                  </a:lnTo>
                  <a:lnTo>
                    <a:pt x="75" y="175"/>
                  </a:lnTo>
                  <a:lnTo>
                    <a:pt x="92" y="178"/>
                  </a:lnTo>
                  <a:lnTo>
                    <a:pt x="109" y="181"/>
                  </a:lnTo>
                  <a:lnTo>
                    <a:pt x="121" y="183"/>
                  </a:lnTo>
                  <a:lnTo>
                    <a:pt x="138" y="183"/>
                  </a:lnTo>
                  <a:lnTo>
                    <a:pt x="149" y="181"/>
                  </a:lnTo>
                  <a:lnTo>
                    <a:pt x="161" y="175"/>
                  </a:lnTo>
                  <a:lnTo>
                    <a:pt x="161" y="163"/>
                  </a:lnTo>
                  <a:lnTo>
                    <a:pt x="155" y="160"/>
                  </a:lnTo>
                  <a:lnTo>
                    <a:pt x="158" y="158"/>
                  </a:lnTo>
                  <a:lnTo>
                    <a:pt x="147" y="155"/>
                  </a:lnTo>
                  <a:lnTo>
                    <a:pt x="135" y="149"/>
                  </a:lnTo>
                  <a:lnTo>
                    <a:pt x="132" y="146"/>
                  </a:lnTo>
                  <a:lnTo>
                    <a:pt x="127" y="146"/>
                  </a:lnTo>
                  <a:lnTo>
                    <a:pt x="118" y="143"/>
                  </a:lnTo>
                  <a:lnTo>
                    <a:pt x="112" y="140"/>
                  </a:lnTo>
                  <a:lnTo>
                    <a:pt x="104" y="137"/>
                  </a:lnTo>
                  <a:lnTo>
                    <a:pt x="89" y="132"/>
                  </a:lnTo>
                  <a:lnTo>
                    <a:pt x="72" y="129"/>
                  </a:lnTo>
                  <a:lnTo>
                    <a:pt x="60" y="129"/>
                  </a:lnTo>
                  <a:lnTo>
                    <a:pt x="55" y="129"/>
                  </a:lnTo>
                  <a:lnTo>
                    <a:pt x="52" y="126"/>
                  </a:lnTo>
                  <a:lnTo>
                    <a:pt x="46" y="126"/>
                  </a:lnTo>
                  <a:lnTo>
                    <a:pt x="49" y="123"/>
                  </a:lnTo>
                  <a:lnTo>
                    <a:pt x="38" y="120"/>
                  </a:lnTo>
                  <a:lnTo>
                    <a:pt x="29" y="123"/>
                  </a:lnTo>
                  <a:lnTo>
                    <a:pt x="26" y="123"/>
                  </a:lnTo>
                  <a:lnTo>
                    <a:pt x="23" y="129"/>
                  </a:lnTo>
                  <a:lnTo>
                    <a:pt x="20" y="129"/>
                  </a:lnTo>
                  <a:lnTo>
                    <a:pt x="17" y="126"/>
                  </a:lnTo>
                  <a:lnTo>
                    <a:pt x="12" y="129"/>
                  </a:lnTo>
                  <a:lnTo>
                    <a:pt x="6" y="135"/>
                  </a:lnTo>
                  <a:lnTo>
                    <a:pt x="0" y="137"/>
                  </a:lnTo>
                  <a:lnTo>
                    <a:pt x="0" y="146"/>
                  </a:lnTo>
                  <a:lnTo>
                    <a:pt x="9" y="149"/>
                  </a:lnTo>
                  <a:lnTo>
                    <a:pt x="17" y="155"/>
                  </a:lnTo>
                  <a:lnTo>
                    <a:pt x="17" y="158"/>
                  </a:lnTo>
                  <a:lnTo>
                    <a:pt x="17" y="160"/>
                  </a:lnTo>
                  <a:lnTo>
                    <a:pt x="15" y="163"/>
                  </a:lnTo>
                  <a:lnTo>
                    <a:pt x="9" y="166"/>
                  </a:lnTo>
                  <a:lnTo>
                    <a:pt x="9" y="169"/>
                  </a:lnTo>
                  <a:lnTo>
                    <a:pt x="17" y="178"/>
                  </a:lnTo>
                  <a:lnTo>
                    <a:pt x="26" y="186"/>
                  </a:lnTo>
                  <a:lnTo>
                    <a:pt x="26" y="189"/>
                  </a:lnTo>
                  <a:lnTo>
                    <a:pt x="20" y="192"/>
                  </a:lnTo>
                  <a:lnTo>
                    <a:pt x="23" y="198"/>
                  </a:lnTo>
                  <a:lnTo>
                    <a:pt x="23" y="201"/>
                  </a:lnTo>
                  <a:lnTo>
                    <a:pt x="20" y="201"/>
                  </a:lnTo>
                  <a:lnTo>
                    <a:pt x="26" y="203"/>
                  </a:lnTo>
                  <a:lnTo>
                    <a:pt x="29" y="206"/>
                  </a:lnTo>
                  <a:lnTo>
                    <a:pt x="29" y="212"/>
                  </a:lnTo>
                  <a:lnTo>
                    <a:pt x="38" y="215"/>
                  </a:lnTo>
                  <a:lnTo>
                    <a:pt x="38" y="218"/>
                  </a:lnTo>
                  <a:lnTo>
                    <a:pt x="35" y="221"/>
                  </a:lnTo>
                  <a:lnTo>
                    <a:pt x="32" y="224"/>
                  </a:lnTo>
                  <a:lnTo>
                    <a:pt x="40" y="229"/>
                  </a:lnTo>
                  <a:lnTo>
                    <a:pt x="52" y="238"/>
                  </a:lnTo>
                  <a:lnTo>
                    <a:pt x="55" y="241"/>
                  </a:lnTo>
                  <a:lnTo>
                    <a:pt x="52" y="241"/>
                  </a:lnTo>
                  <a:lnTo>
                    <a:pt x="46" y="247"/>
                  </a:lnTo>
                  <a:lnTo>
                    <a:pt x="38" y="255"/>
                  </a:lnTo>
                  <a:lnTo>
                    <a:pt x="38" y="258"/>
                  </a:lnTo>
                  <a:lnTo>
                    <a:pt x="32" y="264"/>
                  </a:lnTo>
                  <a:lnTo>
                    <a:pt x="15" y="275"/>
                  </a:lnTo>
                  <a:lnTo>
                    <a:pt x="9" y="281"/>
                  </a:lnTo>
                  <a:lnTo>
                    <a:pt x="20" y="278"/>
                  </a:lnTo>
                  <a:lnTo>
                    <a:pt x="20" y="281"/>
                  </a:lnTo>
                  <a:lnTo>
                    <a:pt x="20" y="284"/>
                  </a:lnTo>
                  <a:lnTo>
                    <a:pt x="26" y="287"/>
                  </a:lnTo>
                  <a:lnTo>
                    <a:pt x="32" y="290"/>
                  </a:lnTo>
                  <a:lnTo>
                    <a:pt x="38" y="290"/>
                  </a:lnTo>
                  <a:lnTo>
                    <a:pt x="40" y="290"/>
                  </a:lnTo>
                  <a:lnTo>
                    <a:pt x="32" y="292"/>
                  </a:lnTo>
                  <a:lnTo>
                    <a:pt x="20" y="292"/>
                  </a:lnTo>
                  <a:lnTo>
                    <a:pt x="15" y="295"/>
                  </a:lnTo>
                  <a:lnTo>
                    <a:pt x="12" y="295"/>
                  </a:lnTo>
                  <a:lnTo>
                    <a:pt x="12" y="298"/>
                  </a:lnTo>
                  <a:lnTo>
                    <a:pt x="9" y="310"/>
                  </a:lnTo>
                  <a:lnTo>
                    <a:pt x="6" y="315"/>
                  </a:lnTo>
                  <a:lnTo>
                    <a:pt x="9" y="321"/>
                  </a:lnTo>
                  <a:lnTo>
                    <a:pt x="9" y="324"/>
                  </a:lnTo>
                  <a:lnTo>
                    <a:pt x="17" y="330"/>
                  </a:lnTo>
                  <a:lnTo>
                    <a:pt x="12" y="336"/>
                  </a:lnTo>
                  <a:lnTo>
                    <a:pt x="15" y="336"/>
                  </a:lnTo>
                  <a:lnTo>
                    <a:pt x="17" y="338"/>
                  </a:lnTo>
                  <a:lnTo>
                    <a:pt x="17" y="341"/>
                  </a:lnTo>
                  <a:lnTo>
                    <a:pt x="15" y="347"/>
                  </a:lnTo>
                  <a:lnTo>
                    <a:pt x="20" y="350"/>
                  </a:lnTo>
                  <a:lnTo>
                    <a:pt x="23" y="359"/>
                  </a:lnTo>
                  <a:lnTo>
                    <a:pt x="26" y="359"/>
                  </a:lnTo>
                  <a:lnTo>
                    <a:pt x="29" y="359"/>
                  </a:lnTo>
                  <a:lnTo>
                    <a:pt x="29" y="361"/>
                  </a:lnTo>
                  <a:lnTo>
                    <a:pt x="35" y="361"/>
                  </a:lnTo>
                  <a:lnTo>
                    <a:pt x="43" y="361"/>
                  </a:lnTo>
                  <a:lnTo>
                    <a:pt x="40" y="361"/>
                  </a:lnTo>
                  <a:lnTo>
                    <a:pt x="40" y="364"/>
                  </a:lnTo>
                  <a:lnTo>
                    <a:pt x="43" y="367"/>
                  </a:lnTo>
                  <a:lnTo>
                    <a:pt x="46" y="361"/>
                  </a:lnTo>
                  <a:lnTo>
                    <a:pt x="49" y="361"/>
                  </a:lnTo>
                  <a:lnTo>
                    <a:pt x="55" y="364"/>
                  </a:lnTo>
                  <a:lnTo>
                    <a:pt x="63" y="367"/>
                  </a:lnTo>
                  <a:lnTo>
                    <a:pt x="66" y="367"/>
                  </a:lnTo>
                  <a:lnTo>
                    <a:pt x="63" y="376"/>
                  </a:lnTo>
                  <a:lnTo>
                    <a:pt x="66" y="379"/>
                  </a:lnTo>
                  <a:lnTo>
                    <a:pt x="66" y="381"/>
                  </a:lnTo>
                  <a:lnTo>
                    <a:pt x="63" y="384"/>
                  </a:lnTo>
                  <a:lnTo>
                    <a:pt x="66" y="387"/>
                  </a:lnTo>
                  <a:lnTo>
                    <a:pt x="72" y="393"/>
                  </a:lnTo>
                  <a:lnTo>
                    <a:pt x="78" y="396"/>
                  </a:lnTo>
                  <a:lnTo>
                    <a:pt x="81" y="396"/>
                  </a:lnTo>
                  <a:lnTo>
                    <a:pt x="83" y="402"/>
                  </a:lnTo>
                  <a:lnTo>
                    <a:pt x="86" y="399"/>
                  </a:lnTo>
                  <a:lnTo>
                    <a:pt x="89" y="402"/>
                  </a:lnTo>
                  <a:lnTo>
                    <a:pt x="92" y="404"/>
                  </a:lnTo>
                  <a:lnTo>
                    <a:pt x="92" y="407"/>
                  </a:lnTo>
                  <a:lnTo>
                    <a:pt x="98" y="410"/>
                  </a:lnTo>
                  <a:lnTo>
                    <a:pt x="95" y="413"/>
                  </a:lnTo>
                  <a:lnTo>
                    <a:pt x="92" y="416"/>
                  </a:lnTo>
                  <a:lnTo>
                    <a:pt x="86" y="419"/>
                  </a:lnTo>
                  <a:lnTo>
                    <a:pt x="78" y="416"/>
                  </a:lnTo>
                  <a:lnTo>
                    <a:pt x="75" y="419"/>
                  </a:lnTo>
                  <a:lnTo>
                    <a:pt x="81" y="433"/>
                  </a:lnTo>
                  <a:lnTo>
                    <a:pt x="89" y="436"/>
                  </a:lnTo>
                  <a:lnTo>
                    <a:pt x="89" y="427"/>
                  </a:lnTo>
                  <a:lnTo>
                    <a:pt x="98" y="433"/>
                  </a:lnTo>
                  <a:lnTo>
                    <a:pt x="104" y="427"/>
                  </a:lnTo>
                  <a:lnTo>
                    <a:pt x="112" y="430"/>
                  </a:lnTo>
                  <a:lnTo>
                    <a:pt x="118" y="433"/>
                  </a:lnTo>
                  <a:lnTo>
                    <a:pt x="127" y="442"/>
                  </a:lnTo>
                  <a:lnTo>
                    <a:pt x="121" y="445"/>
                  </a:lnTo>
                  <a:lnTo>
                    <a:pt x="121" y="448"/>
                  </a:lnTo>
                  <a:lnTo>
                    <a:pt x="132" y="450"/>
                  </a:lnTo>
                  <a:lnTo>
                    <a:pt x="135" y="450"/>
                  </a:lnTo>
                  <a:lnTo>
                    <a:pt x="138" y="453"/>
                  </a:lnTo>
                  <a:lnTo>
                    <a:pt x="144" y="459"/>
                  </a:lnTo>
                  <a:lnTo>
                    <a:pt x="144" y="465"/>
                  </a:lnTo>
                  <a:lnTo>
                    <a:pt x="147" y="465"/>
                  </a:lnTo>
                  <a:lnTo>
                    <a:pt x="149" y="462"/>
                  </a:lnTo>
                  <a:lnTo>
                    <a:pt x="161" y="468"/>
                  </a:lnTo>
                  <a:lnTo>
                    <a:pt x="172" y="465"/>
                  </a:lnTo>
                  <a:lnTo>
                    <a:pt x="184" y="473"/>
                  </a:lnTo>
                  <a:lnTo>
                    <a:pt x="187" y="473"/>
                  </a:lnTo>
                  <a:lnTo>
                    <a:pt x="198" y="479"/>
                  </a:lnTo>
                  <a:lnTo>
                    <a:pt x="215" y="479"/>
                  </a:lnTo>
                  <a:lnTo>
                    <a:pt x="218" y="488"/>
                  </a:lnTo>
                  <a:lnTo>
                    <a:pt x="218" y="491"/>
                  </a:lnTo>
                  <a:lnTo>
                    <a:pt x="215" y="493"/>
                  </a:lnTo>
                  <a:lnTo>
                    <a:pt x="218" y="496"/>
                  </a:lnTo>
                  <a:lnTo>
                    <a:pt x="215" y="499"/>
                  </a:lnTo>
                  <a:lnTo>
                    <a:pt x="213" y="502"/>
                  </a:lnTo>
                  <a:lnTo>
                    <a:pt x="218" y="508"/>
                  </a:lnTo>
                  <a:lnTo>
                    <a:pt x="215" y="519"/>
                  </a:lnTo>
                  <a:lnTo>
                    <a:pt x="201" y="516"/>
                  </a:lnTo>
                  <a:lnTo>
                    <a:pt x="195" y="522"/>
                  </a:lnTo>
                  <a:lnTo>
                    <a:pt x="193" y="528"/>
                  </a:lnTo>
                  <a:lnTo>
                    <a:pt x="207" y="528"/>
                  </a:lnTo>
                  <a:lnTo>
                    <a:pt x="204" y="534"/>
                  </a:lnTo>
                  <a:lnTo>
                    <a:pt x="190" y="539"/>
                  </a:lnTo>
                  <a:lnTo>
                    <a:pt x="193" y="542"/>
                  </a:lnTo>
                  <a:lnTo>
                    <a:pt x="195" y="545"/>
                  </a:lnTo>
                  <a:lnTo>
                    <a:pt x="190" y="554"/>
                  </a:lnTo>
                  <a:lnTo>
                    <a:pt x="184" y="562"/>
                  </a:lnTo>
                  <a:lnTo>
                    <a:pt x="172" y="562"/>
                  </a:lnTo>
                  <a:lnTo>
                    <a:pt x="155" y="565"/>
                  </a:lnTo>
                  <a:lnTo>
                    <a:pt x="149" y="559"/>
                  </a:lnTo>
                  <a:lnTo>
                    <a:pt x="144" y="554"/>
                  </a:lnTo>
                  <a:lnTo>
                    <a:pt x="132" y="551"/>
                  </a:lnTo>
                  <a:lnTo>
                    <a:pt x="124" y="554"/>
                  </a:lnTo>
                  <a:lnTo>
                    <a:pt x="109" y="562"/>
                  </a:lnTo>
                  <a:lnTo>
                    <a:pt x="118" y="562"/>
                  </a:lnTo>
                  <a:lnTo>
                    <a:pt x="127" y="568"/>
                  </a:lnTo>
                  <a:lnTo>
                    <a:pt x="124" y="574"/>
                  </a:lnTo>
                  <a:lnTo>
                    <a:pt x="124" y="577"/>
                  </a:lnTo>
                  <a:lnTo>
                    <a:pt x="127" y="580"/>
                  </a:lnTo>
                  <a:lnTo>
                    <a:pt x="138" y="580"/>
                  </a:lnTo>
                  <a:lnTo>
                    <a:pt x="149" y="571"/>
                  </a:lnTo>
                  <a:lnTo>
                    <a:pt x="158" y="568"/>
                  </a:lnTo>
                  <a:lnTo>
                    <a:pt x="167" y="568"/>
                  </a:lnTo>
                  <a:lnTo>
                    <a:pt x="175" y="568"/>
                  </a:lnTo>
                  <a:lnTo>
                    <a:pt x="187" y="574"/>
                  </a:lnTo>
                  <a:lnTo>
                    <a:pt x="195" y="577"/>
                  </a:lnTo>
                  <a:lnTo>
                    <a:pt x="204" y="585"/>
                  </a:lnTo>
                  <a:lnTo>
                    <a:pt x="204" y="582"/>
                  </a:lnTo>
                  <a:lnTo>
                    <a:pt x="210" y="585"/>
                  </a:lnTo>
                  <a:lnTo>
                    <a:pt x="221" y="594"/>
                  </a:lnTo>
                  <a:lnTo>
                    <a:pt x="227" y="600"/>
                  </a:lnTo>
                  <a:lnTo>
                    <a:pt x="230" y="594"/>
                  </a:lnTo>
                  <a:lnTo>
                    <a:pt x="233" y="594"/>
                  </a:lnTo>
                  <a:lnTo>
                    <a:pt x="247" y="600"/>
                  </a:lnTo>
                  <a:lnTo>
                    <a:pt x="264" y="603"/>
                  </a:lnTo>
                  <a:lnTo>
                    <a:pt x="267" y="603"/>
                  </a:lnTo>
                  <a:lnTo>
                    <a:pt x="276" y="603"/>
                  </a:lnTo>
                  <a:lnTo>
                    <a:pt x="284" y="608"/>
                  </a:lnTo>
                  <a:lnTo>
                    <a:pt x="290" y="611"/>
                  </a:lnTo>
                  <a:lnTo>
                    <a:pt x="296" y="611"/>
                  </a:lnTo>
                  <a:lnTo>
                    <a:pt x="293" y="614"/>
                  </a:lnTo>
                  <a:lnTo>
                    <a:pt x="299" y="614"/>
                  </a:lnTo>
                  <a:lnTo>
                    <a:pt x="307" y="611"/>
                  </a:lnTo>
                  <a:lnTo>
                    <a:pt x="322" y="617"/>
                  </a:lnTo>
                  <a:lnTo>
                    <a:pt x="325" y="623"/>
                  </a:lnTo>
                  <a:lnTo>
                    <a:pt x="333" y="628"/>
                  </a:lnTo>
                  <a:lnTo>
                    <a:pt x="336" y="628"/>
                  </a:lnTo>
                  <a:lnTo>
                    <a:pt x="339" y="628"/>
                  </a:lnTo>
                  <a:lnTo>
                    <a:pt x="345" y="631"/>
                  </a:lnTo>
                  <a:lnTo>
                    <a:pt x="348" y="640"/>
                  </a:lnTo>
                  <a:lnTo>
                    <a:pt x="350" y="640"/>
                  </a:lnTo>
                  <a:lnTo>
                    <a:pt x="359" y="640"/>
                  </a:lnTo>
                  <a:lnTo>
                    <a:pt x="365" y="634"/>
                  </a:lnTo>
                  <a:lnTo>
                    <a:pt x="368" y="628"/>
                  </a:lnTo>
                  <a:lnTo>
                    <a:pt x="362" y="626"/>
                  </a:lnTo>
                  <a:lnTo>
                    <a:pt x="353" y="617"/>
                  </a:lnTo>
                  <a:lnTo>
                    <a:pt x="350" y="611"/>
                  </a:lnTo>
                  <a:lnTo>
                    <a:pt x="348" y="603"/>
                  </a:lnTo>
                  <a:lnTo>
                    <a:pt x="348" y="594"/>
                  </a:lnTo>
                  <a:lnTo>
                    <a:pt x="339" y="585"/>
                  </a:lnTo>
                  <a:lnTo>
                    <a:pt x="330" y="582"/>
                  </a:lnTo>
                  <a:lnTo>
                    <a:pt x="333" y="574"/>
                  </a:lnTo>
                  <a:lnTo>
                    <a:pt x="339" y="568"/>
                  </a:lnTo>
                  <a:lnTo>
                    <a:pt x="339" y="557"/>
                  </a:lnTo>
                  <a:lnTo>
                    <a:pt x="345" y="557"/>
                  </a:lnTo>
                  <a:lnTo>
                    <a:pt x="350" y="557"/>
                  </a:lnTo>
                  <a:lnTo>
                    <a:pt x="353" y="551"/>
                  </a:lnTo>
                  <a:lnTo>
                    <a:pt x="359" y="554"/>
                  </a:lnTo>
                  <a:lnTo>
                    <a:pt x="359" y="551"/>
                  </a:lnTo>
                  <a:lnTo>
                    <a:pt x="359" y="548"/>
                  </a:lnTo>
                  <a:lnTo>
                    <a:pt x="362" y="548"/>
                  </a:lnTo>
                  <a:lnTo>
                    <a:pt x="345" y="537"/>
                  </a:lnTo>
                  <a:lnTo>
                    <a:pt x="348" y="537"/>
                  </a:lnTo>
                  <a:lnTo>
                    <a:pt x="353" y="537"/>
                  </a:lnTo>
                  <a:lnTo>
                    <a:pt x="348" y="525"/>
                  </a:lnTo>
                  <a:lnTo>
                    <a:pt x="333" y="516"/>
                  </a:lnTo>
                  <a:lnTo>
                    <a:pt x="327" y="519"/>
                  </a:lnTo>
                  <a:lnTo>
                    <a:pt x="325" y="514"/>
                  </a:lnTo>
                  <a:lnTo>
                    <a:pt x="325" y="511"/>
                  </a:lnTo>
                  <a:lnTo>
                    <a:pt x="313" y="505"/>
                  </a:lnTo>
                  <a:lnTo>
                    <a:pt x="313" y="502"/>
                  </a:lnTo>
                  <a:lnTo>
                    <a:pt x="313" y="499"/>
                  </a:lnTo>
                  <a:lnTo>
                    <a:pt x="316" y="496"/>
                  </a:lnTo>
                  <a:lnTo>
                    <a:pt x="319" y="491"/>
                  </a:lnTo>
                  <a:lnTo>
                    <a:pt x="316" y="488"/>
                  </a:lnTo>
                  <a:lnTo>
                    <a:pt x="313" y="482"/>
                  </a:lnTo>
                  <a:lnTo>
                    <a:pt x="313" y="479"/>
                  </a:lnTo>
                  <a:lnTo>
                    <a:pt x="319" y="473"/>
                  </a:lnTo>
                  <a:lnTo>
                    <a:pt x="319" y="470"/>
                  </a:lnTo>
                  <a:lnTo>
                    <a:pt x="319" y="465"/>
                  </a:lnTo>
                  <a:lnTo>
                    <a:pt x="322" y="465"/>
                  </a:lnTo>
                  <a:lnTo>
                    <a:pt x="325" y="465"/>
                  </a:lnTo>
                  <a:lnTo>
                    <a:pt x="330" y="470"/>
                  </a:lnTo>
                  <a:lnTo>
                    <a:pt x="333" y="473"/>
                  </a:lnTo>
                  <a:lnTo>
                    <a:pt x="339" y="476"/>
                  </a:lnTo>
                  <a:lnTo>
                    <a:pt x="342" y="476"/>
                  </a:lnTo>
                  <a:lnTo>
                    <a:pt x="342" y="473"/>
                  </a:lnTo>
                  <a:lnTo>
                    <a:pt x="333" y="462"/>
                  </a:lnTo>
                  <a:lnTo>
                    <a:pt x="336" y="462"/>
                  </a:lnTo>
                  <a:lnTo>
                    <a:pt x="342" y="459"/>
                  </a:lnTo>
                  <a:lnTo>
                    <a:pt x="348" y="456"/>
                  </a:lnTo>
                  <a:lnTo>
                    <a:pt x="345" y="450"/>
                  </a:lnTo>
                  <a:lnTo>
                    <a:pt x="356" y="450"/>
                  </a:lnTo>
                  <a:lnTo>
                    <a:pt x="359" y="445"/>
                  </a:lnTo>
                  <a:lnTo>
                    <a:pt x="362" y="442"/>
                  </a:lnTo>
                  <a:lnTo>
                    <a:pt x="368" y="439"/>
                  </a:lnTo>
                  <a:lnTo>
                    <a:pt x="370" y="442"/>
                  </a:lnTo>
                  <a:lnTo>
                    <a:pt x="373" y="445"/>
                  </a:lnTo>
                  <a:lnTo>
                    <a:pt x="379" y="445"/>
                  </a:lnTo>
                  <a:lnTo>
                    <a:pt x="382" y="442"/>
                  </a:lnTo>
                  <a:lnTo>
                    <a:pt x="388" y="439"/>
                  </a:lnTo>
                  <a:lnTo>
                    <a:pt x="393" y="445"/>
                  </a:lnTo>
                  <a:lnTo>
                    <a:pt x="408" y="445"/>
                  </a:lnTo>
                  <a:lnTo>
                    <a:pt x="416" y="450"/>
                  </a:lnTo>
                  <a:lnTo>
                    <a:pt x="422" y="459"/>
                  </a:lnTo>
                  <a:lnTo>
                    <a:pt x="425" y="465"/>
                  </a:lnTo>
                  <a:lnTo>
                    <a:pt x="425" y="462"/>
                  </a:lnTo>
                  <a:lnTo>
                    <a:pt x="422" y="456"/>
                  </a:lnTo>
                  <a:lnTo>
                    <a:pt x="425" y="453"/>
                  </a:lnTo>
                  <a:lnTo>
                    <a:pt x="439" y="465"/>
                  </a:lnTo>
                  <a:lnTo>
                    <a:pt x="445" y="459"/>
                  </a:lnTo>
                  <a:lnTo>
                    <a:pt x="451" y="453"/>
                  </a:lnTo>
                  <a:lnTo>
                    <a:pt x="459" y="453"/>
                  </a:lnTo>
                  <a:lnTo>
                    <a:pt x="468" y="456"/>
                  </a:lnTo>
                  <a:lnTo>
                    <a:pt x="471" y="453"/>
                  </a:lnTo>
                  <a:lnTo>
                    <a:pt x="474" y="453"/>
                  </a:lnTo>
                  <a:lnTo>
                    <a:pt x="480" y="450"/>
                  </a:lnTo>
                  <a:lnTo>
                    <a:pt x="482" y="450"/>
                  </a:lnTo>
                  <a:lnTo>
                    <a:pt x="485" y="453"/>
                  </a:lnTo>
                  <a:lnTo>
                    <a:pt x="488" y="459"/>
                  </a:lnTo>
                  <a:lnTo>
                    <a:pt x="491" y="459"/>
                  </a:lnTo>
                  <a:lnTo>
                    <a:pt x="503" y="462"/>
                  </a:lnTo>
                  <a:lnTo>
                    <a:pt x="505" y="459"/>
                  </a:lnTo>
                  <a:lnTo>
                    <a:pt x="505" y="456"/>
                  </a:lnTo>
                  <a:lnTo>
                    <a:pt x="508" y="459"/>
                  </a:lnTo>
                  <a:lnTo>
                    <a:pt x="511" y="459"/>
                  </a:lnTo>
                  <a:lnTo>
                    <a:pt x="517" y="459"/>
                  </a:lnTo>
                  <a:lnTo>
                    <a:pt x="523" y="459"/>
                  </a:lnTo>
                  <a:lnTo>
                    <a:pt x="523" y="453"/>
                  </a:lnTo>
                  <a:lnTo>
                    <a:pt x="517" y="450"/>
                  </a:lnTo>
                  <a:lnTo>
                    <a:pt x="511" y="448"/>
                  </a:lnTo>
                  <a:lnTo>
                    <a:pt x="505" y="445"/>
                  </a:lnTo>
                  <a:lnTo>
                    <a:pt x="494" y="439"/>
                  </a:lnTo>
                  <a:lnTo>
                    <a:pt x="508" y="430"/>
                  </a:lnTo>
                  <a:lnTo>
                    <a:pt x="505" y="425"/>
                  </a:lnTo>
                  <a:lnTo>
                    <a:pt x="511" y="416"/>
                  </a:lnTo>
                  <a:lnTo>
                    <a:pt x="517" y="416"/>
                  </a:lnTo>
                  <a:lnTo>
                    <a:pt x="511" y="413"/>
                  </a:lnTo>
                  <a:lnTo>
                    <a:pt x="505" y="413"/>
                  </a:lnTo>
                  <a:lnTo>
                    <a:pt x="508" y="410"/>
                  </a:lnTo>
                  <a:lnTo>
                    <a:pt x="508" y="407"/>
                  </a:lnTo>
                  <a:lnTo>
                    <a:pt x="503" y="407"/>
                  </a:lnTo>
                  <a:lnTo>
                    <a:pt x="503" y="404"/>
                  </a:lnTo>
                  <a:lnTo>
                    <a:pt x="500" y="399"/>
                  </a:lnTo>
                  <a:lnTo>
                    <a:pt x="503" y="399"/>
                  </a:lnTo>
                  <a:lnTo>
                    <a:pt x="508" y="396"/>
                  </a:lnTo>
                  <a:lnTo>
                    <a:pt x="523" y="396"/>
                  </a:lnTo>
                  <a:lnTo>
                    <a:pt x="531" y="396"/>
                  </a:lnTo>
                  <a:lnTo>
                    <a:pt x="540" y="393"/>
                  </a:lnTo>
                  <a:lnTo>
                    <a:pt x="546" y="390"/>
                  </a:lnTo>
                  <a:lnTo>
                    <a:pt x="554" y="390"/>
                  </a:lnTo>
                  <a:lnTo>
                    <a:pt x="557" y="390"/>
                  </a:lnTo>
                  <a:lnTo>
                    <a:pt x="560" y="384"/>
                  </a:lnTo>
                  <a:lnTo>
                    <a:pt x="566" y="384"/>
                  </a:lnTo>
                  <a:lnTo>
                    <a:pt x="586" y="384"/>
                  </a:lnTo>
                  <a:lnTo>
                    <a:pt x="597" y="379"/>
                  </a:lnTo>
                  <a:lnTo>
                    <a:pt x="597" y="376"/>
                  </a:lnTo>
                  <a:lnTo>
                    <a:pt x="606" y="370"/>
                  </a:lnTo>
                  <a:lnTo>
                    <a:pt x="626" y="376"/>
                  </a:lnTo>
                  <a:lnTo>
                    <a:pt x="635" y="373"/>
                  </a:lnTo>
                  <a:lnTo>
                    <a:pt x="643" y="381"/>
                  </a:lnTo>
                  <a:lnTo>
                    <a:pt x="646" y="387"/>
                  </a:lnTo>
                  <a:lnTo>
                    <a:pt x="649" y="393"/>
                  </a:lnTo>
                  <a:lnTo>
                    <a:pt x="655" y="393"/>
                  </a:lnTo>
                  <a:lnTo>
                    <a:pt x="660" y="390"/>
                  </a:lnTo>
                  <a:lnTo>
                    <a:pt x="669" y="399"/>
                  </a:lnTo>
                  <a:lnTo>
                    <a:pt x="672" y="396"/>
                  </a:lnTo>
                  <a:lnTo>
                    <a:pt x="675" y="396"/>
                  </a:lnTo>
                  <a:lnTo>
                    <a:pt x="678" y="399"/>
                  </a:lnTo>
                  <a:lnTo>
                    <a:pt x="686" y="396"/>
                  </a:lnTo>
                  <a:lnTo>
                    <a:pt x="692" y="402"/>
                  </a:lnTo>
                  <a:lnTo>
                    <a:pt x="683" y="407"/>
                  </a:lnTo>
                  <a:lnTo>
                    <a:pt x="686" y="410"/>
                  </a:lnTo>
                  <a:lnTo>
                    <a:pt x="692" y="407"/>
                  </a:lnTo>
                  <a:lnTo>
                    <a:pt x="698" y="407"/>
                  </a:lnTo>
                  <a:lnTo>
                    <a:pt x="703" y="402"/>
                  </a:lnTo>
                  <a:lnTo>
                    <a:pt x="709" y="396"/>
                  </a:lnTo>
                  <a:lnTo>
                    <a:pt x="729" y="387"/>
                  </a:lnTo>
                  <a:lnTo>
                    <a:pt x="729" y="396"/>
                  </a:lnTo>
                  <a:lnTo>
                    <a:pt x="729" y="399"/>
                  </a:lnTo>
                  <a:lnTo>
                    <a:pt x="744" y="404"/>
                  </a:lnTo>
                  <a:lnTo>
                    <a:pt x="752" y="413"/>
                  </a:lnTo>
                  <a:lnTo>
                    <a:pt x="767" y="425"/>
                  </a:lnTo>
                  <a:lnTo>
                    <a:pt x="784" y="436"/>
                  </a:lnTo>
                  <a:lnTo>
                    <a:pt x="795" y="448"/>
                  </a:lnTo>
                  <a:lnTo>
                    <a:pt x="804" y="456"/>
                  </a:lnTo>
                  <a:lnTo>
                    <a:pt x="807" y="448"/>
                  </a:lnTo>
                  <a:lnTo>
                    <a:pt x="818" y="450"/>
                  </a:lnTo>
                  <a:lnTo>
                    <a:pt x="818" y="453"/>
                  </a:lnTo>
                  <a:lnTo>
                    <a:pt x="821" y="456"/>
                  </a:lnTo>
                  <a:lnTo>
                    <a:pt x="827" y="459"/>
                  </a:lnTo>
                  <a:lnTo>
                    <a:pt x="836" y="459"/>
                  </a:lnTo>
                  <a:lnTo>
                    <a:pt x="847" y="453"/>
                  </a:lnTo>
                  <a:lnTo>
                    <a:pt x="853" y="453"/>
                  </a:lnTo>
                  <a:lnTo>
                    <a:pt x="861" y="456"/>
                  </a:lnTo>
                  <a:lnTo>
                    <a:pt x="867" y="462"/>
                  </a:lnTo>
                  <a:lnTo>
                    <a:pt x="873" y="468"/>
                  </a:lnTo>
                  <a:lnTo>
                    <a:pt x="876" y="470"/>
                  </a:lnTo>
                  <a:lnTo>
                    <a:pt x="881" y="470"/>
                  </a:lnTo>
                  <a:lnTo>
                    <a:pt x="884" y="476"/>
                  </a:lnTo>
                  <a:lnTo>
                    <a:pt x="887" y="479"/>
                  </a:lnTo>
                  <a:lnTo>
                    <a:pt x="902" y="482"/>
                  </a:lnTo>
                  <a:lnTo>
                    <a:pt x="907" y="479"/>
                  </a:lnTo>
                  <a:lnTo>
                    <a:pt x="910" y="476"/>
                  </a:lnTo>
                  <a:lnTo>
                    <a:pt x="913" y="476"/>
                  </a:lnTo>
                  <a:lnTo>
                    <a:pt x="916" y="485"/>
                  </a:lnTo>
                  <a:lnTo>
                    <a:pt x="922" y="491"/>
                  </a:lnTo>
                  <a:lnTo>
                    <a:pt x="930" y="491"/>
                  </a:lnTo>
                  <a:lnTo>
                    <a:pt x="933" y="491"/>
                  </a:lnTo>
                  <a:lnTo>
                    <a:pt x="933" y="482"/>
                  </a:lnTo>
                  <a:lnTo>
                    <a:pt x="939" y="482"/>
                  </a:lnTo>
                  <a:lnTo>
                    <a:pt x="947" y="482"/>
                  </a:lnTo>
                  <a:lnTo>
                    <a:pt x="950" y="479"/>
                  </a:lnTo>
                  <a:lnTo>
                    <a:pt x="953" y="473"/>
                  </a:lnTo>
                  <a:lnTo>
                    <a:pt x="956" y="470"/>
                  </a:lnTo>
                  <a:lnTo>
                    <a:pt x="962" y="468"/>
                  </a:lnTo>
                  <a:lnTo>
                    <a:pt x="965" y="470"/>
                  </a:lnTo>
                  <a:lnTo>
                    <a:pt x="968" y="468"/>
                  </a:lnTo>
                  <a:lnTo>
                    <a:pt x="976" y="465"/>
                  </a:lnTo>
                  <a:lnTo>
                    <a:pt x="976" y="462"/>
                  </a:lnTo>
                  <a:lnTo>
                    <a:pt x="976" y="459"/>
                  </a:lnTo>
                  <a:lnTo>
                    <a:pt x="979" y="459"/>
                  </a:lnTo>
                  <a:lnTo>
                    <a:pt x="982" y="459"/>
                  </a:lnTo>
                  <a:lnTo>
                    <a:pt x="985" y="456"/>
                  </a:lnTo>
                  <a:lnTo>
                    <a:pt x="991" y="459"/>
                  </a:lnTo>
                  <a:lnTo>
                    <a:pt x="993" y="456"/>
                  </a:lnTo>
                  <a:lnTo>
                    <a:pt x="996" y="459"/>
                  </a:lnTo>
                  <a:lnTo>
                    <a:pt x="999" y="459"/>
                  </a:lnTo>
                  <a:lnTo>
                    <a:pt x="1016" y="462"/>
                  </a:lnTo>
                  <a:lnTo>
                    <a:pt x="1022" y="465"/>
                  </a:lnTo>
                  <a:lnTo>
                    <a:pt x="1025" y="470"/>
                  </a:lnTo>
                  <a:lnTo>
                    <a:pt x="1039" y="473"/>
                  </a:lnTo>
                  <a:lnTo>
                    <a:pt x="1042" y="473"/>
                  </a:lnTo>
                  <a:lnTo>
                    <a:pt x="1045" y="470"/>
                  </a:lnTo>
                  <a:lnTo>
                    <a:pt x="1059" y="473"/>
                  </a:lnTo>
                  <a:lnTo>
                    <a:pt x="1068" y="479"/>
                  </a:lnTo>
                  <a:lnTo>
                    <a:pt x="1077" y="473"/>
                  </a:lnTo>
                  <a:lnTo>
                    <a:pt x="1077" y="465"/>
                  </a:lnTo>
                  <a:lnTo>
                    <a:pt x="1071" y="462"/>
                  </a:lnTo>
                  <a:lnTo>
                    <a:pt x="1062" y="453"/>
                  </a:lnTo>
                  <a:lnTo>
                    <a:pt x="1059" y="450"/>
                  </a:lnTo>
                  <a:lnTo>
                    <a:pt x="1062" y="445"/>
                  </a:lnTo>
                  <a:lnTo>
                    <a:pt x="1065" y="442"/>
                  </a:lnTo>
                  <a:lnTo>
                    <a:pt x="1065" y="439"/>
                  </a:lnTo>
                  <a:lnTo>
                    <a:pt x="1068" y="433"/>
                  </a:lnTo>
                  <a:lnTo>
                    <a:pt x="1068" y="430"/>
                  </a:lnTo>
                  <a:lnTo>
                    <a:pt x="1071" y="433"/>
                  </a:lnTo>
                  <a:lnTo>
                    <a:pt x="1080" y="436"/>
                  </a:lnTo>
                  <a:lnTo>
                    <a:pt x="1094" y="442"/>
                  </a:lnTo>
                  <a:lnTo>
                    <a:pt x="1120" y="445"/>
                  </a:lnTo>
                  <a:lnTo>
                    <a:pt x="1128" y="450"/>
                  </a:lnTo>
                  <a:lnTo>
                    <a:pt x="1131" y="453"/>
                  </a:lnTo>
                  <a:lnTo>
                    <a:pt x="1140" y="459"/>
                  </a:lnTo>
                  <a:lnTo>
                    <a:pt x="1148" y="465"/>
                  </a:lnTo>
                  <a:lnTo>
                    <a:pt x="1160" y="468"/>
                  </a:lnTo>
                  <a:lnTo>
                    <a:pt x="1166" y="468"/>
                  </a:lnTo>
                  <a:lnTo>
                    <a:pt x="1169" y="468"/>
                  </a:lnTo>
                  <a:lnTo>
                    <a:pt x="1180" y="465"/>
                  </a:lnTo>
                  <a:lnTo>
                    <a:pt x="1183" y="465"/>
                  </a:lnTo>
                  <a:lnTo>
                    <a:pt x="1194" y="465"/>
                  </a:lnTo>
                  <a:lnTo>
                    <a:pt x="1203" y="465"/>
                  </a:lnTo>
                  <a:lnTo>
                    <a:pt x="1209" y="468"/>
                  </a:lnTo>
                  <a:lnTo>
                    <a:pt x="1214" y="470"/>
                  </a:lnTo>
                  <a:lnTo>
                    <a:pt x="1217" y="473"/>
                  </a:lnTo>
                  <a:lnTo>
                    <a:pt x="1223" y="473"/>
                  </a:lnTo>
                  <a:lnTo>
                    <a:pt x="1226" y="473"/>
                  </a:lnTo>
                  <a:lnTo>
                    <a:pt x="1240" y="485"/>
                  </a:lnTo>
                  <a:lnTo>
                    <a:pt x="1243" y="485"/>
                  </a:lnTo>
                  <a:lnTo>
                    <a:pt x="1257" y="488"/>
                  </a:lnTo>
                  <a:lnTo>
                    <a:pt x="1275" y="488"/>
                  </a:lnTo>
                  <a:lnTo>
                    <a:pt x="1280" y="488"/>
                  </a:lnTo>
                  <a:lnTo>
                    <a:pt x="1298" y="482"/>
                  </a:lnTo>
                  <a:lnTo>
                    <a:pt x="1303" y="482"/>
                  </a:lnTo>
                  <a:lnTo>
                    <a:pt x="1303" y="476"/>
                  </a:lnTo>
                  <a:lnTo>
                    <a:pt x="1312" y="470"/>
                  </a:lnTo>
                  <a:lnTo>
                    <a:pt x="1324" y="468"/>
                  </a:lnTo>
                  <a:lnTo>
                    <a:pt x="1329" y="468"/>
                  </a:lnTo>
                  <a:lnTo>
                    <a:pt x="1332" y="470"/>
                  </a:lnTo>
                  <a:lnTo>
                    <a:pt x="1338" y="476"/>
                  </a:lnTo>
                  <a:lnTo>
                    <a:pt x="1346" y="470"/>
                  </a:lnTo>
                  <a:lnTo>
                    <a:pt x="1361" y="476"/>
                  </a:lnTo>
                  <a:lnTo>
                    <a:pt x="1367" y="479"/>
                  </a:lnTo>
                  <a:lnTo>
                    <a:pt x="1375" y="482"/>
                  </a:lnTo>
                  <a:lnTo>
                    <a:pt x="1378" y="482"/>
                  </a:lnTo>
                  <a:lnTo>
                    <a:pt x="1384" y="473"/>
                  </a:lnTo>
                  <a:lnTo>
                    <a:pt x="1387" y="473"/>
                  </a:lnTo>
                  <a:lnTo>
                    <a:pt x="1392" y="473"/>
                  </a:lnTo>
                  <a:lnTo>
                    <a:pt x="1390" y="470"/>
                  </a:lnTo>
                  <a:lnTo>
                    <a:pt x="1387" y="465"/>
                  </a:lnTo>
                  <a:lnTo>
                    <a:pt x="1387" y="456"/>
                  </a:lnTo>
                  <a:lnTo>
                    <a:pt x="1387" y="450"/>
                  </a:lnTo>
                  <a:lnTo>
                    <a:pt x="1387" y="445"/>
                  </a:lnTo>
                  <a:lnTo>
                    <a:pt x="1387" y="442"/>
                  </a:lnTo>
                  <a:lnTo>
                    <a:pt x="1392" y="439"/>
                  </a:lnTo>
                  <a:lnTo>
                    <a:pt x="1390" y="439"/>
                  </a:lnTo>
                  <a:lnTo>
                    <a:pt x="1387" y="430"/>
                  </a:lnTo>
                  <a:lnTo>
                    <a:pt x="1381" y="427"/>
                  </a:lnTo>
                  <a:lnTo>
                    <a:pt x="1369" y="425"/>
                  </a:lnTo>
                  <a:lnTo>
                    <a:pt x="1378" y="413"/>
                  </a:lnTo>
                  <a:lnTo>
                    <a:pt x="1384" y="410"/>
                  </a:lnTo>
                  <a:lnTo>
                    <a:pt x="1390" y="407"/>
                  </a:lnTo>
                  <a:lnTo>
                    <a:pt x="1398" y="407"/>
                  </a:lnTo>
                  <a:lnTo>
                    <a:pt x="1413" y="404"/>
                  </a:lnTo>
                  <a:lnTo>
                    <a:pt x="1421" y="407"/>
                  </a:lnTo>
                  <a:lnTo>
                    <a:pt x="1435" y="413"/>
                  </a:lnTo>
                  <a:lnTo>
                    <a:pt x="1441" y="410"/>
                  </a:lnTo>
                  <a:lnTo>
                    <a:pt x="1444" y="410"/>
                  </a:lnTo>
                  <a:lnTo>
                    <a:pt x="1456" y="419"/>
                  </a:lnTo>
                  <a:lnTo>
                    <a:pt x="1464" y="427"/>
                  </a:lnTo>
                  <a:lnTo>
                    <a:pt x="1473" y="433"/>
                  </a:lnTo>
                  <a:lnTo>
                    <a:pt x="1476" y="436"/>
                  </a:lnTo>
                  <a:lnTo>
                    <a:pt x="1479" y="436"/>
                  </a:lnTo>
                  <a:lnTo>
                    <a:pt x="1484" y="439"/>
                  </a:lnTo>
                  <a:lnTo>
                    <a:pt x="1490" y="445"/>
                  </a:lnTo>
                  <a:lnTo>
                    <a:pt x="1499" y="456"/>
                  </a:lnTo>
                  <a:lnTo>
                    <a:pt x="1507" y="465"/>
                  </a:lnTo>
                  <a:lnTo>
                    <a:pt x="1513" y="468"/>
                  </a:lnTo>
                  <a:lnTo>
                    <a:pt x="1516" y="468"/>
                  </a:lnTo>
                  <a:lnTo>
                    <a:pt x="1519" y="470"/>
                  </a:lnTo>
                  <a:lnTo>
                    <a:pt x="1524" y="476"/>
                  </a:lnTo>
                  <a:lnTo>
                    <a:pt x="1524" y="479"/>
                  </a:lnTo>
                  <a:lnTo>
                    <a:pt x="1527" y="479"/>
                  </a:lnTo>
                  <a:lnTo>
                    <a:pt x="1533" y="482"/>
                  </a:lnTo>
                  <a:lnTo>
                    <a:pt x="1542" y="482"/>
                  </a:lnTo>
                  <a:lnTo>
                    <a:pt x="1553" y="482"/>
                  </a:lnTo>
                  <a:lnTo>
                    <a:pt x="1570" y="493"/>
                  </a:lnTo>
                  <a:lnTo>
                    <a:pt x="1579" y="493"/>
                  </a:lnTo>
                  <a:lnTo>
                    <a:pt x="1582" y="493"/>
                  </a:lnTo>
                  <a:lnTo>
                    <a:pt x="1582" y="499"/>
                  </a:lnTo>
                  <a:lnTo>
                    <a:pt x="1588" y="505"/>
                  </a:lnTo>
                  <a:lnTo>
                    <a:pt x="1596" y="519"/>
                  </a:lnTo>
                  <a:lnTo>
                    <a:pt x="1619" y="516"/>
                  </a:lnTo>
                  <a:lnTo>
                    <a:pt x="1631" y="511"/>
                  </a:lnTo>
                  <a:lnTo>
                    <a:pt x="1636" y="505"/>
                  </a:lnTo>
                  <a:lnTo>
                    <a:pt x="1651" y="502"/>
                  </a:lnTo>
                  <a:lnTo>
                    <a:pt x="1651" y="511"/>
                  </a:lnTo>
                  <a:lnTo>
                    <a:pt x="1654" y="514"/>
                  </a:lnTo>
                  <a:lnTo>
                    <a:pt x="1657" y="516"/>
                  </a:lnTo>
                  <a:lnTo>
                    <a:pt x="1654" y="525"/>
                  </a:lnTo>
                  <a:lnTo>
                    <a:pt x="1654" y="531"/>
                  </a:lnTo>
                  <a:lnTo>
                    <a:pt x="1659" y="542"/>
                  </a:lnTo>
                  <a:lnTo>
                    <a:pt x="1662" y="551"/>
                  </a:lnTo>
                  <a:lnTo>
                    <a:pt x="1659" y="557"/>
                  </a:lnTo>
                  <a:lnTo>
                    <a:pt x="1662" y="568"/>
                  </a:lnTo>
                  <a:lnTo>
                    <a:pt x="1636" y="565"/>
                  </a:lnTo>
                  <a:lnTo>
                    <a:pt x="1631" y="571"/>
                  </a:lnTo>
                  <a:lnTo>
                    <a:pt x="1642" y="585"/>
                  </a:lnTo>
                  <a:lnTo>
                    <a:pt x="1651" y="600"/>
                  </a:lnTo>
                  <a:lnTo>
                    <a:pt x="1654" y="611"/>
                  </a:lnTo>
                  <a:lnTo>
                    <a:pt x="1642" y="614"/>
                  </a:lnTo>
                  <a:lnTo>
                    <a:pt x="1636" y="611"/>
                  </a:lnTo>
                  <a:lnTo>
                    <a:pt x="1636" y="614"/>
                  </a:lnTo>
                  <a:lnTo>
                    <a:pt x="1636" y="620"/>
                  </a:lnTo>
                  <a:lnTo>
                    <a:pt x="1634" y="620"/>
                  </a:lnTo>
                  <a:lnTo>
                    <a:pt x="1631" y="623"/>
                  </a:lnTo>
                  <a:lnTo>
                    <a:pt x="1631" y="626"/>
                  </a:lnTo>
                  <a:lnTo>
                    <a:pt x="1628" y="628"/>
                  </a:lnTo>
                  <a:lnTo>
                    <a:pt x="1619" y="628"/>
                  </a:lnTo>
                  <a:lnTo>
                    <a:pt x="1625" y="640"/>
                  </a:lnTo>
                  <a:lnTo>
                    <a:pt x="1622" y="640"/>
                  </a:lnTo>
                  <a:lnTo>
                    <a:pt x="1611" y="634"/>
                  </a:lnTo>
                  <a:lnTo>
                    <a:pt x="1599" y="631"/>
                  </a:lnTo>
                  <a:lnTo>
                    <a:pt x="1596" y="643"/>
                  </a:lnTo>
                  <a:lnTo>
                    <a:pt x="1590" y="651"/>
                  </a:lnTo>
                  <a:lnTo>
                    <a:pt x="1585" y="657"/>
                  </a:lnTo>
                  <a:lnTo>
                    <a:pt x="1576" y="663"/>
                  </a:lnTo>
                  <a:lnTo>
                    <a:pt x="1576" y="669"/>
                  </a:lnTo>
                  <a:lnTo>
                    <a:pt x="1585" y="671"/>
                  </a:lnTo>
                  <a:lnTo>
                    <a:pt x="1593" y="671"/>
                  </a:lnTo>
                  <a:lnTo>
                    <a:pt x="1596" y="677"/>
                  </a:lnTo>
                  <a:lnTo>
                    <a:pt x="1599" y="689"/>
                  </a:lnTo>
                  <a:lnTo>
                    <a:pt x="1605" y="692"/>
                  </a:lnTo>
                  <a:lnTo>
                    <a:pt x="1599" y="694"/>
                  </a:lnTo>
                  <a:lnTo>
                    <a:pt x="1599" y="700"/>
                  </a:lnTo>
                  <a:lnTo>
                    <a:pt x="1599" y="703"/>
                  </a:lnTo>
                  <a:lnTo>
                    <a:pt x="1605" y="703"/>
                  </a:lnTo>
                  <a:lnTo>
                    <a:pt x="1608" y="706"/>
                  </a:lnTo>
                  <a:lnTo>
                    <a:pt x="1611" y="712"/>
                  </a:lnTo>
                  <a:lnTo>
                    <a:pt x="1616" y="709"/>
                  </a:lnTo>
                  <a:lnTo>
                    <a:pt x="1622" y="709"/>
                  </a:lnTo>
                  <a:lnTo>
                    <a:pt x="1628" y="709"/>
                  </a:lnTo>
                  <a:lnTo>
                    <a:pt x="1634" y="697"/>
                  </a:lnTo>
                  <a:lnTo>
                    <a:pt x="1645" y="694"/>
                  </a:lnTo>
                  <a:lnTo>
                    <a:pt x="1648" y="694"/>
                  </a:lnTo>
                  <a:lnTo>
                    <a:pt x="1651" y="694"/>
                  </a:lnTo>
                  <a:lnTo>
                    <a:pt x="1654" y="692"/>
                  </a:lnTo>
                  <a:lnTo>
                    <a:pt x="1648" y="692"/>
                  </a:lnTo>
                  <a:lnTo>
                    <a:pt x="1642" y="686"/>
                  </a:lnTo>
                  <a:lnTo>
                    <a:pt x="1634" y="680"/>
                  </a:lnTo>
                  <a:lnTo>
                    <a:pt x="1628" y="677"/>
                  </a:lnTo>
                  <a:lnTo>
                    <a:pt x="1628" y="671"/>
                  </a:lnTo>
                  <a:lnTo>
                    <a:pt x="1631" y="666"/>
                  </a:lnTo>
                  <a:lnTo>
                    <a:pt x="1636" y="663"/>
                  </a:lnTo>
                  <a:lnTo>
                    <a:pt x="1639" y="663"/>
                  </a:lnTo>
                  <a:lnTo>
                    <a:pt x="1648" y="654"/>
                  </a:lnTo>
                  <a:lnTo>
                    <a:pt x="1654" y="648"/>
                  </a:lnTo>
                  <a:lnTo>
                    <a:pt x="1651" y="640"/>
                  </a:lnTo>
                  <a:lnTo>
                    <a:pt x="1645" y="634"/>
                  </a:lnTo>
                  <a:lnTo>
                    <a:pt x="1651" y="620"/>
                  </a:lnTo>
                  <a:lnTo>
                    <a:pt x="1659" y="620"/>
                  </a:lnTo>
                  <a:lnTo>
                    <a:pt x="1659" y="614"/>
                  </a:lnTo>
                  <a:lnTo>
                    <a:pt x="1659" y="600"/>
                  </a:lnTo>
                  <a:lnTo>
                    <a:pt x="1662" y="605"/>
                  </a:lnTo>
                  <a:lnTo>
                    <a:pt x="1662" y="608"/>
                  </a:lnTo>
                  <a:lnTo>
                    <a:pt x="1668" y="605"/>
                  </a:lnTo>
                  <a:lnTo>
                    <a:pt x="1671" y="611"/>
                  </a:lnTo>
                  <a:lnTo>
                    <a:pt x="1679" y="614"/>
                  </a:lnTo>
                  <a:lnTo>
                    <a:pt x="1682" y="614"/>
                  </a:lnTo>
                  <a:lnTo>
                    <a:pt x="1685" y="614"/>
                  </a:lnTo>
                  <a:lnTo>
                    <a:pt x="1700" y="611"/>
                  </a:lnTo>
                  <a:lnTo>
                    <a:pt x="1705" y="605"/>
                  </a:lnTo>
                  <a:lnTo>
                    <a:pt x="1708" y="600"/>
                  </a:lnTo>
                  <a:lnTo>
                    <a:pt x="1714" y="582"/>
                  </a:lnTo>
                  <a:lnTo>
                    <a:pt x="1717" y="565"/>
                  </a:lnTo>
                  <a:lnTo>
                    <a:pt x="1723" y="554"/>
                  </a:lnTo>
                  <a:lnTo>
                    <a:pt x="1725" y="545"/>
                  </a:lnTo>
                  <a:lnTo>
                    <a:pt x="1723" y="531"/>
                  </a:lnTo>
                  <a:lnTo>
                    <a:pt x="1723" y="525"/>
                  </a:lnTo>
                  <a:lnTo>
                    <a:pt x="1723" y="519"/>
                  </a:lnTo>
                  <a:lnTo>
                    <a:pt x="1723" y="516"/>
                  </a:lnTo>
                  <a:lnTo>
                    <a:pt x="1728" y="505"/>
                  </a:lnTo>
                  <a:lnTo>
                    <a:pt x="1725" y="502"/>
                  </a:lnTo>
                  <a:lnTo>
                    <a:pt x="1723" y="493"/>
                  </a:lnTo>
                  <a:lnTo>
                    <a:pt x="1720" y="485"/>
                  </a:lnTo>
                  <a:lnTo>
                    <a:pt x="1720" y="482"/>
                  </a:lnTo>
                  <a:lnTo>
                    <a:pt x="1714" y="476"/>
                  </a:lnTo>
                  <a:lnTo>
                    <a:pt x="1714" y="470"/>
                  </a:lnTo>
                  <a:lnTo>
                    <a:pt x="1711" y="468"/>
                  </a:lnTo>
                  <a:lnTo>
                    <a:pt x="1708" y="465"/>
                  </a:lnTo>
                  <a:lnTo>
                    <a:pt x="1702" y="462"/>
                  </a:lnTo>
                  <a:lnTo>
                    <a:pt x="1702" y="459"/>
                  </a:lnTo>
                  <a:lnTo>
                    <a:pt x="1700" y="450"/>
                  </a:lnTo>
                  <a:lnTo>
                    <a:pt x="1700" y="439"/>
                  </a:lnTo>
                  <a:lnTo>
                    <a:pt x="1694" y="430"/>
                  </a:lnTo>
                  <a:lnTo>
                    <a:pt x="1685" y="425"/>
                  </a:lnTo>
                  <a:lnTo>
                    <a:pt x="1679" y="419"/>
                  </a:lnTo>
                  <a:lnTo>
                    <a:pt x="1679" y="413"/>
                  </a:lnTo>
                  <a:lnTo>
                    <a:pt x="1671" y="410"/>
                  </a:lnTo>
                  <a:lnTo>
                    <a:pt x="1662" y="404"/>
                  </a:lnTo>
                  <a:lnTo>
                    <a:pt x="1654" y="399"/>
                  </a:lnTo>
                  <a:lnTo>
                    <a:pt x="1648" y="396"/>
                  </a:lnTo>
                  <a:lnTo>
                    <a:pt x="1642" y="396"/>
                  </a:lnTo>
                  <a:lnTo>
                    <a:pt x="1642" y="393"/>
                  </a:lnTo>
                  <a:lnTo>
                    <a:pt x="1636" y="390"/>
                  </a:lnTo>
                  <a:lnTo>
                    <a:pt x="1631" y="390"/>
                  </a:lnTo>
                  <a:lnTo>
                    <a:pt x="1622" y="393"/>
                  </a:lnTo>
                  <a:lnTo>
                    <a:pt x="1625" y="399"/>
                  </a:lnTo>
                  <a:lnTo>
                    <a:pt x="1625" y="404"/>
                  </a:lnTo>
                  <a:lnTo>
                    <a:pt x="1619" y="407"/>
                  </a:lnTo>
                  <a:lnTo>
                    <a:pt x="1616" y="407"/>
                  </a:lnTo>
                  <a:lnTo>
                    <a:pt x="1616" y="402"/>
                  </a:lnTo>
                  <a:lnTo>
                    <a:pt x="1605" y="402"/>
                  </a:lnTo>
                  <a:lnTo>
                    <a:pt x="1602" y="402"/>
                  </a:lnTo>
                  <a:lnTo>
                    <a:pt x="1596" y="393"/>
                  </a:lnTo>
                  <a:lnTo>
                    <a:pt x="1593" y="390"/>
                  </a:lnTo>
                  <a:lnTo>
                    <a:pt x="1590" y="390"/>
                  </a:lnTo>
                  <a:lnTo>
                    <a:pt x="1579" y="387"/>
                  </a:lnTo>
                  <a:lnTo>
                    <a:pt x="1570" y="387"/>
                  </a:lnTo>
                  <a:lnTo>
                    <a:pt x="1565" y="384"/>
                  </a:lnTo>
                  <a:lnTo>
                    <a:pt x="1565" y="381"/>
                  </a:lnTo>
                  <a:lnTo>
                    <a:pt x="1565" y="379"/>
                  </a:lnTo>
                  <a:lnTo>
                    <a:pt x="1570" y="376"/>
                  </a:lnTo>
                  <a:lnTo>
                    <a:pt x="1570" y="373"/>
                  </a:lnTo>
                  <a:lnTo>
                    <a:pt x="1573" y="370"/>
                  </a:lnTo>
                  <a:lnTo>
                    <a:pt x="1576" y="367"/>
                  </a:lnTo>
                  <a:lnTo>
                    <a:pt x="1579" y="364"/>
                  </a:lnTo>
                  <a:lnTo>
                    <a:pt x="1582" y="356"/>
                  </a:lnTo>
                  <a:lnTo>
                    <a:pt x="1585" y="344"/>
                  </a:lnTo>
                  <a:lnTo>
                    <a:pt x="1588" y="336"/>
                  </a:lnTo>
                  <a:lnTo>
                    <a:pt x="1590" y="330"/>
                  </a:lnTo>
                  <a:lnTo>
                    <a:pt x="1593" y="327"/>
                  </a:lnTo>
                  <a:lnTo>
                    <a:pt x="1590" y="321"/>
                  </a:lnTo>
                  <a:lnTo>
                    <a:pt x="1596" y="315"/>
                  </a:lnTo>
                  <a:lnTo>
                    <a:pt x="1596" y="307"/>
                  </a:lnTo>
                  <a:lnTo>
                    <a:pt x="1599" y="307"/>
                  </a:lnTo>
                  <a:lnTo>
                    <a:pt x="1605" y="304"/>
                  </a:lnTo>
                  <a:lnTo>
                    <a:pt x="1622" y="301"/>
                  </a:lnTo>
                  <a:lnTo>
                    <a:pt x="1636" y="301"/>
                  </a:lnTo>
                  <a:lnTo>
                    <a:pt x="1639" y="304"/>
                  </a:lnTo>
                  <a:lnTo>
                    <a:pt x="1642" y="307"/>
                  </a:lnTo>
                  <a:lnTo>
                    <a:pt x="1651" y="307"/>
                  </a:lnTo>
                  <a:lnTo>
                    <a:pt x="1648" y="301"/>
                  </a:lnTo>
                  <a:lnTo>
                    <a:pt x="1654" y="301"/>
                  </a:lnTo>
                  <a:lnTo>
                    <a:pt x="1659" y="304"/>
                  </a:lnTo>
                  <a:lnTo>
                    <a:pt x="1662" y="304"/>
                  </a:lnTo>
                  <a:lnTo>
                    <a:pt x="1668" y="304"/>
                  </a:lnTo>
                  <a:lnTo>
                    <a:pt x="1671" y="304"/>
                  </a:lnTo>
                  <a:lnTo>
                    <a:pt x="1671" y="301"/>
                  </a:lnTo>
                  <a:lnTo>
                    <a:pt x="1674" y="301"/>
                  </a:lnTo>
                  <a:lnTo>
                    <a:pt x="1677" y="304"/>
                  </a:lnTo>
                  <a:lnTo>
                    <a:pt x="1682" y="304"/>
                  </a:lnTo>
                  <a:lnTo>
                    <a:pt x="1685" y="304"/>
                  </a:lnTo>
                  <a:lnTo>
                    <a:pt x="1685" y="298"/>
                  </a:lnTo>
                  <a:lnTo>
                    <a:pt x="1682" y="295"/>
                  </a:lnTo>
                  <a:lnTo>
                    <a:pt x="1688" y="295"/>
                  </a:lnTo>
                  <a:lnTo>
                    <a:pt x="1691" y="292"/>
                  </a:lnTo>
                  <a:lnTo>
                    <a:pt x="1700" y="298"/>
                  </a:lnTo>
                  <a:lnTo>
                    <a:pt x="1705" y="298"/>
                  </a:lnTo>
                  <a:lnTo>
                    <a:pt x="1708" y="298"/>
                  </a:lnTo>
                  <a:lnTo>
                    <a:pt x="1720" y="298"/>
                  </a:lnTo>
                  <a:lnTo>
                    <a:pt x="1725" y="301"/>
                  </a:lnTo>
                  <a:lnTo>
                    <a:pt x="1731" y="301"/>
                  </a:lnTo>
                  <a:lnTo>
                    <a:pt x="1725" y="304"/>
                  </a:lnTo>
                  <a:lnTo>
                    <a:pt x="1717" y="304"/>
                  </a:lnTo>
                  <a:lnTo>
                    <a:pt x="1720" y="307"/>
                  </a:lnTo>
                  <a:lnTo>
                    <a:pt x="1725" y="310"/>
                  </a:lnTo>
                  <a:lnTo>
                    <a:pt x="1740" y="310"/>
                  </a:lnTo>
                  <a:lnTo>
                    <a:pt x="1743" y="310"/>
                  </a:lnTo>
                  <a:lnTo>
                    <a:pt x="1748" y="307"/>
                  </a:lnTo>
                  <a:lnTo>
                    <a:pt x="1751" y="304"/>
                  </a:lnTo>
                  <a:lnTo>
                    <a:pt x="1754" y="307"/>
                  </a:lnTo>
                  <a:lnTo>
                    <a:pt x="1760" y="307"/>
                  </a:lnTo>
                  <a:lnTo>
                    <a:pt x="1763" y="307"/>
                  </a:lnTo>
                  <a:lnTo>
                    <a:pt x="1768" y="307"/>
                  </a:lnTo>
                  <a:lnTo>
                    <a:pt x="1771" y="301"/>
                  </a:lnTo>
                  <a:lnTo>
                    <a:pt x="1766" y="298"/>
                  </a:lnTo>
                  <a:lnTo>
                    <a:pt x="1760" y="298"/>
                  </a:lnTo>
                  <a:lnTo>
                    <a:pt x="1754" y="298"/>
                  </a:lnTo>
                  <a:lnTo>
                    <a:pt x="1748" y="292"/>
                  </a:lnTo>
                  <a:lnTo>
                    <a:pt x="1748" y="284"/>
                  </a:lnTo>
                  <a:lnTo>
                    <a:pt x="1751" y="281"/>
                  </a:lnTo>
                  <a:lnTo>
                    <a:pt x="1754" y="272"/>
                  </a:lnTo>
                  <a:lnTo>
                    <a:pt x="1754" y="270"/>
                  </a:lnTo>
                  <a:lnTo>
                    <a:pt x="1751" y="264"/>
                  </a:lnTo>
                  <a:lnTo>
                    <a:pt x="1751" y="261"/>
                  </a:lnTo>
                  <a:lnTo>
                    <a:pt x="1754" y="258"/>
                  </a:lnTo>
                  <a:lnTo>
                    <a:pt x="1757" y="258"/>
                  </a:lnTo>
                  <a:lnTo>
                    <a:pt x="1771" y="258"/>
                  </a:lnTo>
                  <a:lnTo>
                    <a:pt x="1774" y="255"/>
                  </a:lnTo>
                  <a:lnTo>
                    <a:pt x="1777" y="255"/>
                  </a:lnTo>
                  <a:lnTo>
                    <a:pt x="1780" y="255"/>
                  </a:lnTo>
                  <a:lnTo>
                    <a:pt x="1783" y="258"/>
                  </a:lnTo>
                  <a:lnTo>
                    <a:pt x="1786" y="261"/>
                  </a:lnTo>
                  <a:lnTo>
                    <a:pt x="1791" y="255"/>
                  </a:lnTo>
                  <a:lnTo>
                    <a:pt x="1794" y="264"/>
                  </a:lnTo>
                  <a:lnTo>
                    <a:pt x="1800" y="270"/>
                  </a:lnTo>
                  <a:lnTo>
                    <a:pt x="1803" y="272"/>
                  </a:lnTo>
                  <a:lnTo>
                    <a:pt x="1806" y="270"/>
                  </a:lnTo>
                  <a:lnTo>
                    <a:pt x="1812" y="272"/>
                  </a:lnTo>
                  <a:lnTo>
                    <a:pt x="1814" y="278"/>
                  </a:lnTo>
                  <a:lnTo>
                    <a:pt x="1817" y="278"/>
                  </a:lnTo>
                  <a:lnTo>
                    <a:pt x="1820" y="278"/>
                  </a:lnTo>
                  <a:lnTo>
                    <a:pt x="1823" y="272"/>
                  </a:lnTo>
                  <a:lnTo>
                    <a:pt x="1823" y="267"/>
                  </a:lnTo>
                  <a:lnTo>
                    <a:pt x="1823" y="264"/>
                  </a:lnTo>
                  <a:lnTo>
                    <a:pt x="1826" y="261"/>
                  </a:lnTo>
                  <a:lnTo>
                    <a:pt x="1834" y="261"/>
                  </a:lnTo>
                  <a:lnTo>
                    <a:pt x="1834" y="258"/>
                  </a:lnTo>
                  <a:lnTo>
                    <a:pt x="1829" y="255"/>
                  </a:lnTo>
                  <a:lnTo>
                    <a:pt x="1823" y="249"/>
                  </a:lnTo>
                  <a:lnTo>
                    <a:pt x="1823" y="244"/>
                  </a:lnTo>
                  <a:lnTo>
                    <a:pt x="1829" y="241"/>
                  </a:lnTo>
                  <a:lnTo>
                    <a:pt x="1834" y="244"/>
                  </a:lnTo>
                  <a:lnTo>
                    <a:pt x="1834" y="249"/>
                  </a:lnTo>
                  <a:lnTo>
                    <a:pt x="1843" y="255"/>
                  </a:lnTo>
                  <a:lnTo>
                    <a:pt x="1846" y="261"/>
                  </a:lnTo>
                  <a:lnTo>
                    <a:pt x="1849" y="264"/>
                  </a:lnTo>
                  <a:lnTo>
                    <a:pt x="1852" y="264"/>
                  </a:lnTo>
                  <a:lnTo>
                    <a:pt x="1855" y="272"/>
                  </a:lnTo>
                  <a:lnTo>
                    <a:pt x="1852" y="275"/>
                  </a:lnTo>
                  <a:lnTo>
                    <a:pt x="1843" y="284"/>
                  </a:lnTo>
                  <a:lnTo>
                    <a:pt x="1846" y="287"/>
                  </a:lnTo>
                  <a:lnTo>
                    <a:pt x="1840" y="298"/>
                  </a:lnTo>
                  <a:lnTo>
                    <a:pt x="1840" y="304"/>
                  </a:lnTo>
                  <a:lnTo>
                    <a:pt x="1843" y="310"/>
                  </a:lnTo>
                  <a:lnTo>
                    <a:pt x="1840" y="321"/>
                  </a:lnTo>
                  <a:lnTo>
                    <a:pt x="1837" y="327"/>
                  </a:lnTo>
                  <a:lnTo>
                    <a:pt x="1832" y="324"/>
                  </a:lnTo>
                  <a:lnTo>
                    <a:pt x="1832" y="330"/>
                  </a:lnTo>
                  <a:lnTo>
                    <a:pt x="1826" y="330"/>
                  </a:lnTo>
                  <a:lnTo>
                    <a:pt x="1823" y="330"/>
                  </a:lnTo>
                  <a:lnTo>
                    <a:pt x="1829" y="333"/>
                  </a:lnTo>
                  <a:lnTo>
                    <a:pt x="1832" y="336"/>
                  </a:lnTo>
                  <a:lnTo>
                    <a:pt x="1832" y="338"/>
                  </a:lnTo>
                  <a:lnTo>
                    <a:pt x="1832" y="341"/>
                  </a:lnTo>
                  <a:lnTo>
                    <a:pt x="1829" y="350"/>
                  </a:lnTo>
                  <a:lnTo>
                    <a:pt x="1832" y="356"/>
                  </a:lnTo>
                  <a:lnTo>
                    <a:pt x="1843" y="367"/>
                  </a:lnTo>
                  <a:lnTo>
                    <a:pt x="1860" y="384"/>
                  </a:lnTo>
                  <a:lnTo>
                    <a:pt x="1878" y="399"/>
                  </a:lnTo>
                  <a:lnTo>
                    <a:pt x="1895" y="416"/>
                  </a:lnTo>
                  <a:lnTo>
                    <a:pt x="1926" y="445"/>
                  </a:lnTo>
                  <a:lnTo>
                    <a:pt x="1938" y="453"/>
                  </a:lnTo>
                  <a:lnTo>
                    <a:pt x="1941" y="456"/>
                  </a:lnTo>
                  <a:lnTo>
                    <a:pt x="1944" y="450"/>
                  </a:lnTo>
                  <a:lnTo>
                    <a:pt x="1944" y="445"/>
                  </a:lnTo>
                  <a:lnTo>
                    <a:pt x="1946" y="436"/>
                  </a:lnTo>
                  <a:lnTo>
                    <a:pt x="1944" y="427"/>
                  </a:lnTo>
                  <a:lnTo>
                    <a:pt x="1938" y="419"/>
                  </a:lnTo>
                  <a:lnTo>
                    <a:pt x="1941" y="416"/>
                  </a:lnTo>
                  <a:lnTo>
                    <a:pt x="1944" y="413"/>
                  </a:lnTo>
                  <a:lnTo>
                    <a:pt x="1952" y="416"/>
                  </a:lnTo>
                  <a:lnTo>
                    <a:pt x="1952" y="413"/>
                  </a:lnTo>
                  <a:lnTo>
                    <a:pt x="1946" y="407"/>
                  </a:lnTo>
                  <a:lnTo>
                    <a:pt x="1941" y="404"/>
                  </a:lnTo>
                  <a:lnTo>
                    <a:pt x="1935" y="399"/>
                  </a:lnTo>
                  <a:lnTo>
                    <a:pt x="1938" y="390"/>
                  </a:lnTo>
                  <a:lnTo>
                    <a:pt x="1944" y="390"/>
                  </a:lnTo>
                  <a:lnTo>
                    <a:pt x="1952" y="390"/>
                  </a:lnTo>
                  <a:lnTo>
                    <a:pt x="1952" y="387"/>
                  </a:lnTo>
                  <a:lnTo>
                    <a:pt x="1952" y="381"/>
                  </a:lnTo>
                  <a:lnTo>
                    <a:pt x="1941" y="376"/>
                  </a:lnTo>
                  <a:lnTo>
                    <a:pt x="1932" y="370"/>
                  </a:lnTo>
                  <a:lnTo>
                    <a:pt x="1932" y="364"/>
                  </a:lnTo>
                  <a:lnTo>
                    <a:pt x="1929" y="361"/>
                  </a:lnTo>
                  <a:lnTo>
                    <a:pt x="1932" y="359"/>
                  </a:lnTo>
                  <a:lnTo>
                    <a:pt x="1938" y="359"/>
                  </a:lnTo>
                  <a:lnTo>
                    <a:pt x="1944" y="359"/>
                  </a:lnTo>
                  <a:lnTo>
                    <a:pt x="1944" y="356"/>
                  </a:lnTo>
                  <a:lnTo>
                    <a:pt x="1941" y="353"/>
                  </a:lnTo>
                  <a:lnTo>
                    <a:pt x="1938" y="353"/>
                  </a:lnTo>
                  <a:lnTo>
                    <a:pt x="1932" y="350"/>
                  </a:lnTo>
                  <a:lnTo>
                    <a:pt x="1926" y="347"/>
                  </a:lnTo>
                  <a:lnTo>
                    <a:pt x="1921" y="344"/>
                  </a:lnTo>
                  <a:lnTo>
                    <a:pt x="1918" y="341"/>
                  </a:lnTo>
                  <a:lnTo>
                    <a:pt x="1915" y="341"/>
                  </a:lnTo>
                  <a:lnTo>
                    <a:pt x="1915" y="338"/>
                  </a:lnTo>
                  <a:lnTo>
                    <a:pt x="1915" y="330"/>
                  </a:lnTo>
                  <a:lnTo>
                    <a:pt x="1906" y="327"/>
                  </a:lnTo>
                  <a:lnTo>
                    <a:pt x="1898" y="327"/>
                  </a:lnTo>
                  <a:lnTo>
                    <a:pt x="1892" y="327"/>
                  </a:lnTo>
                  <a:lnTo>
                    <a:pt x="1889" y="324"/>
                  </a:lnTo>
                  <a:lnTo>
                    <a:pt x="1886" y="318"/>
                  </a:lnTo>
                  <a:lnTo>
                    <a:pt x="1883" y="313"/>
                  </a:lnTo>
                  <a:lnTo>
                    <a:pt x="1886" y="310"/>
                  </a:lnTo>
                  <a:lnTo>
                    <a:pt x="1886" y="304"/>
                  </a:lnTo>
                  <a:lnTo>
                    <a:pt x="1883" y="301"/>
                  </a:lnTo>
                  <a:lnTo>
                    <a:pt x="1880" y="295"/>
                  </a:lnTo>
                  <a:lnTo>
                    <a:pt x="1880" y="287"/>
                  </a:lnTo>
                  <a:lnTo>
                    <a:pt x="1889" y="292"/>
                  </a:lnTo>
                  <a:lnTo>
                    <a:pt x="1898" y="292"/>
                  </a:lnTo>
                  <a:lnTo>
                    <a:pt x="1895" y="287"/>
                  </a:lnTo>
                  <a:lnTo>
                    <a:pt x="1895" y="284"/>
                  </a:lnTo>
                  <a:lnTo>
                    <a:pt x="1898" y="281"/>
                  </a:lnTo>
                  <a:lnTo>
                    <a:pt x="1901" y="281"/>
                  </a:lnTo>
                  <a:lnTo>
                    <a:pt x="1903" y="284"/>
                  </a:lnTo>
                  <a:lnTo>
                    <a:pt x="1906" y="287"/>
                  </a:lnTo>
                  <a:lnTo>
                    <a:pt x="1912" y="292"/>
                  </a:lnTo>
                  <a:lnTo>
                    <a:pt x="1915" y="292"/>
                  </a:lnTo>
                  <a:lnTo>
                    <a:pt x="1915" y="287"/>
                  </a:lnTo>
                  <a:lnTo>
                    <a:pt x="1918" y="284"/>
                  </a:lnTo>
                  <a:lnTo>
                    <a:pt x="1929" y="278"/>
                  </a:lnTo>
                  <a:lnTo>
                    <a:pt x="1935" y="278"/>
                  </a:lnTo>
                  <a:lnTo>
                    <a:pt x="1941" y="281"/>
                  </a:lnTo>
                  <a:lnTo>
                    <a:pt x="1952" y="287"/>
                  </a:lnTo>
                  <a:lnTo>
                    <a:pt x="1967" y="292"/>
                  </a:lnTo>
                  <a:lnTo>
                    <a:pt x="1967" y="287"/>
                  </a:lnTo>
                  <a:lnTo>
                    <a:pt x="1964" y="281"/>
                  </a:lnTo>
                  <a:lnTo>
                    <a:pt x="1969" y="278"/>
                  </a:lnTo>
                  <a:lnTo>
                    <a:pt x="1969" y="275"/>
                  </a:lnTo>
                  <a:lnTo>
                    <a:pt x="1972" y="270"/>
                  </a:lnTo>
                  <a:lnTo>
                    <a:pt x="1978" y="261"/>
                  </a:lnTo>
                  <a:lnTo>
                    <a:pt x="1984" y="258"/>
                  </a:lnTo>
                  <a:lnTo>
                    <a:pt x="1989" y="252"/>
                  </a:lnTo>
                  <a:lnTo>
                    <a:pt x="1995" y="249"/>
                  </a:lnTo>
                  <a:lnTo>
                    <a:pt x="2001" y="244"/>
                  </a:lnTo>
                  <a:lnTo>
                    <a:pt x="2010" y="244"/>
                  </a:lnTo>
                  <a:lnTo>
                    <a:pt x="2024" y="247"/>
                  </a:lnTo>
                  <a:lnTo>
                    <a:pt x="2035" y="249"/>
                  </a:lnTo>
                  <a:lnTo>
                    <a:pt x="2033" y="238"/>
                  </a:lnTo>
                  <a:lnTo>
                    <a:pt x="2024" y="235"/>
                  </a:lnTo>
                  <a:lnTo>
                    <a:pt x="2018" y="232"/>
                  </a:lnTo>
                  <a:lnTo>
                    <a:pt x="2012" y="229"/>
                  </a:lnTo>
                  <a:lnTo>
                    <a:pt x="2001" y="226"/>
                  </a:lnTo>
                  <a:lnTo>
                    <a:pt x="1989" y="218"/>
                  </a:lnTo>
                  <a:lnTo>
                    <a:pt x="1981" y="212"/>
                  </a:lnTo>
                  <a:lnTo>
                    <a:pt x="1978" y="212"/>
                  </a:lnTo>
                  <a:lnTo>
                    <a:pt x="1969" y="212"/>
                  </a:lnTo>
                  <a:lnTo>
                    <a:pt x="1961" y="206"/>
                  </a:lnTo>
                  <a:lnTo>
                    <a:pt x="1955" y="203"/>
                  </a:lnTo>
                  <a:lnTo>
                    <a:pt x="1944" y="203"/>
                  </a:lnTo>
                  <a:lnTo>
                    <a:pt x="1935" y="201"/>
                  </a:lnTo>
                  <a:lnTo>
                    <a:pt x="1946" y="201"/>
                  </a:lnTo>
                  <a:lnTo>
                    <a:pt x="1955" y="203"/>
                  </a:lnTo>
                  <a:lnTo>
                    <a:pt x="1964" y="206"/>
                  </a:lnTo>
                  <a:lnTo>
                    <a:pt x="1975" y="206"/>
                  </a:lnTo>
                  <a:lnTo>
                    <a:pt x="1981" y="203"/>
                  </a:lnTo>
                  <a:lnTo>
                    <a:pt x="1984" y="201"/>
                  </a:lnTo>
                  <a:lnTo>
                    <a:pt x="1984" y="198"/>
                  </a:lnTo>
                  <a:lnTo>
                    <a:pt x="1984" y="192"/>
                  </a:lnTo>
                  <a:lnTo>
                    <a:pt x="1981" y="189"/>
                  </a:lnTo>
                  <a:lnTo>
                    <a:pt x="1969" y="186"/>
                  </a:lnTo>
                  <a:lnTo>
                    <a:pt x="1961" y="181"/>
                  </a:lnTo>
                  <a:lnTo>
                    <a:pt x="1967" y="181"/>
                  </a:lnTo>
                  <a:lnTo>
                    <a:pt x="1969" y="181"/>
                  </a:lnTo>
                  <a:lnTo>
                    <a:pt x="1978" y="181"/>
                  </a:lnTo>
                  <a:lnTo>
                    <a:pt x="1981" y="186"/>
                  </a:lnTo>
                  <a:lnTo>
                    <a:pt x="1992" y="189"/>
                  </a:lnTo>
                  <a:lnTo>
                    <a:pt x="2001" y="192"/>
                  </a:lnTo>
                  <a:lnTo>
                    <a:pt x="2010" y="192"/>
                  </a:lnTo>
                  <a:lnTo>
                    <a:pt x="2015" y="192"/>
                  </a:lnTo>
                  <a:lnTo>
                    <a:pt x="2024" y="192"/>
                  </a:lnTo>
                  <a:lnTo>
                    <a:pt x="2041" y="203"/>
                  </a:lnTo>
                  <a:lnTo>
                    <a:pt x="2050" y="203"/>
                  </a:lnTo>
                  <a:lnTo>
                    <a:pt x="2058" y="206"/>
                  </a:lnTo>
                  <a:lnTo>
                    <a:pt x="2067" y="206"/>
                  </a:lnTo>
                  <a:lnTo>
                    <a:pt x="2076" y="209"/>
                  </a:lnTo>
                  <a:lnTo>
                    <a:pt x="2087" y="212"/>
                  </a:lnTo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54" name="Freeform 154"/>
            <p:cNvSpPr>
              <a:spLocks/>
            </p:cNvSpPr>
            <p:nvPr/>
          </p:nvSpPr>
          <p:spPr bwMode="auto">
            <a:xfrm>
              <a:off x="6740525" y="2301875"/>
              <a:ext cx="96838" cy="130175"/>
            </a:xfrm>
            <a:custGeom>
              <a:avLst/>
              <a:gdLst>
                <a:gd name="T0" fmla="*/ 2147483647 w 60"/>
                <a:gd name="T1" fmla="*/ 2147483647 h 81"/>
                <a:gd name="T2" fmla="*/ 2147483647 w 60"/>
                <a:gd name="T3" fmla="*/ 2147483647 h 81"/>
                <a:gd name="T4" fmla="*/ 2147483647 w 60"/>
                <a:gd name="T5" fmla="*/ 2147483647 h 81"/>
                <a:gd name="T6" fmla="*/ 2147483647 w 60"/>
                <a:gd name="T7" fmla="*/ 2147483647 h 81"/>
                <a:gd name="T8" fmla="*/ 2147483647 w 60"/>
                <a:gd name="T9" fmla="*/ 2147483647 h 81"/>
                <a:gd name="T10" fmla="*/ 2147483647 w 60"/>
                <a:gd name="T11" fmla="*/ 2147483647 h 81"/>
                <a:gd name="T12" fmla="*/ 2147483647 w 60"/>
                <a:gd name="T13" fmla="*/ 2147483647 h 81"/>
                <a:gd name="T14" fmla="*/ 2147483647 w 60"/>
                <a:gd name="T15" fmla="*/ 2147483647 h 81"/>
                <a:gd name="T16" fmla="*/ 2147483647 w 60"/>
                <a:gd name="T17" fmla="*/ 2147483647 h 81"/>
                <a:gd name="T18" fmla="*/ 2147483647 w 60"/>
                <a:gd name="T19" fmla="*/ 2147483647 h 81"/>
                <a:gd name="T20" fmla="*/ 2147483647 w 60"/>
                <a:gd name="T21" fmla="*/ 2147483647 h 81"/>
                <a:gd name="T22" fmla="*/ 2147483647 w 60"/>
                <a:gd name="T23" fmla="*/ 2147483647 h 81"/>
                <a:gd name="T24" fmla="*/ 2147483647 w 60"/>
                <a:gd name="T25" fmla="*/ 2147483647 h 81"/>
                <a:gd name="T26" fmla="*/ 2147483647 w 60"/>
                <a:gd name="T27" fmla="*/ 2147483647 h 81"/>
                <a:gd name="T28" fmla="*/ 2147483647 w 60"/>
                <a:gd name="T29" fmla="*/ 2147483647 h 81"/>
                <a:gd name="T30" fmla="*/ 2147483647 w 60"/>
                <a:gd name="T31" fmla="*/ 2147483647 h 81"/>
                <a:gd name="T32" fmla="*/ 2147483647 w 60"/>
                <a:gd name="T33" fmla="*/ 2147483647 h 81"/>
                <a:gd name="T34" fmla="*/ 2147483647 w 60"/>
                <a:gd name="T35" fmla="*/ 2147483647 h 81"/>
                <a:gd name="T36" fmla="*/ 2147483647 w 60"/>
                <a:gd name="T37" fmla="*/ 2147483647 h 81"/>
                <a:gd name="T38" fmla="*/ 2147483647 w 60"/>
                <a:gd name="T39" fmla="*/ 2147483647 h 81"/>
                <a:gd name="T40" fmla="*/ 2147483647 w 60"/>
                <a:gd name="T41" fmla="*/ 2147483647 h 81"/>
                <a:gd name="T42" fmla="*/ 2147483647 w 60"/>
                <a:gd name="T43" fmla="*/ 2147483647 h 81"/>
                <a:gd name="T44" fmla="*/ 2147483647 w 60"/>
                <a:gd name="T45" fmla="*/ 2147483647 h 81"/>
                <a:gd name="T46" fmla="*/ 2147483647 w 60"/>
                <a:gd name="T47" fmla="*/ 2147483647 h 81"/>
                <a:gd name="T48" fmla="*/ 2147483647 w 60"/>
                <a:gd name="T49" fmla="*/ 0 h 81"/>
                <a:gd name="T50" fmla="*/ 2147483647 w 60"/>
                <a:gd name="T51" fmla="*/ 0 h 81"/>
                <a:gd name="T52" fmla="*/ 2147483647 w 60"/>
                <a:gd name="T53" fmla="*/ 0 h 81"/>
                <a:gd name="T54" fmla="*/ 2147483647 w 60"/>
                <a:gd name="T55" fmla="*/ 0 h 81"/>
                <a:gd name="T56" fmla="*/ 2147483647 w 60"/>
                <a:gd name="T57" fmla="*/ 2147483647 h 81"/>
                <a:gd name="T58" fmla="*/ 2147483647 w 60"/>
                <a:gd name="T59" fmla="*/ 2147483647 h 81"/>
                <a:gd name="T60" fmla="*/ 2147483647 w 60"/>
                <a:gd name="T61" fmla="*/ 2147483647 h 81"/>
                <a:gd name="T62" fmla="*/ 2147483647 w 60"/>
                <a:gd name="T63" fmla="*/ 2147483647 h 81"/>
                <a:gd name="T64" fmla="*/ 2147483647 w 60"/>
                <a:gd name="T65" fmla="*/ 2147483647 h 81"/>
                <a:gd name="T66" fmla="*/ 2147483647 w 60"/>
                <a:gd name="T67" fmla="*/ 2147483647 h 81"/>
                <a:gd name="T68" fmla="*/ 2147483647 w 60"/>
                <a:gd name="T69" fmla="*/ 2147483647 h 81"/>
                <a:gd name="T70" fmla="*/ 2147483647 w 60"/>
                <a:gd name="T71" fmla="*/ 2147483647 h 81"/>
                <a:gd name="T72" fmla="*/ 2147483647 w 60"/>
                <a:gd name="T73" fmla="*/ 2147483647 h 81"/>
                <a:gd name="T74" fmla="*/ 2147483647 w 60"/>
                <a:gd name="T75" fmla="*/ 2147483647 h 81"/>
                <a:gd name="T76" fmla="*/ 2147483647 w 60"/>
                <a:gd name="T77" fmla="*/ 2147483647 h 81"/>
                <a:gd name="T78" fmla="*/ 2147483647 w 60"/>
                <a:gd name="T79" fmla="*/ 2147483647 h 81"/>
                <a:gd name="T80" fmla="*/ 2147483647 w 60"/>
                <a:gd name="T81" fmla="*/ 2147483647 h 81"/>
                <a:gd name="T82" fmla="*/ 2147483647 w 60"/>
                <a:gd name="T83" fmla="*/ 2147483647 h 81"/>
                <a:gd name="T84" fmla="*/ 2147483647 w 60"/>
                <a:gd name="T85" fmla="*/ 2147483647 h 81"/>
                <a:gd name="T86" fmla="*/ 2147483647 w 60"/>
                <a:gd name="T87" fmla="*/ 2147483647 h 81"/>
                <a:gd name="T88" fmla="*/ 2147483647 w 60"/>
                <a:gd name="T89" fmla="*/ 2147483647 h 81"/>
                <a:gd name="T90" fmla="*/ 0 w 60"/>
                <a:gd name="T91" fmla="*/ 2147483647 h 81"/>
                <a:gd name="T92" fmla="*/ 0 w 60"/>
                <a:gd name="T93" fmla="*/ 2147483647 h 81"/>
                <a:gd name="T94" fmla="*/ 2147483647 w 60"/>
                <a:gd name="T95" fmla="*/ 2147483647 h 81"/>
                <a:gd name="T96" fmla="*/ 2147483647 w 60"/>
                <a:gd name="T97" fmla="*/ 2147483647 h 8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60"/>
                <a:gd name="T148" fmla="*/ 0 h 81"/>
                <a:gd name="T149" fmla="*/ 60 w 60"/>
                <a:gd name="T150" fmla="*/ 81 h 81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60" h="81">
                  <a:moveTo>
                    <a:pt x="11" y="72"/>
                  </a:moveTo>
                  <a:lnTo>
                    <a:pt x="11" y="72"/>
                  </a:lnTo>
                  <a:lnTo>
                    <a:pt x="17" y="72"/>
                  </a:lnTo>
                  <a:lnTo>
                    <a:pt x="20" y="69"/>
                  </a:lnTo>
                  <a:lnTo>
                    <a:pt x="25" y="63"/>
                  </a:lnTo>
                  <a:lnTo>
                    <a:pt x="31" y="55"/>
                  </a:lnTo>
                  <a:lnTo>
                    <a:pt x="31" y="52"/>
                  </a:lnTo>
                  <a:lnTo>
                    <a:pt x="31" y="49"/>
                  </a:lnTo>
                  <a:lnTo>
                    <a:pt x="34" y="46"/>
                  </a:lnTo>
                  <a:lnTo>
                    <a:pt x="37" y="43"/>
                  </a:lnTo>
                  <a:lnTo>
                    <a:pt x="37" y="37"/>
                  </a:lnTo>
                  <a:lnTo>
                    <a:pt x="40" y="35"/>
                  </a:lnTo>
                  <a:lnTo>
                    <a:pt x="40" y="29"/>
                  </a:lnTo>
                  <a:lnTo>
                    <a:pt x="40" y="20"/>
                  </a:lnTo>
                  <a:lnTo>
                    <a:pt x="40" y="12"/>
                  </a:lnTo>
                  <a:lnTo>
                    <a:pt x="37" y="6"/>
                  </a:lnTo>
                  <a:lnTo>
                    <a:pt x="37" y="0"/>
                  </a:lnTo>
                  <a:lnTo>
                    <a:pt x="40" y="0"/>
                  </a:lnTo>
                  <a:lnTo>
                    <a:pt x="43" y="0"/>
                  </a:lnTo>
                  <a:lnTo>
                    <a:pt x="48" y="12"/>
                  </a:lnTo>
                  <a:lnTo>
                    <a:pt x="51" y="23"/>
                  </a:lnTo>
                  <a:lnTo>
                    <a:pt x="60" y="32"/>
                  </a:lnTo>
                  <a:lnTo>
                    <a:pt x="57" y="35"/>
                  </a:lnTo>
                  <a:lnTo>
                    <a:pt x="51" y="35"/>
                  </a:lnTo>
                  <a:lnTo>
                    <a:pt x="54" y="40"/>
                  </a:lnTo>
                  <a:lnTo>
                    <a:pt x="57" y="40"/>
                  </a:lnTo>
                  <a:lnTo>
                    <a:pt x="57" y="46"/>
                  </a:lnTo>
                  <a:lnTo>
                    <a:pt x="54" y="46"/>
                  </a:lnTo>
                  <a:lnTo>
                    <a:pt x="54" y="49"/>
                  </a:lnTo>
                  <a:lnTo>
                    <a:pt x="48" y="58"/>
                  </a:lnTo>
                  <a:lnTo>
                    <a:pt x="43" y="58"/>
                  </a:lnTo>
                  <a:lnTo>
                    <a:pt x="37" y="63"/>
                  </a:lnTo>
                  <a:lnTo>
                    <a:pt x="28" y="63"/>
                  </a:lnTo>
                  <a:lnTo>
                    <a:pt x="31" y="75"/>
                  </a:lnTo>
                  <a:lnTo>
                    <a:pt x="23" y="78"/>
                  </a:lnTo>
                  <a:lnTo>
                    <a:pt x="8" y="81"/>
                  </a:lnTo>
                  <a:lnTo>
                    <a:pt x="0" y="75"/>
                  </a:lnTo>
                  <a:lnTo>
                    <a:pt x="11" y="72"/>
                  </a:lnTo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55" name="Freeform 155"/>
            <p:cNvSpPr>
              <a:spLocks/>
            </p:cNvSpPr>
            <p:nvPr/>
          </p:nvSpPr>
          <p:spPr bwMode="auto">
            <a:xfrm>
              <a:off x="7947025" y="2201863"/>
              <a:ext cx="17463" cy="17462"/>
            </a:xfrm>
            <a:custGeom>
              <a:avLst/>
              <a:gdLst>
                <a:gd name="T0" fmla="*/ 2147483647 w 11"/>
                <a:gd name="T1" fmla="*/ 2147483647 h 11"/>
                <a:gd name="T2" fmla="*/ 2147483647 w 11"/>
                <a:gd name="T3" fmla="*/ 2147483647 h 11"/>
                <a:gd name="T4" fmla="*/ 0 w 11"/>
                <a:gd name="T5" fmla="*/ 2147483647 h 11"/>
                <a:gd name="T6" fmla="*/ 2147483647 w 11"/>
                <a:gd name="T7" fmla="*/ 2147483647 h 11"/>
                <a:gd name="T8" fmla="*/ 2147483647 w 11"/>
                <a:gd name="T9" fmla="*/ 2147483647 h 11"/>
                <a:gd name="T10" fmla="*/ 2147483647 w 11"/>
                <a:gd name="T11" fmla="*/ 2147483647 h 11"/>
                <a:gd name="T12" fmla="*/ 2147483647 w 11"/>
                <a:gd name="T13" fmla="*/ 2147483647 h 11"/>
                <a:gd name="T14" fmla="*/ 2147483647 w 11"/>
                <a:gd name="T15" fmla="*/ 2147483647 h 11"/>
                <a:gd name="T16" fmla="*/ 2147483647 w 11"/>
                <a:gd name="T17" fmla="*/ 2147483647 h 11"/>
                <a:gd name="T18" fmla="*/ 2147483647 w 11"/>
                <a:gd name="T19" fmla="*/ 2147483647 h 11"/>
                <a:gd name="T20" fmla="*/ 2147483647 w 11"/>
                <a:gd name="T21" fmla="*/ 2147483647 h 11"/>
                <a:gd name="T22" fmla="*/ 2147483647 w 11"/>
                <a:gd name="T23" fmla="*/ 2147483647 h 11"/>
                <a:gd name="T24" fmla="*/ 2147483647 w 11"/>
                <a:gd name="T25" fmla="*/ 0 h 11"/>
                <a:gd name="T26" fmla="*/ 2147483647 w 11"/>
                <a:gd name="T27" fmla="*/ 0 h 11"/>
                <a:gd name="T28" fmla="*/ 2147483647 w 11"/>
                <a:gd name="T29" fmla="*/ 0 h 11"/>
                <a:gd name="T30" fmla="*/ 2147483647 w 11"/>
                <a:gd name="T31" fmla="*/ 2147483647 h 11"/>
                <a:gd name="T32" fmla="*/ 2147483647 w 11"/>
                <a:gd name="T33" fmla="*/ 2147483647 h 1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1"/>
                <a:gd name="T52" fmla="*/ 0 h 11"/>
                <a:gd name="T53" fmla="*/ 11 w 11"/>
                <a:gd name="T54" fmla="*/ 11 h 1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1" h="11">
                  <a:moveTo>
                    <a:pt x="3" y="3"/>
                  </a:moveTo>
                  <a:lnTo>
                    <a:pt x="3" y="3"/>
                  </a:lnTo>
                  <a:lnTo>
                    <a:pt x="0" y="3"/>
                  </a:lnTo>
                  <a:lnTo>
                    <a:pt x="3" y="9"/>
                  </a:lnTo>
                  <a:lnTo>
                    <a:pt x="3" y="11"/>
                  </a:lnTo>
                  <a:lnTo>
                    <a:pt x="5" y="11"/>
                  </a:lnTo>
                  <a:lnTo>
                    <a:pt x="11" y="9"/>
                  </a:lnTo>
                  <a:lnTo>
                    <a:pt x="11" y="6"/>
                  </a:lnTo>
                  <a:lnTo>
                    <a:pt x="11" y="3"/>
                  </a:lnTo>
                  <a:lnTo>
                    <a:pt x="8" y="0"/>
                  </a:lnTo>
                  <a:lnTo>
                    <a:pt x="5" y="0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56" name="Freeform 156"/>
            <p:cNvSpPr>
              <a:spLocks/>
            </p:cNvSpPr>
            <p:nvPr/>
          </p:nvSpPr>
          <p:spPr bwMode="auto">
            <a:xfrm>
              <a:off x="5056188" y="2036763"/>
              <a:ext cx="14287" cy="3175"/>
            </a:xfrm>
            <a:custGeom>
              <a:avLst/>
              <a:gdLst>
                <a:gd name="T0" fmla="*/ 2147483647 w 9"/>
                <a:gd name="T1" fmla="*/ 2147483647 h 2"/>
                <a:gd name="T2" fmla="*/ 2147483647 w 9"/>
                <a:gd name="T3" fmla="*/ 2147483647 h 2"/>
                <a:gd name="T4" fmla="*/ 2147483647 w 9"/>
                <a:gd name="T5" fmla="*/ 2147483647 h 2"/>
                <a:gd name="T6" fmla="*/ 2147483647 w 9"/>
                <a:gd name="T7" fmla="*/ 0 h 2"/>
                <a:gd name="T8" fmla="*/ 2147483647 w 9"/>
                <a:gd name="T9" fmla="*/ 0 h 2"/>
                <a:gd name="T10" fmla="*/ 0 w 9"/>
                <a:gd name="T11" fmla="*/ 0 h 2"/>
                <a:gd name="T12" fmla="*/ 2147483647 w 9"/>
                <a:gd name="T13" fmla="*/ 2147483647 h 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2"/>
                <a:gd name="T23" fmla="*/ 9 w 9"/>
                <a:gd name="T24" fmla="*/ 2 h 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2">
                  <a:moveTo>
                    <a:pt x="3" y="2"/>
                  </a:moveTo>
                  <a:lnTo>
                    <a:pt x="6" y="2"/>
                  </a:lnTo>
                  <a:lnTo>
                    <a:pt x="9" y="2"/>
                  </a:lnTo>
                  <a:lnTo>
                    <a:pt x="9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57" name="Freeform 157"/>
            <p:cNvSpPr>
              <a:spLocks/>
            </p:cNvSpPr>
            <p:nvPr/>
          </p:nvSpPr>
          <p:spPr bwMode="auto">
            <a:xfrm>
              <a:off x="7918450" y="2178050"/>
              <a:ext cx="4763" cy="9525"/>
            </a:xfrm>
            <a:custGeom>
              <a:avLst/>
              <a:gdLst>
                <a:gd name="T0" fmla="*/ 2147483647 w 3"/>
                <a:gd name="T1" fmla="*/ 2147483647 h 5"/>
                <a:gd name="T2" fmla="*/ 2147483647 w 3"/>
                <a:gd name="T3" fmla="*/ 2147483647 h 5"/>
                <a:gd name="T4" fmla="*/ 0 w 3"/>
                <a:gd name="T5" fmla="*/ 0 h 5"/>
                <a:gd name="T6" fmla="*/ 0 w 3"/>
                <a:gd name="T7" fmla="*/ 2147483647 h 5"/>
                <a:gd name="T8" fmla="*/ 2147483647 w 3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3" y="5"/>
                  </a:moveTo>
                  <a:lnTo>
                    <a:pt x="3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3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58" name="Freeform 158"/>
            <p:cNvSpPr>
              <a:spLocks/>
            </p:cNvSpPr>
            <p:nvPr/>
          </p:nvSpPr>
          <p:spPr bwMode="auto">
            <a:xfrm>
              <a:off x="7816850" y="4383088"/>
              <a:ext cx="41275" cy="17462"/>
            </a:xfrm>
            <a:custGeom>
              <a:avLst/>
              <a:gdLst>
                <a:gd name="T0" fmla="*/ 2147483647 w 26"/>
                <a:gd name="T1" fmla="*/ 2147483647 h 11"/>
                <a:gd name="T2" fmla="*/ 2147483647 w 26"/>
                <a:gd name="T3" fmla="*/ 2147483647 h 11"/>
                <a:gd name="T4" fmla="*/ 2147483647 w 26"/>
                <a:gd name="T5" fmla="*/ 2147483647 h 11"/>
                <a:gd name="T6" fmla="*/ 2147483647 w 26"/>
                <a:gd name="T7" fmla="*/ 2147483647 h 11"/>
                <a:gd name="T8" fmla="*/ 2147483647 w 26"/>
                <a:gd name="T9" fmla="*/ 2147483647 h 11"/>
                <a:gd name="T10" fmla="*/ 2147483647 w 26"/>
                <a:gd name="T11" fmla="*/ 0 h 11"/>
                <a:gd name="T12" fmla="*/ 2147483647 w 26"/>
                <a:gd name="T13" fmla="*/ 2147483647 h 11"/>
                <a:gd name="T14" fmla="*/ 2147483647 w 26"/>
                <a:gd name="T15" fmla="*/ 0 h 11"/>
                <a:gd name="T16" fmla="*/ 2147483647 w 26"/>
                <a:gd name="T17" fmla="*/ 0 h 11"/>
                <a:gd name="T18" fmla="*/ 0 w 26"/>
                <a:gd name="T19" fmla="*/ 2147483647 h 11"/>
                <a:gd name="T20" fmla="*/ 2147483647 w 26"/>
                <a:gd name="T21" fmla="*/ 2147483647 h 11"/>
                <a:gd name="T22" fmla="*/ 2147483647 w 26"/>
                <a:gd name="T23" fmla="*/ 2147483647 h 1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6"/>
                <a:gd name="T37" fmla="*/ 0 h 11"/>
                <a:gd name="T38" fmla="*/ 26 w 26"/>
                <a:gd name="T39" fmla="*/ 11 h 1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6" h="11">
                  <a:moveTo>
                    <a:pt x="9" y="8"/>
                  </a:moveTo>
                  <a:lnTo>
                    <a:pt x="12" y="11"/>
                  </a:lnTo>
                  <a:lnTo>
                    <a:pt x="17" y="11"/>
                  </a:lnTo>
                  <a:lnTo>
                    <a:pt x="23" y="6"/>
                  </a:lnTo>
                  <a:lnTo>
                    <a:pt x="26" y="3"/>
                  </a:lnTo>
                  <a:lnTo>
                    <a:pt x="20" y="0"/>
                  </a:lnTo>
                  <a:lnTo>
                    <a:pt x="15" y="3"/>
                  </a:lnTo>
                  <a:lnTo>
                    <a:pt x="9" y="0"/>
                  </a:lnTo>
                  <a:lnTo>
                    <a:pt x="3" y="0"/>
                  </a:lnTo>
                  <a:lnTo>
                    <a:pt x="0" y="11"/>
                  </a:lnTo>
                  <a:lnTo>
                    <a:pt x="9" y="11"/>
                  </a:lnTo>
                  <a:lnTo>
                    <a:pt x="9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59" name="Freeform 159"/>
            <p:cNvSpPr>
              <a:spLocks/>
            </p:cNvSpPr>
            <p:nvPr/>
          </p:nvSpPr>
          <p:spPr bwMode="auto">
            <a:xfrm>
              <a:off x="7200900" y="3402013"/>
              <a:ext cx="60325" cy="55562"/>
            </a:xfrm>
            <a:custGeom>
              <a:avLst/>
              <a:gdLst>
                <a:gd name="T0" fmla="*/ 2147483647 w 37"/>
                <a:gd name="T1" fmla="*/ 2147483647 h 35"/>
                <a:gd name="T2" fmla="*/ 2147483647 w 37"/>
                <a:gd name="T3" fmla="*/ 2147483647 h 35"/>
                <a:gd name="T4" fmla="*/ 2147483647 w 37"/>
                <a:gd name="T5" fmla="*/ 0 h 35"/>
                <a:gd name="T6" fmla="*/ 2147483647 w 37"/>
                <a:gd name="T7" fmla="*/ 0 h 35"/>
                <a:gd name="T8" fmla="*/ 2147483647 w 37"/>
                <a:gd name="T9" fmla="*/ 0 h 35"/>
                <a:gd name="T10" fmla="*/ 2147483647 w 37"/>
                <a:gd name="T11" fmla="*/ 0 h 35"/>
                <a:gd name="T12" fmla="*/ 2147483647 w 37"/>
                <a:gd name="T13" fmla="*/ 0 h 35"/>
                <a:gd name="T14" fmla="*/ 2147483647 w 37"/>
                <a:gd name="T15" fmla="*/ 2147483647 h 35"/>
                <a:gd name="T16" fmla="*/ 2147483647 w 37"/>
                <a:gd name="T17" fmla="*/ 2147483647 h 35"/>
                <a:gd name="T18" fmla="*/ 2147483647 w 37"/>
                <a:gd name="T19" fmla="*/ 2147483647 h 35"/>
                <a:gd name="T20" fmla="*/ 2147483647 w 37"/>
                <a:gd name="T21" fmla="*/ 0 h 35"/>
                <a:gd name="T22" fmla="*/ 2147483647 w 37"/>
                <a:gd name="T23" fmla="*/ 0 h 35"/>
                <a:gd name="T24" fmla="*/ 2147483647 w 37"/>
                <a:gd name="T25" fmla="*/ 2147483647 h 35"/>
                <a:gd name="T26" fmla="*/ 2147483647 w 37"/>
                <a:gd name="T27" fmla="*/ 2147483647 h 35"/>
                <a:gd name="T28" fmla="*/ 2147483647 w 37"/>
                <a:gd name="T29" fmla="*/ 2147483647 h 35"/>
                <a:gd name="T30" fmla="*/ 2147483647 w 37"/>
                <a:gd name="T31" fmla="*/ 2147483647 h 35"/>
                <a:gd name="T32" fmla="*/ 2147483647 w 37"/>
                <a:gd name="T33" fmla="*/ 2147483647 h 35"/>
                <a:gd name="T34" fmla="*/ 2147483647 w 37"/>
                <a:gd name="T35" fmla="*/ 2147483647 h 35"/>
                <a:gd name="T36" fmla="*/ 2147483647 w 37"/>
                <a:gd name="T37" fmla="*/ 2147483647 h 35"/>
                <a:gd name="T38" fmla="*/ 2147483647 w 37"/>
                <a:gd name="T39" fmla="*/ 2147483647 h 35"/>
                <a:gd name="T40" fmla="*/ 2147483647 w 37"/>
                <a:gd name="T41" fmla="*/ 2147483647 h 35"/>
                <a:gd name="T42" fmla="*/ 2147483647 w 37"/>
                <a:gd name="T43" fmla="*/ 2147483647 h 35"/>
                <a:gd name="T44" fmla="*/ 0 w 37"/>
                <a:gd name="T45" fmla="*/ 2147483647 h 35"/>
                <a:gd name="T46" fmla="*/ 0 w 37"/>
                <a:gd name="T47" fmla="*/ 2147483647 h 35"/>
                <a:gd name="T48" fmla="*/ 0 w 37"/>
                <a:gd name="T49" fmla="*/ 2147483647 h 35"/>
                <a:gd name="T50" fmla="*/ 0 w 37"/>
                <a:gd name="T51" fmla="*/ 2147483647 h 35"/>
                <a:gd name="T52" fmla="*/ 2147483647 w 37"/>
                <a:gd name="T53" fmla="*/ 2147483647 h 35"/>
                <a:gd name="T54" fmla="*/ 2147483647 w 37"/>
                <a:gd name="T55" fmla="*/ 2147483647 h 35"/>
                <a:gd name="T56" fmla="*/ 2147483647 w 37"/>
                <a:gd name="T57" fmla="*/ 2147483647 h 35"/>
                <a:gd name="T58" fmla="*/ 2147483647 w 37"/>
                <a:gd name="T59" fmla="*/ 2147483647 h 35"/>
                <a:gd name="T60" fmla="*/ 2147483647 w 37"/>
                <a:gd name="T61" fmla="*/ 2147483647 h 35"/>
                <a:gd name="T62" fmla="*/ 2147483647 w 37"/>
                <a:gd name="T63" fmla="*/ 2147483647 h 35"/>
                <a:gd name="T64" fmla="*/ 2147483647 w 37"/>
                <a:gd name="T65" fmla="*/ 2147483647 h 35"/>
                <a:gd name="T66" fmla="*/ 2147483647 w 37"/>
                <a:gd name="T67" fmla="*/ 2147483647 h 35"/>
                <a:gd name="T68" fmla="*/ 2147483647 w 37"/>
                <a:gd name="T69" fmla="*/ 2147483647 h 35"/>
                <a:gd name="T70" fmla="*/ 2147483647 w 37"/>
                <a:gd name="T71" fmla="*/ 2147483647 h 35"/>
                <a:gd name="T72" fmla="*/ 2147483647 w 37"/>
                <a:gd name="T73" fmla="*/ 2147483647 h 35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37"/>
                <a:gd name="T112" fmla="*/ 0 h 35"/>
                <a:gd name="T113" fmla="*/ 37 w 37"/>
                <a:gd name="T114" fmla="*/ 35 h 35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37" h="35">
                  <a:moveTo>
                    <a:pt x="37" y="12"/>
                  </a:moveTo>
                  <a:lnTo>
                    <a:pt x="37" y="6"/>
                  </a:lnTo>
                  <a:lnTo>
                    <a:pt x="34" y="0"/>
                  </a:lnTo>
                  <a:lnTo>
                    <a:pt x="28" y="0"/>
                  </a:lnTo>
                  <a:lnTo>
                    <a:pt x="23" y="0"/>
                  </a:lnTo>
                  <a:lnTo>
                    <a:pt x="23" y="3"/>
                  </a:lnTo>
                  <a:lnTo>
                    <a:pt x="20" y="3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11" y="3"/>
                  </a:lnTo>
                  <a:lnTo>
                    <a:pt x="8" y="3"/>
                  </a:lnTo>
                  <a:lnTo>
                    <a:pt x="8" y="6"/>
                  </a:lnTo>
                  <a:lnTo>
                    <a:pt x="5" y="9"/>
                  </a:lnTo>
                  <a:lnTo>
                    <a:pt x="5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0" y="23"/>
                  </a:lnTo>
                  <a:lnTo>
                    <a:pt x="5" y="32"/>
                  </a:lnTo>
                  <a:lnTo>
                    <a:pt x="11" y="35"/>
                  </a:lnTo>
                  <a:lnTo>
                    <a:pt x="20" y="35"/>
                  </a:lnTo>
                  <a:lnTo>
                    <a:pt x="23" y="35"/>
                  </a:lnTo>
                  <a:lnTo>
                    <a:pt x="28" y="32"/>
                  </a:lnTo>
                  <a:lnTo>
                    <a:pt x="31" y="29"/>
                  </a:lnTo>
                  <a:lnTo>
                    <a:pt x="31" y="23"/>
                  </a:lnTo>
                  <a:lnTo>
                    <a:pt x="31" y="18"/>
                  </a:lnTo>
                  <a:lnTo>
                    <a:pt x="34" y="12"/>
                  </a:lnTo>
                  <a:lnTo>
                    <a:pt x="37" y="1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60" name="Freeform 160"/>
            <p:cNvSpPr>
              <a:spLocks/>
            </p:cNvSpPr>
            <p:nvPr/>
          </p:nvSpPr>
          <p:spPr bwMode="auto">
            <a:xfrm>
              <a:off x="7108825" y="3992563"/>
              <a:ext cx="26988" cy="17462"/>
            </a:xfrm>
            <a:custGeom>
              <a:avLst/>
              <a:gdLst>
                <a:gd name="T0" fmla="*/ 2147483647 w 17"/>
                <a:gd name="T1" fmla="*/ 2147483647 h 11"/>
                <a:gd name="T2" fmla="*/ 2147483647 w 17"/>
                <a:gd name="T3" fmla="*/ 2147483647 h 11"/>
                <a:gd name="T4" fmla="*/ 2147483647 w 17"/>
                <a:gd name="T5" fmla="*/ 2147483647 h 11"/>
                <a:gd name="T6" fmla="*/ 2147483647 w 17"/>
                <a:gd name="T7" fmla="*/ 2147483647 h 11"/>
                <a:gd name="T8" fmla="*/ 2147483647 w 17"/>
                <a:gd name="T9" fmla="*/ 2147483647 h 11"/>
                <a:gd name="T10" fmla="*/ 2147483647 w 17"/>
                <a:gd name="T11" fmla="*/ 2147483647 h 11"/>
                <a:gd name="T12" fmla="*/ 2147483647 w 17"/>
                <a:gd name="T13" fmla="*/ 2147483647 h 11"/>
                <a:gd name="T14" fmla="*/ 2147483647 w 17"/>
                <a:gd name="T15" fmla="*/ 0 h 11"/>
                <a:gd name="T16" fmla="*/ 2147483647 w 17"/>
                <a:gd name="T17" fmla="*/ 0 h 11"/>
                <a:gd name="T18" fmla="*/ 2147483647 w 17"/>
                <a:gd name="T19" fmla="*/ 0 h 11"/>
                <a:gd name="T20" fmla="*/ 2147483647 w 17"/>
                <a:gd name="T21" fmla="*/ 2147483647 h 11"/>
                <a:gd name="T22" fmla="*/ 2147483647 w 17"/>
                <a:gd name="T23" fmla="*/ 2147483647 h 11"/>
                <a:gd name="T24" fmla="*/ 2147483647 w 17"/>
                <a:gd name="T25" fmla="*/ 2147483647 h 11"/>
                <a:gd name="T26" fmla="*/ 2147483647 w 17"/>
                <a:gd name="T27" fmla="*/ 2147483647 h 11"/>
                <a:gd name="T28" fmla="*/ 0 w 17"/>
                <a:gd name="T29" fmla="*/ 2147483647 h 11"/>
                <a:gd name="T30" fmla="*/ 2147483647 w 17"/>
                <a:gd name="T31" fmla="*/ 2147483647 h 11"/>
                <a:gd name="T32" fmla="*/ 2147483647 w 17"/>
                <a:gd name="T33" fmla="*/ 2147483647 h 1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7"/>
                <a:gd name="T52" fmla="*/ 0 h 11"/>
                <a:gd name="T53" fmla="*/ 17 w 17"/>
                <a:gd name="T54" fmla="*/ 11 h 1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7" h="11">
                  <a:moveTo>
                    <a:pt x="9" y="6"/>
                  </a:moveTo>
                  <a:lnTo>
                    <a:pt x="12" y="8"/>
                  </a:lnTo>
                  <a:lnTo>
                    <a:pt x="15" y="11"/>
                  </a:lnTo>
                  <a:lnTo>
                    <a:pt x="17" y="8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6" y="3"/>
                  </a:lnTo>
                  <a:lnTo>
                    <a:pt x="3" y="6"/>
                  </a:lnTo>
                  <a:lnTo>
                    <a:pt x="0" y="11"/>
                  </a:lnTo>
                  <a:lnTo>
                    <a:pt x="6" y="6"/>
                  </a:lnTo>
                  <a:lnTo>
                    <a:pt x="9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61" name="Freeform 161"/>
            <p:cNvSpPr>
              <a:spLocks/>
            </p:cNvSpPr>
            <p:nvPr/>
          </p:nvSpPr>
          <p:spPr bwMode="auto">
            <a:xfrm>
              <a:off x="7123113" y="4024313"/>
              <a:ext cx="22225" cy="26987"/>
            </a:xfrm>
            <a:custGeom>
              <a:avLst/>
              <a:gdLst>
                <a:gd name="T0" fmla="*/ 2147483647 w 14"/>
                <a:gd name="T1" fmla="*/ 2147483647 h 17"/>
                <a:gd name="T2" fmla="*/ 2147483647 w 14"/>
                <a:gd name="T3" fmla="*/ 2147483647 h 17"/>
                <a:gd name="T4" fmla="*/ 2147483647 w 14"/>
                <a:gd name="T5" fmla="*/ 2147483647 h 17"/>
                <a:gd name="T6" fmla="*/ 2147483647 w 14"/>
                <a:gd name="T7" fmla="*/ 2147483647 h 17"/>
                <a:gd name="T8" fmla="*/ 2147483647 w 14"/>
                <a:gd name="T9" fmla="*/ 2147483647 h 17"/>
                <a:gd name="T10" fmla="*/ 2147483647 w 14"/>
                <a:gd name="T11" fmla="*/ 2147483647 h 17"/>
                <a:gd name="T12" fmla="*/ 2147483647 w 14"/>
                <a:gd name="T13" fmla="*/ 2147483647 h 17"/>
                <a:gd name="T14" fmla="*/ 2147483647 w 14"/>
                <a:gd name="T15" fmla="*/ 2147483647 h 17"/>
                <a:gd name="T16" fmla="*/ 2147483647 w 14"/>
                <a:gd name="T17" fmla="*/ 0 h 17"/>
                <a:gd name="T18" fmla="*/ 2147483647 w 14"/>
                <a:gd name="T19" fmla="*/ 2147483647 h 17"/>
                <a:gd name="T20" fmla="*/ 2147483647 w 14"/>
                <a:gd name="T21" fmla="*/ 2147483647 h 17"/>
                <a:gd name="T22" fmla="*/ 2147483647 w 14"/>
                <a:gd name="T23" fmla="*/ 2147483647 h 17"/>
                <a:gd name="T24" fmla="*/ 2147483647 w 14"/>
                <a:gd name="T25" fmla="*/ 2147483647 h 17"/>
                <a:gd name="T26" fmla="*/ 0 w 14"/>
                <a:gd name="T27" fmla="*/ 2147483647 h 17"/>
                <a:gd name="T28" fmla="*/ 0 w 14"/>
                <a:gd name="T29" fmla="*/ 2147483647 h 17"/>
                <a:gd name="T30" fmla="*/ 2147483647 w 14"/>
                <a:gd name="T31" fmla="*/ 2147483647 h 17"/>
                <a:gd name="T32" fmla="*/ 2147483647 w 14"/>
                <a:gd name="T33" fmla="*/ 2147483647 h 1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4"/>
                <a:gd name="T52" fmla="*/ 0 h 17"/>
                <a:gd name="T53" fmla="*/ 14 w 14"/>
                <a:gd name="T54" fmla="*/ 17 h 17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4" h="17">
                  <a:moveTo>
                    <a:pt x="3" y="17"/>
                  </a:moveTo>
                  <a:lnTo>
                    <a:pt x="6" y="11"/>
                  </a:lnTo>
                  <a:lnTo>
                    <a:pt x="8" y="11"/>
                  </a:lnTo>
                  <a:lnTo>
                    <a:pt x="11" y="11"/>
                  </a:lnTo>
                  <a:lnTo>
                    <a:pt x="14" y="9"/>
                  </a:lnTo>
                  <a:lnTo>
                    <a:pt x="8" y="6"/>
                  </a:lnTo>
                  <a:lnTo>
                    <a:pt x="6" y="0"/>
                  </a:lnTo>
                  <a:lnTo>
                    <a:pt x="3" y="3"/>
                  </a:lnTo>
                  <a:lnTo>
                    <a:pt x="3" y="6"/>
                  </a:lnTo>
                  <a:lnTo>
                    <a:pt x="3" y="11"/>
                  </a:lnTo>
                  <a:lnTo>
                    <a:pt x="0" y="14"/>
                  </a:lnTo>
                  <a:lnTo>
                    <a:pt x="3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62" name="Freeform 162"/>
            <p:cNvSpPr>
              <a:spLocks/>
            </p:cNvSpPr>
            <p:nvPr/>
          </p:nvSpPr>
          <p:spPr bwMode="auto">
            <a:xfrm>
              <a:off x="7472363" y="1874838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2147483647 h 6"/>
                <a:gd name="T4" fmla="*/ 0 w 6"/>
                <a:gd name="T5" fmla="*/ 0 h 6"/>
                <a:gd name="T6" fmla="*/ 0 w 6"/>
                <a:gd name="T7" fmla="*/ 2147483647 h 6"/>
                <a:gd name="T8" fmla="*/ 2147483647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6" y="6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63" name="Rectangle 163"/>
            <p:cNvSpPr>
              <a:spLocks noChangeArrowheads="1"/>
            </p:cNvSpPr>
            <p:nvPr/>
          </p:nvSpPr>
          <p:spPr bwMode="auto">
            <a:xfrm>
              <a:off x="7499350" y="1879600"/>
              <a:ext cx="4763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64" name="Rectangle 164"/>
            <p:cNvSpPr>
              <a:spLocks noChangeArrowheads="1"/>
            </p:cNvSpPr>
            <p:nvPr/>
          </p:nvSpPr>
          <p:spPr bwMode="auto">
            <a:xfrm>
              <a:off x="7518400" y="1884363"/>
              <a:ext cx="4763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65" name="Freeform 165"/>
            <p:cNvSpPr>
              <a:spLocks/>
            </p:cNvSpPr>
            <p:nvPr/>
          </p:nvSpPr>
          <p:spPr bwMode="auto">
            <a:xfrm>
              <a:off x="6985000" y="1800225"/>
              <a:ext cx="82550" cy="23813"/>
            </a:xfrm>
            <a:custGeom>
              <a:avLst/>
              <a:gdLst>
                <a:gd name="T0" fmla="*/ 2147483647 w 51"/>
                <a:gd name="T1" fmla="*/ 0 h 15"/>
                <a:gd name="T2" fmla="*/ 2147483647 w 51"/>
                <a:gd name="T3" fmla="*/ 0 h 15"/>
                <a:gd name="T4" fmla="*/ 2147483647 w 51"/>
                <a:gd name="T5" fmla="*/ 2147483647 h 15"/>
                <a:gd name="T6" fmla="*/ 2147483647 w 51"/>
                <a:gd name="T7" fmla="*/ 2147483647 h 15"/>
                <a:gd name="T8" fmla="*/ 2147483647 w 51"/>
                <a:gd name="T9" fmla="*/ 2147483647 h 15"/>
                <a:gd name="T10" fmla="*/ 2147483647 w 51"/>
                <a:gd name="T11" fmla="*/ 2147483647 h 15"/>
                <a:gd name="T12" fmla="*/ 2147483647 w 51"/>
                <a:gd name="T13" fmla="*/ 2147483647 h 15"/>
                <a:gd name="T14" fmla="*/ 2147483647 w 51"/>
                <a:gd name="T15" fmla="*/ 2147483647 h 15"/>
                <a:gd name="T16" fmla="*/ 0 w 51"/>
                <a:gd name="T17" fmla="*/ 2147483647 h 15"/>
                <a:gd name="T18" fmla="*/ 0 w 51"/>
                <a:gd name="T19" fmla="*/ 2147483647 h 15"/>
                <a:gd name="T20" fmla="*/ 0 w 51"/>
                <a:gd name="T21" fmla="*/ 2147483647 h 15"/>
                <a:gd name="T22" fmla="*/ 0 w 51"/>
                <a:gd name="T23" fmla="*/ 2147483647 h 15"/>
                <a:gd name="T24" fmla="*/ 2147483647 w 51"/>
                <a:gd name="T25" fmla="*/ 2147483647 h 15"/>
                <a:gd name="T26" fmla="*/ 2147483647 w 51"/>
                <a:gd name="T27" fmla="*/ 2147483647 h 15"/>
                <a:gd name="T28" fmla="*/ 2147483647 w 51"/>
                <a:gd name="T29" fmla="*/ 2147483647 h 15"/>
                <a:gd name="T30" fmla="*/ 2147483647 w 51"/>
                <a:gd name="T31" fmla="*/ 2147483647 h 15"/>
                <a:gd name="T32" fmla="*/ 2147483647 w 51"/>
                <a:gd name="T33" fmla="*/ 2147483647 h 15"/>
                <a:gd name="T34" fmla="*/ 2147483647 w 51"/>
                <a:gd name="T35" fmla="*/ 2147483647 h 15"/>
                <a:gd name="T36" fmla="*/ 2147483647 w 51"/>
                <a:gd name="T37" fmla="*/ 2147483647 h 15"/>
                <a:gd name="T38" fmla="*/ 2147483647 w 51"/>
                <a:gd name="T39" fmla="*/ 2147483647 h 15"/>
                <a:gd name="T40" fmla="*/ 2147483647 w 51"/>
                <a:gd name="T41" fmla="*/ 2147483647 h 15"/>
                <a:gd name="T42" fmla="*/ 2147483647 w 51"/>
                <a:gd name="T43" fmla="*/ 2147483647 h 15"/>
                <a:gd name="T44" fmla="*/ 2147483647 w 51"/>
                <a:gd name="T45" fmla="*/ 2147483647 h 15"/>
                <a:gd name="T46" fmla="*/ 2147483647 w 51"/>
                <a:gd name="T47" fmla="*/ 2147483647 h 15"/>
                <a:gd name="T48" fmla="*/ 2147483647 w 51"/>
                <a:gd name="T49" fmla="*/ 2147483647 h 15"/>
                <a:gd name="T50" fmla="*/ 2147483647 w 51"/>
                <a:gd name="T51" fmla="*/ 2147483647 h 15"/>
                <a:gd name="T52" fmla="*/ 2147483647 w 51"/>
                <a:gd name="T53" fmla="*/ 2147483647 h 15"/>
                <a:gd name="T54" fmla="*/ 2147483647 w 51"/>
                <a:gd name="T55" fmla="*/ 2147483647 h 15"/>
                <a:gd name="T56" fmla="*/ 2147483647 w 51"/>
                <a:gd name="T57" fmla="*/ 0 h 15"/>
                <a:gd name="T58" fmla="*/ 2147483647 w 51"/>
                <a:gd name="T59" fmla="*/ 0 h 15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51"/>
                <a:gd name="T91" fmla="*/ 0 h 15"/>
                <a:gd name="T92" fmla="*/ 51 w 51"/>
                <a:gd name="T93" fmla="*/ 15 h 15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51" h="15">
                  <a:moveTo>
                    <a:pt x="14" y="0"/>
                  </a:moveTo>
                  <a:lnTo>
                    <a:pt x="14" y="0"/>
                  </a:lnTo>
                  <a:lnTo>
                    <a:pt x="8" y="3"/>
                  </a:lnTo>
                  <a:lnTo>
                    <a:pt x="8" y="9"/>
                  </a:lnTo>
                  <a:lnTo>
                    <a:pt x="5" y="9"/>
                  </a:lnTo>
                  <a:lnTo>
                    <a:pt x="0" y="9"/>
                  </a:lnTo>
                  <a:lnTo>
                    <a:pt x="0" y="12"/>
                  </a:lnTo>
                  <a:lnTo>
                    <a:pt x="5" y="12"/>
                  </a:lnTo>
                  <a:lnTo>
                    <a:pt x="14" y="12"/>
                  </a:lnTo>
                  <a:lnTo>
                    <a:pt x="23" y="12"/>
                  </a:lnTo>
                  <a:lnTo>
                    <a:pt x="43" y="15"/>
                  </a:lnTo>
                  <a:lnTo>
                    <a:pt x="48" y="15"/>
                  </a:lnTo>
                  <a:lnTo>
                    <a:pt x="51" y="15"/>
                  </a:lnTo>
                  <a:lnTo>
                    <a:pt x="48" y="12"/>
                  </a:lnTo>
                  <a:lnTo>
                    <a:pt x="48" y="9"/>
                  </a:lnTo>
                  <a:lnTo>
                    <a:pt x="43" y="6"/>
                  </a:lnTo>
                  <a:lnTo>
                    <a:pt x="23" y="3"/>
                  </a:lnTo>
                  <a:lnTo>
                    <a:pt x="14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66" name="Freeform 166"/>
            <p:cNvSpPr>
              <a:spLocks/>
            </p:cNvSpPr>
            <p:nvPr/>
          </p:nvSpPr>
          <p:spPr bwMode="auto">
            <a:xfrm>
              <a:off x="7821613" y="1857375"/>
              <a:ext cx="69850" cy="26988"/>
            </a:xfrm>
            <a:custGeom>
              <a:avLst/>
              <a:gdLst>
                <a:gd name="T0" fmla="*/ 2147483647 w 43"/>
                <a:gd name="T1" fmla="*/ 2147483647 h 17"/>
                <a:gd name="T2" fmla="*/ 2147483647 w 43"/>
                <a:gd name="T3" fmla="*/ 2147483647 h 17"/>
                <a:gd name="T4" fmla="*/ 2147483647 w 43"/>
                <a:gd name="T5" fmla="*/ 2147483647 h 17"/>
                <a:gd name="T6" fmla="*/ 2147483647 w 43"/>
                <a:gd name="T7" fmla="*/ 2147483647 h 17"/>
                <a:gd name="T8" fmla="*/ 2147483647 w 43"/>
                <a:gd name="T9" fmla="*/ 2147483647 h 17"/>
                <a:gd name="T10" fmla="*/ 2147483647 w 43"/>
                <a:gd name="T11" fmla="*/ 2147483647 h 17"/>
                <a:gd name="T12" fmla="*/ 2147483647 w 43"/>
                <a:gd name="T13" fmla="*/ 2147483647 h 17"/>
                <a:gd name="T14" fmla="*/ 2147483647 w 43"/>
                <a:gd name="T15" fmla="*/ 2147483647 h 17"/>
                <a:gd name="T16" fmla="*/ 2147483647 w 43"/>
                <a:gd name="T17" fmla="*/ 2147483647 h 17"/>
                <a:gd name="T18" fmla="*/ 2147483647 w 43"/>
                <a:gd name="T19" fmla="*/ 2147483647 h 17"/>
                <a:gd name="T20" fmla="*/ 2147483647 w 43"/>
                <a:gd name="T21" fmla="*/ 2147483647 h 17"/>
                <a:gd name="T22" fmla="*/ 2147483647 w 43"/>
                <a:gd name="T23" fmla="*/ 2147483647 h 17"/>
                <a:gd name="T24" fmla="*/ 2147483647 w 43"/>
                <a:gd name="T25" fmla="*/ 2147483647 h 17"/>
                <a:gd name="T26" fmla="*/ 2147483647 w 43"/>
                <a:gd name="T27" fmla="*/ 0 h 17"/>
                <a:gd name="T28" fmla="*/ 2147483647 w 43"/>
                <a:gd name="T29" fmla="*/ 2147483647 h 17"/>
                <a:gd name="T30" fmla="*/ 2147483647 w 43"/>
                <a:gd name="T31" fmla="*/ 2147483647 h 17"/>
                <a:gd name="T32" fmla="*/ 0 w 43"/>
                <a:gd name="T33" fmla="*/ 2147483647 h 17"/>
                <a:gd name="T34" fmla="*/ 0 w 43"/>
                <a:gd name="T35" fmla="*/ 2147483647 h 17"/>
                <a:gd name="T36" fmla="*/ 0 w 43"/>
                <a:gd name="T37" fmla="*/ 2147483647 h 17"/>
                <a:gd name="T38" fmla="*/ 0 w 43"/>
                <a:gd name="T39" fmla="*/ 2147483647 h 17"/>
                <a:gd name="T40" fmla="*/ 2147483647 w 43"/>
                <a:gd name="T41" fmla="*/ 2147483647 h 17"/>
                <a:gd name="T42" fmla="*/ 2147483647 w 43"/>
                <a:gd name="T43" fmla="*/ 2147483647 h 17"/>
                <a:gd name="T44" fmla="*/ 2147483647 w 43"/>
                <a:gd name="T45" fmla="*/ 2147483647 h 17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43"/>
                <a:gd name="T70" fmla="*/ 0 h 17"/>
                <a:gd name="T71" fmla="*/ 43 w 43"/>
                <a:gd name="T72" fmla="*/ 17 h 17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43" h="17">
                  <a:moveTo>
                    <a:pt x="9" y="17"/>
                  </a:moveTo>
                  <a:lnTo>
                    <a:pt x="9" y="17"/>
                  </a:lnTo>
                  <a:lnTo>
                    <a:pt x="23" y="14"/>
                  </a:lnTo>
                  <a:lnTo>
                    <a:pt x="35" y="14"/>
                  </a:lnTo>
                  <a:lnTo>
                    <a:pt x="43" y="11"/>
                  </a:lnTo>
                  <a:lnTo>
                    <a:pt x="43" y="8"/>
                  </a:lnTo>
                  <a:lnTo>
                    <a:pt x="40" y="8"/>
                  </a:lnTo>
                  <a:lnTo>
                    <a:pt x="20" y="3"/>
                  </a:lnTo>
                  <a:lnTo>
                    <a:pt x="12" y="0"/>
                  </a:lnTo>
                  <a:lnTo>
                    <a:pt x="6" y="3"/>
                  </a:lnTo>
                  <a:lnTo>
                    <a:pt x="0" y="8"/>
                  </a:lnTo>
                  <a:lnTo>
                    <a:pt x="0" y="11"/>
                  </a:lnTo>
                  <a:lnTo>
                    <a:pt x="3" y="17"/>
                  </a:lnTo>
                  <a:lnTo>
                    <a:pt x="9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67" name="Freeform 167"/>
            <p:cNvSpPr>
              <a:spLocks/>
            </p:cNvSpPr>
            <p:nvPr/>
          </p:nvSpPr>
          <p:spPr bwMode="auto">
            <a:xfrm>
              <a:off x="6219825" y="1700213"/>
              <a:ext cx="9525" cy="4762"/>
            </a:xfrm>
            <a:custGeom>
              <a:avLst/>
              <a:gdLst>
                <a:gd name="T0" fmla="*/ 2147483647 w 6"/>
                <a:gd name="T1" fmla="*/ 0 h 3"/>
                <a:gd name="T2" fmla="*/ 2147483647 w 6"/>
                <a:gd name="T3" fmla="*/ 0 h 3"/>
                <a:gd name="T4" fmla="*/ 0 w 6"/>
                <a:gd name="T5" fmla="*/ 0 h 3"/>
                <a:gd name="T6" fmla="*/ 0 w 6"/>
                <a:gd name="T7" fmla="*/ 2147483647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3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68" name="Freeform 168"/>
            <p:cNvSpPr>
              <a:spLocks/>
            </p:cNvSpPr>
            <p:nvPr/>
          </p:nvSpPr>
          <p:spPr bwMode="auto">
            <a:xfrm>
              <a:off x="6229350" y="1700213"/>
              <a:ext cx="22225" cy="9525"/>
            </a:xfrm>
            <a:custGeom>
              <a:avLst/>
              <a:gdLst>
                <a:gd name="T0" fmla="*/ 0 w 14"/>
                <a:gd name="T1" fmla="*/ 2147483647 h 6"/>
                <a:gd name="T2" fmla="*/ 0 w 14"/>
                <a:gd name="T3" fmla="*/ 2147483647 h 6"/>
                <a:gd name="T4" fmla="*/ 2147483647 w 14"/>
                <a:gd name="T5" fmla="*/ 2147483647 h 6"/>
                <a:gd name="T6" fmla="*/ 2147483647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2147483647 h 6"/>
                <a:gd name="T16" fmla="*/ 2147483647 w 14"/>
                <a:gd name="T17" fmla="*/ 0 h 6"/>
                <a:gd name="T18" fmla="*/ 2147483647 w 14"/>
                <a:gd name="T19" fmla="*/ 0 h 6"/>
                <a:gd name="T20" fmla="*/ 2147483647 w 14"/>
                <a:gd name="T21" fmla="*/ 2147483647 h 6"/>
                <a:gd name="T22" fmla="*/ 2147483647 w 14"/>
                <a:gd name="T23" fmla="*/ 2147483647 h 6"/>
                <a:gd name="T24" fmla="*/ 2147483647 w 14"/>
                <a:gd name="T25" fmla="*/ 2147483647 h 6"/>
                <a:gd name="T26" fmla="*/ 0 w 14"/>
                <a:gd name="T27" fmla="*/ 2147483647 h 6"/>
                <a:gd name="T28" fmla="*/ 0 w 14"/>
                <a:gd name="T29" fmla="*/ 2147483647 h 6"/>
                <a:gd name="T30" fmla="*/ 0 w 14"/>
                <a:gd name="T31" fmla="*/ 2147483647 h 6"/>
                <a:gd name="T32" fmla="*/ 0 w 14"/>
                <a:gd name="T33" fmla="*/ 2147483647 h 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4"/>
                <a:gd name="T52" fmla="*/ 0 h 6"/>
                <a:gd name="T53" fmla="*/ 14 w 14"/>
                <a:gd name="T54" fmla="*/ 6 h 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4" h="6">
                  <a:moveTo>
                    <a:pt x="0" y="3"/>
                  </a:moveTo>
                  <a:lnTo>
                    <a:pt x="0" y="3"/>
                  </a:lnTo>
                  <a:lnTo>
                    <a:pt x="9" y="3"/>
                  </a:lnTo>
                  <a:lnTo>
                    <a:pt x="11" y="6"/>
                  </a:lnTo>
                  <a:lnTo>
                    <a:pt x="14" y="3"/>
                  </a:lnTo>
                  <a:lnTo>
                    <a:pt x="14" y="0"/>
                  </a:lnTo>
                  <a:lnTo>
                    <a:pt x="11" y="3"/>
                  </a:lnTo>
                  <a:lnTo>
                    <a:pt x="6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69" name="Freeform 169"/>
            <p:cNvSpPr>
              <a:spLocks/>
            </p:cNvSpPr>
            <p:nvPr/>
          </p:nvSpPr>
          <p:spPr bwMode="auto">
            <a:xfrm>
              <a:off x="6265863" y="1722438"/>
              <a:ext cx="11112" cy="1587"/>
            </a:xfrm>
            <a:custGeom>
              <a:avLst/>
              <a:gdLst>
                <a:gd name="T0" fmla="*/ 2147483647 w 6"/>
                <a:gd name="T1" fmla="*/ 0 h 1"/>
                <a:gd name="T2" fmla="*/ 2147483647 w 6"/>
                <a:gd name="T3" fmla="*/ 0 h 1"/>
                <a:gd name="T4" fmla="*/ 2147483647 w 6"/>
                <a:gd name="T5" fmla="*/ 0 h 1"/>
                <a:gd name="T6" fmla="*/ 2147483647 w 6"/>
                <a:gd name="T7" fmla="*/ 0 h 1"/>
                <a:gd name="T8" fmla="*/ 2147483647 w 6"/>
                <a:gd name="T9" fmla="*/ 0 h 1"/>
                <a:gd name="T10" fmla="*/ 2147483647 w 6"/>
                <a:gd name="T11" fmla="*/ 0 h 1"/>
                <a:gd name="T12" fmla="*/ 0 w 6"/>
                <a:gd name="T13" fmla="*/ 0 h 1"/>
                <a:gd name="T14" fmla="*/ 0 w 6"/>
                <a:gd name="T15" fmla="*/ 0 h 1"/>
                <a:gd name="T16" fmla="*/ 0 w 6"/>
                <a:gd name="T17" fmla="*/ 0 h 1"/>
                <a:gd name="T18" fmla="*/ 2147483647 w 6"/>
                <a:gd name="T19" fmla="*/ 0 h 1"/>
                <a:gd name="T20" fmla="*/ 2147483647 w 6"/>
                <a:gd name="T21" fmla="*/ 0 h 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"/>
                <a:gd name="T34" fmla="*/ 0 h 1"/>
                <a:gd name="T35" fmla="*/ 6 w 6"/>
                <a:gd name="T36" fmla="*/ 1 h 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" h="1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70" name="Freeform 170"/>
            <p:cNvSpPr>
              <a:spLocks/>
            </p:cNvSpPr>
            <p:nvPr/>
          </p:nvSpPr>
          <p:spPr bwMode="auto">
            <a:xfrm>
              <a:off x="6426200" y="1787525"/>
              <a:ext cx="38100" cy="12700"/>
            </a:xfrm>
            <a:custGeom>
              <a:avLst/>
              <a:gdLst>
                <a:gd name="T0" fmla="*/ 0 w 23"/>
                <a:gd name="T1" fmla="*/ 2147483647 h 8"/>
                <a:gd name="T2" fmla="*/ 0 w 23"/>
                <a:gd name="T3" fmla="*/ 2147483647 h 8"/>
                <a:gd name="T4" fmla="*/ 2147483647 w 23"/>
                <a:gd name="T5" fmla="*/ 2147483647 h 8"/>
                <a:gd name="T6" fmla="*/ 2147483647 w 23"/>
                <a:gd name="T7" fmla="*/ 2147483647 h 8"/>
                <a:gd name="T8" fmla="*/ 2147483647 w 23"/>
                <a:gd name="T9" fmla="*/ 2147483647 h 8"/>
                <a:gd name="T10" fmla="*/ 2147483647 w 23"/>
                <a:gd name="T11" fmla="*/ 2147483647 h 8"/>
                <a:gd name="T12" fmla="*/ 2147483647 w 23"/>
                <a:gd name="T13" fmla="*/ 2147483647 h 8"/>
                <a:gd name="T14" fmla="*/ 2147483647 w 23"/>
                <a:gd name="T15" fmla="*/ 2147483647 h 8"/>
                <a:gd name="T16" fmla="*/ 2147483647 w 23"/>
                <a:gd name="T17" fmla="*/ 2147483647 h 8"/>
                <a:gd name="T18" fmla="*/ 2147483647 w 23"/>
                <a:gd name="T19" fmla="*/ 0 h 8"/>
                <a:gd name="T20" fmla="*/ 2147483647 w 23"/>
                <a:gd name="T21" fmla="*/ 0 h 8"/>
                <a:gd name="T22" fmla="*/ 2147483647 w 23"/>
                <a:gd name="T23" fmla="*/ 0 h 8"/>
                <a:gd name="T24" fmla="*/ 2147483647 w 23"/>
                <a:gd name="T25" fmla="*/ 0 h 8"/>
                <a:gd name="T26" fmla="*/ 0 w 23"/>
                <a:gd name="T27" fmla="*/ 2147483647 h 8"/>
                <a:gd name="T28" fmla="*/ 0 w 23"/>
                <a:gd name="T29" fmla="*/ 2147483647 h 8"/>
                <a:gd name="T30" fmla="*/ 0 w 23"/>
                <a:gd name="T31" fmla="*/ 2147483647 h 8"/>
                <a:gd name="T32" fmla="*/ 0 w 23"/>
                <a:gd name="T33" fmla="*/ 2147483647 h 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3"/>
                <a:gd name="T52" fmla="*/ 0 h 8"/>
                <a:gd name="T53" fmla="*/ 23 w 23"/>
                <a:gd name="T54" fmla="*/ 8 h 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3" h="8">
                  <a:moveTo>
                    <a:pt x="0" y="5"/>
                  </a:moveTo>
                  <a:lnTo>
                    <a:pt x="0" y="5"/>
                  </a:lnTo>
                  <a:lnTo>
                    <a:pt x="12" y="8"/>
                  </a:lnTo>
                  <a:lnTo>
                    <a:pt x="18" y="8"/>
                  </a:lnTo>
                  <a:lnTo>
                    <a:pt x="20" y="8"/>
                  </a:lnTo>
                  <a:lnTo>
                    <a:pt x="20" y="5"/>
                  </a:lnTo>
                  <a:lnTo>
                    <a:pt x="23" y="2"/>
                  </a:lnTo>
                  <a:lnTo>
                    <a:pt x="18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71" name="Rectangle 171"/>
            <p:cNvSpPr>
              <a:spLocks noChangeArrowheads="1"/>
            </p:cNvSpPr>
            <p:nvPr/>
          </p:nvSpPr>
          <p:spPr bwMode="auto">
            <a:xfrm>
              <a:off x="6246813" y="1719263"/>
              <a:ext cx="9525" cy="3175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72" name="Freeform 172"/>
            <p:cNvSpPr>
              <a:spLocks/>
            </p:cNvSpPr>
            <p:nvPr/>
          </p:nvSpPr>
          <p:spPr bwMode="auto">
            <a:xfrm>
              <a:off x="6505575" y="1790700"/>
              <a:ext cx="9525" cy="4763"/>
            </a:xfrm>
            <a:custGeom>
              <a:avLst/>
              <a:gdLst>
                <a:gd name="T0" fmla="*/ 2147483647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0 h 3"/>
                <a:gd name="T8" fmla="*/ 2147483647 w 6"/>
                <a:gd name="T9" fmla="*/ 0 h 3"/>
                <a:gd name="T10" fmla="*/ 2147483647 w 6"/>
                <a:gd name="T11" fmla="*/ 0 h 3"/>
                <a:gd name="T12" fmla="*/ 0 w 6"/>
                <a:gd name="T13" fmla="*/ 0 h 3"/>
                <a:gd name="T14" fmla="*/ 0 w 6"/>
                <a:gd name="T15" fmla="*/ 2147483647 h 3"/>
                <a:gd name="T16" fmla="*/ 0 w 6"/>
                <a:gd name="T17" fmla="*/ 2147483647 h 3"/>
                <a:gd name="T18" fmla="*/ 0 w 6"/>
                <a:gd name="T19" fmla="*/ 2147483647 h 3"/>
                <a:gd name="T20" fmla="*/ 2147483647 w 6"/>
                <a:gd name="T21" fmla="*/ 2147483647 h 3"/>
                <a:gd name="T22" fmla="*/ 2147483647 w 6"/>
                <a:gd name="T23" fmla="*/ 2147483647 h 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"/>
                <a:gd name="T37" fmla="*/ 0 h 3"/>
                <a:gd name="T38" fmla="*/ 6 w 6"/>
                <a:gd name="T39" fmla="*/ 3 h 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" h="3">
                  <a:moveTo>
                    <a:pt x="3" y="3"/>
                  </a:moveTo>
                  <a:lnTo>
                    <a:pt x="3" y="3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73" name="Freeform 173"/>
            <p:cNvSpPr>
              <a:spLocks/>
            </p:cNvSpPr>
            <p:nvPr/>
          </p:nvSpPr>
          <p:spPr bwMode="auto">
            <a:xfrm>
              <a:off x="6873875" y="1795463"/>
              <a:ext cx="33338" cy="9525"/>
            </a:xfrm>
            <a:custGeom>
              <a:avLst/>
              <a:gdLst>
                <a:gd name="T0" fmla="*/ 2147483647 w 20"/>
                <a:gd name="T1" fmla="*/ 0 h 6"/>
                <a:gd name="T2" fmla="*/ 2147483647 w 20"/>
                <a:gd name="T3" fmla="*/ 0 h 6"/>
                <a:gd name="T4" fmla="*/ 2147483647 w 20"/>
                <a:gd name="T5" fmla="*/ 2147483647 h 6"/>
                <a:gd name="T6" fmla="*/ 2147483647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2147483647 h 6"/>
                <a:gd name="T16" fmla="*/ 2147483647 w 20"/>
                <a:gd name="T17" fmla="*/ 2147483647 h 6"/>
                <a:gd name="T18" fmla="*/ 2147483647 w 20"/>
                <a:gd name="T19" fmla="*/ 0 h 6"/>
                <a:gd name="T20" fmla="*/ 2147483647 w 20"/>
                <a:gd name="T21" fmla="*/ 0 h 6"/>
                <a:gd name="T22" fmla="*/ 2147483647 w 20"/>
                <a:gd name="T23" fmla="*/ 0 h 6"/>
                <a:gd name="T24" fmla="*/ 0 w 20"/>
                <a:gd name="T25" fmla="*/ 0 h 6"/>
                <a:gd name="T26" fmla="*/ 2147483647 w 20"/>
                <a:gd name="T27" fmla="*/ 0 h 6"/>
                <a:gd name="T28" fmla="*/ 2147483647 w 20"/>
                <a:gd name="T29" fmla="*/ 0 h 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0"/>
                <a:gd name="T46" fmla="*/ 0 h 6"/>
                <a:gd name="T47" fmla="*/ 20 w 20"/>
                <a:gd name="T48" fmla="*/ 6 h 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0" h="6">
                  <a:moveTo>
                    <a:pt x="3" y="0"/>
                  </a:moveTo>
                  <a:lnTo>
                    <a:pt x="3" y="0"/>
                  </a:lnTo>
                  <a:lnTo>
                    <a:pt x="8" y="3"/>
                  </a:lnTo>
                  <a:lnTo>
                    <a:pt x="11" y="3"/>
                  </a:lnTo>
                  <a:lnTo>
                    <a:pt x="17" y="6"/>
                  </a:lnTo>
                  <a:lnTo>
                    <a:pt x="20" y="6"/>
                  </a:lnTo>
                  <a:lnTo>
                    <a:pt x="14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74" name="Freeform 174"/>
            <p:cNvSpPr>
              <a:spLocks/>
            </p:cNvSpPr>
            <p:nvPr/>
          </p:nvSpPr>
          <p:spPr bwMode="auto">
            <a:xfrm>
              <a:off x="6965950" y="1790700"/>
              <a:ext cx="23813" cy="14288"/>
            </a:xfrm>
            <a:custGeom>
              <a:avLst/>
              <a:gdLst>
                <a:gd name="T0" fmla="*/ 2147483647 w 15"/>
                <a:gd name="T1" fmla="*/ 2147483647 h 9"/>
                <a:gd name="T2" fmla="*/ 2147483647 w 15"/>
                <a:gd name="T3" fmla="*/ 2147483647 h 9"/>
                <a:gd name="T4" fmla="*/ 2147483647 w 15"/>
                <a:gd name="T5" fmla="*/ 2147483647 h 9"/>
                <a:gd name="T6" fmla="*/ 2147483647 w 15"/>
                <a:gd name="T7" fmla="*/ 2147483647 h 9"/>
                <a:gd name="T8" fmla="*/ 2147483647 w 15"/>
                <a:gd name="T9" fmla="*/ 2147483647 h 9"/>
                <a:gd name="T10" fmla="*/ 2147483647 w 15"/>
                <a:gd name="T11" fmla="*/ 2147483647 h 9"/>
                <a:gd name="T12" fmla="*/ 2147483647 w 15"/>
                <a:gd name="T13" fmla="*/ 0 h 9"/>
                <a:gd name="T14" fmla="*/ 2147483647 w 15"/>
                <a:gd name="T15" fmla="*/ 0 h 9"/>
                <a:gd name="T16" fmla="*/ 0 w 15"/>
                <a:gd name="T17" fmla="*/ 2147483647 h 9"/>
                <a:gd name="T18" fmla="*/ 0 w 15"/>
                <a:gd name="T19" fmla="*/ 2147483647 h 9"/>
                <a:gd name="T20" fmla="*/ 2147483647 w 15"/>
                <a:gd name="T21" fmla="*/ 2147483647 h 9"/>
                <a:gd name="T22" fmla="*/ 2147483647 w 15"/>
                <a:gd name="T23" fmla="*/ 2147483647 h 9"/>
                <a:gd name="T24" fmla="*/ 2147483647 w 15"/>
                <a:gd name="T25" fmla="*/ 2147483647 h 9"/>
                <a:gd name="T26" fmla="*/ 2147483647 w 15"/>
                <a:gd name="T27" fmla="*/ 2147483647 h 9"/>
                <a:gd name="T28" fmla="*/ 2147483647 w 15"/>
                <a:gd name="T29" fmla="*/ 2147483647 h 9"/>
                <a:gd name="T30" fmla="*/ 2147483647 w 15"/>
                <a:gd name="T31" fmla="*/ 2147483647 h 9"/>
                <a:gd name="T32" fmla="*/ 2147483647 w 15"/>
                <a:gd name="T33" fmla="*/ 2147483647 h 9"/>
                <a:gd name="T34" fmla="*/ 2147483647 w 15"/>
                <a:gd name="T35" fmla="*/ 2147483647 h 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5"/>
                <a:gd name="T55" fmla="*/ 0 h 9"/>
                <a:gd name="T56" fmla="*/ 15 w 15"/>
                <a:gd name="T57" fmla="*/ 9 h 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5" h="9">
                  <a:moveTo>
                    <a:pt x="15" y="6"/>
                  </a:moveTo>
                  <a:lnTo>
                    <a:pt x="15" y="6"/>
                  </a:lnTo>
                  <a:lnTo>
                    <a:pt x="15" y="3"/>
                  </a:lnTo>
                  <a:lnTo>
                    <a:pt x="12" y="3"/>
                  </a:lnTo>
                  <a:lnTo>
                    <a:pt x="9" y="3"/>
                  </a:lnTo>
                  <a:lnTo>
                    <a:pt x="6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6" y="9"/>
                  </a:lnTo>
                  <a:lnTo>
                    <a:pt x="12" y="9"/>
                  </a:lnTo>
                  <a:lnTo>
                    <a:pt x="15" y="9"/>
                  </a:lnTo>
                  <a:lnTo>
                    <a:pt x="15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75" name="Freeform 175"/>
            <p:cNvSpPr>
              <a:spLocks/>
            </p:cNvSpPr>
            <p:nvPr/>
          </p:nvSpPr>
          <p:spPr bwMode="auto">
            <a:xfrm>
              <a:off x="6059488" y="1722438"/>
              <a:ext cx="22225" cy="9525"/>
            </a:xfrm>
            <a:custGeom>
              <a:avLst/>
              <a:gdLst>
                <a:gd name="T0" fmla="*/ 2147483647 w 14"/>
                <a:gd name="T1" fmla="*/ 2147483647 h 6"/>
                <a:gd name="T2" fmla="*/ 2147483647 w 14"/>
                <a:gd name="T3" fmla="*/ 2147483647 h 6"/>
                <a:gd name="T4" fmla="*/ 2147483647 w 14"/>
                <a:gd name="T5" fmla="*/ 0 h 6"/>
                <a:gd name="T6" fmla="*/ 2147483647 w 14"/>
                <a:gd name="T7" fmla="*/ 0 h 6"/>
                <a:gd name="T8" fmla="*/ 2147483647 w 14"/>
                <a:gd name="T9" fmla="*/ 0 h 6"/>
                <a:gd name="T10" fmla="*/ 0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2147483647 h 6"/>
                <a:gd name="T16" fmla="*/ 2147483647 w 14"/>
                <a:gd name="T17" fmla="*/ 2147483647 h 6"/>
                <a:gd name="T18" fmla="*/ 2147483647 w 14"/>
                <a:gd name="T19" fmla="*/ 2147483647 h 6"/>
                <a:gd name="T20" fmla="*/ 2147483647 w 14"/>
                <a:gd name="T21" fmla="*/ 2147483647 h 6"/>
                <a:gd name="T22" fmla="*/ 2147483647 w 14"/>
                <a:gd name="T23" fmla="*/ 2147483647 h 6"/>
                <a:gd name="T24" fmla="*/ 2147483647 w 14"/>
                <a:gd name="T25" fmla="*/ 2147483647 h 6"/>
                <a:gd name="T26" fmla="*/ 2147483647 w 14"/>
                <a:gd name="T27" fmla="*/ 2147483647 h 6"/>
                <a:gd name="T28" fmla="*/ 2147483647 w 14"/>
                <a:gd name="T29" fmla="*/ 2147483647 h 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4"/>
                <a:gd name="T46" fmla="*/ 0 h 6"/>
                <a:gd name="T47" fmla="*/ 14 w 14"/>
                <a:gd name="T48" fmla="*/ 6 h 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4" h="6">
                  <a:moveTo>
                    <a:pt x="14" y="3"/>
                  </a:moveTo>
                  <a:lnTo>
                    <a:pt x="14" y="3"/>
                  </a:lnTo>
                  <a:lnTo>
                    <a:pt x="11" y="0"/>
                  </a:lnTo>
                  <a:lnTo>
                    <a:pt x="8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8" y="3"/>
                  </a:lnTo>
                  <a:lnTo>
                    <a:pt x="11" y="6"/>
                  </a:lnTo>
                  <a:lnTo>
                    <a:pt x="14" y="6"/>
                  </a:lnTo>
                  <a:lnTo>
                    <a:pt x="14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76" name="Freeform 176"/>
            <p:cNvSpPr>
              <a:spLocks/>
            </p:cNvSpPr>
            <p:nvPr/>
          </p:nvSpPr>
          <p:spPr bwMode="auto">
            <a:xfrm>
              <a:off x="8126413" y="4110038"/>
              <a:ext cx="276225" cy="258762"/>
            </a:xfrm>
            <a:custGeom>
              <a:avLst/>
              <a:gdLst>
                <a:gd name="T0" fmla="*/ 2147483647 w 172"/>
                <a:gd name="T1" fmla="*/ 2147483647 h 161"/>
                <a:gd name="T2" fmla="*/ 2147483647 w 172"/>
                <a:gd name="T3" fmla="*/ 2147483647 h 161"/>
                <a:gd name="T4" fmla="*/ 2147483647 w 172"/>
                <a:gd name="T5" fmla="*/ 2147483647 h 161"/>
                <a:gd name="T6" fmla="*/ 2147483647 w 172"/>
                <a:gd name="T7" fmla="*/ 2147483647 h 161"/>
                <a:gd name="T8" fmla="*/ 2147483647 w 172"/>
                <a:gd name="T9" fmla="*/ 2147483647 h 161"/>
                <a:gd name="T10" fmla="*/ 2147483647 w 172"/>
                <a:gd name="T11" fmla="*/ 2147483647 h 161"/>
                <a:gd name="T12" fmla="*/ 2147483647 w 172"/>
                <a:gd name="T13" fmla="*/ 2147483647 h 161"/>
                <a:gd name="T14" fmla="*/ 2147483647 w 172"/>
                <a:gd name="T15" fmla="*/ 2147483647 h 161"/>
                <a:gd name="T16" fmla="*/ 0 w 172"/>
                <a:gd name="T17" fmla="*/ 2147483647 h 161"/>
                <a:gd name="T18" fmla="*/ 2147483647 w 172"/>
                <a:gd name="T19" fmla="*/ 2147483647 h 161"/>
                <a:gd name="T20" fmla="*/ 2147483647 w 172"/>
                <a:gd name="T21" fmla="*/ 2147483647 h 161"/>
                <a:gd name="T22" fmla="*/ 2147483647 w 172"/>
                <a:gd name="T23" fmla="*/ 2147483647 h 161"/>
                <a:gd name="T24" fmla="*/ 2147483647 w 172"/>
                <a:gd name="T25" fmla="*/ 2147483647 h 161"/>
                <a:gd name="T26" fmla="*/ 2147483647 w 172"/>
                <a:gd name="T27" fmla="*/ 2147483647 h 161"/>
                <a:gd name="T28" fmla="*/ 2147483647 w 172"/>
                <a:gd name="T29" fmla="*/ 2147483647 h 161"/>
                <a:gd name="T30" fmla="*/ 2147483647 w 172"/>
                <a:gd name="T31" fmla="*/ 2147483647 h 161"/>
                <a:gd name="T32" fmla="*/ 2147483647 w 172"/>
                <a:gd name="T33" fmla="*/ 2147483647 h 161"/>
                <a:gd name="T34" fmla="*/ 2147483647 w 172"/>
                <a:gd name="T35" fmla="*/ 2147483647 h 161"/>
                <a:gd name="T36" fmla="*/ 2147483647 w 172"/>
                <a:gd name="T37" fmla="*/ 2147483647 h 161"/>
                <a:gd name="T38" fmla="*/ 2147483647 w 172"/>
                <a:gd name="T39" fmla="*/ 2147483647 h 161"/>
                <a:gd name="T40" fmla="*/ 2147483647 w 172"/>
                <a:gd name="T41" fmla="*/ 2147483647 h 161"/>
                <a:gd name="T42" fmla="*/ 2147483647 w 172"/>
                <a:gd name="T43" fmla="*/ 2147483647 h 161"/>
                <a:gd name="T44" fmla="*/ 2147483647 w 172"/>
                <a:gd name="T45" fmla="*/ 2147483647 h 161"/>
                <a:gd name="T46" fmla="*/ 2147483647 w 172"/>
                <a:gd name="T47" fmla="*/ 2147483647 h 161"/>
                <a:gd name="T48" fmla="*/ 2147483647 w 172"/>
                <a:gd name="T49" fmla="*/ 2147483647 h 161"/>
                <a:gd name="T50" fmla="*/ 2147483647 w 172"/>
                <a:gd name="T51" fmla="*/ 2147483647 h 161"/>
                <a:gd name="T52" fmla="*/ 2147483647 w 172"/>
                <a:gd name="T53" fmla="*/ 2147483647 h 161"/>
                <a:gd name="T54" fmla="*/ 2147483647 w 172"/>
                <a:gd name="T55" fmla="*/ 2147483647 h 161"/>
                <a:gd name="T56" fmla="*/ 2147483647 w 172"/>
                <a:gd name="T57" fmla="*/ 2147483647 h 161"/>
                <a:gd name="T58" fmla="*/ 2147483647 w 172"/>
                <a:gd name="T59" fmla="*/ 2147483647 h 161"/>
                <a:gd name="T60" fmla="*/ 2147483647 w 172"/>
                <a:gd name="T61" fmla="*/ 2147483647 h 161"/>
                <a:gd name="T62" fmla="*/ 2147483647 w 172"/>
                <a:gd name="T63" fmla="*/ 2147483647 h 161"/>
                <a:gd name="T64" fmla="*/ 2147483647 w 172"/>
                <a:gd name="T65" fmla="*/ 2147483647 h 161"/>
                <a:gd name="T66" fmla="*/ 2147483647 w 172"/>
                <a:gd name="T67" fmla="*/ 2147483647 h 161"/>
                <a:gd name="T68" fmla="*/ 2147483647 w 172"/>
                <a:gd name="T69" fmla="*/ 2147483647 h 161"/>
                <a:gd name="T70" fmla="*/ 2147483647 w 172"/>
                <a:gd name="T71" fmla="*/ 2147483647 h 161"/>
                <a:gd name="T72" fmla="*/ 2147483647 w 172"/>
                <a:gd name="T73" fmla="*/ 2147483647 h 161"/>
                <a:gd name="T74" fmla="*/ 2147483647 w 172"/>
                <a:gd name="T75" fmla="*/ 2147483647 h 161"/>
                <a:gd name="T76" fmla="*/ 2147483647 w 172"/>
                <a:gd name="T77" fmla="*/ 2147483647 h 161"/>
                <a:gd name="T78" fmla="*/ 2147483647 w 172"/>
                <a:gd name="T79" fmla="*/ 2147483647 h 161"/>
                <a:gd name="T80" fmla="*/ 2147483647 w 172"/>
                <a:gd name="T81" fmla="*/ 2147483647 h 161"/>
                <a:gd name="T82" fmla="*/ 2147483647 w 172"/>
                <a:gd name="T83" fmla="*/ 2147483647 h 161"/>
                <a:gd name="T84" fmla="*/ 2147483647 w 172"/>
                <a:gd name="T85" fmla="*/ 2147483647 h 161"/>
                <a:gd name="T86" fmla="*/ 2147483647 w 172"/>
                <a:gd name="T87" fmla="*/ 2147483647 h 161"/>
                <a:gd name="T88" fmla="*/ 2147483647 w 172"/>
                <a:gd name="T89" fmla="*/ 2147483647 h 161"/>
                <a:gd name="T90" fmla="*/ 2147483647 w 172"/>
                <a:gd name="T91" fmla="*/ 2147483647 h 161"/>
                <a:gd name="T92" fmla="*/ 2147483647 w 172"/>
                <a:gd name="T93" fmla="*/ 2147483647 h 161"/>
                <a:gd name="T94" fmla="*/ 2147483647 w 172"/>
                <a:gd name="T95" fmla="*/ 2147483647 h 161"/>
                <a:gd name="T96" fmla="*/ 2147483647 w 172"/>
                <a:gd name="T97" fmla="*/ 2147483647 h 161"/>
                <a:gd name="T98" fmla="*/ 2147483647 w 172"/>
                <a:gd name="T99" fmla="*/ 2147483647 h 161"/>
                <a:gd name="T100" fmla="*/ 2147483647 w 172"/>
                <a:gd name="T101" fmla="*/ 2147483647 h 161"/>
                <a:gd name="T102" fmla="*/ 2147483647 w 172"/>
                <a:gd name="T103" fmla="*/ 2147483647 h 161"/>
                <a:gd name="T104" fmla="*/ 2147483647 w 172"/>
                <a:gd name="T105" fmla="*/ 2147483647 h 161"/>
                <a:gd name="T106" fmla="*/ 2147483647 w 172"/>
                <a:gd name="T107" fmla="*/ 2147483647 h 161"/>
                <a:gd name="T108" fmla="*/ 2147483647 w 172"/>
                <a:gd name="T109" fmla="*/ 2147483647 h 161"/>
                <a:gd name="T110" fmla="*/ 2147483647 w 172"/>
                <a:gd name="T111" fmla="*/ 2147483647 h 161"/>
                <a:gd name="T112" fmla="*/ 2147483647 w 172"/>
                <a:gd name="T113" fmla="*/ 2147483647 h 161"/>
                <a:gd name="T114" fmla="*/ 2147483647 w 172"/>
                <a:gd name="T115" fmla="*/ 2147483647 h 16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72"/>
                <a:gd name="T175" fmla="*/ 0 h 161"/>
                <a:gd name="T176" fmla="*/ 172 w 172"/>
                <a:gd name="T177" fmla="*/ 161 h 161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72" h="161">
                  <a:moveTo>
                    <a:pt x="74" y="32"/>
                  </a:moveTo>
                  <a:lnTo>
                    <a:pt x="74" y="32"/>
                  </a:lnTo>
                  <a:lnTo>
                    <a:pt x="68" y="26"/>
                  </a:lnTo>
                  <a:lnTo>
                    <a:pt x="63" y="23"/>
                  </a:lnTo>
                  <a:lnTo>
                    <a:pt x="57" y="21"/>
                  </a:lnTo>
                  <a:lnTo>
                    <a:pt x="51" y="18"/>
                  </a:lnTo>
                  <a:lnTo>
                    <a:pt x="48" y="15"/>
                  </a:lnTo>
                  <a:lnTo>
                    <a:pt x="46" y="15"/>
                  </a:lnTo>
                  <a:lnTo>
                    <a:pt x="37" y="12"/>
                  </a:lnTo>
                  <a:lnTo>
                    <a:pt x="25" y="9"/>
                  </a:lnTo>
                  <a:lnTo>
                    <a:pt x="14" y="3"/>
                  </a:lnTo>
                  <a:lnTo>
                    <a:pt x="8" y="0"/>
                  </a:lnTo>
                  <a:lnTo>
                    <a:pt x="5" y="44"/>
                  </a:lnTo>
                  <a:lnTo>
                    <a:pt x="5" y="66"/>
                  </a:lnTo>
                  <a:lnTo>
                    <a:pt x="2" y="72"/>
                  </a:lnTo>
                  <a:lnTo>
                    <a:pt x="2" y="75"/>
                  </a:lnTo>
                  <a:lnTo>
                    <a:pt x="0" y="78"/>
                  </a:lnTo>
                  <a:lnTo>
                    <a:pt x="2" y="81"/>
                  </a:lnTo>
                  <a:lnTo>
                    <a:pt x="2" y="87"/>
                  </a:lnTo>
                  <a:lnTo>
                    <a:pt x="2" y="95"/>
                  </a:lnTo>
                  <a:lnTo>
                    <a:pt x="2" y="130"/>
                  </a:lnTo>
                  <a:lnTo>
                    <a:pt x="5" y="130"/>
                  </a:lnTo>
                  <a:lnTo>
                    <a:pt x="17" y="130"/>
                  </a:lnTo>
                  <a:lnTo>
                    <a:pt x="28" y="133"/>
                  </a:lnTo>
                  <a:lnTo>
                    <a:pt x="37" y="130"/>
                  </a:lnTo>
                  <a:lnTo>
                    <a:pt x="40" y="127"/>
                  </a:lnTo>
                  <a:lnTo>
                    <a:pt x="43" y="118"/>
                  </a:lnTo>
                  <a:lnTo>
                    <a:pt x="46" y="110"/>
                  </a:lnTo>
                  <a:lnTo>
                    <a:pt x="51" y="107"/>
                  </a:lnTo>
                  <a:lnTo>
                    <a:pt x="51" y="101"/>
                  </a:lnTo>
                  <a:lnTo>
                    <a:pt x="57" y="101"/>
                  </a:lnTo>
                  <a:lnTo>
                    <a:pt x="60" y="101"/>
                  </a:lnTo>
                  <a:lnTo>
                    <a:pt x="66" y="101"/>
                  </a:lnTo>
                  <a:lnTo>
                    <a:pt x="77" y="104"/>
                  </a:lnTo>
                  <a:lnTo>
                    <a:pt x="89" y="110"/>
                  </a:lnTo>
                  <a:lnTo>
                    <a:pt x="89" y="118"/>
                  </a:lnTo>
                  <a:lnTo>
                    <a:pt x="91" y="124"/>
                  </a:lnTo>
                  <a:lnTo>
                    <a:pt x="94" y="127"/>
                  </a:lnTo>
                  <a:lnTo>
                    <a:pt x="97" y="130"/>
                  </a:lnTo>
                  <a:lnTo>
                    <a:pt x="100" y="133"/>
                  </a:lnTo>
                  <a:lnTo>
                    <a:pt x="103" y="138"/>
                  </a:lnTo>
                  <a:lnTo>
                    <a:pt x="109" y="144"/>
                  </a:lnTo>
                  <a:lnTo>
                    <a:pt x="117" y="147"/>
                  </a:lnTo>
                  <a:lnTo>
                    <a:pt x="126" y="150"/>
                  </a:lnTo>
                  <a:lnTo>
                    <a:pt x="134" y="150"/>
                  </a:lnTo>
                  <a:lnTo>
                    <a:pt x="143" y="153"/>
                  </a:lnTo>
                  <a:lnTo>
                    <a:pt x="146" y="153"/>
                  </a:lnTo>
                  <a:lnTo>
                    <a:pt x="149" y="155"/>
                  </a:lnTo>
                  <a:lnTo>
                    <a:pt x="152" y="158"/>
                  </a:lnTo>
                  <a:lnTo>
                    <a:pt x="155" y="161"/>
                  </a:lnTo>
                  <a:lnTo>
                    <a:pt x="157" y="161"/>
                  </a:lnTo>
                  <a:lnTo>
                    <a:pt x="160" y="158"/>
                  </a:lnTo>
                  <a:lnTo>
                    <a:pt x="163" y="153"/>
                  </a:lnTo>
                  <a:lnTo>
                    <a:pt x="169" y="153"/>
                  </a:lnTo>
                  <a:lnTo>
                    <a:pt x="172" y="147"/>
                  </a:lnTo>
                  <a:lnTo>
                    <a:pt x="169" y="141"/>
                  </a:lnTo>
                  <a:lnTo>
                    <a:pt x="166" y="135"/>
                  </a:lnTo>
                  <a:lnTo>
                    <a:pt x="166" y="133"/>
                  </a:lnTo>
                  <a:lnTo>
                    <a:pt x="160" y="130"/>
                  </a:lnTo>
                  <a:lnTo>
                    <a:pt x="160" y="127"/>
                  </a:lnTo>
                  <a:lnTo>
                    <a:pt x="155" y="127"/>
                  </a:lnTo>
                  <a:lnTo>
                    <a:pt x="152" y="130"/>
                  </a:lnTo>
                  <a:lnTo>
                    <a:pt x="157" y="135"/>
                  </a:lnTo>
                  <a:lnTo>
                    <a:pt x="160" y="135"/>
                  </a:lnTo>
                  <a:lnTo>
                    <a:pt x="163" y="141"/>
                  </a:lnTo>
                  <a:lnTo>
                    <a:pt x="166" y="141"/>
                  </a:lnTo>
                  <a:lnTo>
                    <a:pt x="166" y="144"/>
                  </a:lnTo>
                  <a:lnTo>
                    <a:pt x="166" y="147"/>
                  </a:lnTo>
                  <a:lnTo>
                    <a:pt x="163" y="150"/>
                  </a:lnTo>
                  <a:lnTo>
                    <a:pt x="160" y="150"/>
                  </a:lnTo>
                  <a:lnTo>
                    <a:pt x="155" y="150"/>
                  </a:lnTo>
                  <a:lnTo>
                    <a:pt x="155" y="147"/>
                  </a:lnTo>
                  <a:lnTo>
                    <a:pt x="152" y="144"/>
                  </a:lnTo>
                  <a:lnTo>
                    <a:pt x="152" y="138"/>
                  </a:lnTo>
                  <a:lnTo>
                    <a:pt x="149" y="135"/>
                  </a:lnTo>
                  <a:lnTo>
                    <a:pt x="146" y="135"/>
                  </a:lnTo>
                  <a:lnTo>
                    <a:pt x="140" y="135"/>
                  </a:lnTo>
                  <a:lnTo>
                    <a:pt x="137" y="133"/>
                  </a:lnTo>
                  <a:lnTo>
                    <a:pt x="137" y="130"/>
                  </a:lnTo>
                  <a:lnTo>
                    <a:pt x="140" y="127"/>
                  </a:lnTo>
                  <a:lnTo>
                    <a:pt x="143" y="127"/>
                  </a:lnTo>
                  <a:lnTo>
                    <a:pt x="140" y="127"/>
                  </a:lnTo>
                  <a:lnTo>
                    <a:pt x="134" y="127"/>
                  </a:lnTo>
                  <a:lnTo>
                    <a:pt x="132" y="124"/>
                  </a:lnTo>
                  <a:lnTo>
                    <a:pt x="132" y="121"/>
                  </a:lnTo>
                  <a:lnTo>
                    <a:pt x="129" y="118"/>
                  </a:lnTo>
                  <a:lnTo>
                    <a:pt x="126" y="115"/>
                  </a:lnTo>
                  <a:lnTo>
                    <a:pt x="123" y="112"/>
                  </a:lnTo>
                  <a:lnTo>
                    <a:pt x="126" y="107"/>
                  </a:lnTo>
                  <a:lnTo>
                    <a:pt x="123" y="107"/>
                  </a:lnTo>
                  <a:lnTo>
                    <a:pt x="120" y="104"/>
                  </a:lnTo>
                  <a:lnTo>
                    <a:pt x="114" y="101"/>
                  </a:lnTo>
                  <a:lnTo>
                    <a:pt x="112" y="98"/>
                  </a:lnTo>
                  <a:lnTo>
                    <a:pt x="109" y="89"/>
                  </a:lnTo>
                  <a:lnTo>
                    <a:pt x="106" y="84"/>
                  </a:lnTo>
                  <a:lnTo>
                    <a:pt x="103" y="81"/>
                  </a:lnTo>
                  <a:lnTo>
                    <a:pt x="106" y="81"/>
                  </a:lnTo>
                  <a:lnTo>
                    <a:pt x="112" y="81"/>
                  </a:lnTo>
                  <a:lnTo>
                    <a:pt x="117" y="84"/>
                  </a:lnTo>
                  <a:lnTo>
                    <a:pt x="123" y="81"/>
                  </a:lnTo>
                  <a:lnTo>
                    <a:pt x="126" y="78"/>
                  </a:lnTo>
                  <a:lnTo>
                    <a:pt x="123" y="75"/>
                  </a:lnTo>
                  <a:lnTo>
                    <a:pt x="117" y="69"/>
                  </a:lnTo>
                  <a:lnTo>
                    <a:pt x="109" y="64"/>
                  </a:lnTo>
                  <a:lnTo>
                    <a:pt x="91" y="55"/>
                  </a:lnTo>
                  <a:lnTo>
                    <a:pt x="83" y="52"/>
                  </a:lnTo>
                  <a:lnTo>
                    <a:pt x="83" y="49"/>
                  </a:lnTo>
                  <a:lnTo>
                    <a:pt x="91" y="49"/>
                  </a:lnTo>
                  <a:lnTo>
                    <a:pt x="91" y="46"/>
                  </a:lnTo>
                  <a:lnTo>
                    <a:pt x="94" y="41"/>
                  </a:lnTo>
                  <a:lnTo>
                    <a:pt x="97" y="38"/>
                  </a:lnTo>
                  <a:lnTo>
                    <a:pt x="94" y="38"/>
                  </a:lnTo>
                  <a:lnTo>
                    <a:pt x="86" y="38"/>
                  </a:lnTo>
                  <a:lnTo>
                    <a:pt x="80" y="35"/>
                  </a:lnTo>
                  <a:lnTo>
                    <a:pt x="74" y="3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77" name="Freeform 177"/>
            <p:cNvSpPr>
              <a:spLocks/>
            </p:cNvSpPr>
            <p:nvPr/>
          </p:nvSpPr>
          <p:spPr bwMode="auto">
            <a:xfrm>
              <a:off x="8412163" y="4359275"/>
              <a:ext cx="7937" cy="9525"/>
            </a:xfrm>
            <a:custGeom>
              <a:avLst/>
              <a:gdLst>
                <a:gd name="T0" fmla="*/ 0 w 5"/>
                <a:gd name="T1" fmla="*/ 2147483647 h 6"/>
                <a:gd name="T2" fmla="*/ 2147483647 w 5"/>
                <a:gd name="T3" fmla="*/ 2147483647 h 6"/>
                <a:gd name="T4" fmla="*/ 2147483647 w 5"/>
                <a:gd name="T5" fmla="*/ 0 h 6"/>
                <a:gd name="T6" fmla="*/ 0 w 5"/>
                <a:gd name="T7" fmla="*/ 2147483647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6"/>
                <a:gd name="T14" fmla="*/ 5 w 5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6">
                  <a:moveTo>
                    <a:pt x="0" y="3"/>
                  </a:moveTo>
                  <a:lnTo>
                    <a:pt x="5" y="6"/>
                  </a:lnTo>
                  <a:lnTo>
                    <a:pt x="5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78" name="Freeform 178"/>
            <p:cNvSpPr>
              <a:spLocks/>
            </p:cNvSpPr>
            <p:nvPr/>
          </p:nvSpPr>
          <p:spPr bwMode="auto">
            <a:xfrm>
              <a:off x="8402638" y="4356100"/>
              <a:ext cx="9525" cy="7938"/>
            </a:xfrm>
            <a:custGeom>
              <a:avLst/>
              <a:gdLst>
                <a:gd name="T0" fmla="*/ 2147483647 w 6"/>
                <a:gd name="T1" fmla="*/ 2147483647 h 5"/>
                <a:gd name="T2" fmla="*/ 2147483647 w 6"/>
                <a:gd name="T3" fmla="*/ 0 h 5"/>
                <a:gd name="T4" fmla="*/ 0 w 6"/>
                <a:gd name="T5" fmla="*/ 2147483647 h 5"/>
                <a:gd name="T6" fmla="*/ 2147483647 w 6"/>
                <a:gd name="T7" fmla="*/ 2147483647 h 5"/>
                <a:gd name="T8" fmla="*/ 2147483647 w 6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5"/>
                <a:gd name="T17" fmla="*/ 6 w 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5">
                  <a:moveTo>
                    <a:pt x="6" y="2"/>
                  </a:moveTo>
                  <a:lnTo>
                    <a:pt x="6" y="0"/>
                  </a:lnTo>
                  <a:lnTo>
                    <a:pt x="0" y="2"/>
                  </a:lnTo>
                  <a:lnTo>
                    <a:pt x="3" y="5"/>
                  </a:lnTo>
                  <a:lnTo>
                    <a:pt x="6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79" name="Freeform 179"/>
            <p:cNvSpPr>
              <a:spLocks/>
            </p:cNvSpPr>
            <p:nvPr/>
          </p:nvSpPr>
          <p:spPr bwMode="auto">
            <a:xfrm>
              <a:off x="7251700" y="3895725"/>
              <a:ext cx="279400" cy="266700"/>
            </a:xfrm>
            <a:custGeom>
              <a:avLst/>
              <a:gdLst>
                <a:gd name="T0" fmla="*/ 2147483647 w 175"/>
                <a:gd name="T1" fmla="*/ 2147483647 h 166"/>
                <a:gd name="T2" fmla="*/ 2147483647 w 175"/>
                <a:gd name="T3" fmla="*/ 2147483647 h 166"/>
                <a:gd name="T4" fmla="*/ 2147483647 w 175"/>
                <a:gd name="T5" fmla="*/ 2147483647 h 166"/>
                <a:gd name="T6" fmla="*/ 2147483647 w 175"/>
                <a:gd name="T7" fmla="*/ 2147483647 h 166"/>
                <a:gd name="T8" fmla="*/ 2147483647 w 175"/>
                <a:gd name="T9" fmla="*/ 2147483647 h 166"/>
                <a:gd name="T10" fmla="*/ 2147483647 w 175"/>
                <a:gd name="T11" fmla="*/ 2147483647 h 166"/>
                <a:gd name="T12" fmla="*/ 2147483647 w 175"/>
                <a:gd name="T13" fmla="*/ 2147483647 h 166"/>
                <a:gd name="T14" fmla="*/ 2147483647 w 175"/>
                <a:gd name="T15" fmla="*/ 2147483647 h 166"/>
                <a:gd name="T16" fmla="*/ 2147483647 w 175"/>
                <a:gd name="T17" fmla="*/ 2147483647 h 166"/>
                <a:gd name="T18" fmla="*/ 2147483647 w 175"/>
                <a:gd name="T19" fmla="*/ 2147483647 h 166"/>
                <a:gd name="T20" fmla="*/ 2147483647 w 175"/>
                <a:gd name="T21" fmla="*/ 2147483647 h 166"/>
                <a:gd name="T22" fmla="*/ 2147483647 w 175"/>
                <a:gd name="T23" fmla="*/ 2147483647 h 166"/>
                <a:gd name="T24" fmla="*/ 2147483647 w 175"/>
                <a:gd name="T25" fmla="*/ 2147483647 h 166"/>
                <a:gd name="T26" fmla="*/ 2147483647 w 175"/>
                <a:gd name="T27" fmla="*/ 2147483647 h 166"/>
                <a:gd name="T28" fmla="*/ 2147483647 w 175"/>
                <a:gd name="T29" fmla="*/ 2147483647 h 166"/>
                <a:gd name="T30" fmla="*/ 2147483647 w 175"/>
                <a:gd name="T31" fmla="*/ 2147483647 h 166"/>
                <a:gd name="T32" fmla="*/ 2147483647 w 175"/>
                <a:gd name="T33" fmla="*/ 2147483647 h 166"/>
                <a:gd name="T34" fmla="*/ 2147483647 w 175"/>
                <a:gd name="T35" fmla="*/ 2147483647 h 166"/>
                <a:gd name="T36" fmla="*/ 2147483647 w 175"/>
                <a:gd name="T37" fmla="*/ 2147483647 h 166"/>
                <a:gd name="T38" fmla="*/ 2147483647 w 175"/>
                <a:gd name="T39" fmla="*/ 2147483647 h 166"/>
                <a:gd name="T40" fmla="*/ 2147483647 w 175"/>
                <a:gd name="T41" fmla="*/ 2147483647 h 166"/>
                <a:gd name="T42" fmla="*/ 2147483647 w 175"/>
                <a:gd name="T43" fmla="*/ 2147483647 h 166"/>
                <a:gd name="T44" fmla="*/ 2147483647 w 175"/>
                <a:gd name="T45" fmla="*/ 2147483647 h 166"/>
                <a:gd name="T46" fmla="*/ 2147483647 w 175"/>
                <a:gd name="T47" fmla="*/ 2147483647 h 166"/>
                <a:gd name="T48" fmla="*/ 2147483647 w 175"/>
                <a:gd name="T49" fmla="*/ 2147483647 h 166"/>
                <a:gd name="T50" fmla="*/ 2147483647 w 175"/>
                <a:gd name="T51" fmla="*/ 2147483647 h 166"/>
                <a:gd name="T52" fmla="*/ 2147483647 w 175"/>
                <a:gd name="T53" fmla="*/ 2147483647 h 166"/>
                <a:gd name="T54" fmla="*/ 2147483647 w 175"/>
                <a:gd name="T55" fmla="*/ 2147483647 h 166"/>
                <a:gd name="T56" fmla="*/ 2147483647 w 175"/>
                <a:gd name="T57" fmla="*/ 2147483647 h 166"/>
                <a:gd name="T58" fmla="*/ 0 w 175"/>
                <a:gd name="T59" fmla="*/ 2147483647 h 166"/>
                <a:gd name="T60" fmla="*/ 2147483647 w 175"/>
                <a:gd name="T61" fmla="*/ 2147483647 h 166"/>
                <a:gd name="T62" fmla="*/ 2147483647 w 175"/>
                <a:gd name="T63" fmla="*/ 2147483647 h 166"/>
                <a:gd name="T64" fmla="*/ 2147483647 w 175"/>
                <a:gd name="T65" fmla="*/ 2147483647 h 166"/>
                <a:gd name="T66" fmla="*/ 2147483647 w 175"/>
                <a:gd name="T67" fmla="*/ 2147483647 h 166"/>
                <a:gd name="T68" fmla="*/ 2147483647 w 175"/>
                <a:gd name="T69" fmla="*/ 2147483647 h 166"/>
                <a:gd name="T70" fmla="*/ 2147483647 w 175"/>
                <a:gd name="T71" fmla="*/ 2147483647 h 166"/>
                <a:gd name="T72" fmla="*/ 2147483647 w 175"/>
                <a:gd name="T73" fmla="*/ 2147483647 h 166"/>
                <a:gd name="T74" fmla="*/ 2147483647 w 175"/>
                <a:gd name="T75" fmla="*/ 2147483647 h 166"/>
                <a:gd name="T76" fmla="*/ 2147483647 w 175"/>
                <a:gd name="T77" fmla="*/ 2147483647 h 166"/>
                <a:gd name="T78" fmla="*/ 2147483647 w 175"/>
                <a:gd name="T79" fmla="*/ 2147483647 h 166"/>
                <a:gd name="T80" fmla="*/ 2147483647 w 175"/>
                <a:gd name="T81" fmla="*/ 2147483647 h 166"/>
                <a:gd name="T82" fmla="*/ 2147483647 w 175"/>
                <a:gd name="T83" fmla="*/ 2147483647 h 166"/>
                <a:gd name="T84" fmla="*/ 2147483647 w 175"/>
                <a:gd name="T85" fmla="*/ 2147483647 h 166"/>
                <a:gd name="T86" fmla="*/ 2147483647 w 175"/>
                <a:gd name="T87" fmla="*/ 2147483647 h 166"/>
                <a:gd name="T88" fmla="*/ 2147483647 w 175"/>
                <a:gd name="T89" fmla="*/ 2147483647 h 166"/>
                <a:gd name="T90" fmla="*/ 2147483647 w 175"/>
                <a:gd name="T91" fmla="*/ 2147483647 h 166"/>
                <a:gd name="T92" fmla="*/ 2147483647 w 175"/>
                <a:gd name="T93" fmla="*/ 2147483647 h 166"/>
                <a:gd name="T94" fmla="*/ 2147483647 w 175"/>
                <a:gd name="T95" fmla="*/ 2147483647 h 166"/>
                <a:gd name="T96" fmla="*/ 2147483647 w 175"/>
                <a:gd name="T97" fmla="*/ 2147483647 h 166"/>
                <a:gd name="T98" fmla="*/ 2147483647 w 175"/>
                <a:gd name="T99" fmla="*/ 2147483647 h 166"/>
                <a:gd name="T100" fmla="*/ 2147483647 w 175"/>
                <a:gd name="T101" fmla="*/ 2147483647 h 16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75"/>
                <a:gd name="T154" fmla="*/ 0 h 166"/>
                <a:gd name="T155" fmla="*/ 175 w 175"/>
                <a:gd name="T156" fmla="*/ 166 h 16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75" h="166">
                  <a:moveTo>
                    <a:pt x="121" y="157"/>
                  </a:moveTo>
                  <a:lnTo>
                    <a:pt x="121" y="157"/>
                  </a:lnTo>
                  <a:lnTo>
                    <a:pt x="121" y="160"/>
                  </a:lnTo>
                  <a:lnTo>
                    <a:pt x="124" y="163"/>
                  </a:lnTo>
                  <a:lnTo>
                    <a:pt x="124" y="166"/>
                  </a:lnTo>
                  <a:lnTo>
                    <a:pt x="126" y="160"/>
                  </a:lnTo>
                  <a:lnTo>
                    <a:pt x="126" y="155"/>
                  </a:lnTo>
                  <a:lnTo>
                    <a:pt x="126" y="146"/>
                  </a:lnTo>
                  <a:lnTo>
                    <a:pt x="126" y="137"/>
                  </a:lnTo>
                  <a:lnTo>
                    <a:pt x="129" y="134"/>
                  </a:lnTo>
                  <a:lnTo>
                    <a:pt x="132" y="129"/>
                  </a:lnTo>
                  <a:lnTo>
                    <a:pt x="132" y="123"/>
                  </a:lnTo>
                  <a:lnTo>
                    <a:pt x="129" y="117"/>
                  </a:lnTo>
                  <a:lnTo>
                    <a:pt x="138" y="109"/>
                  </a:lnTo>
                  <a:lnTo>
                    <a:pt x="147" y="100"/>
                  </a:lnTo>
                  <a:lnTo>
                    <a:pt x="149" y="86"/>
                  </a:lnTo>
                  <a:lnTo>
                    <a:pt x="149" y="77"/>
                  </a:lnTo>
                  <a:lnTo>
                    <a:pt x="152" y="71"/>
                  </a:lnTo>
                  <a:lnTo>
                    <a:pt x="158" y="66"/>
                  </a:lnTo>
                  <a:lnTo>
                    <a:pt x="161" y="66"/>
                  </a:lnTo>
                  <a:lnTo>
                    <a:pt x="170" y="66"/>
                  </a:lnTo>
                  <a:lnTo>
                    <a:pt x="175" y="66"/>
                  </a:lnTo>
                  <a:lnTo>
                    <a:pt x="167" y="57"/>
                  </a:lnTo>
                  <a:lnTo>
                    <a:pt x="155" y="48"/>
                  </a:lnTo>
                  <a:lnTo>
                    <a:pt x="158" y="40"/>
                  </a:lnTo>
                  <a:lnTo>
                    <a:pt x="149" y="28"/>
                  </a:lnTo>
                  <a:lnTo>
                    <a:pt x="147" y="20"/>
                  </a:lnTo>
                  <a:lnTo>
                    <a:pt x="149" y="14"/>
                  </a:lnTo>
                  <a:lnTo>
                    <a:pt x="149" y="8"/>
                  </a:lnTo>
                  <a:lnTo>
                    <a:pt x="149" y="5"/>
                  </a:lnTo>
                  <a:lnTo>
                    <a:pt x="129" y="2"/>
                  </a:lnTo>
                  <a:lnTo>
                    <a:pt x="121" y="0"/>
                  </a:lnTo>
                  <a:lnTo>
                    <a:pt x="118" y="8"/>
                  </a:lnTo>
                  <a:lnTo>
                    <a:pt x="115" y="20"/>
                  </a:lnTo>
                  <a:lnTo>
                    <a:pt x="115" y="22"/>
                  </a:lnTo>
                  <a:lnTo>
                    <a:pt x="118" y="22"/>
                  </a:lnTo>
                  <a:lnTo>
                    <a:pt x="118" y="25"/>
                  </a:lnTo>
                  <a:lnTo>
                    <a:pt x="115" y="25"/>
                  </a:lnTo>
                  <a:lnTo>
                    <a:pt x="112" y="28"/>
                  </a:lnTo>
                  <a:lnTo>
                    <a:pt x="109" y="28"/>
                  </a:lnTo>
                  <a:lnTo>
                    <a:pt x="112" y="37"/>
                  </a:lnTo>
                  <a:lnTo>
                    <a:pt x="104" y="40"/>
                  </a:lnTo>
                  <a:lnTo>
                    <a:pt x="104" y="45"/>
                  </a:lnTo>
                  <a:lnTo>
                    <a:pt x="101" y="60"/>
                  </a:lnTo>
                  <a:lnTo>
                    <a:pt x="89" y="57"/>
                  </a:lnTo>
                  <a:lnTo>
                    <a:pt x="81" y="60"/>
                  </a:lnTo>
                  <a:lnTo>
                    <a:pt x="66" y="57"/>
                  </a:lnTo>
                  <a:lnTo>
                    <a:pt x="60" y="57"/>
                  </a:lnTo>
                  <a:lnTo>
                    <a:pt x="55" y="66"/>
                  </a:lnTo>
                  <a:lnTo>
                    <a:pt x="52" y="68"/>
                  </a:lnTo>
                  <a:lnTo>
                    <a:pt x="40" y="66"/>
                  </a:lnTo>
                  <a:lnTo>
                    <a:pt x="29" y="68"/>
                  </a:lnTo>
                  <a:lnTo>
                    <a:pt x="17" y="60"/>
                  </a:lnTo>
                  <a:lnTo>
                    <a:pt x="12" y="51"/>
                  </a:lnTo>
                  <a:lnTo>
                    <a:pt x="9" y="45"/>
                  </a:lnTo>
                  <a:lnTo>
                    <a:pt x="6" y="48"/>
                  </a:lnTo>
                  <a:lnTo>
                    <a:pt x="3" y="54"/>
                  </a:lnTo>
                  <a:lnTo>
                    <a:pt x="0" y="66"/>
                  </a:lnTo>
                  <a:lnTo>
                    <a:pt x="0" y="74"/>
                  </a:lnTo>
                  <a:lnTo>
                    <a:pt x="3" y="83"/>
                  </a:lnTo>
                  <a:lnTo>
                    <a:pt x="6" y="89"/>
                  </a:lnTo>
                  <a:lnTo>
                    <a:pt x="6" y="94"/>
                  </a:lnTo>
                  <a:lnTo>
                    <a:pt x="9" y="97"/>
                  </a:lnTo>
                  <a:lnTo>
                    <a:pt x="6" y="100"/>
                  </a:lnTo>
                  <a:lnTo>
                    <a:pt x="9" y="100"/>
                  </a:lnTo>
                  <a:lnTo>
                    <a:pt x="15" y="103"/>
                  </a:lnTo>
                  <a:lnTo>
                    <a:pt x="9" y="109"/>
                  </a:lnTo>
                  <a:lnTo>
                    <a:pt x="12" y="109"/>
                  </a:lnTo>
                  <a:lnTo>
                    <a:pt x="15" y="106"/>
                  </a:lnTo>
                  <a:lnTo>
                    <a:pt x="20" y="109"/>
                  </a:lnTo>
                  <a:lnTo>
                    <a:pt x="20" y="114"/>
                  </a:lnTo>
                  <a:lnTo>
                    <a:pt x="20" y="120"/>
                  </a:lnTo>
                  <a:lnTo>
                    <a:pt x="20" y="123"/>
                  </a:lnTo>
                  <a:lnTo>
                    <a:pt x="23" y="126"/>
                  </a:lnTo>
                  <a:lnTo>
                    <a:pt x="23" y="129"/>
                  </a:lnTo>
                  <a:lnTo>
                    <a:pt x="20" y="137"/>
                  </a:lnTo>
                  <a:lnTo>
                    <a:pt x="23" y="140"/>
                  </a:lnTo>
                  <a:lnTo>
                    <a:pt x="23" y="143"/>
                  </a:lnTo>
                  <a:lnTo>
                    <a:pt x="29" y="143"/>
                  </a:lnTo>
                  <a:lnTo>
                    <a:pt x="35" y="143"/>
                  </a:lnTo>
                  <a:lnTo>
                    <a:pt x="49" y="140"/>
                  </a:lnTo>
                  <a:lnTo>
                    <a:pt x="52" y="155"/>
                  </a:lnTo>
                  <a:lnTo>
                    <a:pt x="55" y="152"/>
                  </a:lnTo>
                  <a:lnTo>
                    <a:pt x="58" y="149"/>
                  </a:lnTo>
                  <a:lnTo>
                    <a:pt x="60" y="149"/>
                  </a:lnTo>
                  <a:lnTo>
                    <a:pt x="69" y="146"/>
                  </a:lnTo>
                  <a:lnTo>
                    <a:pt x="72" y="143"/>
                  </a:lnTo>
                  <a:lnTo>
                    <a:pt x="78" y="149"/>
                  </a:lnTo>
                  <a:lnTo>
                    <a:pt x="78" y="146"/>
                  </a:lnTo>
                  <a:lnTo>
                    <a:pt x="81" y="149"/>
                  </a:lnTo>
                  <a:lnTo>
                    <a:pt x="81" y="155"/>
                  </a:lnTo>
                  <a:lnTo>
                    <a:pt x="83" y="149"/>
                  </a:lnTo>
                  <a:lnTo>
                    <a:pt x="89" y="149"/>
                  </a:lnTo>
                  <a:lnTo>
                    <a:pt x="95" y="152"/>
                  </a:lnTo>
                  <a:lnTo>
                    <a:pt x="98" y="155"/>
                  </a:lnTo>
                  <a:lnTo>
                    <a:pt x="98" y="166"/>
                  </a:lnTo>
                  <a:lnTo>
                    <a:pt x="115" y="157"/>
                  </a:lnTo>
                  <a:lnTo>
                    <a:pt x="121" y="15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80" name="Freeform 180"/>
            <p:cNvSpPr>
              <a:spLocks/>
            </p:cNvSpPr>
            <p:nvPr/>
          </p:nvSpPr>
          <p:spPr bwMode="auto">
            <a:xfrm>
              <a:off x="8388350" y="4359275"/>
              <a:ext cx="9525" cy="4763"/>
            </a:xfrm>
            <a:custGeom>
              <a:avLst/>
              <a:gdLst>
                <a:gd name="T0" fmla="*/ 2147483647 w 6"/>
                <a:gd name="T1" fmla="*/ 0 h 3"/>
                <a:gd name="T2" fmla="*/ 0 w 6"/>
                <a:gd name="T3" fmla="*/ 0 h 3"/>
                <a:gd name="T4" fmla="*/ 0 w 6"/>
                <a:gd name="T5" fmla="*/ 2147483647 h 3"/>
                <a:gd name="T6" fmla="*/ 2147483647 w 6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3"/>
                <a:gd name="T14" fmla="*/ 6 w 6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3">
                  <a:moveTo>
                    <a:pt x="6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81" name="Freeform 181"/>
            <p:cNvSpPr>
              <a:spLocks/>
            </p:cNvSpPr>
            <p:nvPr/>
          </p:nvSpPr>
          <p:spPr bwMode="auto">
            <a:xfrm>
              <a:off x="8393113" y="4295775"/>
              <a:ext cx="9525" cy="14288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0 w 6"/>
                <a:gd name="T5" fmla="*/ 2147483647 h 9"/>
                <a:gd name="T6" fmla="*/ 2147483647 w 6"/>
                <a:gd name="T7" fmla="*/ 2147483647 h 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9"/>
                <a:gd name="T14" fmla="*/ 6 w 6"/>
                <a:gd name="T15" fmla="*/ 9 h 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9">
                  <a:moveTo>
                    <a:pt x="6" y="9"/>
                  </a:moveTo>
                  <a:lnTo>
                    <a:pt x="6" y="0"/>
                  </a:lnTo>
                  <a:lnTo>
                    <a:pt x="0" y="3"/>
                  </a:lnTo>
                  <a:lnTo>
                    <a:pt x="6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82" name="Freeform 182"/>
            <p:cNvSpPr>
              <a:spLocks/>
            </p:cNvSpPr>
            <p:nvPr/>
          </p:nvSpPr>
          <p:spPr bwMode="auto">
            <a:xfrm>
              <a:off x="8313738" y="4198938"/>
              <a:ext cx="19050" cy="14287"/>
            </a:xfrm>
            <a:custGeom>
              <a:avLst/>
              <a:gdLst>
                <a:gd name="T0" fmla="*/ 2147483647 w 12"/>
                <a:gd name="T1" fmla="*/ 0 h 9"/>
                <a:gd name="T2" fmla="*/ 2147483647 w 12"/>
                <a:gd name="T3" fmla="*/ 0 h 9"/>
                <a:gd name="T4" fmla="*/ 0 w 12"/>
                <a:gd name="T5" fmla="*/ 2147483647 h 9"/>
                <a:gd name="T6" fmla="*/ 2147483647 w 12"/>
                <a:gd name="T7" fmla="*/ 2147483647 h 9"/>
                <a:gd name="T8" fmla="*/ 2147483647 w 12"/>
                <a:gd name="T9" fmla="*/ 2147483647 h 9"/>
                <a:gd name="T10" fmla="*/ 2147483647 w 12"/>
                <a:gd name="T11" fmla="*/ 2147483647 h 9"/>
                <a:gd name="T12" fmla="*/ 2147483647 w 12"/>
                <a:gd name="T13" fmla="*/ 2147483647 h 9"/>
                <a:gd name="T14" fmla="*/ 2147483647 w 12"/>
                <a:gd name="T15" fmla="*/ 2147483647 h 9"/>
                <a:gd name="T16" fmla="*/ 2147483647 w 12"/>
                <a:gd name="T17" fmla="*/ 2147483647 h 9"/>
                <a:gd name="T18" fmla="*/ 2147483647 w 12"/>
                <a:gd name="T19" fmla="*/ 2147483647 h 9"/>
                <a:gd name="T20" fmla="*/ 2147483647 w 12"/>
                <a:gd name="T21" fmla="*/ 0 h 9"/>
                <a:gd name="T22" fmla="*/ 2147483647 w 12"/>
                <a:gd name="T23" fmla="*/ 0 h 9"/>
                <a:gd name="T24" fmla="*/ 2147483647 w 12"/>
                <a:gd name="T25" fmla="*/ 0 h 9"/>
                <a:gd name="T26" fmla="*/ 2147483647 w 12"/>
                <a:gd name="T27" fmla="*/ 0 h 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2"/>
                <a:gd name="T43" fmla="*/ 0 h 9"/>
                <a:gd name="T44" fmla="*/ 12 w 12"/>
                <a:gd name="T45" fmla="*/ 9 h 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2" h="9">
                  <a:moveTo>
                    <a:pt x="3" y="0"/>
                  </a:moveTo>
                  <a:lnTo>
                    <a:pt x="3" y="0"/>
                  </a:lnTo>
                  <a:lnTo>
                    <a:pt x="0" y="6"/>
                  </a:lnTo>
                  <a:lnTo>
                    <a:pt x="3" y="9"/>
                  </a:lnTo>
                  <a:lnTo>
                    <a:pt x="9" y="9"/>
                  </a:lnTo>
                  <a:lnTo>
                    <a:pt x="12" y="6"/>
                  </a:lnTo>
                  <a:lnTo>
                    <a:pt x="6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83" name="Freeform 183"/>
            <p:cNvSpPr>
              <a:spLocks/>
            </p:cNvSpPr>
            <p:nvPr/>
          </p:nvSpPr>
          <p:spPr bwMode="auto">
            <a:xfrm>
              <a:off x="7983538" y="4373563"/>
              <a:ext cx="22225" cy="22225"/>
            </a:xfrm>
            <a:custGeom>
              <a:avLst/>
              <a:gdLst>
                <a:gd name="T0" fmla="*/ 0 w 14"/>
                <a:gd name="T1" fmla="*/ 2147483647 h 14"/>
                <a:gd name="T2" fmla="*/ 0 w 14"/>
                <a:gd name="T3" fmla="*/ 2147483647 h 14"/>
                <a:gd name="T4" fmla="*/ 2147483647 w 14"/>
                <a:gd name="T5" fmla="*/ 2147483647 h 14"/>
                <a:gd name="T6" fmla="*/ 2147483647 w 14"/>
                <a:gd name="T7" fmla="*/ 2147483647 h 14"/>
                <a:gd name="T8" fmla="*/ 2147483647 w 14"/>
                <a:gd name="T9" fmla="*/ 0 h 14"/>
                <a:gd name="T10" fmla="*/ 2147483647 w 14"/>
                <a:gd name="T11" fmla="*/ 0 h 14"/>
                <a:gd name="T12" fmla="*/ 2147483647 w 14"/>
                <a:gd name="T13" fmla="*/ 2147483647 h 14"/>
                <a:gd name="T14" fmla="*/ 0 w 14"/>
                <a:gd name="T15" fmla="*/ 2147483647 h 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"/>
                <a:gd name="T25" fmla="*/ 0 h 14"/>
                <a:gd name="T26" fmla="*/ 14 w 14"/>
                <a:gd name="T27" fmla="*/ 14 h 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" h="14">
                  <a:moveTo>
                    <a:pt x="0" y="12"/>
                  </a:moveTo>
                  <a:lnTo>
                    <a:pt x="0" y="14"/>
                  </a:lnTo>
                  <a:lnTo>
                    <a:pt x="5" y="9"/>
                  </a:lnTo>
                  <a:lnTo>
                    <a:pt x="8" y="6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2" y="9"/>
                  </a:ln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84" name="Freeform 184"/>
            <p:cNvSpPr>
              <a:spLocks/>
            </p:cNvSpPr>
            <p:nvPr/>
          </p:nvSpPr>
          <p:spPr bwMode="auto">
            <a:xfrm>
              <a:off x="8048625" y="4562475"/>
              <a:ext cx="4763" cy="4763"/>
            </a:xfrm>
            <a:custGeom>
              <a:avLst/>
              <a:gdLst>
                <a:gd name="T0" fmla="*/ 2147483647 w 3"/>
                <a:gd name="T1" fmla="*/ 2147483647 h 3"/>
                <a:gd name="T2" fmla="*/ 2147483647 w 3"/>
                <a:gd name="T3" fmla="*/ 0 h 3"/>
                <a:gd name="T4" fmla="*/ 2147483647 w 3"/>
                <a:gd name="T5" fmla="*/ 0 h 3"/>
                <a:gd name="T6" fmla="*/ 0 w 3"/>
                <a:gd name="T7" fmla="*/ 2147483647 h 3"/>
                <a:gd name="T8" fmla="*/ 2147483647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3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85" name="Freeform 185"/>
            <p:cNvSpPr>
              <a:spLocks/>
            </p:cNvSpPr>
            <p:nvPr/>
          </p:nvSpPr>
          <p:spPr bwMode="auto">
            <a:xfrm>
              <a:off x="8043863" y="4543425"/>
              <a:ext cx="17462" cy="9525"/>
            </a:xfrm>
            <a:custGeom>
              <a:avLst/>
              <a:gdLst>
                <a:gd name="T0" fmla="*/ 2147483647 w 11"/>
                <a:gd name="T1" fmla="*/ 0 h 6"/>
                <a:gd name="T2" fmla="*/ 2147483647 w 11"/>
                <a:gd name="T3" fmla="*/ 0 h 6"/>
                <a:gd name="T4" fmla="*/ 0 w 11"/>
                <a:gd name="T5" fmla="*/ 2147483647 h 6"/>
                <a:gd name="T6" fmla="*/ 2147483647 w 11"/>
                <a:gd name="T7" fmla="*/ 2147483647 h 6"/>
                <a:gd name="T8" fmla="*/ 2147483647 w 11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"/>
                <a:gd name="T16" fmla="*/ 0 h 6"/>
                <a:gd name="T17" fmla="*/ 11 w 11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" h="6">
                  <a:moveTo>
                    <a:pt x="9" y="0"/>
                  </a:moveTo>
                  <a:lnTo>
                    <a:pt x="3" y="0"/>
                  </a:lnTo>
                  <a:lnTo>
                    <a:pt x="0" y="6"/>
                  </a:lnTo>
                  <a:lnTo>
                    <a:pt x="11" y="3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86" name="Freeform 186"/>
            <p:cNvSpPr>
              <a:spLocks/>
            </p:cNvSpPr>
            <p:nvPr/>
          </p:nvSpPr>
          <p:spPr bwMode="auto">
            <a:xfrm>
              <a:off x="7840663" y="4041775"/>
              <a:ext cx="293687" cy="277813"/>
            </a:xfrm>
            <a:custGeom>
              <a:avLst/>
              <a:gdLst>
                <a:gd name="T0" fmla="*/ 2147483647 w 183"/>
                <a:gd name="T1" fmla="*/ 2147483647 h 173"/>
                <a:gd name="T2" fmla="*/ 2147483647 w 183"/>
                <a:gd name="T3" fmla="*/ 2147483647 h 173"/>
                <a:gd name="T4" fmla="*/ 2147483647 w 183"/>
                <a:gd name="T5" fmla="*/ 2147483647 h 173"/>
                <a:gd name="T6" fmla="*/ 2147483647 w 183"/>
                <a:gd name="T7" fmla="*/ 2147483647 h 173"/>
                <a:gd name="T8" fmla="*/ 2147483647 w 183"/>
                <a:gd name="T9" fmla="*/ 2147483647 h 173"/>
                <a:gd name="T10" fmla="*/ 2147483647 w 183"/>
                <a:gd name="T11" fmla="*/ 2147483647 h 173"/>
                <a:gd name="T12" fmla="*/ 2147483647 w 183"/>
                <a:gd name="T13" fmla="*/ 2147483647 h 173"/>
                <a:gd name="T14" fmla="*/ 2147483647 w 183"/>
                <a:gd name="T15" fmla="*/ 2147483647 h 173"/>
                <a:gd name="T16" fmla="*/ 2147483647 w 183"/>
                <a:gd name="T17" fmla="*/ 2147483647 h 173"/>
                <a:gd name="T18" fmla="*/ 2147483647 w 183"/>
                <a:gd name="T19" fmla="*/ 2147483647 h 173"/>
                <a:gd name="T20" fmla="*/ 2147483647 w 183"/>
                <a:gd name="T21" fmla="*/ 2147483647 h 173"/>
                <a:gd name="T22" fmla="*/ 2147483647 w 183"/>
                <a:gd name="T23" fmla="*/ 2147483647 h 173"/>
                <a:gd name="T24" fmla="*/ 2147483647 w 183"/>
                <a:gd name="T25" fmla="*/ 2147483647 h 173"/>
                <a:gd name="T26" fmla="*/ 2147483647 w 183"/>
                <a:gd name="T27" fmla="*/ 2147483647 h 173"/>
                <a:gd name="T28" fmla="*/ 2147483647 w 183"/>
                <a:gd name="T29" fmla="*/ 2147483647 h 173"/>
                <a:gd name="T30" fmla="*/ 2147483647 w 183"/>
                <a:gd name="T31" fmla="*/ 2147483647 h 173"/>
                <a:gd name="T32" fmla="*/ 2147483647 w 183"/>
                <a:gd name="T33" fmla="*/ 2147483647 h 173"/>
                <a:gd name="T34" fmla="*/ 2147483647 w 183"/>
                <a:gd name="T35" fmla="*/ 2147483647 h 173"/>
                <a:gd name="T36" fmla="*/ 2147483647 w 183"/>
                <a:gd name="T37" fmla="*/ 2147483647 h 173"/>
                <a:gd name="T38" fmla="*/ 2147483647 w 183"/>
                <a:gd name="T39" fmla="*/ 2147483647 h 173"/>
                <a:gd name="T40" fmla="*/ 2147483647 w 183"/>
                <a:gd name="T41" fmla="*/ 2147483647 h 173"/>
                <a:gd name="T42" fmla="*/ 2147483647 w 183"/>
                <a:gd name="T43" fmla="*/ 2147483647 h 173"/>
                <a:gd name="T44" fmla="*/ 2147483647 w 183"/>
                <a:gd name="T45" fmla="*/ 2147483647 h 173"/>
                <a:gd name="T46" fmla="*/ 2147483647 w 183"/>
                <a:gd name="T47" fmla="*/ 0 h 173"/>
                <a:gd name="T48" fmla="*/ 2147483647 w 183"/>
                <a:gd name="T49" fmla="*/ 2147483647 h 173"/>
                <a:gd name="T50" fmla="*/ 2147483647 w 183"/>
                <a:gd name="T51" fmla="*/ 2147483647 h 173"/>
                <a:gd name="T52" fmla="*/ 2147483647 w 183"/>
                <a:gd name="T53" fmla="*/ 2147483647 h 173"/>
                <a:gd name="T54" fmla="*/ 2147483647 w 183"/>
                <a:gd name="T55" fmla="*/ 2147483647 h 173"/>
                <a:gd name="T56" fmla="*/ 0 w 183"/>
                <a:gd name="T57" fmla="*/ 2147483647 h 173"/>
                <a:gd name="T58" fmla="*/ 2147483647 w 183"/>
                <a:gd name="T59" fmla="*/ 2147483647 h 173"/>
                <a:gd name="T60" fmla="*/ 2147483647 w 183"/>
                <a:gd name="T61" fmla="*/ 2147483647 h 173"/>
                <a:gd name="T62" fmla="*/ 2147483647 w 183"/>
                <a:gd name="T63" fmla="*/ 2147483647 h 173"/>
                <a:gd name="T64" fmla="*/ 2147483647 w 183"/>
                <a:gd name="T65" fmla="*/ 2147483647 h 173"/>
                <a:gd name="T66" fmla="*/ 2147483647 w 183"/>
                <a:gd name="T67" fmla="*/ 2147483647 h 173"/>
                <a:gd name="T68" fmla="*/ 2147483647 w 183"/>
                <a:gd name="T69" fmla="*/ 2147483647 h 173"/>
                <a:gd name="T70" fmla="*/ 2147483647 w 183"/>
                <a:gd name="T71" fmla="*/ 2147483647 h 173"/>
                <a:gd name="T72" fmla="*/ 2147483647 w 183"/>
                <a:gd name="T73" fmla="*/ 2147483647 h 173"/>
                <a:gd name="T74" fmla="*/ 2147483647 w 183"/>
                <a:gd name="T75" fmla="*/ 2147483647 h 173"/>
                <a:gd name="T76" fmla="*/ 2147483647 w 183"/>
                <a:gd name="T77" fmla="*/ 2147483647 h 173"/>
                <a:gd name="T78" fmla="*/ 2147483647 w 183"/>
                <a:gd name="T79" fmla="*/ 2147483647 h 173"/>
                <a:gd name="T80" fmla="*/ 2147483647 w 183"/>
                <a:gd name="T81" fmla="*/ 2147483647 h 173"/>
                <a:gd name="T82" fmla="*/ 2147483647 w 183"/>
                <a:gd name="T83" fmla="*/ 2147483647 h 173"/>
                <a:gd name="T84" fmla="*/ 2147483647 w 183"/>
                <a:gd name="T85" fmla="*/ 2147483647 h 173"/>
                <a:gd name="T86" fmla="*/ 2147483647 w 183"/>
                <a:gd name="T87" fmla="*/ 2147483647 h 173"/>
                <a:gd name="T88" fmla="*/ 2147483647 w 183"/>
                <a:gd name="T89" fmla="*/ 2147483647 h 173"/>
                <a:gd name="T90" fmla="*/ 2147483647 w 183"/>
                <a:gd name="T91" fmla="*/ 2147483647 h 173"/>
                <a:gd name="T92" fmla="*/ 2147483647 w 183"/>
                <a:gd name="T93" fmla="*/ 2147483647 h 173"/>
                <a:gd name="T94" fmla="*/ 2147483647 w 183"/>
                <a:gd name="T95" fmla="*/ 2147483647 h 173"/>
                <a:gd name="T96" fmla="*/ 2147483647 w 183"/>
                <a:gd name="T97" fmla="*/ 2147483647 h 173"/>
                <a:gd name="T98" fmla="*/ 2147483647 w 183"/>
                <a:gd name="T99" fmla="*/ 2147483647 h 173"/>
                <a:gd name="T100" fmla="*/ 2147483647 w 183"/>
                <a:gd name="T101" fmla="*/ 2147483647 h 173"/>
                <a:gd name="T102" fmla="*/ 2147483647 w 183"/>
                <a:gd name="T103" fmla="*/ 2147483647 h 173"/>
                <a:gd name="T104" fmla="*/ 2147483647 w 183"/>
                <a:gd name="T105" fmla="*/ 2147483647 h 173"/>
                <a:gd name="T106" fmla="*/ 2147483647 w 183"/>
                <a:gd name="T107" fmla="*/ 2147483647 h 173"/>
                <a:gd name="T108" fmla="*/ 2147483647 w 183"/>
                <a:gd name="T109" fmla="*/ 2147483647 h 173"/>
                <a:gd name="T110" fmla="*/ 2147483647 w 183"/>
                <a:gd name="T111" fmla="*/ 2147483647 h 173"/>
                <a:gd name="T112" fmla="*/ 2147483647 w 183"/>
                <a:gd name="T113" fmla="*/ 2147483647 h 173"/>
                <a:gd name="T114" fmla="*/ 2147483647 w 183"/>
                <a:gd name="T115" fmla="*/ 2147483647 h 173"/>
                <a:gd name="T116" fmla="*/ 2147483647 w 183"/>
                <a:gd name="T117" fmla="*/ 2147483647 h 173"/>
                <a:gd name="T118" fmla="*/ 2147483647 w 183"/>
                <a:gd name="T119" fmla="*/ 2147483647 h 173"/>
                <a:gd name="T120" fmla="*/ 2147483647 w 183"/>
                <a:gd name="T121" fmla="*/ 2147483647 h 173"/>
                <a:gd name="T122" fmla="*/ 2147483647 w 183"/>
                <a:gd name="T123" fmla="*/ 2147483647 h 173"/>
                <a:gd name="T124" fmla="*/ 2147483647 w 183"/>
                <a:gd name="T125" fmla="*/ 2147483647 h 173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83"/>
                <a:gd name="T190" fmla="*/ 0 h 173"/>
                <a:gd name="T191" fmla="*/ 183 w 183"/>
                <a:gd name="T192" fmla="*/ 173 h 173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83" h="173">
                  <a:moveTo>
                    <a:pt x="149" y="153"/>
                  </a:moveTo>
                  <a:lnTo>
                    <a:pt x="149" y="153"/>
                  </a:lnTo>
                  <a:lnTo>
                    <a:pt x="157" y="153"/>
                  </a:lnTo>
                  <a:lnTo>
                    <a:pt x="160" y="153"/>
                  </a:lnTo>
                  <a:lnTo>
                    <a:pt x="166" y="158"/>
                  </a:lnTo>
                  <a:lnTo>
                    <a:pt x="172" y="167"/>
                  </a:lnTo>
                  <a:lnTo>
                    <a:pt x="172" y="170"/>
                  </a:lnTo>
                  <a:lnTo>
                    <a:pt x="178" y="173"/>
                  </a:lnTo>
                  <a:lnTo>
                    <a:pt x="178" y="138"/>
                  </a:lnTo>
                  <a:lnTo>
                    <a:pt x="178" y="127"/>
                  </a:lnTo>
                  <a:lnTo>
                    <a:pt x="175" y="121"/>
                  </a:lnTo>
                  <a:lnTo>
                    <a:pt x="175" y="118"/>
                  </a:lnTo>
                  <a:lnTo>
                    <a:pt x="178" y="115"/>
                  </a:lnTo>
                  <a:lnTo>
                    <a:pt x="180" y="87"/>
                  </a:lnTo>
                  <a:lnTo>
                    <a:pt x="183" y="43"/>
                  </a:lnTo>
                  <a:lnTo>
                    <a:pt x="163" y="38"/>
                  </a:lnTo>
                  <a:lnTo>
                    <a:pt x="155" y="35"/>
                  </a:lnTo>
                  <a:lnTo>
                    <a:pt x="146" y="29"/>
                  </a:lnTo>
                  <a:lnTo>
                    <a:pt x="137" y="23"/>
                  </a:lnTo>
                  <a:lnTo>
                    <a:pt x="129" y="20"/>
                  </a:lnTo>
                  <a:lnTo>
                    <a:pt x="120" y="23"/>
                  </a:lnTo>
                  <a:lnTo>
                    <a:pt x="117" y="26"/>
                  </a:lnTo>
                  <a:lnTo>
                    <a:pt x="117" y="29"/>
                  </a:lnTo>
                  <a:lnTo>
                    <a:pt x="120" y="32"/>
                  </a:lnTo>
                  <a:lnTo>
                    <a:pt x="117" y="35"/>
                  </a:lnTo>
                  <a:lnTo>
                    <a:pt x="109" y="35"/>
                  </a:lnTo>
                  <a:lnTo>
                    <a:pt x="106" y="35"/>
                  </a:lnTo>
                  <a:lnTo>
                    <a:pt x="100" y="41"/>
                  </a:lnTo>
                  <a:lnTo>
                    <a:pt x="97" y="49"/>
                  </a:lnTo>
                  <a:lnTo>
                    <a:pt x="94" y="55"/>
                  </a:lnTo>
                  <a:lnTo>
                    <a:pt x="89" y="58"/>
                  </a:lnTo>
                  <a:lnTo>
                    <a:pt x="83" y="58"/>
                  </a:lnTo>
                  <a:lnTo>
                    <a:pt x="77" y="55"/>
                  </a:lnTo>
                  <a:lnTo>
                    <a:pt x="74" y="49"/>
                  </a:lnTo>
                  <a:lnTo>
                    <a:pt x="77" y="43"/>
                  </a:lnTo>
                  <a:lnTo>
                    <a:pt x="74" y="41"/>
                  </a:lnTo>
                  <a:lnTo>
                    <a:pt x="69" y="41"/>
                  </a:lnTo>
                  <a:lnTo>
                    <a:pt x="66" y="38"/>
                  </a:lnTo>
                  <a:lnTo>
                    <a:pt x="69" y="32"/>
                  </a:lnTo>
                  <a:lnTo>
                    <a:pt x="69" y="18"/>
                  </a:lnTo>
                  <a:lnTo>
                    <a:pt x="66" y="9"/>
                  </a:lnTo>
                  <a:lnTo>
                    <a:pt x="63" y="6"/>
                  </a:lnTo>
                  <a:lnTo>
                    <a:pt x="57" y="6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3" y="0"/>
                  </a:lnTo>
                  <a:lnTo>
                    <a:pt x="28" y="3"/>
                  </a:lnTo>
                  <a:lnTo>
                    <a:pt x="20" y="6"/>
                  </a:lnTo>
                  <a:lnTo>
                    <a:pt x="17" y="9"/>
                  </a:lnTo>
                  <a:lnTo>
                    <a:pt x="17" y="15"/>
                  </a:lnTo>
                  <a:lnTo>
                    <a:pt x="17" y="18"/>
                  </a:lnTo>
                  <a:lnTo>
                    <a:pt x="14" y="18"/>
                  </a:lnTo>
                  <a:lnTo>
                    <a:pt x="11" y="12"/>
                  </a:lnTo>
                  <a:lnTo>
                    <a:pt x="8" y="9"/>
                  </a:lnTo>
                  <a:lnTo>
                    <a:pt x="2" y="9"/>
                  </a:lnTo>
                  <a:lnTo>
                    <a:pt x="0" y="9"/>
                  </a:lnTo>
                  <a:lnTo>
                    <a:pt x="2" y="12"/>
                  </a:lnTo>
                  <a:lnTo>
                    <a:pt x="5" y="15"/>
                  </a:lnTo>
                  <a:lnTo>
                    <a:pt x="5" y="18"/>
                  </a:lnTo>
                  <a:lnTo>
                    <a:pt x="8" y="20"/>
                  </a:lnTo>
                  <a:lnTo>
                    <a:pt x="14" y="23"/>
                  </a:lnTo>
                  <a:lnTo>
                    <a:pt x="20" y="23"/>
                  </a:lnTo>
                  <a:lnTo>
                    <a:pt x="28" y="23"/>
                  </a:lnTo>
                  <a:lnTo>
                    <a:pt x="28" y="26"/>
                  </a:lnTo>
                  <a:lnTo>
                    <a:pt x="28" y="35"/>
                  </a:lnTo>
                  <a:lnTo>
                    <a:pt x="31" y="38"/>
                  </a:lnTo>
                  <a:lnTo>
                    <a:pt x="46" y="38"/>
                  </a:lnTo>
                  <a:lnTo>
                    <a:pt x="54" y="35"/>
                  </a:lnTo>
                  <a:lnTo>
                    <a:pt x="57" y="35"/>
                  </a:lnTo>
                  <a:lnTo>
                    <a:pt x="63" y="38"/>
                  </a:lnTo>
                  <a:lnTo>
                    <a:pt x="60" y="41"/>
                  </a:lnTo>
                  <a:lnTo>
                    <a:pt x="57" y="43"/>
                  </a:lnTo>
                  <a:lnTo>
                    <a:pt x="54" y="41"/>
                  </a:lnTo>
                  <a:lnTo>
                    <a:pt x="51" y="41"/>
                  </a:lnTo>
                  <a:lnTo>
                    <a:pt x="40" y="46"/>
                  </a:lnTo>
                  <a:lnTo>
                    <a:pt x="34" y="46"/>
                  </a:lnTo>
                  <a:lnTo>
                    <a:pt x="28" y="46"/>
                  </a:lnTo>
                  <a:lnTo>
                    <a:pt x="28" y="49"/>
                  </a:lnTo>
                  <a:lnTo>
                    <a:pt x="31" y="52"/>
                  </a:lnTo>
                  <a:lnTo>
                    <a:pt x="37" y="52"/>
                  </a:lnTo>
                  <a:lnTo>
                    <a:pt x="40" y="55"/>
                  </a:lnTo>
                  <a:lnTo>
                    <a:pt x="40" y="58"/>
                  </a:lnTo>
                  <a:lnTo>
                    <a:pt x="43" y="61"/>
                  </a:lnTo>
                  <a:lnTo>
                    <a:pt x="46" y="61"/>
                  </a:lnTo>
                  <a:lnTo>
                    <a:pt x="43" y="64"/>
                  </a:lnTo>
                  <a:lnTo>
                    <a:pt x="40" y="69"/>
                  </a:lnTo>
                  <a:lnTo>
                    <a:pt x="46" y="72"/>
                  </a:lnTo>
                  <a:lnTo>
                    <a:pt x="48" y="72"/>
                  </a:lnTo>
                  <a:lnTo>
                    <a:pt x="54" y="66"/>
                  </a:lnTo>
                  <a:lnTo>
                    <a:pt x="57" y="66"/>
                  </a:lnTo>
                  <a:lnTo>
                    <a:pt x="63" y="66"/>
                  </a:lnTo>
                  <a:lnTo>
                    <a:pt x="71" y="72"/>
                  </a:lnTo>
                  <a:lnTo>
                    <a:pt x="77" y="78"/>
                  </a:lnTo>
                  <a:lnTo>
                    <a:pt x="83" y="81"/>
                  </a:lnTo>
                  <a:lnTo>
                    <a:pt x="89" y="81"/>
                  </a:lnTo>
                  <a:lnTo>
                    <a:pt x="91" y="81"/>
                  </a:lnTo>
                  <a:lnTo>
                    <a:pt x="97" y="84"/>
                  </a:lnTo>
                  <a:lnTo>
                    <a:pt x="109" y="87"/>
                  </a:lnTo>
                  <a:lnTo>
                    <a:pt x="117" y="92"/>
                  </a:lnTo>
                  <a:lnTo>
                    <a:pt x="129" y="95"/>
                  </a:lnTo>
                  <a:lnTo>
                    <a:pt x="132" y="98"/>
                  </a:lnTo>
                  <a:lnTo>
                    <a:pt x="135" y="107"/>
                  </a:lnTo>
                  <a:lnTo>
                    <a:pt x="135" y="112"/>
                  </a:lnTo>
                  <a:lnTo>
                    <a:pt x="137" y="118"/>
                  </a:lnTo>
                  <a:lnTo>
                    <a:pt x="140" y="127"/>
                  </a:lnTo>
                  <a:lnTo>
                    <a:pt x="140" y="130"/>
                  </a:lnTo>
                  <a:lnTo>
                    <a:pt x="143" y="132"/>
                  </a:lnTo>
                  <a:lnTo>
                    <a:pt x="140" y="135"/>
                  </a:lnTo>
                  <a:lnTo>
                    <a:pt x="135" y="138"/>
                  </a:lnTo>
                  <a:lnTo>
                    <a:pt x="129" y="138"/>
                  </a:lnTo>
                  <a:lnTo>
                    <a:pt x="126" y="141"/>
                  </a:lnTo>
                  <a:lnTo>
                    <a:pt x="120" y="150"/>
                  </a:lnTo>
                  <a:lnTo>
                    <a:pt x="117" y="153"/>
                  </a:lnTo>
                  <a:lnTo>
                    <a:pt x="117" y="155"/>
                  </a:lnTo>
                  <a:lnTo>
                    <a:pt x="123" y="158"/>
                  </a:lnTo>
                  <a:lnTo>
                    <a:pt x="129" y="158"/>
                  </a:lnTo>
                  <a:lnTo>
                    <a:pt x="137" y="158"/>
                  </a:lnTo>
                  <a:lnTo>
                    <a:pt x="140" y="155"/>
                  </a:lnTo>
                  <a:lnTo>
                    <a:pt x="143" y="153"/>
                  </a:lnTo>
                  <a:lnTo>
                    <a:pt x="143" y="150"/>
                  </a:lnTo>
                  <a:lnTo>
                    <a:pt x="149" y="15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87" name="Line 187"/>
            <p:cNvSpPr>
              <a:spLocks noChangeShapeType="1"/>
            </p:cNvSpPr>
            <p:nvPr/>
          </p:nvSpPr>
          <p:spPr bwMode="auto">
            <a:xfrm>
              <a:off x="7683500" y="4470400"/>
              <a:ext cx="1588" cy="1588"/>
            </a:xfrm>
            <a:prstGeom prst="line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88" name="Line 188"/>
            <p:cNvSpPr>
              <a:spLocks noChangeShapeType="1"/>
            </p:cNvSpPr>
            <p:nvPr/>
          </p:nvSpPr>
          <p:spPr bwMode="auto">
            <a:xfrm>
              <a:off x="7683500" y="4470400"/>
              <a:ext cx="1588" cy="1588"/>
            </a:xfrm>
            <a:prstGeom prst="line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89" name="Freeform 189"/>
            <p:cNvSpPr>
              <a:spLocks/>
            </p:cNvSpPr>
            <p:nvPr/>
          </p:nvSpPr>
          <p:spPr bwMode="auto">
            <a:xfrm>
              <a:off x="8148638" y="4356100"/>
              <a:ext cx="4762" cy="12700"/>
            </a:xfrm>
            <a:custGeom>
              <a:avLst/>
              <a:gdLst>
                <a:gd name="T0" fmla="*/ 0 w 3"/>
                <a:gd name="T1" fmla="*/ 2147483647 h 8"/>
                <a:gd name="T2" fmla="*/ 2147483647 w 3"/>
                <a:gd name="T3" fmla="*/ 2147483647 h 8"/>
                <a:gd name="T4" fmla="*/ 2147483647 w 3"/>
                <a:gd name="T5" fmla="*/ 0 h 8"/>
                <a:gd name="T6" fmla="*/ 0 w 3"/>
                <a:gd name="T7" fmla="*/ 2147483647 h 8"/>
                <a:gd name="T8" fmla="*/ 0 w 3"/>
                <a:gd name="T9" fmla="*/ 2147483647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8"/>
                <a:gd name="T17" fmla="*/ 3 w 3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8">
                  <a:moveTo>
                    <a:pt x="0" y="8"/>
                  </a:moveTo>
                  <a:lnTo>
                    <a:pt x="3" y="5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90" name="Freeform 190"/>
            <p:cNvSpPr>
              <a:spLocks/>
            </p:cNvSpPr>
            <p:nvPr/>
          </p:nvSpPr>
          <p:spPr bwMode="auto">
            <a:xfrm>
              <a:off x="8351838" y="4773613"/>
              <a:ext cx="9525" cy="11112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2147483647 h 6"/>
                <a:gd name="T4" fmla="*/ 0 w 6"/>
                <a:gd name="T5" fmla="*/ 0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6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3" y="6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91" name="Freeform 191"/>
            <p:cNvSpPr>
              <a:spLocks/>
            </p:cNvSpPr>
            <p:nvPr/>
          </p:nvSpPr>
          <p:spPr bwMode="auto">
            <a:xfrm>
              <a:off x="8191500" y="4462463"/>
              <a:ext cx="4763" cy="7937"/>
            </a:xfrm>
            <a:custGeom>
              <a:avLst/>
              <a:gdLst>
                <a:gd name="T0" fmla="*/ 2147483647 w 3"/>
                <a:gd name="T1" fmla="*/ 2147483647 h 5"/>
                <a:gd name="T2" fmla="*/ 2147483647 w 3"/>
                <a:gd name="T3" fmla="*/ 0 h 5"/>
                <a:gd name="T4" fmla="*/ 0 w 3"/>
                <a:gd name="T5" fmla="*/ 2147483647 h 5"/>
                <a:gd name="T6" fmla="*/ 2147483647 w 3"/>
                <a:gd name="T7" fmla="*/ 2147483647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5"/>
                <a:gd name="T14" fmla="*/ 3 w 3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5">
                  <a:moveTo>
                    <a:pt x="3" y="3"/>
                  </a:moveTo>
                  <a:lnTo>
                    <a:pt x="3" y="0"/>
                  </a:lnTo>
                  <a:lnTo>
                    <a:pt x="0" y="5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92" name="Freeform 192"/>
            <p:cNvSpPr>
              <a:spLocks/>
            </p:cNvSpPr>
            <p:nvPr/>
          </p:nvSpPr>
          <p:spPr bwMode="auto">
            <a:xfrm>
              <a:off x="8213725" y="4479925"/>
              <a:ext cx="9525" cy="9525"/>
            </a:xfrm>
            <a:custGeom>
              <a:avLst/>
              <a:gdLst>
                <a:gd name="T0" fmla="*/ 0 w 6"/>
                <a:gd name="T1" fmla="*/ 2147483647 h 6"/>
                <a:gd name="T2" fmla="*/ 2147483647 w 6"/>
                <a:gd name="T3" fmla="*/ 2147483647 h 6"/>
                <a:gd name="T4" fmla="*/ 2147483647 w 6"/>
                <a:gd name="T5" fmla="*/ 0 h 6"/>
                <a:gd name="T6" fmla="*/ 0 w 6"/>
                <a:gd name="T7" fmla="*/ 0 h 6"/>
                <a:gd name="T8" fmla="*/ 0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6"/>
                  </a:moveTo>
                  <a:lnTo>
                    <a:pt x="6" y="6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93" name="Freeform 193"/>
            <p:cNvSpPr>
              <a:spLocks/>
            </p:cNvSpPr>
            <p:nvPr/>
          </p:nvSpPr>
          <p:spPr bwMode="auto">
            <a:xfrm>
              <a:off x="8148638" y="4341813"/>
              <a:ext cx="14287" cy="14287"/>
            </a:xfrm>
            <a:custGeom>
              <a:avLst/>
              <a:gdLst>
                <a:gd name="T0" fmla="*/ 2147483647 w 9"/>
                <a:gd name="T1" fmla="*/ 0 h 9"/>
                <a:gd name="T2" fmla="*/ 0 w 9"/>
                <a:gd name="T3" fmla="*/ 2147483647 h 9"/>
                <a:gd name="T4" fmla="*/ 2147483647 w 9"/>
                <a:gd name="T5" fmla="*/ 2147483647 h 9"/>
                <a:gd name="T6" fmla="*/ 2147483647 w 9"/>
                <a:gd name="T7" fmla="*/ 2147483647 h 9"/>
                <a:gd name="T8" fmla="*/ 2147483647 w 9"/>
                <a:gd name="T9" fmla="*/ 0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9"/>
                <a:gd name="T17" fmla="*/ 9 w 9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9">
                  <a:moveTo>
                    <a:pt x="3" y="0"/>
                  </a:moveTo>
                  <a:lnTo>
                    <a:pt x="0" y="3"/>
                  </a:lnTo>
                  <a:lnTo>
                    <a:pt x="3" y="9"/>
                  </a:lnTo>
                  <a:lnTo>
                    <a:pt x="9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94" name="Freeform 194"/>
            <p:cNvSpPr>
              <a:spLocks/>
            </p:cNvSpPr>
            <p:nvPr/>
          </p:nvSpPr>
          <p:spPr bwMode="auto">
            <a:xfrm>
              <a:off x="8232775" y="4611688"/>
              <a:ext cx="7938" cy="11112"/>
            </a:xfrm>
            <a:custGeom>
              <a:avLst/>
              <a:gdLst>
                <a:gd name="T0" fmla="*/ 2147483647 w 5"/>
                <a:gd name="T1" fmla="*/ 2147483647 h 6"/>
                <a:gd name="T2" fmla="*/ 2147483647 w 5"/>
                <a:gd name="T3" fmla="*/ 0 h 6"/>
                <a:gd name="T4" fmla="*/ 2147483647 w 5"/>
                <a:gd name="T5" fmla="*/ 0 h 6"/>
                <a:gd name="T6" fmla="*/ 0 w 5"/>
                <a:gd name="T7" fmla="*/ 2147483647 h 6"/>
                <a:gd name="T8" fmla="*/ 2147483647 w 5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6"/>
                <a:gd name="T17" fmla="*/ 5 w 5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6">
                  <a:moveTo>
                    <a:pt x="2" y="6"/>
                  </a:moveTo>
                  <a:lnTo>
                    <a:pt x="5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2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95" name="Freeform 195"/>
            <p:cNvSpPr>
              <a:spLocks/>
            </p:cNvSpPr>
            <p:nvPr/>
          </p:nvSpPr>
          <p:spPr bwMode="auto">
            <a:xfrm>
              <a:off x="5189538" y="2998788"/>
              <a:ext cx="92075" cy="117475"/>
            </a:xfrm>
            <a:custGeom>
              <a:avLst/>
              <a:gdLst>
                <a:gd name="T0" fmla="*/ 2147483647 w 58"/>
                <a:gd name="T1" fmla="*/ 2147483647 h 74"/>
                <a:gd name="T2" fmla="*/ 2147483647 w 58"/>
                <a:gd name="T3" fmla="*/ 2147483647 h 74"/>
                <a:gd name="T4" fmla="*/ 2147483647 w 58"/>
                <a:gd name="T5" fmla="*/ 2147483647 h 74"/>
                <a:gd name="T6" fmla="*/ 2147483647 w 58"/>
                <a:gd name="T7" fmla="*/ 2147483647 h 74"/>
                <a:gd name="T8" fmla="*/ 2147483647 w 58"/>
                <a:gd name="T9" fmla="*/ 2147483647 h 74"/>
                <a:gd name="T10" fmla="*/ 2147483647 w 58"/>
                <a:gd name="T11" fmla="*/ 0 h 74"/>
                <a:gd name="T12" fmla="*/ 2147483647 w 58"/>
                <a:gd name="T13" fmla="*/ 2147483647 h 74"/>
                <a:gd name="T14" fmla="*/ 2147483647 w 58"/>
                <a:gd name="T15" fmla="*/ 2147483647 h 74"/>
                <a:gd name="T16" fmla="*/ 2147483647 w 58"/>
                <a:gd name="T17" fmla="*/ 2147483647 h 74"/>
                <a:gd name="T18" fmla="*/ 2147483647 w 58"/>
                <a:gd name="T19" fmla="*/ 2147483647 h 74"/>
                <a:gd name="T20" fmla="*/ 2147483647 w 58"/>
                <a:gd name="T21" fmla="*/ 2147483647 h 74"/>
                <a:gd name="T22" fmla="*/ 2147483647 w 58"/>
                <a:gd name="T23" fmla="*/ 2147483647 h 74"/>
                <a:gd name="T24" fmla="*/ 2147483647 w 58"/>
                <a:gd name="T25" fmla="*/ 2147483647 h 74"/>
                <a:gd name="T26" fmla="*/ 2147483647 w 58"/>
                <a:gd name="T27" fmla="*/ 2147483647 h 74"/>
                <a:gd name="T28" fmla="*/ 2147483647 w 58"/>
                <a:gd name="T29" fmla="*/ 2147483647 h 74"/>
                <a:gd name="T30" fmla="*/ 2147483647 w 58"/>
                <a:gd name="T31" fmla="*/ 2147483647 h 74"/>
                <a:gd name="T32" fmla="*/ 0 w 58"/>
                <a:gd name="T33" fmla="*/ 2147483647 h 74"/>
                <a:gd name="T34" fmla="*/ 0 w 58"/>
                <a:gd name="T35" fmla="*/ 2147483647 h 74"/>
                <a:gd name="T36" fmla="*/ 2147483647 w 58"/>
                <a:gd name="T37" fmla="*/ 2147483647 h 74"/>
                <a:gd name="T38" fmla="*/ 2147483647 w 58"/>
                <a:gd name="T39" fmla="*/ 2147483647 h 74"/>
                <a:gd name="T40" fmla="*/ 2147483647 w 58"/>
                <a:gd name="T41" fmla="*/ 2147483647 h 74"/>
                <a:gd name="T42" fmla="*/ 2147483647 w 58"/>
                <a:gd name="T43" fmla="*/ 2147483647 h 74"/>
                <a:gd name="T44" fmla="*/ 2147483647 w 58"/>
                <a:gd name="T45" fmla="*/ 2147483647 h 74"/>
                <a:gd name="T46" fmla="*/ 2147483647 w 58"/>
                <a:gd name="T47" fmla="*/ 2147483647 h 74"/>
                <a:gd name="T48" fmla="*/ 2147483647 w 58"/>
                <a:gd name="T49" fmla="*/ 2147483647 h 74"/>
                <a:gd name="T50" fmla="*/ 2147483647 w 58"/>
                <a:gd name="T51" fmla="*/ 2147483647 h 74"/>
                <a:gd name="T52" fmla="*/ 2147483647 w 58"/>
                <a:gd name="T53" fmla="*/ 2147483647 h 74"/>
                <a:gd name="T54" fmla="*/ 2147483647 w 58"/>
                <a:gd name="T55" fmla="*/ 2147483647 h 74"/>
                <a:gd name="T56" fmla="*/ 2147483647 w 58"/>
                <a:gd name="T57" fmla="*/ 2147483647 h 74"/>
                <a:gd name="T58" fmla="*/ 2147483647 w 58"/>
                <a:gd name="T59" fmla="*/ 2147483647 h 7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58"/>
                <a:gd name="T91" fmla="*/ 0 h 74"/>
                <a:gd name="T92" fmla="*/ 58 w 58"/>
                <a:gd name="T93" fmla="*/ 74 h 74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58" h="74">
                  <a:moveTo>
                    <a:pt x="46" y="25"/>
                  </a:moveTo>
                  <a:lnTo>
                    <a:pt x="58" y="20"/>
                  </a:lnTo>
                  <a:lnTo>
                    <a:pt x="58" y="17"/>
                  </a:lnTo>
                  <a:lnTo>
                    <a:pt x="58" y="11"/>
                  </a:lnTo>
                  <a:lnTo>
                    <a:pt x="58" y="5"/>
                  </a:lnTo>
                  <a:lnTo>
                    <a:pt x="55" y="0"/>
                  </a:lnTo>
                  <a:lnTo>
                    <a:pt x="52" y="3"/>
                  </a:lnTo>
                  <a:lnTo>
                    <a:pt x="40" y="8"/>
                  </a:lnTo>
                  <a:lnTo>
                    <a:pt x="26" y="14"/>
                  </a:lnTo>
                  <a:lnTo>
                    <a:pt x="17" y="17"/>
                  </a:lnTo>
                  <a:lnTo>
                    <a:pt x="6" y="8"/>
                  </a:lnTo>
                  <a:lnTo>
                    <a:pt x="6" y="14"/>
                  </a:lnTo>
                  <a:lnTo>
                    <a:pt x="6" y="25"/>
                  </a:lnTo>
                  <a:lnTo>
                    <a:pt x="9" y="37"/>
                  </a:lnTo>
                  <a:lnTo>
                    <a:pt x="3" y="46"/>
                  </a:lnTo>
                  <a:lnTo>
                    <a:pt x="0" y="57"/>
                  </a:lnTo>
                  <a:lnTo>
                    <a:pt x="0" y="71"/>
                  </a:lnTo>
                  <a:lnTo>
                    <a:pt x="9" y="71"/>
                  </a:lnTo>
                  <a:lnTo>
                    <a:pt x="17" y="74"/>
                  </a:lnTo>
                  <a:lnTo>
                    <a:pt x="23" y="66"/>
                  </a:lnTo>
                  <a:lnTo>
                    <a:pt x="29" y="60"/>
                  </a:lnTo>
                  <a:lnTo>
                    <a:pt x="35" y="60"/>
                  </a:lnTo>
                  <a:lnTo>
                    <a:pt x="37" y="57"/>
                  </a:lnTo>
                  <a:lnTo>
                    <a:pt x="37" y="48"/>
                  </a:lnTo>
                  <a:lnTo>
                    <a:pt x="37" y="46"/>
                  </a:lnTo>
                  <a:lnTo>
                    <a:pt x="35" y="37"/>
                  </a:lnTo>
                  <a:lnTo>
                    <a:pt x="35" y="28"/>
                  </a:lnTo>
                  <a:lnTo>
                    <a:pt x="46" y="2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96" name="Freeform 196"/>
            <p:cNvSpPr>
              <a:spLocks/>
            </p:cNvSpPr>
            <p:nvPr/>
          </p:nvSpPr>
          <p:spPr bwMode="auto">
            <a:xfrm>
              <a:off x="5184775" y="3016250"/>
              <a:ext cx="9525" cy="77788"/>
            </a:xfrm>
            <a:custGeom>
              <a:avLst/>
              <a:gdLst>
                <a:gd name="T0" fmla="*/ 0 w 6"/>
                <a:gd name="T1" fmla="*/ 2147483647 h 49"/>
                <a:gd name="T2" fmla="*/ 0 w 6"/>
                <a:gd name="T3" fmla="*/ 2147483647 h 49"/>
                <a:gd name="T4" fmla="*/ 0 w 6"/>
                <a:gd name="T5" fmla="*/ 2147483647 h 49"/>
                <a:gd name="T6" fmla="*/ 2147483647 w 6"/>
                <a:gd name="T7" fmla="*/ 2147483647 h 49"/>
                <a:gd name="T8" fmla="*/ 2147483647 w 6"/>
                <a:gd name="T9" fmla="*/ 2147483647 h 49"/>
                <a:gd name="T10" fmla="*/ 2147483647 w 6"/>
                <a:gd name="T11" fmla="*/ 2147483647 h 49"/>
                <a:gd name="T12" fmla="*/ 2147483647 w 6"/>
                <a:gd name="T13" fmla="*/ 2147483647 h 49"/>
                <a:gd name="T14" fmla="*/ 2147483647 w 6"/>
                <a:gd name="T15" fmla="*/ 0 h 49"/>
                <a:gd name="T16" fmla="*/ 0 w 6"/>
                <a:gd name="T17" fmla="*/ 2147483647 h 49"/>
                <a:gd name="T18" fmla="*/ 0 w 6"/>
                <a:gd name="T19" fmla="*/ 2147483647 h 49"/>
                <a:gd name="T20" fmla="*/ 2147483647 w 6"/>
                <a:gd name="T21" fmla="*/ 2147483647 h 49"/>
                <a:gd name="T22" fmla="*/ 2147483647 w 6"/>
                <a:gd name="T23" fmla="*/ 2147483647 h 49"/>
                <a:gd name="T24" fmla="*/ 0 w 6"/>
                <a:gd name="T25" fmla="*/ 2147483647 h 49"/>
                <a:gd name="T26" fmla="*/ 2147483647 w 6"/>
                <a:gd name="T27" fmla="*/ 2147483647 h 49"/>
                <a:gd name="T28" fmla="*/ 2147483647 w 6"/>
                <a:gd name="T29" fmla="*/ 2147483647 h 49"/>
                <a:gd name="T30" fmla="*/ 2147483647 w 6"/>
                <a:gd name="T31" fmla="*/ 2147483647 h 49"/>
                <a:gd name="T32" fmla="*/ 0 w 6"/>
                <a:gd name="T33" fmla="*/ 2147483647 h 49"/>
                <a:gd name="T34" fmla="*/ 0 w 6"/>
                <a:gd name="T35" fmla="*/ 2147483647 h 49"/>
                <a:gd name="T36" fmla="*/ 0 w 6"/>
                <a:gd name="T37" fmla="*/ 2147483647 h 49"/>
                <a:gd name="T38" fmla="*/ 0 w 6"/>
                <a:gd name="T39" fmla="*/ 2147483647 h 4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6"/>
                <a:gd name="T61" fmla="*/ 0 h 49"/>
                <a:gd name="T62" fmla="*/ 6 w 6"/>
                <a:gd name="T63" fmla="*/ 49 h 4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6" h="49">
                  <a:moveTo>
                    <a:pt x="0" y="46"/>
                  </a:moveTo>
                  <a:lnTo>
                    <a:pt x="0" y="49"/>
                  </a:lnTo>
                  <a:lnTo>
                    <a:pt x="0" y="46"/>
                  </a:lnTo>
                  <a:lnTo>
                    <a:pt x="3" y="35"/>
                  </a:lnTo>
                  <a:lnTo>
                    <a:pt x="6" y="26"/>
                  </a:lnTo>
                  <a:lnTo>
                    <a:pt x="6" y="14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12"/>
                  </a:lnTo>
                  <a:lnTo>
                    <a:pt x="6" y="14"/>
                  </a:lnTo>
                  <a:lnTo>
                    <a:pt x="3" y="14"/>
                  </a:lnTo>
                  <a:lnTo>
                    <a:pt x="0" y="20"/>
                  </a:lnTo>
                  <a:lnTo>
                    <a:pt x="3" y="23"/>
                  </a:lnTo>
                  <a:lnTo>
                    <a:pt x="3" y="26"/>
                  </a:lnTo>
                  <a:lnTo>
                    <a:pt x="3" y="32"/>
                  </a:lnTo>
                  <a:lnTo>
                    <a:pt x="0" y="40"/>
                  </a:lnTo>
                  <a:lnTo>
                    <a:pt x="0" y="4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97" name="Freeform 197"/>
            <p:cNvSpPr>
              <a:spLocks/>
            </p:cNvSpPr>
            <p:nvPr/>
          </p:nvSpPr>
          <p:spPr bwMode="auto">
            <a:xfrm>
              <a:off x="5184775" y="2951163"/>
              <a:ext cx="28575" cy="47625"/>
            </a:xfrm>
            <a:custGeom>
              <a:avLst/>
              <a:gdLst>
                <a:gd name="T0" fmla="*/ 2147483647 w 18"/>
                <a:gd name="T1" fmla="*/ 2147483647 h 29"/>
                <a:gd name="T2" fmla="*/ 2147483647 w 18"/>
                <a:gd name="T3" fmla="*/ 2147483647 h 29"/>
                <a:gd name="T4" fmla="*/ 0 w 18"/>
                <a:gd name="T5" fmla="*/ 2147483647 h 29"/>
                <a:gd name="T6" fmla="*/ 0 w 18"/>
                <a:gd name="T7" fmla="*/ 2147483647 h 29"/>
                <a:gd name="T8" fmla="*/ 2147483647 w 18"/>
                <a:gd name="T9" fmla="*/ 2147483647 h 29"/>
                <a:gd name="T10" fmla="*/ 2147483647 w 18"/>
                <a:gd name="T11" fmla="*/ 2147483647 h 29"/>
                <a:gd name="T12" fmla="*/ 2147483647 w 18"/>
                <a:gd name="T13" fmla="*/ 2147483647 h 29"/>
                <a:gd name="T14" fmla="*/ 2147483647 w 18"/>
                <a:gd name="T15" fmla="*/ 2147483647 h 29"/>
                <a:gd name="T16" fmla="*/ 2147483647 w 18"/>
                <a:gd name="T17" fmla="*/ 2147483647 h 29"/>
                <a:gd name="T18" fmla="*/ 2147483647 w 18"/>
                <a:gd name="T19" fmla="*/ 2147483647 h 29"/>
                <a:gd name="T20" fmla="*/ 2147483647 w 18"/>
                <a:gd name="T21" fmla="*/ 0 h 29"/>
                <a:gd name="T22" fmla="*/ 2147483647 w 18"/>
                <a:gd name="T23" fmla="*/ 0 h 29"/>
                <a:gd name="T24" fmla="*/ 2147483647 w 18"/>
                <a:gd name="T25" fmla="*/ 0 h 29"/>
                <a:gd name="T26" fmla="*/ 2147483647 w 18"/>
                <a:gd name="T27" fmla="*/ 2147483647 h 29"/>
                <a:gd name="T28" fmla="*/ 2147483647 w 18"/>
                <a:gd name="T29" fmla="*/ 2147483647 h 29"/>
                <a:gd name="T30" fmla="*/ 2147483647 w 18"/>
                <a:gd name="T31" fmla="*/ 2147483647 h 29"/>
                <a:gd name="T32" fmla="*/ 2147483647 w 18"/>
                <a:gd name="T33" fmla="*/ 2147483647 h 29"/>
                <a:gd name="T34" fmla="*/ 2147483647 w 18"/>
                <a:gd name="T35" fmla="*/ 2147483647 h 2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8"/>
                <a:gd name="T55" fmla="*/ 0 h 29"/>
                <a:gd name="T56" fmla="*/ 18 w 18"/>
                <a:gd name="T57" fmla="*/ 29 h 2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8" h="29">
                  <a:moveTo>
                    <a:pt x="3" y="14"/>
                  </a:moveTo>
                  <a:lnTo>
                    <a:pt x="3" y="14"/>
                  </a:lnTo>
                  <a:lnTo>
                    <a:pt x="0" y="29"/>
                  </a:lnTo>
                  <a:lnTo>
                    <a:pt x="3" y="26"/>
                  </a:lnTo>
                  <a:lnTo>
                    <a:pt x="6" y="23"/>
                  </a:lnTo>
                  <a:lnTo>
                    <a:pt x="12" y="20"/>
                  </a:lnTo>
                  <a:lnTo>
                    <a:pt x="15" y="14"/>
                  </a:lnTo>
                  <a:lnTo>
                    <a:pt x="18" y="6"/>
                  </a:lnTo>
                  <a:lnTo>
                    <a:pt x="18" y="3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3"/>
                  </a:lnTo>
                  <a:lnTo>
                    <a:pt x="6" y="6"/>
                  </a:lnTo>
                  <a:lnTo>
                    <a:pt x="3" y="1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98" name="Freeform 198"/>
            <p:cNvSpPr>
              <a:spLocks/>
            </p:cNvSpPr>
            <p:nvPr/>
          </p:nvSpPr>
          <p:spPr bwMode="auto">
            <a:xfrm>
              <a:off x="4511675" y="2998788"/>
              <a:ext cx="415925" cy="417512"/>
            </a:xfrm>
            <a:custGeom>
              <a:avLst/>
              <a:gdLst>
                <a:gd name="T0" fmla="*/ 2147483647 w 259"/>
                <a:gd name="T1" fmla="*/ 2147483647 h 261"/>
                <a:gd name="T2" fmla="*/ 2147483647 w 259"/>
                <a:gd name="T3" fmla="*/ 2147483647 h 261"/>
                <a:gd name="T4" fmla="*/ 2147483647 w 259"/>
                <a:gd name="T5" fmla="*/ 2147483647 h 261"/>
                <a:gd name="T6" fmla="*/ 2147483647 w 259"/>
                <a:gd name="T7" fmla="*/ 2147483647 h 261"/>
                <a:gd name="T8" fmla="*/ 2147483647 w 259"/>
                <a:gd name="T9" fmla="*/ 2147483647 h 261"/>
                <a:gd name="T10" fmla="*/ 2147483647 w 259"/>
                <a:gd name="T11" fmla="*/ 2147483647 h 261"/>
                <a:gd name="T12" fmla="*/ 2147483647 w 259"/>
                <a:gd name="T13" fmla="*/ 2147483647 h 261"/>
                <a:gd name="T14" fmla="*/ 2147483647 w 259"/>
                <a:gd name="T15" fmla="*/ 2147483647 h 261"/>
                <a:gd name="T16" fmla="*/ 2147483647 w 259"/>
                <a:gd name="T17" fmla="*/ 2147483647 h 261"/>
                <a:gd name="T18" fmla="*/ 2147483647 w 259"/>
                <a:gd name="T19" fmla="*/ 2147483647 h 261"/>
                <a:gd name="T20" fmla="*/ 2147483647 w 259"/>
                <a:gd name="T21" fmla="*/ 0 h 261"/>
                <a:gd name="T22" fmla="*/ 2147483647 w 259"/>
                <a:gd name="T23" fmla="*/ 2147483647 h 261"/>
                <a:gd name="T24" fmla="*/ 2147483647 w 259"/>
                <a:gd name="T25" fmla="*/ 2147483647 h 261"/>
                <a:gd name="T26" fmla="*/ 2147483647 w 259"/>
                <a:gd name="T27" fmla="*/ 2147483647 h 261"/>
                <a:gd name="T28" fmla="*/ 2147483647 w 259"/>
                <a:gd name="T29" fmla="*/ 2147483647 h 261"/>
                <a:gd name="T30" fmla="*/ 2147483647 w 259"/>
                <a:gd name="T31" fmla="*/ 2147483647 h 261"/>
                <a:gd name="T32" fmla="*/ 2147483647 w 259"/>
                <a:gd name="T33" fmla="*/ 2147483647 h 261"/>
                <a:gd name="T34" fmla="*/ 2147483647 w 259"/>
                <a:gd name="T35" fmla="*/ 2147483647 h 261"/>
                <a:gd name="T36" fmla="*/ 2147483647 w 259"/>
                <a:gd name="T37" fmla="*/ 2147483647 h 261"/>
                <a:gd name="T38" fmla="*/ 2147483647 w 259"/>
                <a:gd name="T39" fmla="*/ 2147483647 h 261"/>
                <a:gd name="T40" fmla="*/ 2147483647 w 259"/>
                <a:gd name="T41" fmla="*/ 2147483647 h 261"/>
                <a:gd name="T42" fmla="*/ 2147483647 w 259"/>
                <a:gd name="T43" fmla="*/ 2147483647 h 261"/>
                <a:gd name="T44" fmla="*/ 2147483647 w 259"/>
                <a:gd name="T45" fmla="*/ 2147483647 h 261"/>
                <a:gd name="T46" fmla="*/ 2147483647 w 259"/>
                <a:gd name="T47" fmla="*/ 2147483647 h 261"/>
                <a:gd name="T48" fmla="*/ 2147483647 w 259"/>
                <a:gd name="T49" fmla="*/ 2147483647 h 261"/>
                <a:gd name="T50" fmla="*/ 2147483647 w 259"/>
                <a:gd name="T51" fmla="*/ 2147483647 h 261"/>
                <a:gd name="T52" fmla="*/ 2147483647 w 259"/>
                <a:gd name="T53" fmla="*/ 2147483647 h 261"/>
                <a:gd name="T54" fmla="*/ 2147483647 w 259"/>
                <a:gd name="T55" fmla="*/ 2147483647 h 261"/>
                <a:gd name="T56" fmla="*/ 2147483647 w 259"/>
                <a:gd name="T57" fmla="*/ 2147483647 h 261"/>
                <a:gd name="T58" fmla="*/ 2147483647 w 259"/>
                <a:gd name="T59" fmla="*/ 2147483647 h 261"/>
                <a:gd name="T60" fmla="*/ 2147483647 w 259"/>
                <a:gd name="T61" fmla="*/ 2147483647 h 261"/>
                <a:gd name="T62" fmla="*/ 2147483647 w 259"/>
                <a:gd name="T63" fmla="*/ 2147483647 h 261"/>
                <a:gd name="T64" fmla="*/ 2147483647 w 259"/>
                <a:gd name="T65" fmla="*/ 2147483647 h 261"/>
                <a:gd name="T66" fmla="*/ 2147483647 w 259"/>
                <a:gd name="T67" fmla="*/ 2147483647 h 261"/>
                <a:gd name="T68" fmla="*/ 2147483647 w 259"/>
                <a:gd name="T69" fmla="*/ 2147483647 h 261"/>
                <a:gd name="T70" fmla="*/ 2147483647 w 259"/>
                <a:gd name="T71" fmla="*/ 0 h 261"/>
                <a:gd name="T72" fmla="*/ 2147483647 w 259"/>
                <a:gd name="T73" fmla="*/ 2147483647 h 261"/>
                <a:gd name="T74" fmla="*/ 2147483647 w 259"/>
                <a:gd name="T75" fmla="*/ 2147483647 h 261"/>
                <a:gd name="T76" fmla="*/ 2147483647 w 259"/>
                <a:gd name="T77" fmla="*/ 2147483647 h 261"/>
                <a:gd name="T78" fmla="*/ 2147483647 w 259"/>
                <a:gd name="T79" fmla="*/ 2147483647 h 261"/>
                <a:gd name="T80" fmla="*/ 0 w 259"/>
                <a:gd name="T81" fmla="*/ 2147483647 h 261"/>
                <a:gd name="T82" fmla="*/ 2147483647 w 259"/>
                <a:gd name="T83" fmla="*/ 2147483647 h 261"/>
                <a:gd name="T84" fmla="*/ 2147483647 w 259"/>
                <a:gd name="T85" fmla="*/ 2147483647 h 261"/>
                <a:gd name="T86" fmla="*/ 0 w 259"/>
                <a:gd name="T87" fmla="*/ 2147483647 h 261"/>
                <a:gd name="T88" fmla="*/ 2147483647 w 259"/>
                <a:gd name="T89" fmla="*/ 2147483647 h 261"/>
                <a:gd name="T90" fmla="*/ 2147483647 w 259"/>
                <a:gd name="T91" fmla="*/ 2147483647 h 261"/>
                <a:gd name="T92" fmla="*/ 2147483647 w 259"/>
                <a:gd name="T93" fmla="*/ 2147483647 h 261"/>
                <a:gd name="T94" fmla="*/ 2147483647 w 259"/>
                <a:gd name="T95" fmla="*/ 2147483647 h 261"/>
                <a:gd name="T96" fmla="*/ 2147483647 w 259"/>
                <a:gd name="T97" fmla="*/ 2147483647 h 261"/>
                <a:gd name="T98" fmla="*/ 2147483647 w 259"/>
                <a:gd name="T99" fmla="*/ 2147483647 h 261"/>
                <a:gd name="T100" fmla="*/ 2147483647 w 259"/>
                <a:gd name="T101" fmla="*/ 2147483647 h 261"/>
                <a:gd name="T102" fmla="*/ 2147483647 w 259"/>
                <a:gd name="T103" fmla="*/ 2147483647 h 261"/>
                <a:gd name="T104" fmla="*/ 2147483647 w 259"/>
                <a:gd name="T105" fmla="*/ 2147483647 h 261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59"/>
                <a:gd name="T160" fmla="*/ 0 h 261"/>
                <a:gd name="T161" fmla="*/ 259 w 259"/>
                <a:gd name="T162" fmla="*/ 261 h 261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59" h="261">
                  <a:moveTo>
                    <a:pt x="256" y="221"/>
                  </a:moveTo>
                  <a:lnTo>
                    <a:pt x="256" y="221"/>
                  </a:lnTo>
                  <a:lnTo>
                    <a:pt x="253" y="80"/>
                  </a:lnTo>
                  <a:lnTo>
                    <a:pt x="250" y="57"/>
                  </a:lnTo>
                  <a:lnTo>
                    <a:pt x="253" y="46"/>
                  </a:lnTo>
                  <a:lnTo>
                    <a:pt x="250" y="31"/>
                  </a:lnTo>
                  <a:lnTo>
                    <a:pt x="256" y="20"/>
                  </a:lnTo>
                  <a:lnTo>
                    <a:pt x="253" y="20"/>
                  </a:lnTo>
                  <a:lnTo>
                    <a:pt x="241" y="20"/>
                  </a:lnTo>
                  <a:lnTo>
                    <a:pt x="233" y="17"/>
                  </a:lnTo>
                  <a:lnTo>
                    <a:pt x="227" y="17"/>
                  </a:lnTo>
                  <a:lnTo>
                    <a:pt x="221" y="14"/>
                  </a:lnTo>
                  <a:lnTo>
                    <a:pt x="221" y="8"/>
                  </a:lnTo>
                  <a:lnTo>
                    <a:pt x="213" y="5"/>
                  </a:lnTo>
                  <a:lnTo>
                    <a:pt x="204" y="0"/>
                  </a:lnTo>
                  <a:lnTo>
                    <a:pt x="198" y="3"/>
                  </a:lnTo>
                  <a:lnTo>
                    <a:pt x="193" y="5"/>
                  </a:lnTo>
                  <a:lnTo>
                    <a:pt x="190" y="5"/>
                  </a:lnTo>
                  <a:lnTo>
                    <a:pt x="181" y="8"/>
                  </a:lnTo>
                  <a:lnTo>
                    <a:pt x="178" y="14"/>
                  </a:lnTo>
                  <a:lnTo>
                    <a:pt x="170" y="20"/>
                  </a:lnTo>
                  <a:lnTo>
                    <a:pt x="170" y="23"/>
                  </a:lnTo>
                  <a:lnTo>
                    <a:pt x="172" y="31"/>
                  </a:lnTo>
                  <a:lnTo>
                    <a:pt x="172" y="37"/>
                  </a:lnTo>
                  <a:lnTo>
                    <a:pt x="172" y="46"/>
                  </a:lnTo>
                  <a:lnTo>
                    <a:pt x="170" y="48"/>
                  </a:lnTo>
                  <a:lnTo>
                    <a:pt x="167" y="51"/>
                  </a:lnTo>
                  <a:lnTo>
                    <a:pt x="161" y="54"/>
                  </a:lnTo>
                  <a:lnTo>
                    <a:pt x="152" y="51"/>
                  </a:lnTo>
                  <a:lnTo>
                    <a:pt x="147" y="48"/>
                  </a:lnTo>
                  <a:lnTo>
                    <a:pt x="138" y="43"/>
                  </a:lnTo>
                  <a:lnTo>
                    <a:pt x="129" y="40"/>
                  </a:lnTo>
                  <a:lnTo>
                    <a:pt x="121" y="37"/>
                  </a:lnTo>
                  <a:lnTo>
                    <a:pt x="112" y="37"/>
                  </a:lnTo>
                  <a:lnTo>
                    <a:pt x="106" y="34"/>
                  </a:lnTo>
                  <a:lnTo>
                    <a:pt x="98" y="25"/>
                  </a:lnTo>
                  <a:lnTo>
                    <a:pt x="95" y="20"/>
                  </a:lnTo>
                  <a:lnTo>
                    <a:pt x="95" y="17"/>
                  </a:lnTo>
                  <a:lnTo>
                    <a:pt x="92" y="14"/>
                  </a:lnTo>
                  <a:lnTo>
                    <a:pt x="86" y="11"/>
                  </a:lnTo>
                  <a:lnTo>
                    <a:pt x="81" y="11"/>
                  </a:lnTo>
                  <a:lnTo>
                    <a:pt x="78" y="8"/>
                  </a:lnTo>
                  <a:lnTo>
                    <a:pt x="78" y="5"/>
                  </a:lnTo>
                  <a:lnTo>
                    <a:pt x="72" y="5"/>
                  </a:lnTo>
                  <a:lnTo>
                    <a:pt x="66" y="3"/>
                  </a:lnTo>
                  <a:lnTo>
                    <a:pt x="60" y="3"/>
                  </a:lnTo>
                  <a:lnTo>
                    <a:pt x="52" y="5"/>
                  </a:lnTo>
                  <a:lnTo>
                    <a:pt x="43" y="3"/>
                  </a:lnTo>
                  <a:lnTo>
                    <a:pt x="35" y="0"/>
                  </a:lnTo>
                  <a:lnTo>
                    <a:pt x="32" y="11"/>
                  </a:lnTo>
                  <a:lnTo>
                    <a:pt x="23" y="23"/>
                  </a:lnTo>
                  <a:lnTo>
                    <a:pt x="15" y="28"/>
                  </a:lnTo>
                  <a:lnTo>
                    <a:pt x="12" y="28"/>
                  </a:lnTo>
                  <a:lnTo>
                    <a:pt x="15" y="37"/>
                  </a:lnTo>
                  <a:lnTo>
                    <a:pt x="12" y="48"/>
                  </a:lnTo>
                  <a:lnTo>
                    <a:pt x="3" y="57"/>
                  </a:lnTo>
                  <a:lnTo>
                    <a:pt x="0" y="57"/>
                  </a:lnTo>
                  <a:lnTo>
                    <a:pt x="6" y="69"/>
                  </a:lnTo>
                  <a:lnTo>
                    <a:pt x="6" y="83"/>
                  </a:lnTo>
                  <a:lnTo>
                    <a:pt x="9" y="103"/>
                  </a:lnTo>
                  <a:lnTo>
                    <a:pt x="3" y="112"/>
                  </a:lnTo>
                  <a:lnTo>
                    <a:pt x="9" y="129"/>
                  </a:lnTo>
                  <a:lnTo>
                    <a:pt x="0" y="135"/>
                  </a:lnTo>
                  <a:lnTo>
                    <a:pt x="9" y="155"/>
                  </a:lnTo>
                  <a:lnTo>
                    <a:pt x="15" y="163"/>
                  </a:lnTo>
                  <a:lnTo>
                    <a:pt x="17" y="166"/>
                  </a:lnTo>
                  <a:lnTo>
                    <a:pt x="23" y="166"/>
                  </a:lnTo>
                  <a:lnTo>
                    <a:pt x="32" y="172"/>
                  </a:lnTo>
                  <a:lnTo>
                    <a:pt x="43" y="183"/>
                  </a:lnTo>
                  <a:lnTo>
                    <a:pt x="66" y="195"/>
                  </a:lnTo>
                  <a:lnTo>
                    <a:pt x="81" y="203"/>
                  </a:lnTo>
                  <a:lnTo>
                    <a:pt x="89" y="198"/>
                  </a:lnTo>
                  <a:lnTo>
                    <a:pt x="89" y="195"/>
                  </a:lnTo>
                  <a:lnTo>
                    <a:pt x="92" y="195"/>
                  </a:lnTo>
                  <a:lnTo>
                    <a:pt x="109" y="186"/>
                  </a:lnTo>
                  <a:lnTo>
                    <a:pt x="241" y="261"/>
                  </a:lnTo>
                  <a:lnTo>
                    <a:pt x="241" y="252"/>
                  </a:lnTo>
                  <a:lnTo>
                    <a:pt x="259" y="252"/>
                  </a:lnTo>
                  <a:lnTo>
                    <a:pt x="256" y="22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99" name="Freeform 199"/>
            <p:cNvSpPr>
              <a:spLocks/>
            </p:cNvSpPr>
            <p:nvPr/>
          </p:nvSpPr>
          <p:spPr bwMode="auto">
            <a:xfrm>
              <a:off x="4475163" y="2744788"/>
              <a:ext cx="42862" cy="73025"/>
            </a:xfrm>
            <a:custGeom>
              <a:avLst/>
              <a:gdLst>
                <a:gd name="T0" fmla="*/ 2147483647 w 26"/>
                <a:gd name="T1" fmla="*/ 2147483647 h 46"/>
                <a:gd name="T2" fmla="*/ 2147483647 w 26"/>
                <a:gd name="T3" fmla="*/ 2147483647 h 46"/>
                <a:gd name="T4" fmla="*/ 2147483647 w 26"/>
                <a:gd name="T5" fmla="*/ 2147483647 h 46"/>
                <a:gd name="T6" fmla="*/ 2147483647 w 26"/>
                <a:gd name="T7" fmla="*/ 2147483647 h 46"/>
                <a:gd name="T8" fmla="*/ 2147483647 w 26"/>
                <a:gd name="T9" fmla="*/ 2147483647 h 46"/>
                <a:gd name="T10" fmla="*/ 2147483647 w 26"/>
                <a:gd name="T11" fmla="*/ 2147483647 h 46"/>
                <a:gd name="T12" fmla="*/ 2147483647 w 26"/>
                <a:gd name="T13" fmla="*/ 2147483647 h 46"/>
                <a:gd name="T14" fmla="*/ 2147483647 w 26"/>
                <a:gd name="T15" fmla="*/ 2147483647 h 46"/>
                <a:gd name="T16" fmla="*/ 2147483647 w 26"/>
                <a:gd name="T17" fmla="*/ 2147483647 h 46"/>
                <a:gd name="T18" fmla="*/ 2147483647 w 26"/>
                <a:gd name="T19" fmla="*/ 2147483647 h 46"/>
                <a:gd name="T20" fmla="*/ 2147483647 w 26"/>
                <a:gd name="T21" fmla="*/ 2147483647 h 46"/>
                <a:gd name="T22" fmla="*/ 2147483647 w 26"/>
                <a:gd name="T23" fmla="*/ 2147483647 h 46"/>
                <a:gd name="T24" fmla="*/ 2147483647 w 26"/>
                <a:gd name="T25" fmla="*/ 2147483647 h 46"/>
                <a:gd name="T26" fmla="*/ 2147483647 w 26"/>
                <a:gd name="T27" fmla="*/ 2147483647 h 46"/>
                <a:gd name="T28" fmla="*/ 2147483647 w 26"/>
                <a:gd name="T29" fmla="*/ 2147483647 h 46"/>
                <a:gd name="T30" fmla="*/ 2147483647 w 26"/>
                <a:gd name="T31" fmla="*/ 2147483647 h 46"/>
                <a:gd name="T32" fmla="*/ 2147483647 w 26"/>
                <a:gd name="T33" fmla="*/ 2147483647 h 46"/>
                <a:gd name="T34" fmla="*/ 2147483647 w 26"/>
                <a:gd name="T35" fmla="*/ 2147483647 h 46"/>
                <a:gd name="T36" fmla="*/ 2147483647 w 26"/>
                <a:gd name="T37" fmla="*/ 2147483647 h 46"/>
                <a:gd name="T38" fmla="*/ 2147483647 w 26"/>
                <a:gd name="T39" fmla="*/ 2147483647 h 46"/>
                <a:gd name="T40" fmla="*/ 2147483647 w 26"/>
                <a:gd name="T41" fmla="*/ 0 h 46"/>
                <a:gd name="T42" fmla="*/ 2147483647 w 26"/>
                <a:gd name="T43" fmla="*/ 0 h 46"/>
                <a:gd name="T44" fmla="*/ 2147483647 w 26"/>
                <a:gd name="T45" fmla="*/ 0 h 46"/>
                <a:gd name="T46" fmla="*/ 2147483647 w 26"/>
                <a:gd name="T47" fmla="*/ 0 h 46"/>
                <a:gd name="T48" fmla="*/ 2147483647 w 26"/>
                <a:gd name="T49" fmla="*/ 2147483647 h 46"/>
                <a:gd name="T50" fmla="*/ 2147483647 w 26"/>
                <a:gd name="T51" fmla="*/ 2147483647 h 46"/>
                <a:gd name="T52" fmla="*/ 2147483647 w 26"/>
                <a:gd name="T53" fmla="*/ 2147483647 h 46"/>
                <a:gd name="T54" fmla="*/ 2147483647 w 26"/>
                <a:gd name="T55" fmla="*/ 2147483647 h 46"/>
                <a:gd name="T56" fmla="*/ 0 w 26"/>
                <a:gd name="T57" fmla="*/ 2147483647 h 46"/>
                <a:gd name="T58" fmla="*/ 0 w 26"/>
                <a:gd name="T59" fmla="*/ 2147483647 h 46"/>
                <a:gd name="T60" fmla="*/ 0 w 26"/>
                <a:gd name="T61" fmla="*/ 2147483647 h 46"/>
                <a:gd name="T62" fmla="*/ 2147483647 w 26"/>
                <a:gd name="T63" fmla="*/ 2147483647 h 46"/>
                <a:gd name="T64" fmla="*/ 2147483647 w 26"/>
                <a:gd name="T65" fmla="*/ 2147483647 h 46"/>
                <a:gd name="T66" fmla="*/ 2147483647 w 26"/>
                <a:gd name="T67" fmla="*/ 2147483647 h 46"/>
                <a:gd name="T68" fmla="*/ 2147483647 w 26"/>
                <a:gd name="T69" fmla="*/ 2147483647 h 46"/>
                <a:gd name="T70" fmla="*/ 2147483647 w 26"/>
                <a:gd name="T71" fmla="*/ 2147483647 h 46"/>
                <a:gd name="T72" fmla="*/ 2147483647 w 26"/>
                <a:gd name="T73" fmla="*/ 2147483647 h 46"/>
                <a:gd name="T74" fmla="*/ 2147483647 w 26"/>
                <a:gd name="T75" fmla="*/ 2147483647 h 4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6"/>
                <a:gd name="T115" fmla="*/ 0 h 46"/>
                <a:gd name="T116" fmla="*/ 26 w 26"/>
                <a:gd name="T117" fmla="*/ 46 h 4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6" h="46">
                  <a:moveTo>
                    <a:pt x="3" y="40"/>
                  </a:moveTo>
                  <a:lnTo>
                    <a:pt x="3" y="40"/>
                  </a:lnTo>
                  <a:lnTo>
                    <a:pt x="9" y="46"/>
                  </a:lnTo>
                  <a:lnTo>
                    <a:pt x="12" y="46"/>
                  </a:lnTo>
                  <a:lnTo>
                    <a:pt x="12" y="40"/>
                  </a:lnTo>
                  <a:lnTo>
                    <a:pt x="15" y="37"/>
                  </a:lnTo>
                  <a:lnTo>
                    <a:pt x="20" y="40"/>
                  </a:lnTo>
                  <a:lnTo>
                    <a:pt x="23" y="37"/>
                  </a:lnTo>
                  <a:lnTo>
                    <a:pt x="23" y="31"/>
                  </a:lnTo>
                  <a:lnTo>
                    <a:pt x="23" y="17"/>
                  </a:lnTo>
                  <a:lnTo>
                    <a:pt x="26" y="8"/>
                  </a:lnTo>
                  <a:lnTo>
                    <a:pt x="23" y="5"/>
                  </a:lnTo>
                  <a:lnTo>
                    <a:pt x="20" y="0"/>
                  </a:lnTo>
                  <a:lnTo>
                    <a:pt x="17" y="0"/>
                  </a:lnTo>
                  <a:lnTo>
                    <a:pt x="9" y="5"/>
                  </a:lnTo>
                  <a:lnTo>
                    <a:pt x="3" y="5"/>
                  </a:lnTo>
                  <a:lnTo>
                    <a:pt x="0" y="8"/>
                  </a:lnTo>
                  <a:lnTo>
                    <a:pt x="0" y="11"/>
                  </a:lnTo>
                  <a:lnTo>
                    <a:pt x="3" y="17"/>
                  </a:lnTo>
                  <a:lnTo>
                    <a:pt x="6" y="20"/>
                  </a:lnTo>
                  <a:lnTo>
                    <a:pt x="6" y="23"/>
                  </a:lnTo>
                  <a:lnTo>
                    <a:pt x="3" y="34"/>
                  </a:lnTo>
                  <a:lnTo>
                    <a:pt x="3" y="4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00" name="Freeform 200"/>
            <p:cNvSpPr>
              <a:spLocks/>
            </p:cNvSpPr>
            <p:nvPr/>
          </p:nvSpPr>
          <p:spPr bwMode="auto">
            <a:xfrm>
              <a:off x="5162550" y="2998788"/>
              <a:ext cx="31750" cy="85725"/>
            </a:xfrm>
            <a:custGeom>
              <a:avLst/>
              <a:gdLst>
                <a:gd name="T0" fmla="*/ 2147483647 w 20"/>
                <a:gd name="T1" fmla="*/ 2147483647 h 54"/>
                <a:gd name="T2" fmla="*/ 2147483647 w 20"/>
                <a:gd name="T3" fmla="*/ 2147483647 h 54"/>
                <a:gd name="T4" fmla="*/ 0 w 20"/>
                <a:gd name="T5" fmla="*/ 2147483647 h 54"/>
                <a:gd name="T6" fmla="*/ 2147483647 w 20"/>
                <a:gd name="T7" fmla="*/ 2147483647 h 54"/>
                <a:gd name="T8" fmla="*/ 2147483647 w 20"/>
                <a:gd name="T9" fmla="*/ 2147483647 h 54"/>
                <a:gd name="T10" fmla="*/ 2147483647 w 20"/>
                <a:gd name="T11" fmla="*/ 2147483647 h 54"/>
                <a:gd name="T12" fmla="*/ 2147483647 w 20"/>
                <a:gd name="T13" fmla="*/ 2147483647 h 54"/>
                <a:gd name="T14" fmla="*/ 2147483647 w 20"/>
                <a:gd name="T15" fmla="*/ 2147483647 h 54"/>
                <a:gd name="T16" fmla="*/ 2147483647 w 20"/>
                <a:gd name="T17" fmla="*/ 2147483647 h 54"/>
                <a:gd name="T18" fmla="*/ 2147483647 w 20"/>
                <a:gd name="T19" fmla="*/ 2147483647 h 54"/>
                <a:gd name="T20" fmla="*/ 2147483647 w 20"/>
                <a:gd name="T21" fmla="*/ 2147483647 h 54"/>
                <a:gd name="T22" fmla="*/ 2147483647 w 20"/>
                <a:gd name="T23" fmla="*/ 2147483647 h 54"/>
                <a:gd name="T24" fmla="*/ 2147483647 w 20"/>
                <a:gd name="T25" fmla="*/ 2147483647 h 54"/>
                <a:gd name="T26" fmla="*/ 2147483647 w 20"/>
                <a:gd name="T27" fmla="*/ 2147483647 h 54"/>
                <a:gd name="T28" fmla="*/ 2147483647 w 20"/>
                <a:gd name="T29" fmla="*/ 2147483647 h 54"/>
                <a:gd name="T30" fmla="*/ 2147483647 w 20"/>
                <a:gd name="T31" fmla="*/ 2147483647 h 54"/>
                <a:gd name="T32" fmla="*/ 2147483647 w 20"/>
                <a:gd name="T33" fmla="*/ 2147483647 h 54"/>
                <a:gd name="T34" fmla="*/ 2147483647 w 20"/>
                <a:gd name="T35" fmla="*/ 2147483647 h 54"/>
                <a:gd name="T36" fmla="*/ 2147483647 w 20"/>
                <a:gd name="T37" fmla="*/ 2147483647 h 54"/>
                <a:gd name="T38" fmla="*/ 2147483647 w 20"/>
                <a:gd name="T39" fmla="*/ 0 h 54"/>
                <a:gd name="T40" fmla="*/ 2147483647 w 20"/>
                <a:gd name="T41" fmla="*/ 0 h 54"/>
                <a:gd name="T42" fmla="*/ 2147483647 w 20"/>
                <a:gd name="T43" fmla="*/ 2147483647 h 54"/>
                <a:gd name="T44" fmla="*/ 2147483647 w 20"/>
                <a:gd name="T45" fmla="*/ 2147483647 h 54"/>
                <a:gd name="T46" fmla="*/ 2147483647 w 20"/>
                <a:gd name="T47" fmla="*/ 2147483647 h 54"/>
                <a:gd name="T48" fmla="*/ 2147483647 w 20"/>
                <a:gd name="T49" fmla="*/ 2147483647 h 54"/>
                <a:gd name="T50" fmla="*/ 2147483647 w 20"/>
                <a:gd name="T51" fmla="*/ 2147483647 h 54"/>
                <a:gd name="T52" fmla="*/ 2147483647 w 20"/>
                <a:gd name="T53" fmla="*/ 2147483647 h 5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0"/>
                <a:gd name="T82" fmla="*/ 0 h 54"/>
                <a:gd name="T83" fmla="*/ 20 w 20"/>
                <a:gd name="T84" fmla="*/ 54 h 5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0" h="54">
                  <a:moveTo>
                    <a:pt x="6" y="28"/>
                  </a:moveTo>
                  <a:lnTo>
                    <a:pt x="6" y="28"/>
                  </a:lnTo>
                  <a:lnTo>
                    <a:pt x="0" y="34"/>
                  </a:lnTo>
                  <a:lnTo>
                    <a:pt x="3" y="37"/>
                  </a:lnTo>
                  <a:lnTo>
                    <a:pt x="6" y="43"/>
                  </a:lnTo>
                  <a:lnTo>
                    <a:pt x="9" y="51"/>
                  </a:lnTo>
                  <a:lnTo>
                    <a:pt x="11" y="54"/>
                  </a:lnTo>
                  <a:lnTo>
                    <a:pt x="14" y="43"/>
                  </a:lnTo>
                  <a:lnTo>
                    <a:pt x="11" y="37"/>
                  </a:lnTo>
                  <a:lnTo>
                    <a:pt x="11" y="28"/>
                  </a:lnTo>
                  <a:lnTo>
                    <a:pt x="14" y="25"/>
                  </a:lnTo>
                  <a:lnTo>
                    <a:pt x="11" y="23"/>
                  </a:lnTo>
                  <a:lnTo>
                    <a:pt x="11" y="11"/>
                  </a:lnTo>
                  <a:lnTo>
                    <a:pt x="17" y="8"/>
                  </a:lnTo>
                  <a:lnTo>
                    <a:pt x="20" y="11"/>
                  </a:lnTo>
                  <a:lnTo>
                    <a:pt x="20" y="5"/>
                  </a:lnTo>
                  <a:lnTo>
                    <a:pt x="20" y="0"/>
                  </a:lnTo>
                  <a:lnTo>
                    <a:pt x="17" y="3"/>
                  </a:lnTo>
                  <a:lnTo>
                    <a:pt x="14" y="3"/>
                  </a:lnTo>
                  <a:lnTo>
                    <a:pt x="9" y="20"/>
                  </a:lnTo>
                  <a:lnTo>
                    <a:pt x="6" y="2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01" name="Freeform 201"/>
            <p:cNvSpPr>
              <a:spLocks/>
            </p:cNvSpPr>
            <p:nvPr/>
          </p:nvSpPr>
          <p:spPr bwMode="auto">
            <a:xfrm>
              <a:off x="4967288" y="2914650"/>
              <a:ext cx="4762" cy="4763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2147483647 h 3"/>
                <a:gd name="T4" fmla="*/ 2147483647 w 3"/>
                <a:gd name="T5" fmla="*/ 2147483647 h 3"/>
                <a:gd name="T6" fmla="*/ 0 w 3"/>
                <a:gd name="T7" fmla="*/ 0 h 3"/>
                <a:gd name="T8" fmla="*/ 0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02" name="Freeform 202"/>
            <p:cNvSpPr>
              <a:spLocks/>
            </p:cNvSpPr>
            <p:nvPr/>
          </p:nvSpPr>
          <p:spPr bwMode="auto">
            <a:xfrm>
              <a:off x="5194300" y="2868613"/>
              <a:ext cx="161925" cy="147637"/>
            </a:xfrm>
            <a:custGeom>
              <a:avLst/>
              <a:gdLst>
                <a:gd name="T0" fmla="*/ 2147483647 w 101"/>
                <a:gd name="T1" fmla="*/ 2147483647 h 92"/>
                <a:gd name="T2" fmla="*/ 2147483647 w 101"/>
                <a:gd name="T3" fmla="*/ 2147483647 h 92"/>
                <a:gd name="T4" fmla="*/ 2147483647 w 101"/>
                <a:gd name="T5" fmla="*/ 2147483647 h 92"/>
                <a:gd name="T6" fmla="*/ 0 w 101"/>
                <a:gd name="T7" fmla="*/ 2147483647 h 92"/>
                <a:gd name="T8" fmla="*/ 0 w 101"/>
                <a:gd name="T9" fmla="*/ 2147483647 h 92"/>
                <a:gd name="T10" fmla="*/ 2147483647 w 101"/>
                <a:gd name="T11" fmla="*/ 2147483647 h 92"/>
                <a:gd name="T12" fmla="*/ 2147483647 w 101"/>
                <a:gd name="T13" fmla="*/ 2147483647 h 92"/>
                <a:gd name="T14" fmla="*/ 2147483647 w 101"/>
                <a:gd name="T15" fmla="*/ 2147483647 h 92"/>
                <a:gd name="T16" fmla="*/ 2147483647 w 101"/>
                <a:gd name="T17" fmla="*/ 2147483647 h 92"/>
                <a:gd name="T18" fmla="*/ 2147483647 w 101"/>
                <a:gd name="T19" fmla="*/ 2147483647 h 92"/>
                <a:gd name="T20" fmla="*/ 2147483647 w 101"/>
                <a:gd name="T21" fmla="*/ 2147483647 h 92"/>
                <a:gd name="T22" fmla="*/ 2147483647 w 101"/>
                <a:gd name="T23" fmla="*/ 2147483647 h 92"/>
                <a:gd name="T24" fmla="*/ 2147483647 w 101"/>
                <a:gd name="T25" fmla="*/ 2147483647 h 92"/>
                <a:gd name="T26" fmla="*/ 2147483647 w 101"/>
                <a:gd name="T27" fmla="*/ 2147483647 h 92"/>
                <a:gd name="T28" fmla="*/ 2147483647 w 101"/>
                <a:gd name="T29" fmla="*/ 2147483647 h 92"/>
                <a:gd name="T30" fmla="*/ 2147483647 w 101"/>
                <a:gd name="T31" fmla="*/ 2147483647 h 92"/>
                <a:gd name="T32" fmla="*/ 2147483647 w 101"/>
                <a:gd name="T33" fmla="*/ 2147483647 h 92"/>
                <a:gd name="T34" fmla="*/ 2147483647 w 101"/>
                <a:gd name="T35" fmla="*/ 2147483647 h 92"/>
                <a:gd name="T36" fmla="*/ 2147483647 w 101"/>
                <a:gd name="T37" fmla="*/ 2147483647 h 92"/>
                <a:gd name="T38" fmla="*/ 2147483647 w 101"/>
                <a:gd name="T39" fmla="*/ 2147483647 h 92"/>
                <a:gd name="T40" fmla="*/ 2147483647 w 101"/>
                <a:gd name="T41" fmla="*/ 2147483647 h 92"/>
                <a:gd name="T42" fmla="*/ 2147483647 w 101"/>
                <a:gd name="T43" fmla="*/ 2147483647 h 92"/>
                <a:gd name="T44" fmla="*/ 2147483647 w 101"/>
                <a:gd name="T45" fmla="*/ 2147483647 h 92"/>
                <a:gd name="T46" fmla="*/ 2147483647 w 101"/>
                <a:gd name="T47" fmla="*/ 2147483647 h 92"/>
                <a:gd name="T48" fmla="*/ 2147483647 w 101"/>
                <a:gd name="T49" fmla="*/ 2147483647 h 92"/>
                <a:gd name="T50" fmla="*/ 2147483647 w 101"/>
                <a:gd name="T51" fmla="*/ 2147483647 h 92"/>
                <a:gd name="T52" fmla="*/ 2147483647 w 101"/>
                <a:gd name="T53" fmla="*/ 2147483647 h 92"/>
                <a:gd name="T54" fmla="*/ 2147483647 w 101"/>
                <a:gd name="T55" fmla="*/ 2147483647 h 92"/>
                <a:gd name="T56" fmla="*/ 2147483647 w 101"/>
                <a:gd name="T57" fmla="*/ 2147483647 h 92"/>
                <a:gd name="T58" fmla="*/ 2147483647 w 101"/>
                <a:gd name="T59" fmla="*/ 2147483647 h 92"/>
                <a:gd name="T60" fmla="*/ 2147483647 w 101"/>
                <a:gd name="T61" fmla="*/ 2147483647 h 92"/>
                <a:gd name="T62" fmla="*/ 2147483647 w 101"/>
                <a:gd name="T63" fmla="*/ 2147483647 h 92"/>
                <a:gd name="T64" fmla="*/ 2147483647 w 101"/>
                <a:gd name="T65" fmla="*/ 2147483647 h 92"/>
                <a:gd name="T66" fmla="*/ 2147483647 w 101"/>
                <a:gd name="T67" fmla="*/ 2147483647 h 92"/>
                <a:gd name="T68" fmla="*/ 2147483647 w 101"/>
                <a:gd name="T69" fmla="*/ 2147483647 h 92"/>
                <a:gd name="T70" fmla="*/ 2147483647 w 101"/>
                <a:gd name="T71" fmla="*/ 2147483647 h 92"/>
                <a:gd name="T72" fmla="*/ 2147483647 w 101"/>
                <a:gd name="T73" fmla="*/ 2147483647 h 92"/>
                <a:gd name="T74" fmla="*/ 2147483647 w 101"/>
                <a:gd name="T75" fmla="*/ 2147483647 h 92"/>
                <a:gd name="T76" fmla="*/ 2147483647 w 101"/>
                <a:gd name="T77" fmla="*/ 2147483647 h 92"/>
                <a:gd name="T78" fmla="*/ 2147483647 w 101"/>
                <a:gd name="T79" fmla="*/ 2147483647 h 92"/>
                <a:gd name="T80" fmla="*/ 2147483647 w 101"/>
                <a:gd name="T81" fmla="*/ 0 h 92"/>
                <a:gd name="T82" fmla="*/ 2147483647 w 101"/>
                <a:gd name="T83" fmla="*/ 2147483647 h 92"/>
                <a:gd name="T84" fmla="*/ 2147483647 w 101"/>
                <a:gd name="T85" fmla="*/ 2147483647 h 92"/>
                <a:gd name="T86" fmla="*/ 2147483647 w 101"/>
                <a:gd name="T87" fmla="*/ 2147483647 h 92"/>
                <a:gd name="T88" fmla="*/ 2147483647 w 101"/>
                <a:gd name="T89" fmla="*/ 2147483647 h 92"/>
                <a:gd name="T90" fmla="*/ 2147483647 w 101"/>
                <a:gd name="T91" fmla="*/ 2147483647 h 92"/>
                <a:gd name="T92" fmla="*/ 2147483647 w 101"/>
                <a:gd name="T93" fmla="*/ 2147483647 h 92"/>
                <a:gd name="T94" fmla="*/ 2147483647 w 101"/>
                <a:gd name="T95" fmla="*/ 2147483647 h 92"/>
                <a:gd name="T96" fmla="*/ 2147483647 w 101"/>
                <a:gd name="T97" fmla="*/ 2147483647 h 92"/>
                <a:gd name="T98" fmla="*/ 2147483647 w 101"/>
                <a:gd name="T99" fmla="*/ 2147483647 h 92"/>
                <a:gd name="T100" fmla="*/ 2147483647 w 101"/>
                <a:gd name="T101" fmla="*/ 2147483647 h 92"/>
                <a:gd name="T102" fmla="*/ 2147483647 w 101"/>
                <a:gd name="T103" fmla="*/ 2147483647 h 92"/>
                <a:gd name="T104" fmla="*/ 2147483647 w 101"/>
                <a:gd name="T105" fmla="*/ 2147483647 h 92"/>
                <a:gd name="T106" fmla="*/ 2147483647 w 101"/>
                <a:gd name="T107" fmla="*/ 2147483647 h 92"/>
                <a:gd name="T108" fmla="*/ 2147483647 w 101"/>
                <a:gd name="T109" fmla="*/ 2147483647 h 92"/>
                <a:gd name="T110" fmla="*/ 2147483647 w 101"/>
                <a:gd name="T111" fmla="*/ 2147483647 h 92"/>
                <a:gd name="T112" fmla="*/ 2147483647 w 101"/>
                <a:gd name="T113" fmla="*/ 2147483647 h 92"/>
                <a:gd name="T114" fmla="*/ 2147483647 w 101"/>
                <a:gd name="T115" fmla="*/ 2147483647 h 92"/>
                <a:gd name="T116" fmla="*/ 2147483647 w 101"/>
                <a:gd name="T117" fmla="*/ 2147483647 h 92"/>
                <a:gd name="T118" fmla="*/ 2147483647 w 101"/>
                <a:gd name="T119" fmla="*/ 2147483647 h 92"/>
                <a:gd name="T120" fmla="*/ 2147483647 w 101"/>
                <a:gd name="T121" fmla="*/ 2147483647 h 92"/>
                <a:gd name="T122" fmla="*/ 2147483647 w 101"/>
                <a:gd name="T123" fmla="*/ 2147483647 h 92"/>
                <a:gd name="T124" fmla="*/ 2147483647 w 101"/>
                <a:gd name="T125" fmla="*/ 2147483647 h 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01"/>
                <a:gd name="T190" fmla="*/ 0 h 92"/>
                <a:gd name="T191" fmla="*/ 101 w 101"/>
                <a:gd name="T192" fmla="*/ 92 h 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01" h="92">
                  <a:moveTo>
                    <a:pt x="9" y="20"/>
                  </a:moveTo>
                  <a:lnTo>
                    <a:pt x="9" y="23"/>
                  </a:lnTo>
                  <a:lnTo>
                    <a:pt x="3" y="29"/>
                  </a:lnTo>
                  <a:lnTo>
                    <a:pt x="0" y="29"/>
                  </a:lnTo>
                  <a:lnTo>
                    <a:pt x="3" y="35"/>
                  </a:lnTo>
                  <a:lnTo>
                    <a:pt x="3" y="40"/>
                  </a:lnTo>
                  <a:lnTo>
                    <a:pt x="6" y="49"/>
                  </a:lnTo>
                  <a:lnTo>
                    <a:pt x="9" y="49"/>
                  </a:lnTo>
                  <a:lnTo>
                    <a:pt x="14" y="52"/>
                  </a:lnTo>
                  <a:lnTo>
                    <a:pt x="14" y="55"/>
                  </a:lnTo>
                  <a:lnTo>
                    <a:pt x="14" y="61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3" y="78"/>
                  </a:lnTo>
                  <a:lnTo>
                    <a:pt x="3" y="86"/>
                  </a:lnTo>
                  <a:lnTo>
                    <a:pt x="12" y="89"/>
                  </a:lnTo>
                  <a:lnTo>
                    <a:pt x="17" y="92"/>
                  </a:lnTo>
                  <a:lnTo>
                    <a:pt x="23" y="92"/>
                  </a:lnTo>
                  <a:lnTo>
                    <a:pt x="34" y="86"/>
                  </a:lnTo>
                  <a:lnTo>
                    <a:pt x="46" y="81"/>
                  </a:lnTo>
                  <a:lnTo>
                    <a:pt x="55" y="75"/>
                  </a:lnTo>
                  <a:lnTo>
                    <a:pt x="66" y="63"/>
                  </a:lnTo>
                  <a:lnTo>
                    <a:pt x="78" y="58"/>
                  </a:lnTo>
                  <a:lnTo>
                    <a:pt x="83" y="55"/>
                  </a:lnTo>
                  <a:lnTo>
                    <a:pt x="86" y="49"/>
                  </a:lnTo>
                  <a:lnTo>
                    <a:pt x="86" y="40"/>
                  </a:lnTo>
                  <a:lnTo>
                    <a:pt x="86" y="35"/>
                  </a:lnTo>
                  <a:lnTo>
                    <a:pt x="86" y="32"/>
                  </a:lnTo>
                  <a:lnTo>
                    <a:pt x="89" y="29"/>
                  </a:lnTo>
                  <a:lnTo>
                    <a:pt x="83" y="20"/>
                  </a:lnTo>
                  <a:lnTo>
                    <a:pt x="86" y="12"/>
                  </a:lnTo>
                  <a:lnTo>
                    <a:pt x="89" y="12"/>
                  </a:lnTo>
                  <a:lnTo>
                    <a:pt x="95" y="9"/>
                  </a:lnTo>
                  <a:lnTo>
                    <a:pt x="101" y="3"/>
                  </a:lnTo>
                  <a:lnTo>
                    <a:pt x="101" y="0"/>
                  </a:lnTo>
                  <a:lnTo>
                    <a:pt x="95" y="3"/>
                  </a:lnTo>
                  <a:lnTo>
                    <a:pt x="80" y="6"/>
                  </a:lnTo>
                  <a:lnTo>
                    <a:pt x="66" y="9"/>
                  </a:lnTo>
                  <a:lnTo>
                    <a:pt x="49" y="15"/>
                  </a:lnTo>
                  <a:lnTo>
                    <a:pt x="43" y="12"/>
                  </a:lnTo>
                  <a:lnTo>
                    <a:pt x="40" y="6"/>
                  </a:lnTo>
                  <a:lnTo>
                    <a:pt x="37" y="9"/>
                  </a:lnTo>
                  <a:lnTo>
                    <a:pt x="34" y="9"/>
                  </a:lnTo>
                  <a:lnTo>
                    <a:pt x="34" y="12"/>
                  </a:lnTo>
                  <a:lnTo>
                    <a:pt x="17" y="12"/>
                  </a:lnTo>
                  <a:lnTo>
                    <a:pt x="14" y="12"/>
                  </a:lnTo>
                  <a:lnTo>
                    <a:pt x="14" y="20"/>
                  </a:lnTo>
                  <a:lnTo>
                    <a:pt x="12" y="20"/>
                  </a:lnTo>
                  <a:lnTo>
                    <a:pt x="9" y="2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03" name="Freeform 203"/>
            <p:cNvSpPr>
              <a:spLocks/>
            </p:cNvSpPr>
            <p:nvPr/>
          </p:nvSpPr>
          <p:spPr bwMode="auto">
            <a:xfrm>
              <a:off x="4981575" y="2892425"/>
              <a:ext cx="15875" cy="17463"/>
            </a:xfrm>
            <a:custGeom>
              <a:avLst/>
              <a:gdLst>
                <a:gd name="T0" fmla="*/ 2147483647 w 9"/>
                <a:gd name="T1" fmla="*/ 2147483647 h 11"/>
                <a:gd name="T2" fmla="*/ 2147483647 w 9"/>
                <a:gd name="T3" fmla="*/ 2147483647 h 11"/>
                <a:gd name="T4" fmla="*/ 2147483647 w 9"/>
                <a:gd name="T5" fmla="*/ 2147483647 h 11"/>
                <a:gd name="T6" fmla="*/ 2147483647 w 9"/>
                <a:gd name="T7" fmla="*/ 0 h 11"/>
                <a:gd name="T8" fmla="*/ 0 w 9"/>
                <a:gd name="T9" fmla="*/ 2147483647 h 11"/>
                <a:gd name="T10" fmla="*/ 0 w 9"/>
                <a:gd name="T11" fmla="*/ 2147483647 h 11"/>
                <a:gd name="T12" fmla="*/ 2147483647 w 9"/>
                <a:gd name="T13" fmla="*/ 2147483647 h 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11"/>
                <a:gd name="T23" fmla="*/ 9 w 9"/>
                <a:gd name="T24" fmla="*/ 11 h 1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11">
                  <a:moveTo>
                    <a:pt x="3" y="11"/>
                  </a:moveTo>
                  <a:lnTo>
                    <a:pt x="6" y="5"/>
                  </a:lnTo>
                  <a:lnTo>
                    <a:pt x="9" y="2"/>
                  </a:lnTo>
                  <a:lnTo>
                    <a:pt x="6" y="0"/>
                  </a:lnTo>
                  <a:lnTo>
                    <a:pt x="0" y="2"/>
                  </a:lnTo>
                  <a:lnTo>
                    <a:pt x="0" y="11"/>
                  </a:lnTo>
                  <a:lnTo>
                    <a:pt x="3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04" name="Freeform 204"/>
            <p:cNvSpPr>
              <a:spLocks/>
            </p:cNvSpPr>
            <p:nvPr/>
          </p:nvSpPr>
          <p:spPr bwMode="auto">
            <a:xfrm>
              <a:off x="4918075" y="3035300"/>
              <a:ext cx="298450" cy="317500"/>
            </a:xfrm>
            <a:custGeom>
              <a:avLst/>
              <a:gdLst>
                <a:gd name="T0" fmla="*/ 2147483647 w 186"/>
                <a:gd name="T1" fmla="*/ 2147483647 h 198"/>
                <a:gd name="T2" fmla="*/ 0 w 186"/>
                <a:gd name="T3" fmla="*/ 2147483647 h 198"/>
                <a:gd name="T4" fmla="*/ 0 w 186"/>
                <a:gd name="T5" fmla="*/ 2147483647 h 198"/>
                <a:gd name="T6" fmla="*/ 2147483647 w 186"/>
                <a:gd name="T7" fmla="*/ 2147483647 h 198"/>
                <a:gd name="T8" fmla="*/ 2147483647 w 186"/>
                <a:gd name="T9" fmla="*/ 2147483647 h 198"/>
                <a:gd name="T10" fmla="*/ 2147483647 w 186"/>
                <a:gd name="T11" fmla="*/ 2147483647 h 198"/>
                <a:gd name="T12" fmla="*/ 2147483647 w 186"/>
                <a:gd name="T13" fmla="*/ 2147483647 h 198"/>
                <a:gd name="T14" fmla="*/ 2147483647 w 186"/>
                <a:gd name="T15" fmla="*/ 2147483647 h 198"/>
                <a:gd name="T16" fmla="*/ 2147483647 w 186"/>
                <a:gd name="T17" fmla="*/ 2147483647 h 198"/>
                <a:gd name="T18" fmla="*/ 2147483647 w 186"/>
                <a:gd name="T19" fmla="*/ 2147483647 h 198"/>
                <a:gd name="T20" fmla="*/ 2147483647 w 186"/>
                <a:gd name="T21" fmla="*/ 2147483647 h 198"/>
                <a:gd name="T22" fmla="*/ 2147483647 w 186"/>
                <a:gd name="T23" fmla="*/ 2147483647 h 198"/>
                <a:gd name="T24" fmla="*/ 2147483647 w 186"/>
                <a:gd name="T25" fmla="*/ 2147483647 h 198"/>
                <a:gd name="T26" fmla="*/ 2147483647 w 186"/>
                <a:gd name="T27" fmla="*/ 2147483647 h 198"/>
                <a:gd name="T28" fmla="*/ 2147483647 w 186"/>
                <a:gd name="T29" fmla="*/ 2147483647 h 198"/>
                <a:gd name="T30" fmla="*/ 2147483647 w 186"/>
                <a:gd name="T31" fmla="*/ 2147483647 h 198"/>
                <a:gd name="T32" fmla="*/ 2147483647 w 186"/>
                <a:gd name="T33" fmla="*/ 2147483647 h 198"/>
                <a:gd name="T34" fmla="*/ 2147483647 w 186"/>
                <a:gd name="T35" fmla="*/ 2147483647 h 198"/>
                <a:gd name="T36" fmla="*/ 2147483647 w 186"/>
                <a:gd name="T37" fmla="*/ 2147483647 h 198"/>
                <a:gd name="T38" fmla="*/ 2147483647 w 186"/>
                <a:gd name="T39" fmla="*/ 2147483647 h 198"/>
                <a:gd name="T40" fmla="*/ 2147483647 w 186"/>
                <a:gd name="T41" fmla="*/ 2147483647 h 198"/>
                <a:gd name="T42" fmla="*/ 2147483647 w 186"/>
                <a:gd name="T43" fmla="*/ 2147483647 h 198"/>
                <a:gd name="T44" fmla="*/ 2147483647 w 186"/>
                <a:gd name="T45" fmla="*/ 2147483647 h 198"/>
                <a:gd name="T46" fmla="*/ 2147483647 w 186"/>
                <a:gd name="T47" fmla="*/ 2147483647 h 198"/>
                <a:gd name="T48" fmla="*/ 2147483647 w 186"/>
                <a:gd name="T49" fmla="*/ 2147483647 h 198"/>
                <a:gd name="T50" fmla="*/ 2147483647 w 186"/>
                <a:gd name="T51" fmla="*/ 2147483647 h 198"/>
                <a:gd name="T52" fmla="*/ 2147483647 w 186"/>
                <a:gd name="T53" fmla="*/ 2147483647 h 198"/>
                <a:gd name="T54" fmla="*/ 2147483647 w 186"/>
                <a:gd name="T55" fmla="*/ 2147483647 h 198"/>
                <a:gd name="T56" fmla="*/ 2147483647 w 186"/>
                <a:gd name="T57" fmla="*/ 2147483647 h 198"/>
                <a:gd name="T58" fmla="*/ 2147483647 w 186"/>
                <a:gd name="T59" fmla="*/ 2147483647 h 198"/>
                <a:gd name="T60" fmla="*/ 2147483647 w 186"/>
                <a:gd name="T61" fmla="*/ 2147483647 h 198"/>
                <a:gd name="T62" fmla="*/ 2147483647 w 186"/>
                <a:gd name="T63" fmla="*/ 2147483647 h 198"/>
                <a:gd name="T64" fmla="*/ 2147483647 w 186"/>
                <a:gd name="T65" fmla="*/ 2147483647 h 198"/>
                <a:gd name="T66" fmla="*/ 2147483647 w 186"/>
                <a:gd name="T67" fmla="*/ 2147483647 h 198"/>
                <a:gd name="T68" fmla="*/ 2147483647 w 186"/>
                <a:gd name="T69" fmla="*/ 2147483647 h 198"/>
                <a:gd name="T70" fmla="*/ 2147483647 w 186"/>
                <a:gd name="T71" fmla="*/ 2147483647 h 198"/>
                <a:gd name="T72" fmla="*/ 2147483647 w 186"/>
                <a:gd name="T73" fmla="*/ 2147483647 h 198"/>
                <a:gd name="T74" fmla="*/ 2147483647 w 186"/>
                <a:gd name="T75" fmla="*/ 2147483647 h 198"/>
                <a:gd name="T76" fmla="*/ 2147483647 w 186"/>
                <a:gd name="T77" fmla="*/ 2147483647 h 198"/>
                <a:gd name="T78" fmla="*/ 2147483647 w 186"/>
                <a:gd name="T79" fmla="*/ 2147483647 h 198"/>
                <a:gd name="T80" fmla="*/ 2147483647 w 186"/>
                <a:gd name="T81" fmla="*/ 2147483647 h 198"/>
                <a:gd name="T82" fmla="*/ 2147483647 w 186"/>
                <a:gd name="T83" fmla="*/ 2147483647 h 198"/>
                <a:gd name="T84" fmla="*/ 2147483647 w 186"/>
                <a:gd name="T85" fmla="*/ 2147483647 h 198"/>
                <a:gd name="T86" fmla="*/ 2147483647 w 186"/>
                <a:gd name="T87" fmla="*/ 2147483647 h 198"/>
                <a:gd name="T88" fmla="*/ 2147483647 w 186"/>
                <a:gd name="T89" fmla="*/ 2147483647 h 198"/>
                <a:gd name="T90" fmla="*/ 2147483647 w 186"/>
                <a:gd name="T91" fmla="*/ 2147483647 h 198"/>
                <a:gd name="T92" fmla="*/ 2147483647 w 186"/>
                <a:gd name="T93" fmla="*/ 2147483647 h 19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86"/>
                <a:gd name="T142" fmla="*/ 0 h 198"/>
                <a:gd name="T143" fmla="*/ 186 w 186"/>
                <a:gd name="T144" fmla="*/ 198 h 19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86" h="198">
                  <a:moveTo>
                    <a:pt x="14" y="5"/>
                  </a:moveTo>
                  <a:lnTo>
                    <a:pt x="14" y="5"/>
                  </a:lnTo>
                  <a:lnTo>
                    <a:pt x="6" y="0"/>
                  </a:lnTo>
                  <a:lnTo>
                    <a:pt x="0" y="8"/>
                  </a:lnTo>
                  <a:lnTo>
                    <a:pt x="3" y="23"/>
                  </a:lnTo>
                  <a:lnTo>
                    <a:pt x="0" y="34"/>
                  </a:lnTo>
                  <a:lnTo>
                    <a:pt x="6" y="57"/>
                  </a:lnTo>
                  <a:lnTo>
                    <a:pt x="6" y="195"/>
                  </a:lnTo>
                  <a:lnTo>
                    <a:pt x="109" y="192"/>
                  </a:lnTo>
                  <a:lnTo>
                    <a:pt x="115" y="183"/>
                  </a:lnTo>
                  <a:lnTo>
                    <a:pt x="118" y="186"/>
                  </a:lnTo>
                  <a:lnTo>
                    <a:pt x="118" y="192"/>
                  </a:lnTo>
                  <a:lnTo>
                    <a:pt x="143" y="192"/>
                  </a:lnTo>
                  <a:lnTo>
                    <a:pt x="152" y="198"/>
                  </a:lnTo>
                  <a:lnTo>
                    <a:pt x="158" y="195"/>
                  </a:lnTo>
                  <a:lnTo>
                    <a:pt x="161" y="189"/>
                  </a:lnTo>
                  <a:lnTo>
                    <a:pt x="169" y="183"/>
                  </a:lnTo>
                  <a:lnTo>
                    <a:pt x="169" y="180"/>
                  </a:lnTo>
                  <a:lnTo>
                    <a:pt x="172" y="175"/>
                  </a:lnTo>
                  <a:lnTo>
                    <a:pt x="175" y="175"/>
                  </a:lnTo>
                  <a:lnTo>
                    <a:pt x="178" y="175"/>
                  </a:lnTo>
                  <a:lnTo>
                    <a:pt x="186" y="169"/>
                  </a:lnTo>
                  <a:lnTo>
                    <a:pt x="184" y="155"/>
                  </a:lnTo>
                  <a:lnTo>
                    <a:pt x="181" y="149"/>
                  </a:lnTo>
                  <a:lnTo>
                    <a:pt x="169" y="129"/>
                  </a:lnTo>
                  <a:lnTo>
                    <a:pt x="161" y="112"/>
                  </a:lnTo>
                  <a:lnTo>
                    <a:pt x="152" y="91"/>
                  </a:lnTo>
                  <a:lnTo>
                    <a:pt x="146" y="77"/>
                  </a:lnTo>
                  <a:lnTo>
                    <a:pt x="138" y="69"/>
                  </a:lnTo>
                  <a:lnTo>
                    <a:pt x="135" y="60"/>
                  </a:lnTo>
                  <a:lnTo>
                    <a:pt x="129" y="51"/>
                  </a:lnTo>
                  <a:lnTo>
                    <a:pt x="123" y="46"/>
                  </a:lnTo>
                  <a:lnTo>
                    <a:pt x="126" y="40"/>
                  </a:lnTo>
                  <a:lnTo>
                    <a:pt x="132" y="48"/>
                  </a:lnTo>
                  <a:lnTo>
                    <a:pt x="138" y="54"/>
                  </a:lnTo>
                  <a:lnTo>
                    <a:pt x="140" y="66"/>
                  </a:lnTo>
                  <a:lnTo>
                    <a:pt x="152" y="77"/>
                  </a:lnTo>
                  <a:lnTo>
                    <a:pt x="161" y="77"/>
                  </a:lnTo>
                  <a:lnTo>
                    <a:pt x="163" y="63"/>
                  </a:lnTo>
                  <a:lnTo>
                    <a:pt x="163" y="57"/>
                  </a:lnTo>
                  <a:lnTo>
                    <a:pt x="163" y="40"/>
                  </a:lnTo>
                  <a:lnTo>
                    <a:pt x="163" y="37"/>
                  </a:lnTo>
                  <a:lnTo>
                    <a:pt x="158" y="28"/>
                  </a:lnTo>
                  <a:lnTo>
                    <a:pt x="155" y="20"/>
                  </a:lnTo>
                  <a:lnTo>
                    <a:pt x="152" y="14"/>
                  </a:lnTo>
                  <a:lnTo>
                    <a:pt x="149" y="11"/>
                  </a:lnTo>
                  <a:lnTo>
                    <a:pt x="140" y="14"/>
                  </a:lnTo>
                  <a:lnTo>
                    <a:pt x="135" y="14"/>
                  </a:lnTo>
                  <a:lnTo>
                    <a:pt x="132" y="17"/>
                  </a:lnTo>
                  <a:lnTo>
                    <a:pt x="126" y="14"/>
                  </a:lnTo>
                  <a:lnTo>
                    <a:pt x="120" y="11"/>
                  </a:lnTo>
                  <a:lnTo>
                    <a:pt x="115" y="8"/>
                  </a:lnTo>
                  <a:lnTo>
                    <a:pt x="109" y="5"/>
                  </a:lnTo>
                  <a:lnTo>
                    <a:pt x="100" y="5"/>
                  </a:lnTo>
                  <a:lnTo>
                    <a:pt x="86" y="11"/>
                  </a:lnTo>
                  <a:lnTo>
                    <a:pt x="80" y="17"/>
                  </a:lnTo>
                  <a:lnTo>
                    <a:pt x="74" y="20"/>
                  </a:lnTo>
                  <a:lnTo>
                    <a:pt x="69" y="20"/>
                  </a:lnTo>
                  <a:lnTo>
                    <a:pt x="60" y="17"/>
                  </a:lnTo>
                  <a:lnTo>
                    <a:pt x="51" y="14"/>
                  </a:lnTo>
                  <a:lnTo>
                    <a:pt x="43" y="8"/>
                  </a:lnTo>
                  <a:lnTo>
                    <a:pt x="34" y="8"/>
                  </a:lnTo>
                  <a:lnTo>
                    <a:pt x="23" y="8"/>
                  </a:lnTo>
                  <a:lnTo>
                    <a:pt x="14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05" name="Freeform 206"/>
            <p:cNvSpPr>
              <a:spLocks/>
            </p:cNvSpPr>
            <p:nvPr/>
          </p:nvSpPr>
          <p:spPr bwMode="auto">
            <a:xfrm>
              <a:off x="4522788" y="2689225"/>
              <a:ext cx="9525" cy="9525"/>
            </a:xfrm>
            <a:custGeom>
              <a:avLst/>
              <a:gdLst>
                <a:gd name="T0" fmla="*/ 2147483647 w 6"/>
                <a:gd name="T1" fmla="*/ 0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06" name="Freeform 207"/>
            <p:cNvSpPr>
              <a:spLocks/>
            </p:cNvSpPr>
            <p:nvPr/>
          </p:nvSpPr>
          <p:spPr bwMode="auto">
            <a:xfrm>
              <a:off x="4670425" y="2624138"/>
              <a:ext cx="85725" cy="74612"/>
            </a:xfrm>
            <a:custGeom>
              <a:avLst/>
              <a:gdLst>
                <a:gd name="T0" fmla="*/ 2147483647 w 54"/>
                <a:gd name="T1" fmla="*/ 2147483647 h 46"/>
                <a:gd name="T2" fmla="*/ 2147483647 w 54"/>
                <a:gd name="T3" fmla="*/ 2147483647 h 46"/>
                <a:gd name="T4" fmla="*/ 2147483647 w 54"/>
                <a:gd name="T5" fmla="*/ 2147483647 h 46"/>
                <a:gd name="T6" fmla="*/ 2147483647 w 54"/>
                <a:gd name="T7" fmla="*/ 2147483647 h 46"/>
                <a:gd name="T8" fmla="*/ 2147483647 w 54"/>
                <a:gd name="T9" fmla="*/ 2147483647 h 46"/>
                <a:gd name="T10" fmla="*/ 2147483647 w 54"/>
                <a:gd name="T11" fmla="*/ 2147483647 h 46"/>
                <a:gd name="T12" fmla="*/ 2147483647 w 54"/>
                <a:gd name="T13" fmla="*/ 2147483647 h 46"/>
                <a:gd name="T14" fmla="*/ 2147483647 w 54"/>
                <a:gd name="T15" fmla="*/ 2147483647 h 46"/>
                <a:gd name="T16" fmla="*/ 2147483647 w 54"/>
                <a:gd name="T17" fmla="*/ 2147483647 h 46"/>
                <a:gd name="T18" fmla="*/ 2147483647 w 54"/>
                <a:gd name="T19" fmla="*/ 2147483647 h 46"/>
                <a:gd name="T20" fmla="*/ 2147483647 w 54"/>
                <a:gd name="T21" fmla="*/ 2147483647 h 46"/>
                <a:gd name="T22" fmla="*/ 2147483647 w 54"/>
                <a:gd name="T23" fmla="*/ 2147483647 h 46"/>
                <a:gd name="T24" fmla="*/ 2147483647 w 54"/>
                <a:gd name="T25" fmla="*/ 2147483647 h 46"/>
                <a:gd name="T26" fmla="*/ 2147483647 w 54"/>
                <a:gd name="T27" fmla="*/ 2147483647 h 46"/>
                <a:gd name="T28" fmla="*/ 2147483647 w 54"/>
                <a:gd name="T29" fmla="*/ 2147483647 h 46"/>
                <a:gd name="T30" fmla="*/ 2147483647 w 54"/>
                <a:gd name="T31" fmla="*/ 2147483647 h 46"/>
                <a:gd name="T32" fmla="*/ 2147483647 w 54"/>
                <a:gd name="T33" fmla="*/ 2147483647 h 46"/>
                <a:gd name="T34" fmla="*/ 2147483647 w 54"/>
                <a:gd name="T35" fmla="*/ 2147483647 h 46"/>
                <a:gd name="T36" fmla="*/ 2147483647 w 54"/>
                <a:gd name="T37" fmla="*/ 2147483647 h 46"/>
                <a:gd name="T38" fmla="*/ 2147483647 w 54"/>
                <a:gd name="T39" fmla="*/ 2147483647 h 46"/>
                <a:gd name="T40" fmla="*/ 2147483647 w 54"/>
                <a:gd name="T41" fmla="*/ 0 h 46"/>
                <a:gd name="T42" fmla="*/ 2147483647 w 54"/>
                <a:gd name="T43" fmla="*/ 0 h 46"/>
                <a:gd name="T44" fmla="*/ 2147483647 w 54"/>
                <a:gd name="T45" fmla="*/ 0 h 46"/>
                <a:gd name="T46" fmla="*/ 2147483647 w 54"/>
                <a:gd name="T47" fmla="*/ 0 h 46"/>
                <a:gd name="T48" fmla="*/ 2147483647 w 54"/>
                <a:gd name="T49" fmla="*/ 2147483647 h 46"/>
                <a:gd name="T50" fmla="*/ 2147483647 w 54"/>
                <a:gd name="T51" fmla="*/ 2147483647 h 46"/>
                <a:gd name="T52" fmla="*/ 0 w 54"/>
                <a:gd name="T53" fmla="*/ 0 h 46"/>
                <a:gd name="T54" fmla="*/ 0 w 54"/>
                <a:gd name="T55" fmla="*/ 2147483647 h 46"/>
                <a:gd name="T56" fmla="*/ 2147483647 w 54"/>
                <a:gd name="T57" fmla="*/ 2147483647 h 46"/>
                <a:gd name="T58" fmla="*/ 2147483647 w 54"/>
                <a:gd name="T59" fmla="*/ 2147483647 h 46"/>
                <a:gd name="T60" fmla="*/ 2147483647 w 54"/>
                <a:gd name="T61" fmla="*/ 2147483647 h 46"/>
                <a:gd name="T62" fmla="*/ 2147483647 w 54"/>
                <a:gd name="T63" fmla="*/ 2147483647 h 46"/>
                <a:gd name="T64" fmla="*/ 2147483647 w 54"/>
                <a:gd name="T65" fmla="*/ 2147483647 h 46"/>
                <a:gd name="T66" fmla="*/ 2147483647 w 54"/>
                <a:gd name="T67" fmla="*/ 2147483647 h 46"/>
                <a:gd name="T68" fmla="*/ 2147483647 w 54"/>
                <a:gd name="T69" fmla="*/ 2147483647 h 46"/>
                <a:gd name="T70" fmla="*/ 2147483647 w 54"/>
                <a:gd name="T71" fmla="*/ 2147483647 h 46"/>
                <a:gd name="T72" fmla="*/ 2147483647 w 54"/>
                <a:gd name="T73" fmla="*/ 2147483647 h 46"/>
                <a:gd name="T74" fmla="*/ 2147483647 w 54"/>
                <a:gd name="T75" fmla="*/ 2147483647 h 46"/>
                <a:gd name="T76" fmla="*/ 2147483647 w 54"/>
                <a:gd name="T77" fmla="*/ 2147483647 h 46"/>
                <a:gd name="T78" fmla="*/ 2147483647 w 54"/>
                <a:gd name="T79" fmla="*/ 2147483647 h 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54"/>
                <a:gd name="T121" fmla="*/ 0 h 46"/>
                <a:gd name="T122" fmla="*/ 54 w 54"/>
                <a:gd name="T123" fmla="*/ 46 h 4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54" h="46">
                  <a:moveTo>
                    <a:pt x="43" y="37"/>
                  </a:moveTo>
                  <a:lnTo>
                    <a:pt x="43" y="35"/>
                  </a:lnTo>
                  <a:lnTo>
                    <a:pt x="46" y="35"/>
                  </a:lnTo>
                  <a:lnTo>
                    <a:pt x="46" y="29"/>
                  </a:lnTo>
                  <a:lnTo>
                    <a:pt x="51" y="26"/>
                  </a:lnTo>
                  <a:lnTo>
                    <a:pt x="51" y="23"/>
                  </a:lnTo>
                  <a:lnTo>
                    <a:pt x="51" y="20"/>
                  </a:lnTo>
                  <a:lnTo>
                    <a:pt x="54" y="20"/>
                  </a:lnTo>
                  <a:lnTo>
                    <a:pt x="49" y="12"/>
                  </a:lnTo>
                  <a:lnTo>
                    <a:pt x="49" y="6"/>
                  </a:lnTo>
                  <a:lnTo>
                    <a:pt x="40" y="3"/>
                  </a:lnTo>
                  <a:lnTo>
                    <a:pt x="37" y="3"/>
                  </a:lnTo>
                  <a:lnTo>
                    <a:pt x="31" y="3"/>
                  </a:lnTo>
                  <a:lnTo>
                    <a:pt x="26" y="0"/>
                  </a:lnTo>
                  <a:lnTo>
                    <a:pt x="20" y="0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6" y="6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14"/>
                  </a:lnTo>
                  <a:lnTo>
                    <a:pt x="11" y="20"/>
                  </a:lnTo>
                  <a:lnTo>
                    <a:pt x="17" y="29"/>
                  </a:lnTo>
                  <a:lnTo>
                    <a:pt x="14" y="32"/>
                  </a:lnTo>
                  <a:lnTo>
                    <a:pt x="14" y="35"/>
                  </a:lnTo>
                  <a:lnTo>
                    <a:pt x="23" y="37"/>
                  </a:lnTo>
                  <a:lnTo>
                    <a:pt x="31" y="43"/>
                  </a:lnTo>
                  <a:lnTo>
                    <a:pt x="40" y="46"/>
                  </a:lnTo>
                  <a:lnTo>
                    <a:pt x="40" y="40"/>
                  </a:lnTo>
                  <a:lnTo>
                    <a:pt x="43" y="3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07" name="Freeform 208"/>
            <p:cNvSpPr>
              <a:spLocks/>
            </p:cNvSpPr>
            <p:nvPr/>
          </p:nvSpPr>
          <p:spPr bwMode="auto">
            <a:xfrm>
              <a:off x="4738688" y="2592388"/>
              <a:ext cx="106362" cy="125412"/>
            </a:xfrm>
            <a:custGeom>
              <a:avLst/>
              <a:gdLst>
                <a:gd name="T0" fmla="*/ 2147483647 w 66"/>
                <a:gd name="T1" fmla="*/ 2147483647 h 78"/>
                <a:gd name="T2" fmla="*/ 2147483647 w 66"/>
                <a:gd name="T3" fmla="*/ 2147483647 h 78"/>
                <a:gd name="T4" fmla="*/ 2147483647 w 66"/>
                <a:gd name="T5" fmla="*/ 2147483647 h 78"/>
                <a:gd name="T6" fmla="*/ 2147483647 w 66"/>
                <a:gd name="T7" fmla="*/ 2147483647 h 78"/>
                <a:gd name="T8" fmla="*/ 2147483647 w 66"/>
                <a:gd name="T9" fmla="*/ 2147483647 h 78"/>
                <a:gd name="T10" fmla="*/ 2147483647 w 66"/>
                <a:gd name="T11" fmla="*/ 2147483647 h 78"/>
                <a:gd name="T12" fmla="*/ 2147483647 w 66"/>
                <a:gd name="T13" fmla="*/ 2147483647 h 78"/>
                <a:gd name="T14" fmla="*/ 2147483647 w 66"/>
                <a:gd name="T15" fmla="*/ 2147483647 h 78"/>
                <a:gd name="T16" fmla="*/ 2147483647 w 66"/>
                <a:gd name="T17" fmla="*/ 2147483647 h 78"/>
                <a:gd name="T18" fmla="*/ 2147483647 w 66"/>
                <a:gd name="T19" fmla="*/ 2147483647 h 78"/>
                <a:gd name="T20" fmla="*/ 2147483647 w 66"/>
                <a:gd name="T21" fmla="*/ 2147483647 h 78"/>
                <a:gd name="T22" fmla="*/ 2147483647 w 66"/>
                <a:gd name="T23" fmla="*/ 2147483647 h 78"/>
                <a:gd name="T24" fmla="*/ 2147483647 w 66"/>
                <a:gd name="T25" fmla="*/ 2147483647 h 78"/>
                <a:gd name="T26" fmla="*/ 2147483647 w 66"/>
                <a:gd name="T27" fmla="*/ 2147483647 h 78"/>
                <a:gd name="T28" fmla="*/ 2147483647 w 66"/>
                <a:gd name="T29" fmla="*/ 2147483647 h 78"/>
                <a:gd name="T30" fmla="*/ 2147483647 w 66"/>
                <a:gd name="T31" fmla="*/ 2147483647 h 78"/>
                <a:gd name="T32" fmla="*/ 2147483647 w 66"/>
                <a:gd name="T33" fmla="*/ 2147483647 h 78"/>
                <a:gd name="T34" fmla="*/ 2147483647 w 66"/>
                <a:gd name="T35" fmla="*/ 2147483647 h 78"/>
                <a:gd name="T36" fmla="*/ 2147483647 w 66"/>
                <a:gd name="T37" fmla="*/ 2147483647 h 78"/>
                <a:gd name="T38" fmla="*/ 2147483647 w 66"/>
                <a:gd name="T39" fmla="*/ 2147483647 h 78"/>
                <a:gd name="T40" fmla="*/ 2147483647 w 66"/>
                <a:gd name="T41" fmla="*/ 2147483647 h 78"/>
                <a:gd name="T42" fmla="*/ 2147483647 w 66"/>
                <a:gd name="T43" fmla="*/ 2147483647 h 78"/>
                <a:gd name="T44" fmla="*/ 2147483647 w 66"/>
                <a:gd name="T45" fmla="*/ 2147483647 h 78"/>
                <a:gd name="T46" fmla="*/ 2147483647 w 66"/>
                <a:gd name="T47" fmla="*/ 2147483647 h 78"/>
                <a:gd name="T48" fmla="*/ 2147483647 w 66"/>
                <a:gd name="T49" fmla="*/ 2147483647 h 78"/>
                <a:gd name="T50" fmla="*/ 2147483647 w 66"/>
                <a:gd name="T51" fmla="*/ 2147483647 h 78"/>
                <a:gd name="T52" fmla="*/ 2147483647 w 66"/>
                <a:gd name="T53" fmla="*/ 2147483647 h 78"/>
                <a:gd name="T54" fmla="*/ 2147483647 w 66"/>
                <a:gd name="T55" fmla="*/ 2147483647 h 78"/>
                <a:gd name="T56" fmla="*/ 2147483647 w 66"/>
                <a:gd name="T57" fmla="*/ 2147483647 h 78"/>
                <a:gd name="T58" fmla="*/ 2147483647 w 66"/>
                <a:gd name="T59" fmla="*/ 2147483647 h 78"/>
                <a:gd name="T60" fmla="*/ 2147483647 w 66"/>
                <a:gd name="T61" fmla="*/ 0 h 78"/>
                <a:gd name="T62" fmla="*/ 2147483647 w 66"/>
                <a:gd name="T63" fmla="*/ 0 h 78"/>
                <a:gd name="T64" fmla="*/ 2147483647 w 66"/>
                <a:gd name="T65" fmla="*/ 2147483647 h 78"/>
                <a:gd name="T66" fmla="*/ 2147483647 w 66"/>
                <a:gd name="T67" fmla="*/ 2147483647 h 78"/>
                <a:gd name="T68" fmla="*/ 2147483647 w 66"/>
                <a:gd name="T69" fmla="*/ 2147483647 h 78"/>
                <a:gd name="T70" fmla="*/ 2147483647 w 66"/>
                <a:gd name="T71" fmla="*/ 2147483647 h 78"/>
                <a:gd name="T72" fmla="*/ 2147483647 w 66"/>
                <a:gd name="T73" fmla="*/ 2147483647 h 78"/>
                <a:gd name="T74" fmla="*/ 2147483647 w 66"/>
                <a:gd name="T75" fmla="*/ 2147483647 h 78"/>
                <a:gd name="T76" fmla="*/ 2147483647 w 66"/>
                <a:gd name="T77" fmla="*/ 2147483647 h 78"/>
                <a:gd name="T78" fmla="*/ 2147483647 w 66"/>
                <a:gd name="T79" fmla="*/ 2147483647 h 78"/>
                <a:gd name="T80" fmla="*/ 2147483647 w 66"/>
                <a:gd name="T81" fmla="*/ 2147483647 h 78"/>
                <a:gd name="T82" fmla="*/ 2147483647 w 66"/>
                <a:gd name="T83" fmla="*/ 2147483647 h 78"/>
                <a:gd name="T84" fmla="*/ 2147483647 w 66"/>
                <a:gd name="T85" fmla="*/ 2147483647 h 78"/>
                <a:gd name="T86" fmla="*/ 2147483647 w 66"/>
                <a:gd name="T87" fmla="*/ 2147483647 h 78"/>
                <a:gd name="T88" fmla="*/ 2147483647 w 66"/>
                <a:gd name="T89" fmla="*/ 2147483647 h 78"/>
                <a:gd name="T90" fmla="*/ 2147483647 w 66"/>
                <a:gd name="T91" fmla="*/ 2147483647 h 78"/>
                <a:gd name="T92" fmla="*/ 2147483647 w 66"/>
                <a:gd name="T93" fmla="*/ 2147483647 h 78"/>
                <a:gd name="T94" fmla="*/ 2147483647 w 66"/>
                <a:gd name="T95" fmla="*/ 2147483647 h 78"/>
                <a:gd name="T96" fmla="*/ 2147483647 w 66"/>
                <a:gd name="T97" fmla="*/ 2147483647 h 78"/>
                <a:gd name="T98" fmla="*/ 2147483647 w 66"/>
                <a:gd name="T99" fmla="*/ 2147483647 h 78"/>
                <a:gd name="T100" fmla="*/ 2147483647 w 66"/>
                <a:gd name="T101" fmla="*/ 2147483647 h 78"/>
                <a:gd name="T102" fmla="*/ 2147483647 w 66"/>
                <a:gd name="T103" fmla="*/ 2147483647 h 78"/>
                <a:gd name="T104" fmla="*/ 2147483647 w 66"/>
                <a:gd name="T105" fmla="*/ 2147483647 h 78"/>
                <a:gd name="T106" fmla="*/ 2147483647 w 66"/>
                <a:gd name="T107" fmla="*/ 2147483647 h 78"/>
                <a:gd name="T108" fmla="*/ 2147483647 w 66"/>
                <a:gd name="T109" fmla="*/ 2147483647 h 78"/>
                <a:gd name="T110" fmla="*/ 0 w 66"/>
                <a:gd name="T111" fmla="*/ 2147483647 h 78"/>
                <a:gd name="T112" fmla="*/ 0 w 66"/>
                <a:gd name="T113" fmla="*/ 2147483647 h 78"/>
                <a:gd name="T114" fmla="*/ 0 w 66"/>
                <a:gd name="T115" fmla="*/ 2147483647 h 78"/>
                <a:gd name="T116" fmla="*/ 2147483647 w 66"/>
                <a:gd name="T117" fmla="*/ 2147483647 h 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6"/>
                <a:gd name="T178" fmla="*/ 0 h 78"/>
                <a:gd name="T179" fmla="*/ 66 w 66"/>
                <a:gd name="T180" fmla="*/ 78 h 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6" h="78">
                  <a:moveTo>
                    <a:pt x="8" y="78"/>
                  </a:moveTo>
                  <a:lnTo>
                    <a:pt x="11" y="72"/>
                  </a:lnTo>
                  <a:lnTo>
                    <a:pt x="17" y="66"/>
                  </a:lnTo>
                  <a:lnTo>
                    <a:pt x="20" y="69"/>
                  </a:lnTo>
                  <a:lnTo>
                    <a:pt x="23" y="66"/>
                  </a:lnTo>
                  <a:lnTo>
                    <a:pt x="29" y="75"/>
                  </a:lnTo>
                  <a:lnTo>
                    <a:pt x="31" y="78"/>
                  </a:lnTo>
                  <a:lnTo>
                    <a:pt x="40" y="75"/>
                  </a:lnTo>
                  <a:lnTo>
                    <a:pt x="49" y="75"/>
                  </a:lnTo>
                  <a:lnTo>
                    <a:pt x="57" y="75"/>
                  </a:lnTo>
                  <a:lnTo>
                    <a:pt x="60" y="72"/>
                  </a:lnTo>
                  <a:lnTo>
                    <a:pt x="57" y="63"/>
                  </a:lnTo>
                  <a:lnTo>
                    <a:pt x="60" y="63"/>
                  </a:lnTo>
                  <a:lnTo>
                    <a:pt x="63" y="60"/>
                  </a:lnTo>
                  <a:lnTo>
                    <a:pt x="66" y="57"/>
                  </a:lnTo>
                  <a:lnTo>
                    <a:pt x="57" y="52"/>
                  </a:lnTo>
                  <a:lnTo>
                    <a:pt x="57" y="40"/>
                  </a:lnTo>
                  <a:lnTo>
                    <a:pt x="60" y="37"/>
                  </a:lnTo>
                  <a:lnTo>
                    <a:pt x="54" y="34"/>
                  </a:lnTo>
                  <a:lnTo>
                    <a:pt x="57" y="32"/>
                  </a:lnTo>
                  <a:lnTo>
                    <a:pt x="60" y="29"/>
                  </a:lnTo>
                  <a:lnTo>
                    <a:pt x="57" y="29"/>
                  </a:lnTo>
                  <a:lnTo>
                    <a:pt x="54" y="34"/>
                  </a:lnTo>
                  <a:lnTo>
                    <a:pt x="43" y="29"/>
                  </a:lnTo>
                  <a:lnTo>
                    <a:pt x="40" y="26"/>
                  </a:lnTo>
                  <a:lnTo>
                    <a:pt x="29" y="14"/>
                  </a:lnTo>
                  <a:lnTo>
                    <a:pt x="29" y="11"/>
                  </a:lnTo>
                  <a:lnTo>
                    <a:pt x="31" y="9"/>
                  </a:lnTo>
                  <a:lnTo>
                    <a:pt x="23" y="0"/>
                  </a:lnTo>
                  <a:lnTo>
                    <a:pt x="11" y="0"/>
                  </a:lnTo>
                  <a:lnTo>
                    <a:pt x="8" y="3"/>
                  </a:lnTo>
                  <a:lnTo>
                    <a:pt x="3" y="6"/>
                  </a:lnTo>
                  <a:lnTo>
                    <a:pt x="3" y="9"/>
                  </a:lnTo>
                  <a:lnTo>
                    <a:pt x="6" y="11"/>
                  </a:lnTo>
                  <a:lnTo>
                    <a:pt x="11" y="17"/>
                  </a:lnTo>
                  <a:lnTo>
                    <a:pt x="11" y="23"/>
                  </a:lnTo>
                  <a:lnTo>
                    <a:pt x="8" y="32"/>
                  </a:lnTo>
                  <a:lnTo>
                    <a:pt x="14" y="40"/>
                  </a:lnTo>
                  <a:lnTo>
                    <a:pt x="11" y="43"/>
                  </a:lnTo>
                  <a:lnTo>
                    <a:pt x="14" y="49"/>
                  </a:lnTo>
                  <a:lnTo>
                    <a:pt x="11" y="49"/>
                  </a:lnTo>
                  <a:lnTo>
                    <a:pt x="6" y="52"/>
                  </a:lnTo>
                  <a:lnTo>
                    <a:pt x="6" y="55"/>
                  </a:lnTo>
                  <a:lnTo>
                    <a:pt x="6" y="57"/>
                  </a:lnTo>
                  <a:lnTo>
                    <a:pt x="3" y="57"/>
                  </a:lnTo>
                  <a:lnTo>
                    <a:pt x="0" y="63"/>
                  </a:lnTo>
                  <a:lnTo>
                    <a:pt x="0" y="69"/>
                  </a:lnTo>
                  <a:lnTo>
                    <a:pt x="8" y="7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08" name="Freeform 209"/>
            <p:cNvSpPr>
              <a:spLocks/>
            </p:cNvSpPr>
            <p:nvPr/>
          </p:nvSpPr>
          <p:spPr bwMode="auto">
            <a:xfrm>
              <a:off x="4706938" y="2693988"/>
              <a:ext cx="12700" cy="9525"/>
            </a:xfrm>
            <a:custGeom>
              <a:avLst/>
              <a:gdLst>
                <a:gd name="T0" fmla="*/ 2147483647 w 8"/>
                <a:gd name="T1" fmla="*/ 2147483647 h 6"/>
                <a:gd name="T2" fmla="*/ 2147483647 w 8"/>
                <a:gd name="T3" fmla="*/ 2147483647 h 6"/>
                <a:gd name="T4" fmla="*/ 2147483647 w 8"/>
                <a:gd name="T5" fmla="*/ 0 h 6"/>
                <a:gd name="T6" fmla="*/ 0 w 8"/>
                <a:gd name="T7" fmla="*/ 2147483647 h 6"/>
                <a:gd name="T8" fmla="*/ 2147483647 w 8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6"/>
                <a:gd name="T17" fmla="*/ 8 w 8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6">
                  <a:moveTo>
                    <a:pt x="6" y="6"/>
                  </a:moveTo>
                  <a:lnTo>
                    <a:pt x="8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09" name="Freeform 210"/>
            <p:cNvSpPr>
              <a:spLocks/>
            </p:cNvSpPr>
            <p:nvPr/>
          </p:nvSpPr>
          <p:spPr bwMode="auto">
            <a:xfrm>
              <a:off x="4484688" y="2689225"/>
              <a:ext cx="28575" cy="46038"/>
            </a:xfrm>
            <a:custGeom>
              <a:avLst/>
              <a:gdLst>
                <a:gd name="T0" fmla="*/ 2147483647 w 17"/>
                <a:gd name="T1" fmla="*/ 0 h 29"/>
                <a:gd name="T2" fmla="*/ 2147483647 w 17"/>
                <a:gd name="T3" fmla="*/ 0 h 29"/>
                <a:gd name="T4" fmla="*/ 2147483647 w 17"/>
                <a:gd name="T5" fmla="*/ 2147483647 h 29"/>
                <a:gd name="T6" fmla="*/ 2147483647 w 17"/>
                <a:gd name="T7" fmla="*/ 2147483647 h 29"/>
                <a:gd name="T8" fmla="*/ 2147483647 w 17"/>
                <a:gd name="T9" fmla="*/ 2147483647 h 29"/>
                <a:gd name="T10" fmla="*/ 2147483647 w 17"/>
                <a:gd name="T11" fmla="*/ 2147483647 h 29"/>
                <a:gd name="T12" fmla="*/ 0 w 17"/>
                <a:gd name="T13" fmla="*/ 2147483647 h 29"/>
                <a:gd name="T14" fmla="*/ 0 w 17"/>
                <a:gd name="T15" fmla="*/ 2147483647 h 29"/>
                <a:gd name="T16" fmla="*/ 0 w 17"/>
                <a:gd name="T17" fmla="*/ 2147483647 h 29"/>
                <a:gd name="T18" fmla="*/ 2147483647 w 17"/>
                <a:gd name="T19" fmla="*/ 2147483647 h 29"/>
                <a:gd name="T20" fmla="*/ 2147483647 w 17"/>
                <a:gd name="T21" fmla="*/ 2147483647 h 29"/>
                <a:gd name="T22" fmla="*/ 2147483647 w 17"/>
                <a:gd name="T23" fmla="*/ 2147483647 h 29"/>
                <a:gd name="T24" fmla="*/ 2147483647 w 17"/>
                <a:gd name="T25" fmla="*/ 2147483647 h 29"/>
                <a:gd name="T26" fmla="*/ 2147483647 w 17"/>
                <a:gd name="T27" fmla="*/ 2147483647 h 29"/>
                <a:gd name="T28" fmla="*/ 2147483647 w 17"/>
                <a:gd name="T29" fmla="*/ 2147483647 h 29"/>
                <a:gd name="T30" fmla="*/ 2147483647 w 17"/>
                <a:gd name="T31" fmla="*/ 2147483647 h 29"/>
                <a:gd name="T32" fmla="*/ 2147483647 w 17"/>
                <a:gd name="T33" fmla="*/ 2147483647 h 29"/>
                <a:gd name="T34" fmla="*/ 2147483647 w 17"/>
                <a:gd name="T35" fmla="*/ 2147483647 h 29"/>
                <a:gd name="T36" fmla="*/ 2147483647 w 17"/>
                <a:gd name="T37" fmla="*/ 0 h 2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7"/>
                <a:gd name="T58" fmla="*/ 0 h 29"/>
                <a:gd name="T59" fmla="*/ 17 w 17"/>
                <a:gd name="T60" fmla="*/ 29 h 2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7" h="29">
                  <a:moveTo>
                    <a:pt x="14" y="0"/>
                  </a:moveTo>
                  <a:lnTo>
                    <a:pt x="14" y="0"/>
                  </a:lnTo>
                  <a:lnTo>
                    <a:pt x="11" y="3"/>
                  </a:lnTo>
                  <a:lnTo>
                    <a:pt x="9" y="6"/>
                  </a:lnTo>
                  <a:lnTo>
                    <a:pt x="3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6" y="29"/>
                  </a:lnTo>
                  <a:lnTo>
                    <a:pt x="11" y="29"/>
                  </a:lnTo>
                  <a:lnTo>
                    <a:pt x="14" y="26"/>
                  </a:lnTo>
                  <a:lnTo>
                    <a:pt x="14" y="18"/>
                  </a:lnTo>
                  <a:lnTo>
                    <a:pt x="17" y="12"/>
                  </a:lnTo>
                  <a:lnTo>
                    <a:pt x="17" y="3"/>
                  </a:lnTo>
                  <a:lnTo>
                    <a:pt x="14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10" name="Freeform 211"/>
            <p:cNvSpPr>
              <a:spLocks/>
            </p:cNvSpPr>
            <p:nvPr/>
          </p:nvSpPr>
          <p:spPr bwMode="auto">
            <a:xfrm>
              <a:off x="4581525" y="2449513"/>
              <a:ext cx="147638" cy="65087"/>
            </a:xfrm>
            <a:custGeom>
              <a:avLst/>
              <a:gdLst>
                <a:gd name="T0" fmla="*/ 2147483647 w 92"/>
                <a:gd name="T1" fmla="*/ 2147483647 h 40"/>
                <a:gd name="T2" fmla="*/ 2147483647 w 92"/>
                <a:gd name="T3" fmla="*/ 2147483647 h 40"/>
                <a:gd name="T4" fmla="*/ 2147483647 w 92"/>
                <a:gd name="T5" fmla="*/ 2147483647 h 40"/>
                <a:gd name="T6" fmla="*/ 2147483647 w 92"/>
                <a:gd name="T7" fmla="*/ 2147483647 h 40"/>
                <a:gd name="T8" fmla="*/ 2147483647 w 92"/>
                <a:gd name="T9" fmla="*/ 2147483647 h 40"/>
                <a:gd name="T10" fmla="*/ 2147483647 w 92"/>
                <a:gd name="T11" fmla="*/ 2147483647 h 40"/>
                <a:gd name="T12" fmla="*/ 2147483647 w 92"/>
                <a:gd name="T13" fmla="*/ 2147483647 h 40"/>
                <a:gd name="T14" fmla="*/ 2147483647 w 92"/>
                <a:gd name="T15" fmla="*/ 2147483647 h 40"/>
                <a:gd name="T16" fmla="*/ 2147483647 w 92"/>
                <a:gd name="T17" fmla="*/ 2147483647 h 40"/>
                <a:gd name="T18" fmla="*/ 2147483647 w 92"/>
                <a:gd name="T19" fmla="*/ 2147483647 h 40"/>
                <a:gd name="T20" fmla="*/ 2147483647 w 92"/>
                <a:gd name="T21" fmla="*/ 2147483647 h 40"/>
                <a:gd name="T22" fmla="*/ 2147483647 w 92"/>
                <a:gd name="T23" fmla="*/ 2147483647 h 40"/>
                <a:gd name="T24" fmla="*/ 2147483647 w 92"/>
                <a:gd name="T25" fmla="*/ 2147483647 h 40"/>
                <a:gd name="T26" fmla="*/ 2147483647 w 92"/>
                <a:gd name="T27" fmla="*/ 2147483647 h 40"/>
                <a:gd name="T28" fmla="*/ 2147483647 w 92"/>
                <a:gd name="T29" fmla="*/ 2147483647 h 40"/>
                <a:gd name="T30" fmla="*/ 2147483647 w 92"/>
                <a:gd name="T31" fmla="*/ 2147483647 h 40"/>
                <a:gd name="T32" fmla="*/ 2147483647 w 92"/>
                <a:gd name="T33" fmla="*/ 2147483647 h 40"/>
                <a:gd name="T34" fmla="*/ 2147483647 w 92"/>
                <a:gd name="T35" fmla="*/ 2147483647 h 40"/>
                <a:gd name="T36" fmla="*/ 2147483647 w 92"/>
                <a:gd name="T37" fmla="*/ 2147483647 h 40"/>
                <a:gd name="T38" fmla="*/ 2147483647 w 92"/>
                <a:gd name="T39" fmla="*/ 2147483647 h 40"/>
                <a:gd name="T40" fmla="*/ 2147483647 w 92"/>
                <a:gd name="T41" fmla="*/ 2147483647 h 40"/>
                <a:gd name="T42" fmla="*/ 2147483647 w 92"/>
                <a:gd name="T43" fmla="*/ 2147483647 h 40"/>
                <a:gd name="T44" fmla="*/ 2147483647 w 92"/>
                <a:gd name="T45" fmla="*/ 2147483647 h 40"/>
                <a:gd name="T46" fmla="*/ 2147483647 w 92"/>
                <a:gd name="T47" fmla="*/ 2147483647 h 40"/>
                <a:gd name="T48" fmla="*/ 2147483647 w 92"/>
                <a:gd name="T49" fmla="*/ 2147483647 h 40"/>
                <a:gd name="T50" fmla="*/ 2147483647 w 92"/>
                <a:gd name="T51" fmla="*/ 2147483647 h 40"/>
                <a:gd name="T52" fmla="*/ 2147483647 w 92"/>
                <a:gd name="T53" fmla="*/ 2147483647 h 40"/>
                <a:gd name="T54" fmla="*/ 2147483647 w 92"/>
                <a:gd name="T55" fmla="*/ 2147483647 h 40"/>
                <a:gd name="T56" fmla="*/ 2147483647 w 92"/>
                <a:gd name="T57" fmla="*/ 2147483647 h 40"/>
                <a:gd name="T58" fmla="*/ 2147483647 w 92"/>
                <a:gd name="T59" fmla="*/ 0 h 40"/>
                <a:gd name="T60" fmla="*/ 2147483647 w 92"/>
                <a:gd name="T61" fmla="*/ 2147483647 h 40"/>
                <a:gd name="T62" fmla="*/ 2147483647 w 92"/>
                <a:gd name="T63" fmla="*/ 2147483647 h 40"/>
                <a:gd name="T64" fmla="*/ 2147483647 w 92"/>
                <a:gd name="T65" fmla="*/ 0 h 40"/>
                <a:gd name="T66" fmla="*/ 2147483647 w 92"/>
                <a:gd name="T67" fmla="*/ 0 h 40"/>
                <a:gd name="T68" fmla="*/ 2147483647 w 92"/>
                <a:gd name="T69" fmla="*/ 2147483647 h 40"/>
                <a:gd name="T70" fmla="*/ 2147483647 w 92"/>
                <a:gd name="T71" fmla="*/ 2147483647 h 40"/>
                <a:gd name="T72" fmla="*/ 2147483647 w 92"/>
                <a:gd name="T73" fmla="*/ 2147483647 h 40"/>
                <a:gd name="T74" fmla="*/ 2147483647 w 92"/>
                <a:gd name="T75" fmla="*/ 2147483647 h 40"/>
                <a:gd name="T76" fmla="*/ 0 w 92"/>
                <a:gd name="T77" fmla="*/ 2147483647 h 40"/>
                <a:gd name="T78" fmla="*/ 0 w 92"/>
                <a:gd name="T79" fmla="*/ 2147483647 h 40"/>
                <a:gd name="T80" fmla="*/ 2147483647 w 92"/>
                <a:gd name="T81" fmla="*/ 2147483647 h 40"/>
                <a:gd name="T82" fmla="*/ 2147483647 w 92"/>
                <a:gd name="T83" fmla="*/ 2147483647 h 40"/>
                <a:gd name="T84" fmla="*/ 2147483647 w 92"/>
                <a:gd name="T85" fmla="*/ 2147483647 h 4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92"/>
                <a:gd name="T130" fmla="*/ 0 h 40"/>
                <a:gd name="T131" fmla="*/ 92 w 92"/>
                <a:gd name="T132" fmla="*/ 40 h 4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92" h="40">
                  <a:moveTo>
                    <a:pt x="12" y="29"/>
                  </a:moveTo>
                  <a:lnTo>
                    <a:pt x="23" y="40"/>
                  </a:lnTo>
                  <a:lnTo>
                    <a:pt x="32" y="40"/>
                  </a:lnTo>
                  <a:lnTo>
                    <a:pt x="35" y="37"/>
                  </a:lnTo>
                  <a:lnTo>
                    <a:pt x="38" y="32"/>
                  </a:lnTo>
                  <a:lnTo>
                    <a:pt x="46" y="34"/>
                  </a:lnTo>
                  <a:lnTo>
                    <a:pt x="49" y="34"/>
                  </a:lnTo>
                  <a:lnTo>
                    <a:pt x="55" y="37"/>
                  </a:lnTo>
                  <a:lnTo>
                    <a:pt x="61" y="37"/>
                  </a:lnTo>
                  <a:lnTo>
                    <a:pt x="61" y="34"/>
                  </a:lnTo>
                  <a:lnTo>
                    <a:pt x="69" y="40"/>
                  </a:lnTo>
                  <a:lnTo>
                    <a:pt x="72" y="34"/>
                  </a:lnTo>
                  <a:lnTo>
                    <a:pt x="78" y="34"/>
                  </a:lnTo>
                  <a:lnTo>
                    <a:pt x="86" y="26"/>
                  </a:lnTo>
                  <a:lnTo>
                    <a:pt x="92" y="23"/>
                  </a:lnTo>
                  <a:lnTo>
                    <a:pt x="89" y="17"/>
                  </a:lnTo>
                  <a:lnTo>
                    <a:pt x="84" y="17"/>
                  </a:lnTo>
                  <a:lnTo>
                    <a:pt x="81" y="20"/>
                  </a:lnTo>
                  <a:lnTo>
                    <a:pt x="78" y="17"/>
                  </a:lnTo>
                  <a:lnTo>
                    <a:pt x="75" y="14"/>
                  </a:lnTo>
                  <a:lnTo>
                    <a:pt x="75" y="11"/>
                  </a:lnTo>
                  <a:lnTo>
                    <a:pt x="69" y="11"/>
                  </a:lnTo>
                  <a:lnTo>
                    <a:pt x="58" y="6"/>
                  </a:lnTo>
                  <a:lnTo>
                    <a:pt x="49" y="6"/>
                  </a:lnTo>
                  <a:lnTo>
                    <a:pt x="38" y="0"/>
                  </a:lnTo>
                  <a:lnTo>
                    <a:pt x="32" y="3"/>
                  </a:lnTo>
                  <a:lnTo>
                    <a:pt x="29" y="0"/>
                  </a:lnTo>
                  <a:lnTo>
                    <a:pt x="26" y="0"/>
                  </a:lnTo>
                  <a:lnTo>
                    <a:pt x="20" y="3"/>
                  </a:lnTo>
                  <a:lnTo>
                    <a:pt x="12" y="6"/>
                  </a:lnTo>
                  <a:lnTo>
                    <a:pt x="9" y="11"/>
                  </a:lnTo>
                  <a:lnTo>
                    <a:pt x="0" y="9"/>
                  </a:lnTo>
                  <a:lnTo>
                    <a:pt x="0" y="11"/>
                  </a:lnTo>
                  <a:lnTo>
                    <a:pt x="3" y="14"/>
                  </a:lnTo>
                  <a:lnTo>
                    <a:pt x="3" y="23"/>
                  </a:lnTo>
                  <a:lnTo>
                    <a:pt x="12" y="2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11" name="Freeform 212"/>
            <p:cNvSpPr>
              <a:spLocks/>
            </p:cNvSpPr>
            <p:nvPr/>
          </p:nvSpPr>
          <p:spPr bwMode="auto">
            <a:xfrm>
              <a:off x="4545013" y="2505075"/>
              <a:ext cx="147637" cy="104775"/>
            </a:xfrm>
            <a:custGeom>
              <a:avLst/>
              <a:gdLst>
                <a:gd name="T0" fmla="*/ 2147483647 w 92"/>
                <a:gd name="T1" fmla="*/ 2147483647 h 66"/>
                <a:gd name="T2" fmla="*/ 2147483647 w 92"/>
                <a:gd name="T3" fmla="*/ 2147483647 h 66"/>
                <a:gd name="T4" fmla="*/ 2147483647 w 92"/>
                <a:gd name="T5" fmla="*/ 2147483647 h 66"/>
                <a:gd name="T6" fmla="*/ 2147483647 w 92"/>
                <a:gd name="T7" fmla="*/ 2147483647 h 66"/>
                <a:gd name="T8" fmla="*/ 2147483647 w 92"/>
                <a:gd name="T9" fmla="*/ 2147483647 h 66"/>
                <a:gd name="T10" fmla="*/ 2147483647 w 92"/>
                <a:gd name="T11" fmla="*/ 2147483647 h 66"/>
                <a:gd name="T12" fmla="*/ 2147483647 w 92"/>
                <a:gd name="T13" fmla="*/ 2147483647 h 66"/>
                <a:gd name="T14" fmla="*/ 2147483647 w 92"/>
                <a:gd name="T15" fmla="*/ 2147483647 h 66"/>
                <a:gd name="T16" fmla="*/ 2147483647 w 92"/>
                <a:gd name="T17" fmla="*/ 2147483647 h 66"/>
                <a:gd name="T18" fmla="*/ 2147483647 w 92"/>
                <a:gd name="T19" fmla="*/ 2147483647 h 66"/>
                <a:gd name="T20" fmla="*/ 2147483647 w 92"/>
                <a:gd name="T21" fmla="*/ 2147483647 h 66"/>
                <a:gd name="T22" fmla="*/ 2147483647 w 92"/>
                <a:gd name="T23" fmla="*/ 2147483647 h 66"/>
                <a:gd name="T24" fmla="*/ 2147483647 w 92"/>
                <a:gd name="T25" fmla="*/ 2147483647 h 66"/>
                <a:gd name="T26" fmla="*/ 2147483647 w 92"/>
                <a:gd name="T27" fmla="*/ 2147483647 h 66"/>
                <a:gd name="T28" fmla="*/ 2147483647 w 92"/>
                <a:gd name="T29" fmla="*/ 2147483647 h 66"/>
                <a:gd name="T30" fmla="*/ 2147483647 w 92"/>
                <a:gd name="T31" fmla="*/ 2147483647 h 66"/>
                <a:gd name="T32" fmla="*/ 2147483647 w 92"/>
                <a:gd name="T33" fmla="*/ 2147483647 h 66"/>
                <a:gd name="T34" fmla="*/ 0 w 92"/>
                <a:gd name="T35" fmla="*/ 2147483647 h 66"/>
                <a:gd name="T36" fmla="*/ 2147483647 w 92"/>
                <a:gd name="T37" fmla="*/ 2147483647 h 66"/>
                <a:gd name="T38" fmla="*/ 2147483647 w 92"/>
                <a:gd name="T39" fmla="*/ 2147483647 h 66"/>
                <a:gd name="T40" fmla="*/ 2147483647 w 92"/>
                <a:gd name="T41" fmla="*/ 2147483647 h 66"/>
                <a:gd name="T42" fmla="*/ 2147483647 w 92"/>
                <a:gd name="T43" fmla="*/ 2147483647 h 66"/>
                <a:gd name="T44" fmla="*/ 2147483647 w 92"/>
                <a:gd name="T45" fmla="*/ 2147483647 h 66"/>
                <a:gd name="T46" fmla="*/ 2147483647 w 92"/>
                <a:gd name="T47" fmla="*/ 2147483647 h 66"/>
                <a:gd name="T48" fmla="*/ 2147483647 w 92"/>
                <a:gd name="T49" fmla="*/ 2147483647 h 66"/>
                <a:gd name="T50" fmla="*/ 2147483647 w 92"/>
                <a:gd name="T51" fmla="*/ 2147483647 h 66"/>
                <a:gd name="T52" fmla="*/ 2147483647 w 92"/>
                <a:gd name="T53" fmla="*/ 2147483647 h 66"/>
                <a:gd name="T54" fmla="*/ 2147483647 w 92"/>
                <a:gd name="T55" fmla="*/ 2147483647 h 66"/>
                <a:gd name="T56" fmla="*/ 2147483647 w 92"/>
                <a:gd name="T57" fmla="*/ 2147483647 h 66"/>
                <a:gd name="T58" fmla="*/ 2147483647 w 92"/>
                <a:gd name="T59" fmla="*/ 2147483647 h 66"/>
                <a:gd name="T60" fmla="*/ 2147483647 w 92"/>
                <a:gd name="T61" fmla="*/ 2147483647 h 66"/>
                <a:gd name="T62" fmla="*/ 2147483647 w 92"/>
                <a:gd name="T63" fmla="*/ 2147483647 h 6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92"/>
                <a:gd name="T97" fmla="*/ 0 h 66"/>
                <a:gd name="T98" fmla="*/ 92 w 92"/>
                <a:gd name="T99" fmla="*/ 66 h 6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92" h="66">
                  <a:moveTo>
                    <a:pt x="84" y="38"/>
                  </a:moveTo>
                  <a:lnTo>
                    <a:pt x="84" y="32"/>
                  </a:lnTo>
                  <a:lnTo>
                    <a:pt x="86" y="29"/>
                  </a:lnTo>
                  <a:lnTo>
                    <a:pt x="84" y="26"/>
                  </a:lnTo>
                  <a:lnTo>
                    <a:pt x="86" y="23"/>
                  </a:lnTo>
                  <a:lnTo>
                    <a:pt x="92" y="23"/>
                  </a:lnTo>
                  <a:lnTo>
                    <a:pt x="92" y="18"/>
                  </a:lnTo>
                  <a:lnTo>
                    <a:pt x="89" y="9"/>
                  </a:lnTo>
                  <a:lnTo>
                    <a:pt x="86" y="6"/>
                  </a:lnTo>
                  <a:lnTo>
                    <a:pt x="84" y="6"/>
                  </a:lnTo>
                  <a:lnTo>
                    <a:pt x="78" y="9"/>
                  </a:lnTo>
                  <a:lnTo>
                    <a:pt x="78" y="6"/>
                  </a:lnTo>
                  <a:lnTo>
                    <a:pt x="72" y="3"/>
                  </a:lnTo>
                  <a:lnTo>
                    <a:pt x="66" y="3"/>
                  </a:lnTo>
                  <a:lnTo>
                    <a:pt x="63" y="0"/>
                  </a:lnTo>
                  <a:lnTo>
                    <a:pt x="61" y="3"/>
                  </a:lnTo>
                  <a:lnTo>
                    <a:pt x="58" y="9"/>
                  </a:lnTo>
                  <a:lnTo>
                    <a:pt x="46" y="9"/>
                  </a:lnTo>
                  <a:lnTo>
                    <a:pt x="43" y="9"/>
                  </a:lnTo>
                  <a:lnTo>
                    <a:pt x="40" y="9"/>
                  </a:lnTo>
                  <a:lnTo>
                    <a:pt x="35" y="15"/>
                  </a:lnTo>
                  <a:lnTo>
                    <a:pt x="32" y="15"/>
                  </a:lnTo>
                  <a:lnTo>
                    <a:pt x="32" y="18"/>
                  </a:lnTo>
                  <a:lnTo>
                    <a:pt x="35" y="26"/>
                  </a:lnTo>
                  <a:lnTo>
                    <a:pt x="35" y="32"/>
                  </a:lnTo>
                  <a:lnTo>
                    <a:pt x="32" y="29"/>
                  </a:lnTo>
                  <a:lnTo>
                    <a:pt x="29" y="29"/>
                  </a:lnTo>
                  <a:lnTo>
                    <a:pt x="20" y="29"/>
                  </a:lnTo>
                  <a:lnTo>
                    <a:pt x="9" y="32"/>
                  </a:lnTo>
                  <a:lnTo>
                    <a:pt x="0" y="32"/>
                  </a:lnTo>
                  <a:lnTo>
                    <a:pt x="0" y="38"/>
                  </a:lnTo>
                  <a:lnTo>
                    <a:pt x="3" y="38"/>
                  </a:lnTo>
                  <a:lnTo>
                    <a:pt x="23" y="35"/>
                  </a:lnTo>
                  <a:lnTo>
                    <a:pt x="26" y="41"/>
                  </a:lnTo>
                  <a:lnTo>
                    <a:pt x="26" y="46"/>
                  </a:lnTo>
                  <a:lnTo>
                    <a:pt x="40" y="52"/>
                  </a:lnTo>
                  <a:lnTo>
                    <a:pt x="46" y="64"/>
                  </a:lnTo>
                  <a:lnTo>
                    <a:pt x="49" y="64"/>
                  </a:lnTo>
                  <a:lnTo>
                    <a:pt x="52" y="64"/>
                  </a:lnTo>
                  <a:lnTo>
                    <a:pt x="58" y="66"/>
                  </a:lnTo>
                  <a:lnTo>
                    <a:pt x="66" y="66"/>
                  </a:lnTo>
                  <a:lnTo>
                    <a:pt x="69" y="61"/>
                  </a:lnTo>
                  <a:lnTo>
                    <a:pt x="72" y="58"/>
                  </a:lnTo>
                  <a:lnTo>
                    <a:pt x="72" y="52"/>
                  </a:lnTo>
                  <a:lnTo>
                    <a:pt x="84" y="46"/>
                  </a:lnTo>
                  <a:lnTo>
                    <a:pt x="78" y="41"/>
                  </a:lnTo>
                  <a:lnTo>
                    <a:pt x="81" y="38"/>
                  </a:lnTo>
                  <a:lnTo>
                    <a:pt x="84" y="3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12" name="Freeform 213"/>
            <p:cNvSpPr>
              <a:spLocks/>
            </p:cNvSpPr>
            <p:nvPr/>
          </p:nvSpPr>
          <p:spPr bwMode="auto">
            <a:xfrm>
              <a:off x="4462463" y="2863850"/>
              <a:ext cx="101600" cy="220663"/>
            </a:xfrm>
            <a:custGeom>
              <a:avLst/>
              <a:gdLst>
                <a:gd name="T0" fmla="*/ 2147483647 w 63"/>
                <a:gd name="T1" fmla="*/ 2147483647 h 138"/>
                <a:gd name="T2" fmla="*/ 2147483647 w 63"/>
                <a:gd name="T3" fmla="*/ 2147483647 h 138"/>
                <a:gd name="T4" fmla="*/ 2147483647 w 63"/>
                <a:gd name="T5" fmla="*/ 2147483647 h 138"/>
                <a:gd name="T6" fmla="*/ 2147483647 w 63"/>
                <a:gd name="T7" fmla="*/ 2147483647 h 138"/>
                <a:gd name="T8" fmla="*/ 2147483647 w 63"/>
                <a:gd name="T9" fmla="*/ 2147483647 h 138"/>
                <a:gd name="T10" fmla="*/ 2147483647 w 63"/>
                <a:gd name="T11" fmla="*/ 2147483647 h 138"/>
                <a:gd name="T12" fmla="*/ 2147483647 w 63"/>
                <a:gd name="T13" fmla="*/ 2147483647 h 138"/>
                <a:gd name="T14" fmla="*/ 2147483647 w 63"/>
                <a:gd name="T15" fmla="*/ 2147483647 h 138"/>
                <a:gd name="T16" fmla="*/ 2147483647 w 63"/>
                <a:gd name="T17" fmla="*/ 2147483647 h 138"/>
                <a:gd name="T18" fmla="*/ 2147483647 w 63"/>
                <a:gd name="T19" fmla="*/ 2147483647 h 138"/>
                <a:gd name="T20" fmla="*/ 2147483647 w 63"/>
                <a:gd name="T21" fmla="*/ 2147483647 h 138"/>
                <a:gd name="T22" fmla="*/ 2147483647 w 63"/>
                <a:gd name="T23" fmla="*/ 2147483647 h 138"/>
                <a:gd name="T24" fmla="*/ 2147483647 w 63"/>
                <a:gd name="T25" fmla="*/ 2147483647 h 138"/>
                <a:gd name="T26" fmla="*/ 2147483647 w 63"/>
                <a:gd name="T27" fmla="*/ 2147483647 h 138"/>
                <a:gd name="T28" fmla="*/ 2147483647 w 63"/>
                <a:gd name="T29" fmla="*/ 2147483647 h 138"/>
                <a:gd name="T30" fmla="*/ 2147483647 w 63"/>
                <a:gd name="T31" fmla="*/ 2147483647 h 138"/>
                <a:gd name="T32" fmla="*/ 2147483647 w 63"/>
                <a:gd name="T33" fmla="*/ 2147483647 h 138"/>
                <a:gd name="T34" fmla="*/ 2147483647 w 63"/>
                <a:gd name="T35" fmla="*/ 2147483647 h 138"/>
                <a:gd name="T36" fmla="*/ 2147483647 w 63"/>
                <a:gd name="T37" fmla="*/ 2147483647 h 138"/>
                <a:gd name="T38" fmla="*/ 2147483647 w 63"/>
                <a:gd name="T39" fmla="*/ 2147483647 h 138"/>
                <a:gd name="T40" fmla="*/ 2147483647 w 63"/>
                <a:gd name="T41" fmla="*/ 2147483647 h 138"/>
                <a:gd name="T42" fmla="*/ 2147483647 w 63"/>
                <a:gd name="T43" fmla="*/ 2147483647 h 138"/>
                <a:gd name="T44" fmla="*/ 2147483647 w 63"/>
                <a:gd name="T45" fmla="*/ 2147483647 h 138"/>
                <a:gd name="T46" fmla="*/ 2147483647 w 63"/>
                <a:gd name="T47" fmla="*/ 2147483647 h 138"/>
                <a:gd name="T48" fmla="*/ 2147483647 w 63"/>
                <a:gd name="T49" fmla="*/ 2147483647 h 138"/>
                <a:gd name="T50" fmla="*/ 2147483647 w 63"/>
                <a:gd name="T51" fmla="*/ 2147483647 h 138"/>
                <a:gd name="T52" fmla="*/ 2147483647 w 63"/>
                <a:gd name="T53" fmla="*/ 2147483647 h 138"/>
                <a:gd name="T54" fmla="*/ 2147483647 w 63"/>
                <a:gd name="T55" fmla="*/ 2147483647 h 138"/>
                <a:gd name="T56" fmla="*/ 2147483647 w 63"/>
                <a:gd name="T57" fmla="*/ 2147483647 h 138"/>
                <a:gd name="T58" fmla="*/ 2147483647 w 63"/>
                <a:gd name="T59" fmla="*/ 2147483647 h 138"/>
                <a:gd name="T60" fmla="*/ 2147483647 w 63"/>
                <a:gd name="T61" fmla="*/ 2147483647 h 138"/>
                <a:gd name="T62" fmla="*/ 2147483647 w 63"/>
                <a:gd name="T63" fmla="*/ 2147483647 h 138"/>
                <a:gd name="T64" fmla="*/ 2147483647 w 63"/>
                <a:gd name="T65" fmla="*/ 2147483647 h 138"/>
                <a:gd name="T66" fmla="*/ 2147483647 w 63"/>
                <a:gd name="T67" fmla="*/ 0 h 138"/>
                <a:gd name="T68" fmla="*/ 2147483647 w 63"/>
                <a:gd name="T69" fmla="*/ 0 h 138"/>
                <a:gd name="T70" fmla="*/ 2147483647 w 63"/>
                <a:gd name="T71" fmla="*/ 2147483647 h 138"/>
                <a:gd name="T72" fmla="*/ 2147483647 w 63"/>
                <a:gd name="T73" fmla="*/ 2147483647 h 138"/>
                <a:gd name="T74" fmla="*/ 2147483647 w 63"/>
                <a:gd name="T75" fmla="*/ 2147483647 h 13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63"/>
                <a:gd name="T115" fmla="*/ 0 h 138"/>
                <a:gd name="T116" fmla="*/ 63 w 63"/>
                <a:gd name="T117" fmla="*/ 138 h 13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63" h="138">
                  <a:moveTo>
                    <a:pt x="14" y="20"/>
                  </a:moveTo>
                  <a:lnTo>
                    <a:pt x="8" y="32"/>
                  </a:lnTo>
                  <a:lnTo>
                    <a:pt x="14" y="43"/>
                  </a:lnTo>
                  <a:lnTo>
                    <a:pt x="8" y="55"/>
                  </a:lnTo>
                  <a:lnTo>
                    <a:pt x="0" y="66"/>
                  </a:lnTo>
                  <a:lnTo>
                    <a:pt x="2" y="81"/>
                  </a:lnTo>
                  <a:lnTo>
                    <a:pt x="14" y="87"/>
                  </a:lnTo>
                  <a:lnTo>
                    <a:pt x="14" y="95"/>
                  </a:lnTo>
                  <a:lnTo>
                    <a:pt x="25" y="104"/>
                  </a:lnTo>
                  <a:lnTo>
                    <a:pt x="31" y="138"/>
                  </a:lnTo>
                  <a:lnTo>
                    <a:pt x="40" y="132"/>
                  </a:lnTo>
                  <a:lnTo>
                    <a:pt x="40" y="121"/>
                  </a:lnTo>
                  <a:lnTo>
                    <a:pt x="40" y="109"/>
                  </a:lnTo>
                  <a:lnTo>
                    <a:pt x="46" y="109"/>
                  </a:lnTo>
                  <a:lnTo>
                    <a:pt x="54" y="104"/>
                  </a:lnTo>
                  <a:lnTo>
                    <a:pt x="60" y="95"/>
                  </a:lnTo>
                  <a:lnTo>
                    <a:pt x="63" y="81"/>
                  </a:lnTo>
                  <a:lnTo>
                    <a:pt x="54" y="75"/>
                  </a:lnTo>
                  <a:lnTo>
                    <a:pt x="54" y="69"/>
                  </a:lnTo>
                  <a:lnTo>
                    <a:pt x="51" y="66"/>
                  </a:lnTo>
                  <a:lnTo>
                    <a:pt x="48" y="66"/>
                  </a:lnTo>
                  <a:lnTo>
                    <a:pt x="46" y="69"/>
                  </a:lnTo>
                  <a:lnTo>
                    <a:pt x="46" y="72"/>
                  </a:lnTo>
                  <a:lnTo>
                    <a:pt x="43" y="69"/>
                  </a:lnTo>
                  <a:lnTo>
                    <a:pt x="40" y="66"/>
                  </a:lnTo>
                  <a:lnTo>
                    <a:pt x="40" y="64"/>
                  </a:lnTo>
                  <a:lnTo>
                    <a:pt x="40" y="58"/>
                  </a:lnTo>
                  <a:lnTo>
                    <a:pt x="51" y="52"/>
                  </a:lnTo>
                  <a:lnTo>
                    <a:pt x="54" y="49"/>
                  </a:lnTo>
                  <a:lnTo>
                    <a:pt x="54" y="43"/>
                  </a:lnTo>
                  <a:lnTo>
                    <a:pt x="57" y="38"/>
                  </a:lnTo>
                  <a:lnTo>
                    <a:pt x="54" y="35"/>
                  </a:lnTo>
                  <a:lnTo>
                    <a:pt x="51" y="32"/>
                  </a:lnTo>
                  <a:lnTo>
                    <a:pt x="46" y="32"/>
                  </a:lnTo>
                  <a:lnTo>
                    <a:pt x="46" y="26"/>
                  </a:lnTo>
                  <a:lnTo>
                    <a:pt x="48" y="20"/>
                  </a:lnTo>
                  <a:lnTo>
                    <a:pt x="48" y="18"/>
                  </a:lnTo>
                  <a:lnTo>
                    <a:pt x="54" y="9"/>
                  </a:lnTo>
                  <a:lnTo>
                    <a:pt x="57" y="6"/>
                  </a:lnTo>
                  <a:lnTo>
                    <a:pt x="54" y="6"/>
                  </a:lnTo>
                  <a:lnTo>
                    <a:pt x="51" y="6"/>
                  </a:lnTo>
                  <a:lnTo>
                    <a:pt x="48" y="9"/>
                  </a:lnTo>
                  <a:lnTo>
                    <a:pt x="46" y="12"/>
                  </a:lnTo>
                  <a:lnTo>
                    <a:pt x="43" y="12"/>
                  </a:lnTo>
                  <a:lnTo>
                    <a:pt x="40" y="3"/>
                  </a:lnTo>
                  <a:lnTo>
                    <a:pt x="34" y="0"/>
                  </a:lnTo>
                  <a:lnTo>
                    <a:pt x="28" y="0"/>
                  </a:lnTo>
                  <a:lnTo>
                    <a:pt x="23" y="3"/>
                  </a:lnTo>
                  <a:lnTo>
                    <a:pt x="17" y="6"/>
                  </a:lnTo>
                  <a:lnTo>
                    <a:pt x="17" y="12"/>
                  </a:lnTo>
                  <a:lnTo>
                    <a:pt x="14" y="15"/>
                  </a:lnTo>
                  <a:lnTo>
                    <a:pt x="11" y="18"/>
                  </a:lnTo>
                  <a:lnTo>
                    <a:pt x="14" y="2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13" name="Freeform 214"/>
            <p:cNvSpPr>
              <a:spLocks/>
            </p:cNvSpPr>
            <p:nvPr/>
          </p:nvSpPr>
          <p:spPr bwMode="auto">
            <a:xfrm>
              <a:off x="4968875" y="2878138"/>
              <a:ext cx="23813" cy="14287"/>
            </a:xfrm>
            <a:custGeom>
              <a:avLst/>
              <a:gdLst>
                <a:gd name="T0" fmla="*/ 2147483647 w 15"/>
                <a:gd name="T1" fmla="*/ 0 h 9"/>
                <a:gd name="T2" fmla="*/ 0 w 15"/>
                <a:gd name="T3" fmla="*/ 2147483647 h 9"/>
                <a:gd name="T4" fmla="*/ 2147483647 w 15"/>
                <a:gd name="T5" fmla="*/ 2147483647 h 9"/>
                <a:gd name="T6" fmla="*/ 2147483647 w 15"/>
                <a:gd name="T7" fmla="*/ 2147483647 h 9"/>
                <a:gd name="T8" fmla="*/ 2147483647 w 15"/>
                <a:gd name="T9" fmla="*/ 2147483647 h 9"/>
                <a:gd name="T10" fmla="*/ 2147483647 w 15"/>
                <a:gd name="T11" fmla="*/ 0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9"/>
                <a:gd name="T20" fmla="*/ 15 w 15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9">
                  <a:moveTo>
                    <a:pt x="6" y="0"/>
                  </a:moveTo>
                  <a:lnTo>
                    <a:pt x="0" y="9"/>
                  </a:lnTo>
                  <a:lnTo>
                    <a:pt x="9" y="6"/>
                  </a:lnTo>
                  <a:lnTo>
                    <a:pt x="15" y="6"/>
                  </a:lnTo>
                  <a:lnTo>
                    <a:pt x="12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14" name="Freeform 215"/>
            <p:cNvSpPr>
              <a:spLocks/>
            </p:cNvSpPr>
            <p:nvPr/>
          </p:nvSpPr>
          <p:spPr bwMode="auto">
            <a:xfrm>
              <a:off x="4545013" y="1930400"/>
              <a:ext cx="273050" cy="409575"/>
            </a:xfrm>
            <a:custGeom>
              <a:avLst/>
              <a:gdLst>
                <a:gd name="T0" fmla="*/ 2147483647 w 170"/>
                <a:gd name="T1" fmla="*/ 2147483647 h 255"/>
                <a:gd name="T2" fmla="*/ 2147483647 w 170"/>
                <a:gd name="T3" fmla="*/ 2147483647 h 255"/>
                <a:gd name="T4" fmla="*/ 2147483647 w 170"/>
                <a:gd name="T5" fmla="*/ 2147483647 h 255"/>
                <a:gd name="T6" fmla="*/ 2147483647 w 170"/>
                <a:gd name="T7" fmla="*/ 2147483647 h 255"/>
                <a:gd name="T8" fmla="*/ 2147483647 w 170"/>
                <a:gd name="T9" fmla="*/ 2147483647 h 255"/>
                <a:gd name="T10" fmla="*/ 2147483647 w 170"/>
                <a:gd name="T11" fmla="*/ 2147483647 h 255"/>
                <a:gd name="T12" fmla="*/ 2147483647 w 170"/>
                <a:gd name="T13" fmla="*/ 2147483647 h 255"/>
                <a:gd name="T14" fmla="*/ 2147483647 w 170"/>
                <a:gd name="T15" fmla="*/ 2147483647 h 255"/>
                <a:gd name="T16" fmla="*/ 2147483647 w 170"/>
                <a:gd name="T17" fmla="*/ 2147483647 h 255"/>
                <a:gd name="T18" fmla="*/ 2147483647 w 170"/>
                <a:gd name="T19" fmla="*/ 2147483647 h 255"/>
                <a:gd name="T20" fmla="*/ 2147483647 w 170"/>
                <a:gd name="T21" fmla="*/ 2147483647 h 255"/>
                <a:gd name="T22" fmla="*/ 2147483647 w 170"/>
                <a:gd name="T23" fmla="*/ 2147483647 h 255"/>
                <a:gd name="T24" fmla="*/ 2147483647 w 170"/>
                <a:gd name="T25" fmla="*/ 2147483647 h 255"/>
                <a:gd name="T26" fmla="*/ 2147483647 w 170"/>
                <a:gd name="T27" fmla="*/ 2147483647 h 255"/>
                <a:gd name="T28" fmla="*/ 2147483647 w 170"/>
                <a:gd name="T29" fmla="*/ 2147483647 h 255"/>
                <a:gd name="T30" fmla="*/ 2147483647 w 170"/>
                <a:gd name="T31" fmla="*/ 2147483647 h 255"/>
                <a:gd name="T32" fmla="*/ 2147483647 w 170"/>
                <a:gd name="T33" fmla="*/ 2147483647 h 255"/>
                <a:gd name="T34" fmla="*/ 2147483647 w 170"/>
                <a:gd name="T35" fmla="*/ 2147483647 h 255"/>
                <a:gd name="T36" fmla="*/ 2147483647 w 170"/>
                <a:gd name="T37" fmla="*/ 2147483647 h 255"/>
                <a:gd name="T38" fmla="*/ 2147483647 w 170"/>
                <a:gd name="T39" fmla="*/ 2147483647 h 255"/>
                <a:gd name="T40" fmla="*/ 2147483647 w 170"/>
                <a:gd name="T41" fmla="*/ 2147483647 h 255"/>
                <a:gd name="T42" fmla="*/ 2147483647 w 170"/>
                <a:gd name="T43" fmla="*/ 2147483647 h 255"/>
                <a:gd name="T44" fmla="*/ 2147483647 w 170"/>
                <a:gd name="T45" fmla="*/ 2147483647 h 255"/>
                <a:gd name="T46" fmla="*/ 2147483647 w 170"/>
                <a:gd name="T47" fmla="*/ 2147483647 h 255"/>
                <a:gd name="T48" fmla="*/ 2147483647 w 170"/>
                <a:gd name="T49" fmla="*/ 2147483647 h 255"/>
                <a:gd name="T50" fmla="*/ 2147483647 w 170"/>
                <a:gd name="T51" fmla="*/ 2147483647 h 255"/>
                <a:gd name="T52" fmla="*/ 2147483647 w 170"/>
                <a:gd name="T53" fmla="*/ 2147483647 h 255"/>
                <a:gd name="T54" fmla="*/ 2147483647 w 170"/>
                <a:gd name="T55" fmla="*/ 2147483647 h 255"/>
                <a:gd name="T56" fmla="*/ 2147483647 w 170"/>
                <a:gd name="T57" fmla="*/ 2147483647 h 255"/>
                <a:gd name="T58" fmla="*/ 2147483647 w 170"/>
                <a:gd name="T59" fmla="*/ 2147483647 h 255"/>
                <a:gd name="T60" fmla="*/ 2147483647 w 170"/>
                <a:gd name="T61" fmla="*/ 2147483647 h 255"/>
                <a:gd name="T62" fmla="*/ 2147483647 w 170"/>
                <a:gd name="T63" fmla="*/ 2147483647 h 255"/>
                <a:gd name="T64" fmla="*/ 2147483647 w 170"/>
                <a:gd name="T65" fmla="*/ 2147483647 h 255"/>
                <a:gd name="T66" fmla="*/ 2147483647 w 170"/>
                <a:gd name="T67" fmla="*/ 2147483647 h 255"/>
                <a:gd name="T68" fmla="*/ 2147483647 w 170"/>
                <a:gd name="T69" fmla="*/ 2147483647 h 255"/>
                <a:gd name="T70" fmla="*/ 2147483647 w 170"/>
                <a:gd name="T71" fmla="*/ 2147483647 h 255"/>
                <a:gd name="T72" fmla="*/ 2147483647 w 170"/>
                <a:gd name="T73" fmla="*/ 2147483647 h 255"/>
                <a:gd name="T74" fmla="*/ 2147483647 w 170"/>
                <a:gd name="T75" fmla="*/ 2147483647 h 255"/>
                <a:gd name="T76" fmla="*/ 2147483647 w 170"/>
                <a:gd name="T77" fmla="*/ 2147483647 h 255"/>
                <a:gd name="T78" fmla="*/ 2147483647 w 170"/>
                <a:gd name="T79" fmla="*/ 2147483647 h 255"/>
                <a:gd name="T80" fmla="*/ 2147483647 w 170"/>
                <a:gd name="T81" fmla="*/ 2147483647 h 255"/>
                <a:gd name="T82" fmla="*/ 2147483647 w 170"/>
                <a:gd name="T83" fmla="*/ 2147483647 h 255"/>
                <a:gd name="T84" fmla="*/ 2147483647 w 170"/>
                <a:gd name="T85" fmla="*/ 2147483647 h 255"/>
                <a:gd name="T86" fmla="*/ 2147483647 w 170"/>
                <a:gd name="T87" fmla="*/ 2147483647 h 255"/>
                <a:gd name="T88" fmla="*/ 2147483647 w 170"/>
                <a:gd name="T89" fmla="*/ 2147483647 h 255"/>
                <a:gd name="T90" fmla="*/ 2147483647 w 170"/>
                <a:gd name="T91" fmla="*/ 2147483647 h 255"/>
                <a:gd name="T92" fmla="*/ 2147483647 w 170"/>
                <a:gd name="T93" fmla="*/ 2147483647 h 255"/>
                <a:gd name="T94" fmla="*/ 2147483647 w 170"/>
                <a:gd name="T95" fmla="*/ 2147483647 h 255"/>
                <a:gd name="T96" fmla="*/ 2147483647 w 170"/>
                <a:gd name="T97" fmla="*/ 2147483647 h 255"/>
                <a:gd name="T98" fmla="*/ 2147483647 w 170"/>
                <a:gd name="T99" fmla="*/ 2147483647 h 255"/>
                <a:gd name="T100" fmla="*/ 2147483647 w 170"/>
                <a:gd name="T101" fmla="*/ 2147483647 h 255"/>
                <a:gd name="T102" fmla="*/ 2147483647 w 170"/>
                <a:gd name="T103" fmla="*/ 2147483647 h 255"/>
                <a:gd name="T104" fmla="*/ 2147483647 w 170"/>
                <a:gd name="T105" fmla="*/ 2147483647 h 255"/>
                <a:gd name="T106" fmla="*/ 2147483647 w 170"/>
                <a:gd name="T107" fmla="*/ 2147483647 h 255"/>
                <a:gd name="T108" fmla="*/ 2147483647 w 170"/>
                <a:gd name="T109" fmla="*/ 2147483647 h 255"/>
                <a:gd name="T110" fmla="*/ 2147483647 w 170"/>
                <a:gd name="T111" fmla="*/ 2147483647 h 25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70"/>
                <a:gd name="T169" fmla="*/ 0 h 255"/>
                <a:gd name="T170" fmla="*/ 170 w 170"/>
                <a:gd name="T171" fmla="*/ 255 h 255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70" h="255">
                  <a:moveTo>
                    <a:pt x="23" y="229"/>
                  </a:moveTo>
                  <a:lnTo>
                    <a:pt x="20" y="226"/>
                  </a:lnTo>
                  <a:lnTo>
                    <a:pt x="15" y="232"/>
                  </a:lnTo>
                  <a:lnTo>
                    <a:pt x="9" y="229"/>
                  </a:lnTo>
                  <a:lnTo>
                    <a:pt x="3" y="232"/>
                  </a:lnTo>
                  <a:lnTo>
                    <a:pt x="0" y="235"/>
                  </a:lnTo>
                  <a:lnTo>
                    <a:pt x="3" y="241"/>
                  </a:lnTo>
                  <a:lnTo>
                    <a:pt x="9" y="244"/>
                  </a:lnTo>
                  <a:lnTo>
                    <a:pt x="12" y="249"/>
                  </a:lnTo>
                  <a:lnTo>
                    <a:pt x="3" y="249"/>
                  </a:lnTo>
                  <a:lnTo>
                    <a:pt x="9" y="255"/>
                  </a:lnTo>
                  <a:lnTo>
                    <a:pt x="18" y="252"/>
                  </a:lnTo>
                  <a:lnTo>
                    <a:pt x="23" y="246"/>
                  </a:lnTo>
                  <a:lnTo>
                    <a:pt x="18" y="244"/>
                  </a:lnTo>
                  <a:lnTo>
                    <a:pt x="20" y="238"/>
                  </a:lnTo>
                  <a:lnTo>
                    <a:pt x="23" y="232"/>
                  </a:lnTo>
                  <a:lnTo>
                    <a:pt x="29" y="232"/>
                  </a:lnTo>
                  <a:lnTo>
                    <a:pt x="29" y="241"/>
                  </a:lnTo>
                  <a:lnTo>
                    <a:pt x="40" y="238"/>
                  </a:lnTo>
                  <a:lnTo>
                    <a:pt x="46" y="238"/>
                  </a:lnTo>
                  <a:lnTo>
                    <a:pt x="49" y="232"/>
                  </a:lnTo>
                  <a:lnTo>
                    <a:pt x="52" y="226"/>
                  </a:lnTo>
                  <a:lnTo>
                    <a:pt x="63" y="226"/>
                  </a:lnTo>
                  <a:lnTo>
                    <a:pt x="72" y="224"/>
                  </a:lnTo>
                  <a:lnTo>
                    <a:pt x="75" y="221"/>
                  </a:lnTo>
                  <a:lnTo>
                    <a:pt x="78" y="226"/>
                  </a:lnTo>
                  <a:lnTo>
                    <a:pt x="86" y="206"/>
                  </a:lnTo>
                  <a:lnTo>
                    <a:pt x="84" y="209"/>
                  </a:lnTo>
                  <a:lnTo>
                    <a:pt x="78" y="212"/>
                  </a:lnTo>
                  <a:lnTo>
                    <a:pt x="81" y="203"/>
                  </a:lnTo>
                  <a:lnTo>
                    <a:pt x="81" y="189"/>
                  </a:lnTo>
                  <a:lnTo>
                    <a:pt x="84" y="183"/>
                  </a:lnTo>
                  <a:lnTo>
                    <a:pt x="86" y="178"/>
                  </a:lnTo>
                  <a:lnTo>
                    <a:pt x="98" y="175"/>
                  </a:lnTo>
                  <a:lnTo>
                    <a:pt x="104" y="175"/>
                  </a:lnTo>
                  <a:lnTo>
                    <a:pt x="104" y="166"/>
                  </a:lnTo>
                  <a:lnTo>
                    <a:pt x="109" y="163"/>
                  </a:lnTo>
                  <a:lnTo>
                    <a:pt x="112" y="157"/>
                  </a:lnTo>
                  <a:lnTo>
                    <a:pt x="104" y="152"/>
                  </a:lnTo>
                  <a:lnTo>
                    <a:pt x="101" y="146"/>
                  </a:lnTo>
                  <a:lnTo>
                    <a:pt x="92" y="143"/>
                  </a:lnTo>
                  <a:lnTo>
                    <a:pt x="86" y="140"/>
                  </a:lnTo>
                  <a:lnTo>
                    <a:pt x="84" y="126"/>
                  </a:lnTo>
                  <a:lnTo>
                    <a:pt x="89" y="126"/>
                  </a:lnTo>
                  <a:lnTo>
                    <a:pt x="86" y="120"/>
                  </a:lnTo>
                  <a:lnTo>
                    <a:pt x="89" y="117"/>
                  </a:lnTo>
                  <a:lnTo>
                    <a:pt x="86" y="112"/>
                  </a:lnTo>
                  <a:lnTo>
                    <a:pt x="92" y="112"/>
                  </a:lnTo>
                  <a:lnTo>
                    <a:pt x="92" y="103"/>
                  </a:lnTo>
                  <a:lnTo>
                    <a:pt x="95" y="103"/>
                  </a:lnTo>
                  <a:lnTo>
                    <a:pt x="101" y="103"/>
                  </a:lnTo>
                  <a:lnTo>
                    <a:pt x="104" y="100"/>
                  </a:lnTo>
                  <a:lnTo>
                    <a:pt x="109" y="97"/>
                  </a:lnTo>
                  <a:lnTo>
                    <a:pt x="112" y="94"/>
                  </a:lnTo>
                  <a:lnTo>
                    <a:pt x="118" y="94"/>
                  </a:lnTo>
                  <a:lnTo>
                    <a:pt x="127" y="89"/>
                  </a:lnTo>
                  <a:lnTo>
                    <a:pt x="135" y="80"/>
                  </a:lnTo>
                  <a:lnTo>
                    <a:pt x="141" y="74"/>
                  </a:lnTo>
                  <a:lnTo>
                    <a:pt x="138" y="74"/>
                  </a:lnTo>
                  <a:lnTo>
                    <a:pt x="135" y="74"/>
                  </a:lnTo>
                  <a:lnTo>
                    <a:pt x="135" y="71"/>
                  </a:lnTo>
                  <a:lnTo>
                    <a:pt x="141" y="63"/>
                  </a:lnTo>
                  <a:lnTo>
                    <a:pt x="147" y="57"/>
                  </a:lnTo>
                  <a:lnTo>
                    <a:pt x="150" y="57"/>
                  </a:lnTo>
                  <a:lnTo>
                    <a:pt x="147" y="57"/>
                  </a:lnTo>
                  <a:lnTo>
                    <a:pt x="147" y="54"/>
                  </a:lnTo>
                  <a:lnTo>
                    <a:pt x="150" y="54"/>
                  </a:lnTo>
                  <a:lnTo>
                    <a:pt x="164" y="54"/>
                  </a:lnTo>
                  <a:lnTo>
                    <a:pt x="170" y="54"/>
                  </a:lnTo>
                  <a:lnTo>
                    <a:pt x="167" y="48"/>
                  </a:lnTo>
                  <a:lnTo>
                    <a:pt x="164" y="43"/>
                  </a:lnTo>
                  <a:lnTo>
                    <a:pt x="164" y="40"/>
                  </a:lnTo>
                  <a:lnTo>
                    <a:pt x="164" y="34"/>
                  </a:lnTo>
                  <a:lnTo>
                    <a:pt x="158" y="28"/>
                  </a:lnTo>
                  <a:lnTo>
                    <a:pt x="161" y="28"/>
                  </a:lnTo>
                  <a:lnTo>
                    <a:pt x="161" y="25"/>
                  </a:lnTo>
                  <a:lnTo>
                    <a:pt x="158" y="17"/>
                  </a:lnTo>
                  <a:lnTo>
                    <a:pt x="155" y="14"/>
                  </a:lnTo>
                  <a:lnTo>
                    <a:pt x="150" y="11"/>
                  </a:lnTo>
                  <a:lnTo>
                    <a:pt x="147" y="11"/>
                  </a:lnTo>
                  <a:lnTo>
                    <a:pt x="141" y="11"/>
                  </a:lnTo>
                  <a:lnTo>
                    <a:pt x="135" y="8"/>
                  </a:lnTo>
                  <a:lnTo>
                    <a:pt x="129" y="8"/>
                  </a:lnTo>
                  <a:lnTo>
                    <a:pt x="121" y="0"/>
                  </a:lnTo>
                  <a:lnTo>
                    <a:pt x="118" y="0"/>
                  </a:lnTo>
                  <a:lnTo>
                    <a:pt x="118" y="8"/>
                  </a:lnTo>
                  <a:lnTo>
                    <a:pt x="115" y="11"/>
                  </a:lnTo>
                  <a:lnTo>
                    <a:pt x="112" y="11"/>
                  </a:lnTo>
                  <a:lnTo>
                    <a:pt x="104" y="11"/>
                  </a:lnTo>
                  <a:lnTo>
                    <a:pt x="95" y="8"/>
                  </a:lnTo>
                  <a:lnTo>
                    <a:pt x="92" y="8"/>
                  </a:lnTo>
                  <a:lnTo>
                    <a:pt x="92" y="17"/>
                  </a:lnTo>
                  <a:lnTo>
                    <a:pt x="89" y="20"/>
                  </a:lnTo>
                  <a:lnTo>
                    <a:pt x="86" y="20"/>
                  </a:lnTo>
                  <a:lnTo>
                    <a:pt x="81" y="17"/>
                  </a:lnTo>
                  <a:lnTo>
                    <a:pt x="78" y="20"/>
                  </a:lnTo>
                  <a:lnTo>
                    <a:pt x="75" y="23"/>
                  </a:lnTo>
                  <a:lnTo>
                    <a:pt x="72" y="23"/>
                  </a:lnTo>
                  <a:lnTo>
                    <a:pt x="75" y="23"/>
                  </a:lnTo>
                  <a:lnTo>
                    <a:pt x="66" y="28"/>
                  </a:lnTo>
                  <a:lnTo>
                    <a:pt x="69" y="34"/>
                  </a:lnTo>
                  <a:lnTo>
                    <a:pt x="61" y="40"/>
                  </a:lnTo>
                  <a:lnTo>
                    <a:pt x="61" y="46"/>
                  </a:lnTo>
                  <a:lnTo>
                    <a:pt x="58" y="48"/>
                  </a:lnTo>
                  <a:lnTo>
                    <a:pt x="52" y="48"/>
                  </a:lnTo>
                  <a:lnTo>
                    <a:pt x="49" y="48"/>
                  </a:lnTo>
                  <a:lnTo>
                    <a:pt x="46" y="63"/>
                  </a:lnTo>
                  <a:lnTo>
                    <a:pt x="38" y="74"/>
                  </a:lnTo>
                  <a:lnTo>
                    <a:pt x="43" y="77"/>
                  </a:lnTo>
                  <a:lnTo>
                    <a:pt x="43" y="80"/>
                  </a:lnTo>
                  <a:lnTo>
                    <a:pt x="40" y="83"/>
                  </a:lnTo>
                  <a:lnTo>
                    <a:pt x="38" y="86"/>
                  </a:lnTo>
                  <a:lnTo>
                    <a:pt x="29" y="86"/>
                  </a:lnTo>
                  <a:lnTo>
                    <a:pt x="20" y="89"/>
                  </a:lnTo>
                  <a:lnTo>
                    <a:pt x="18" y="97"/>
                  </a:lnTo>
                  <a:lnTo>
                    <a:pt x="18" y="100"/>
                  </a:lnTo>
                  <a:lnTo>
                    <a:pt x="18" y="103"/>
                  </a:lnTo>
                  <a:lnTo>
                    <a:pt x="18" y="106"/>
                  </a:lnTo>
                  <a:lnTo>
                    <a:pt x="20" y="114"/>
                  </a:lnTo>
                  <a:lnTo>
                    <a:pt x="18" y="123"/>
                  </a:lnTo>
                  <a:lnTo>
                    <a:pt x="26" y="129"/>
                  </a:lnTo>
                  <a:lnTo>
                    <a:pt x="29" y="132"/>
                  </a:lnTo>
                  <a:lnTo>
                    <a:pt x="29" y="135"/>
                  </a:lnTo>
                  <a:lnTo>
                    <a:pt x="26" y="137"/>
                  </a:lnTo>
                  <a:lnTo>
                    <a:pt x="23" y="137"/>
                  </a:lnTo>
                  <a:lnTo>
                    <a:pt x="20" y="140"/>
                  </a:lnTo>
                  <a:lnTo>
                    <a:pt x="23" y="146"/>
                  </a:lnTo>
                  <a:lnTo>
                    <a:pt x="23" y="149"/>
                  </a:lnTo>
                  <a:lnTo>
                    <a:pt x="23" y="155"/>
                  </a:lnTo>
                  <a:lnTo>
                    <a:pt x="20" y="157"/>
                  </a:lnTo>
                  <a:lnTo>
                    <a:pt x="15" y="160"/>
                  </a:lnTo>
                  <a:lnTo>
                    <a:pt x="12" y="175"/>
                  </a:lnTo>
                  <a:lnTo>
                    <a:pt x="6" y="175"/>
                  </a:lnTo>
                  <a:lnTo>
                    <a:pt x="3" y="175"/>
                  </a:lnTo>
                  <a:lnTo>
                    <a:pt x="3" y="180"/>
                  </a:lnTo>
                  <a:lnTo>
                    <a:pt x="9" y="192"/>
                  </a:lnTo>
                  <a:lnTo>
                    <a:pt x="20" y="206"/>
                  </a:lnTo>
                  <a:lnTo>
                    <a:pt x="29" y="221"/>
                  </a:lnTo>
                  <a:lnTo>
                    <a:pt x="23" y="226"/>
                  </a:lnTo>
                  <a:lnTo>
                    <a:pt x="23" y="22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15" name="Freeform 216"/>
            <p:cNvSpPr>
              <a:spLocks/>
            </p:cNvSpPr>
            <p:nvPr/>
          </p:nvSpPr>
          <p:spPr bwMode="auto">
            <a:xfrm>
              <a:off x="4443413" y="2565400"/>
              <a:ext cx="307975" cy="280988"/>
            </a:xfrm>
            <a:custGeom>
              <a:avLst/>
              <a:gdLst>
                <a:gd name="T0" fmla="*/ 2147483647 w 192"/>
                <a:gd name="T1" fmla="*/ 2147483647 h 175"/>
                <a:gd name="T2" fmla="*/ 2147483647 w 192"/>
                <a:gd name="T3" fmla="*/ 2147483647 h 175"/>
                <a:gd name="T4" fmla="*/ 2147483647 w 192"/>
                <a:gd name="T5" fmla="*/ 2147483647 h 175"/>
                <a:gd name="T6" fmla="*/ 2147483647 w 192"/>
                <a:gd name="T7" fmla="*/ 2147483647 h 175"/>
                <a:gd name="T8" fmla="*/ 2147483647 w 192"/>
                <a:gd name="T9" fmla="*/ 2147483647 h 175"/>
                <a:gd name="T10" fmla="*/ 2147483647 w 192"/>
                <a:gd name="T11" fmla="*/ 2147483647 h 175"/>
                <a:gd name="T12" fmla="*/ 2147483647 w 192"/>
                <a:gd name="T13" fmla="*/ 2147483647 h 175"/>
                <a:gd name="T14" fmla="*/ 2147483647 w 192"/>
                <a:gd name="T15" fmla="*/ 2147483647 h 175"/>
                <a:gd name="T16" fmla="*/ 2147483647 w 192"/>
                <a:gd name="T17" fmla="*/ 2147483647 h 175"/>
                <a:gd name="T18" fmla="*/ 2147483647 w 192"/>
                <a:gd name="T19" fmla="*/ 2147483647 h 175"/>
                <a:gd name="T20" fmla="*/ 2147483647 w 192"/>
                <a:gd name="T21" fmla="*/ 2147483647 h 175"/>
                <a:gd name="T22" fmla="*/ 2147483647 w 192"/>
                <a:gd name="T23" fmla="*/ 2147483647 h 175"/>
                <a:gd name="T24" fmla="*/ 2147483647 w 192"/>
                <a:gd name="T25" fmla="*/ 2147483647 h 175"/>
                <a:gd name="T26" fmla="*/ 2147483647 w 192"/>
                <a:gd name="T27" fmla="*/ 2147483647 h 175"/>
                <a:gd name="T28" fmla="*/ 2147483647 w 192"/>
                <a:gd name="T29" fmla="*/ 2147483647 h 175"/>
                <a:gd name="T30" fmla="*/ 2147483647 w 192"/>
                <a:gd name="T31" fmla="*/ 2147483647 h 175"/>
                <a:gd name="T32" fmla="*/ 2147483647 w 192"/>
                <a:gd name="T33" fmla="*/ 2147483647 h 175"/>
                <a:gd name="T34" fmla="*/ 2147483647 w 192"/>
                <a:gd name="T35" fmla="*/ 2147483647 h 175"/>
                <a:gd name="T36" fmla="*/ 2147483647 w 192"/>
                <a:gd name="T37" fmla="*/ 2147483647 h 175"/>
                <a:gd name="T38" fmla="*/ 2147483647 w 192"/>
                <a:gd name="T39" fmla="*/ 2147483647 h 175"/>
                <a:gd name="T40" fmla="*/ 2147483647 w 192"/>
                <a:gd name="T41" fmla="*/ 2147483647 h 175"/>
                <a:gd name="T42" fmla="*/ 2147483647 w 192"/>
                <a:gd name="T43" fmla="*/ 2147483647 h 175"/>
                <a:gd name="T44" fmla="*/ 2147483647 w 192"/>
                <a:gd name="T45" fmla="*/ 2147483647 h 175"/>
                <a:gd name="T46" fmla="*/ 2147483647 w 192"/>
                <a:gd name="T47" fmla="*/ 2147483647 h 175"/>
                <a:gd name="T48" fmla="*/ 2147483647 w 192"/>
                <a:gd name="T49" fmla="*/ 2147483647 h 175"/>
                <a:gd name="T50" fmla="*/ 2147483647 w 192"/>
                <a:gd name="T51" fmla="*/ 2147483647 h 175"/>
                <a:gd name="T52" fmla="*/ 2147483647 w 192"/>
                <a:gd name="T53" fmla="*/ 2147483647 h 175"/>
                <a:gd name="T54" fmla="*/ 2147483647 w 192"/>
                <a:gd name="T55" fmla="*/ 2147483647 h 175"/>
                <a:gd name="T56" fmla="*/ 2147483647 w 192"/>
                <a:gd name="T57" fmla="*/ 2147483647 h 175"/>
                <a:gd name="T58" fmla="*/ 2147483647 w 192"/>
                <a:gd name="T59" fmla="*/ 2147483647 h 175"/>
                <a:gd name="T60" fmla="*/ 2147483647 w 192"/>
                <a:gd name="T61" fmla="*/ 2147483647 h 175"/>
                <a:gd name="T62" fmla="*/ 2147483647 w 192"/>
                <a:gd name="T63" fmla="*/ 2147483647 h 175"/>
                <a:gd name="T64" fmla="*/ 2147483647 w 192"/>
                <a:gd name="T65" fmla="*/ 2147483647 h 175"/>
                <a:gd name="T66" fmla="*/ 2147483647 w 192"/>
                <a:gd name="T67" fmla="*/ 2147483647 h 175"/>
                <a:gd name="T68" fmla="*/ 2147483647 w 192"/>
                <a:gd name="T69" fmla="*/ 2147483647 h 175"/>
                <a:gd name="T70" fmla="*/ 2147483647 w 192"/>
                <a:gd name="T71" fmla="*/ 2147483647 h 175"/>
                <a:gd name="T72" fmla="*/ 2147483647 w 192"/>
                <a:gd name="T73" fmla="*/ 2147483647 h 175"/>
                <a:gd name="T74" fmla="*/ 2147483647 w 192"/>
                <a:gd name="T75" fmla="*/ 2147483647 h 175"/>
                <a:gd name="T76" fmla="*/ 2147483647 w 192"/>
                <a:gd name="T77" fmla="*/ 2147483647 h 175"/>
                <a:gd name="T78" fmla="*/ 2147483647 w 192"/>
                <a:gd name="T79" fmla="*/ 2147483647 h 175"/>
                <a:gd name="T80" fmla="*/ 2147483647 w 192"/>
                <a:gd name="T81" fmla="*/ 2147483647 h 175"/>
                <a:gd name="T82" fmla="*/ 2147483647 w 192"/>
                <a:gd name="T83" fmla="*/ 2147483647 h 175"/>
                <a:gd name="T84" fmla="*/ 2147483647 w 192"/>
                <a:gd name="T85" fmla="*/ 2147483647 h 175"/>
                <a:gd name="T86" fmla="*/ 2147483647 w 192"/>
                <a:gd name="T87" fmla="*/ 2147483647 h 175"/>
                <a:gd name="T88" fmla="*/ 2147483647 w 192"/>
                <a:gd name="T89" fmla="*/ 2147483647 h 175"/>
                <a:gd name="T90" fmla="*/ 2147483647 w 192"/>
                <a:gd name="T91" fmla="*/ 2147483647 h 175"/>
                <a:gd name="T92" fmla="*/ 2147483647 w 192"/>
                <a:gd name="T93" fmla="*/ 2147483647 h 175"/>
                <a:gd name="T94" fmla="*/ 2147483647 w 192"/>
                <a:gd name="T95" fmla="*/ 2147483647 h 175"/>
                <a:gd name="T96" fmla="*/ 2147483647 w 192"/>
                <a:gd name="T97" fmla="*/ 2147483647 h 175"/>
                <a:gd name="T98" fmla="*/ 2147483647 w 192"/>
                <a:gd name="T99" fmla="*/ 2147483647 h 175"/>
                <a:gd name="T100" fmla="*/ 2147483647 w 192"/>
                <a:gd name="T101" fmla="*/ 2147483647 h 175"/>
                <a:gd name="T102" fmla="*/ 2147483647 w 192"/>
                <a:gd name="T103" fmla="*/ 2147483647 h 175"/>
                <a:gd name="T104" fmla="*/ 2147483647 w 192"/>
                <a:gd name="T105" fmla="*/ 2147483647 h 175"/>
                <a:gd name="T106" fmla="*/ 2147483647 w 192"/>
                <a:gd name="T107" fmla="*/ 2147483647 h 175"/>
                <a:gd name="T108" fmla="*/ 2147483647 w 192"/>
                <a:gd name="T109" fmla="*/ 2147483647 h 175"/>
                <a:gd name="T110" fmla="*/ 0 w 192"/>
                <a:gd name="T111" fmla="*/ 2147483647 h 175"/>
                <a:gd name="T112" fmla="*/ 2147483647 w 192"/>
                <a:gd name="T113" fmla="*/ 2147483647 h 17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2"/>
                <a:gd name="T172" fmla="*/ 0 h 175"/>
                <a:gd name="T173" fmla="*/ 192 w 192"/>
                <a:gd name="T174" fmla="*/ 175 h 175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2" h="175">
                  <a:moveTo>
                    <a:pt x="14" y="60"/>
                  </a:moveTo>
                  <a:lnTo>
                    <a:pt x="14" y="63"/>
                  </a:lnTo>
                  <a:lnTo>
                    <a:pt x="14" y="60"/>
                  </a:lnTo>
                  <a:lnTo>
                    <a:pt x="20" y="60"/>
                  </a:lnTo>
                  <a:lnTo>
                    <a:pt x="26" y="51"/>
                  </a:lnTo>
                  <a:lnTo>
                    <a:pt x="32" y="49"/>
                  </a:lnTo>
                  <a:lnTo>
                    <a:pt x="40" y="54"/>
                  </a:lnTo>
                  <a:lnTo>
                    <a:pt x="43" y="57"/>
                  </a:lnTo>
                  <a:lnTo>
                    <a:pt x="46" y="57"/>
                  </a:lnTo>
                  <a:lnTo>
                    <a:pt x="49" y="57"/>
                  </a:lnTo>
                  <a:lnTo>
                    <a:pt x="52" y="60"/>
                  </a:lnTo>
                  <a:lnTo>
                    <a:pt x="58" y="72"/>
                  </a:lnTo>
                  <a:lnTo>
                    <a:pt x="58" y="77"/>
                  </a:lnTo>
                  <a:lnTo>
                    <a:pt x="58" y="80"/>
                  </a:lnTo>
                  <a:lnTo>
                    <a:pt x="66" y="83"/>
                  </a:lnTo>
                  <a:lnTo>
                    <a:pt x="69" y="92"/>
                  </a:lnTo>
                  <a:lnTo>
                    <a:pt x="75" y="95"/>
                  </a:lnTo>
                  <a:lnTo>
                    <a:pt x="86" y="100"/>
                  </a:lnTo>
                  <a:lnTo>
                    <a:pt x="95" y="109"/>
                  </a:lnTo>
                  <a:lnTo>
                    <a:pt x="98" y="109"/>
                  </a:lnTo>
                  <a:lnTo>
                    <a:pt x="101" y="109"/>
                  </a:lnTo>
                  <a:lnTo>
                    <a:pt x="103" y="112"/>
                  </a:lnTo>
                  <a:lnTo>
                    <a:pt x="106" y="115"/>
                  </a:lnTo>
                  <a:lnTo>
                    <a:pt x="112" y="117"/>
                  </a:lnTo>
                  <a:lnTo>
                    <a:pt x="118" y="120"/>
                  </a:lnTo>
                  <a:lnTo>
                    <a:pt x="121" y="123"/>
                  </a:lnTo>
                  <a:lnTo>
                    <a:pt x="121" y="126"/>
                  </a:lnTo>
                  <a:lnTo>
                    <a:pt x="124" y="123"/>
                  </a:lnTo>
                  <a:lnTo>
                    <a:pt x="126" y="123"/>
                  </a:lnTo>
                  <a:lnTo>
                    <a:pt x="126" y="129"/>
                  </a:lnTo>
                  <a:lnTo>
                    <a:pt x="129" y="132"/>
                  </a:lnTo>
                  <a:lnTo>
                    <a:pt x="138" y="135"/>
                  </a:lnTo>
                  <a:lnTo>
                    <a:pt x="141" y="143"/>
                  </a:lnTo>
                  <a:lnTo>
                    <a:pt x="147" y="155"/>
                  </a:lnTo>
                  <a:lnTo>
                    <a:pt x="147" y="161"/>
                  </a:lnTo>
                  <a:lnTo>
                    <a:pt x="144" y="161"/>
                  </a:lnTo>
                  <a:lnTo>
                    <a:pt x="144" y="166"/>
                  </a:lnTo>
                  <a:lnTo>
                    <a:pt x="138" y="172"/>
                  </a:lnTo>
                  <a:lnTo>
                    <a:pt x="144" y="175"/>
                  </a:lnTo>
                  <a:lnTo>
                    <a:pt x="152" y="169"/>
                  </a:lnTo>
                  <a:lnTo>
                    <a:pt x="152" y="161"/>
                  </a:lnTo>
                  <a:lnTo>
                    <a:pt x="158" y="158"/>
                  </a:lnTo>
                  <a:lnTo>
                    <a:pt x="164" y="158"/>
                  </a:lnTo>
                  <a:lnTo>
                    <a:pt x="164" y="146"/>
                  </a:lnTo>
                  <a:lnTo>
                    <a:pt x="155" y="143"/>
                  </a:lnTo>
                  <a:lnTo>
                    <a:pt x="152" y="140"/>
                  </a:lnTo>
                  <a:lnTo>
                    <a:pt x="155" y="132"/>
                  </a:lnTo>
                  <a:lnTo>
                    <a:pt x="161" y="126"/>
                  </a:lnTo>
                  <a:lnTo>
                    <a:pt x="161" y="123"/>
                  </a:lnTo>
                  <a:lnTo>
                    <a:pt x="164" y="126"/>
                  </a:lnTo>
                  <a:lnTo>
                    <a:pt x="164" y="129"/>
                  </a:lnTo>
                  <a:lnTo>
                    <a:pt x="167" y="132"/>
                  </a:lnTo>
                  <a:lnTo>
                    <a:pt x="170" y="129"/>
                  </a:lnTo>
                  <a:lnTo>
                    <a:pt x="172" y="129"/>
                  </a:lnTo>
                  <a:lnTo>
                    <a:pt x="172" y="132"/>
                  </a:lnTo>
                  <a:lnTo>
                    <a:pt x="178" y="138"/>
                  </a:lnTo>
                  <a:lnTo>
                    <a:pt x="184" y="135"/>
                  </a:lnTo>
                  <a:lnTo>
                    <a:pt x="178" y="126"/>
                  </a:lnTo>
                  <a:lnTo>
                    <a:pt x="172" y="120"/>
                  </a:lnTo>
                  <a:lnTo>
                    <a:pt x="161" y="115"/>
                  </a:lnTo>
                  <a:lnTo>
                    <a:pt x="149" y="109"/>
                  </a:lnTo>
                  <a:lnTo>
                    <a:pt x="141" y="106"/>
                  </a:lnTo>
                  <a:lnTo>
                    <a:pt x="147" y="100"/>
                  </a:lnTo>
                  <a:lnTo>
                    <a:pt x="141" y="97"/>
                  </a:lnTo>
                  <a:lnTo>
                    <a:pt x="135" y="97"/>
                  </a:lnTo>
                  <a:lnTo>
                    <a:pt x="126" y="97"/>
                  </a:lnTo>
                  <a:lnTo>
                    <a:pt x="118" y="89"/>
                  </a:lnTo>
                  <a:lnTo>
                    <a:pt x="112" y="83"/>
                  </a:lnTo>
                  <a:lnTo>
                    <a:pt x="109" y="74"/>
                  </a:lnTo>
                  <a:lnTo>
                    <a:pt x="106" y="66"/>
                  </a:lnTo>
                  <a:lnTo>
                    <a:pt x="92" y="57"/>
                  </a:lnTo>
                  <a:lnTo>
                    <a:pt x="86" y="51"/>
                  </a:lnTo>
                  <a:lnTo>
                    <a:pt x="83" y="46"/>
                  </a:lnTo>
                  <a:lnTo>
                    <a:pt x="86" y="43"/>
                  </a:lnTo>
                  <a:lnTo>
                    <a:pt x="89" y="40"/>
                  </a:lnTo>
                  <a:lnTo>
                    <a:pt x="86" y="37"/>
                  </a:lnTo>
                  <a:lnTo>
                    <a:pt x="86" y="34"/>
                  </a:lnTo>
                  <a:lnTo>
                    <a:pt x="89" y="28"/>
                  </a:lnTo>
                  <a:lnTo>
                    <a:pt x="98" y="26"/>
                  </a:lnTo>
                  <a:lnTo>
                    <a:pt x="101" y="26"/>
                  </a:lnTo>
                  <a:lnTo>
                    <a:pt x="101" y="31"/>
                  </a:lnTo>
                  <a:lnTo>
                    <a:pt x="106" y="34"/>
                  </a:lnTo>
                  <a:lnTo>
                    <a:pt x="106" y="40"/>
                  </a:lnTo>
                  <a:lnTo>
                    <a:pt x="109" y="43"/>
                  </a:lnTo>
                  <a:lnTo>
                    <a:pt x="115" y="37"/>
                  </a:lnTo>
                  <a:lnTo>
                    <a:pt x="115" y="40"/>
                  </a:lnTo>
                  <a:lnTo>
                    <a:pt x="112" y="43"/>
                  </a:lnTo>
                  <a:lnTo>
                    <a:pt x="118" y="46"/>
                  </a:lnTo>
                  <a:lnTo>
                    <a:pt x="121" y="43"/>
                  </a:lnTo>
                  <a:lnTo>
                    <a:pt x="118" y="37"/>
                  </a:lnTo>
                  <a:lnTo>
                    <a:pt x="121" y="34"/>
                  </a:lnTo>
                  <a:lnTo>
                    <a:pt x="124" y="37"/>
                  </a:lnTo>
                  <a:lnTo>
                    <a:pt x="124" y="43"/>
                  </a:lnTo>
                  <a:lnTo>
                    <a:pt x="126" y="49"/>
                  </a:lnTo>
                  <a:lnTo>
                    <a:pt x="132" y="51"/>
                  </a:lnTo>
                  <a:lnTo>
                    <a:pt x="129" y="51"/>
                  </a:lnTo>
                  <a:lnTo>
                    <a:pt x="126" y="51"/>
                  </a:lnTo>
                  <a:lnTo>
                    <a:pt x="135" y="60"/>
                  </a:lnTo>
                  <a:lnTo>
                    <a:pt x="144" y="66"/>
                  </a:lnTo>
                  <a:lnTo>
                    <a:pt x="147" y="66"/>
                  </a:lnTo>
                  <a:lnTo>
                    <a:pt x="152" y="66"/>
                  </a:lnTo>
                  <a:lnTo>
                    <a:pt x="149" y="57"/>
                  </a:lnTo>
                  <a:lnTo>
                    <a:pt x="144" y="54"/>
                  </a:lnTo>
                  <a:lnTo>
                    <a:pt x="141" y="46"/>
                  </a:lnTo>
                  <a:lnTo>
                    <a:pt x="135" y="43"/>
                  </a:lnTo>
                  <a:lnTo>
                    <a:pt x="141" y="34"/>
                  </a:lnTo>
                  <a:lnTo>
                    <a:pt x="147" y="37"/>
                  </a:lnTo>
                  <a:lnTo>
                    <a:pt x="152" y="34"/>
                  </a:lnTo>
                  <a:lnTo>
                    <a:pt x="155" y="31"/>
                  </a:lnTo>
                  <a:lnTo>
                    <a:pt x="161" y="34"/>
                  </a:lnTo>
                  <a:lnTo>
                    <a:pt x="167" y="34"/>
                  </a:lnTo>
                  <a:lnTo>
                    <a:pt x="172" y="37"/>
                  </a:lnTo>
                  <a:lnTo>
                    <a:pt x="178" y="37"/>
                  </a:lnTo>
                  <a:lnTo>
                    <a:pt x="184" y="37"/>
                  </a:lnTo>
                  <a:lnTo>
                    <a:pt x="190" y="40"/>
                  </a:lnTo>
                  <a:lnTo>
                    <a:pt x="192" y="40"/>
                  </a:lnTo>
                  <a:lnTo>
                    <a:pt x="192" y="34"/>
                  </a:lnTo>
                  <a:lnTo>
                    <a:pt x="187" y="31"/>
                  </a:lnTo>
                  <a:lnTo>
                    <a:pt x="184" y="28"/>
                  </a:lnTo>
                  <a:lnTo>
                    <a:pt x="184" y="23"/>
                  </a:lnTo>
                  <a:lnTo>
                    <a:pt x="181" y="26"/>
                  </a:lnTo>
                  <a:lnTo>
                    <a:pt x="175" y="26"/>
                  </a:lnTo>
                  <a:lnTo>
                    <a:pt x="167" y="26"/>
                  </a:lnTo>
                  <a:lnTo>
                    <a:pt x="161" y="20"/>
                  </a:lnTo>
                  <a:lnTo>
                    <a:pt x="155" y="17"/>
                  </a:lnTo>
                  <a:lnTo>
                    <a:pt x="147" y="11"/>
                  </a:lnTo>
                  <a:lnTo>
                    <a:pt x="138" y="17"/>
                  </a:lnTo>
                  <a:lnTo>
                    <a:pt x="138" y="23"/>
                  </a:lnTo>
                  <a:lnTo>
                    <a:pt x="132" y="26"/>
                  </a:lnTo>
                  <a:lnTo>
                    <a:pt x="132" y="31"/>
                  </a:lnTo>
                  <a:lnTo>
                    <a:pt x="118" y="31"/>
                  </a:lnTo>
                  <a:lnTo>
                    <a:pt x="115" y="28"/>
                  </a:lnTo>
                  <a:lnTo>
                    <a:pt x="106" y="28"/>
                  </a:lnTo>
                  <a:lnTo>
                    <a:pt x="101" y="17"/>
                  </a:lnTo>
                  <a:lnTo>
                    <a:pt x="95" y="14"/>
                  </a:lnTo>
                  <a:lnTo>
                    <a:pt x="89" y="11"/>
                  </a:lnTo>
                  <a:lnTo>
                    <a:pt x="86" y="11"/>
                  </a:lnTo>
                  <a:lnTo>
                    <a:pt x="86" y="8"/>
                  </a:lnTo>
                  <a:lnTo>
                    <a:pt x="86" y="6"/>
                  </a:lnTo>
                  <a:lnTo>
                    <a:pt x="83" y="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8" y="14"/>
                  </a:lnTo>
                  <a:lnTo>
                    <a:pt x="55" y="11"/>
                  </a:lnTo>
                  <a:lnTo>
                    <a:pt x="52" y="11"/>
                  </a:lnTo>
                  <a:lnTo>
                    <a:pt x="52" y="20"/>
                  </a:lnTo>
                  <a:lnTo>
                    <a:pt x="49" y="17"/>
                  </a:lnTo>
                  <a:lnTo>
                    <a:pt x="49" y="14"/>
                  </a:lnTo>
                  <a:lnTo>
                    <a:pt x="43" y="20"/>
                  </a:lnTo>
                  <a:lnTo>
                    <a:pt x="43" y="17"/>
                  </a:lnTo>
                  <a:lnTo>
                    <a:pt x="40" y="14"/>
                  </a:lnTo>
                  <a:lnTo>
                    <a:pt x="35" y="26"/>
                  </a:lnTo>
                  <a:lnTo>
                    <a:pt x="26" y="14"/>
                  </a:lnTo>
                  <a:lnTo>
                    <a:pt x="20" y="14"/>
                  </a:lnTo>
                  <a:lnTo>
                    <a:pt x="20" y="26"/>
                  </a:lnTo>
                  <a:lnTo>
                    <a:pt x="12" y="20"/>
                  </a:lnTo>
                  <a:lnTo>
                    <a:pt x="6" y="23"/>
                  </a:lnTo>
                  <a:lnTo>
                    <a:pt x="3" y="26"/>
                  </a:lnTo>
                  <a:lnTo>
                    <a:pt x="9" y="34"/>
                  </a:lnTo>
                  <a:lnTo>
                    <a:pt x="6" y="34"/>
                  </a:lnTo>
                  <a:lnTo>
                    <a:pt x="3" y="37"/>
                  </a:lnTo>
                  <a:lnTo>
                    <a:pt x="0" y="37"/>
                  </a:lnTo>
                  <a:lnTo>
                    <a:pt x="6" y="43"/>
                  </a:lnTo>
                  <a:lnTo>
                    <a:pt x="3" y="51"/>
                  </a:lnTo>
                  <a:lnTo>
                    <a:pt x="6" y="51"/>
                  </a:lnTo>
                  <a:lnTo>
                    <a:pt x="14" y="54"/>
                  </a:lnTo>
                  <a:lnTo>
                    <a:pt x="14" y="6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16" name="Freeform 217"/>
            <p:cNvSpPr>
              <a:spLocks/>
            </p:cNvSpPr>
            <p:nvPr/>
          </p:nvSpPr>
          <p:spPr bwMode="auto">
            <a:xfrm>
              <a:off x="4581525" y="2662238"/>
              <a:ext cx="4763" cy="9525"/>
            </a:xfrm>
            <a:custGeom>
              <a:avLst/>
              <a:gdLst>
                <a:gd name="T0" fmla="*/ 2147483647 w 3"/>
                <a:gd name="T1" fmla="*/ 2147483647 h 6"/>
                <a:gd name="T2" fmla="*/ 2147483647 w 3"/>
                <a:gd name="T3" fmla="*/ 2147483647 h 6"/>
                <a:gd name="T4" fmla="*/ 2147483647 w 3"/>
                <a:gd name="T5" fmla="*/ 2147483647 h 6"/>
                <a:gd name="T6" fmla="*/ 2147483647 w 3"/>
                <a:gd name="T7" fmla="*/ 2147483647 h 6"/>
                <a:gd name="T8" fmla="*/ 2147483647 w 3"/>
                <a:gd name="T9" fmla="*/ 0 h 6"/>
                <a:gd name="T10" fmla="*/ 2147483647 w 3"/>
                <a:gd name="T11" fmla="*/ 0 h 6"/>
                <a:gd name="T12" fmla="*/ 0 w 3"/>
                <a:gd name="T13" fmla="*/ 2147483647 h 6"/>
                <a:gd name="T14" fmla="*/ 0 w 3"/>
                <a:gd name="T15" fmla="*/ 2147483647 h 6"/>
                <a:gd name="T16" fmla="*/ 2147483647 w 3"/>
                <a:gd name="T17" fmla="*/ 2147483647 h 6"/>
                <a:gd name="T18" fmla="*/ 2147483647 w 3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6"/>
                <a:gd name="T32" fmla="*/ 3 w 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6">
                  <a:moveTo>
                    <a:pt x="3" y="6"/>
                  </a:moveTo>
                  <a:lnTo>
                    <a:pt x="3" y="6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17" name="Freeform 218"/>
            <p:cNvSpPr>
              <a:spLocks/>
            </p:cNvSpPr>
            <p:nvPr/>
          </p:nvSpPr>
          <p:spPr bwMode="auto">
            <a:xfrm>
              <a:off x="4430713" y="2330450"/>
              <a:ext cx="211137" cy="220663"/>
            </a:xfrm>
            <a:custGeom>
              <a:avLst/>
              <a:gdLst>
                <a:gd name="T0" fmla="*/ 2147483647 w 132"/>
                <a:gd name="T1" fmla="*/ 2147483647 h 138"/>
                <a:gd name="T2" fmla="*/ 2147483647 w 132"/>
                <a:gd name="T3" fmla="*/ 2147483647 h 138"/>
                <a:gd name="T4" fmla="*/ 2147483647 w 132"/>
                <a:gd name="T5" fmla="*/ 2147483647 h 138"/>
                <a:gd name="T6" fmla="*/ 2147483647 w 132"/>
                <a:gd name="T7" fmla="*/ 2147483647 h 138"/>
                <a:gd name="T8" fmla="*/ 2147483647 w 132"/>
                <a:gd name="T9" fmla="*/ 2147483647 h 138"/>
                <a:gd name="T10" fmla="*/ 2147483647 w 132"/>
                <a:gd name="T11" fmla="*/ 2147483647 h 138"/>
                <a:gd name="T12" fmla="*/ 2147483647 w 132"/>
                <a:gd name="T13" fmla="*/ 2147483647 h 138"/>
                <a:gd name="T14" fmla="*/ 2147483647 w 132"/>
                <a:gd name="T15" fmla="*/ 2147483647 h 138"/>
                <a:gd name="T16" fmla="*/ 2147483647 w 132"/>
                <a:gd name="T17" fmla="*/ 2147483647 h 138"/>
                <a:gd name="T18" fmla="*/ 2147483647 w 132"/>
                <a:gd name="T19" fmla="*/ 2147483647 h 138"/>
                <a:gd name="T20" fmla="*/ 2147483647 w 132"/>
                <a:gd name="T21" fmla="*/ 2147483647 h 138"/>
                <a:gd name="T22" fmla="*/ 2147483647 w 132"/>
                <a:gd name="T23" fmla="*/ 2147483647 h 138"/>
                <a:gd name="T24" fmla="*/ 2147483647 w 132"/>
                <a:gd name="T25" fmla="*/ 2147483647 h 138"/>
                <a:gd name="T26" fmla="*/ 2147483647 w 132"/>
                <a:gd name="T27" fmla="*/ 2147483647 h 138"/>
                <a:gd name="T28" fmla="*/ 2147483647 w 132"/>
                <a:gd name="T29" fmla="*/ 2147483647 h 138"/>
                <a:gd name="T30" fmla="*/ 2147483647 w 132"/>
                <a:gd name="T31" fmla="*/ 2147483647 h 138"/>
                <a:gd name="T32" fmla="*/ 2147483647 w 132"/>
                <a:gd name="T33" fmla="*/ 2147483647 h 138"/>
                <a:gd name="T34" fmla="*/ 2147483647 w 132"/>
                <a:gd name="T35" fmla="*/ 2147483647 h 138"/>
                <a:gd name="T36" fmla="*/ 2147483647 w 132"/>
                <a:gd name="T37" fmla="*/ 2147483647 h 138"/>
                <a:gd name="T38" fmla="*/ 2147483647 w 132"/>
                <a:gd name="T39" fmla="*/ 2147483647 h 138"/>
                <a:gd name="T40" fmla="*/ 2147483647 w 132"/>
                <a:gd name="T41" fmla="*/ 2147483647 h 138"/>
                <a:gd name="T42" fmla="*/ 2147483647 w 132"/>
                <a:gd name="T43" fmla="*/ 2147483647 h 138"/>
                <a:gd name="T44" fmla="*/ 2147483647 w 132"/>
                <a:gd name="T45" fmla="*/ 2147483647 h 138"/>
                <a:gd name="T46" fmla="*/ 2147483647 w 132"/>
                <a:gd name="T47" fmla="*/ 2147483647 h 138"/>
                <a:gd name="T48" fmla="*/ 2147483647 w 132"/>
                <a:gd name="T49" fmla="*/ 2147483647 h 138"/>
                <a:gd name="T50" fmla="*/ 2147483647 w 132"/>
                <a:gd name="T51" fmla="*/ 2147483647 h 138"/>
                <a:gd name="T52" fmla="*/ 2147483647 w 132"/>
                <a:gd name="T53" fmla="*/ 2147483647 h 138"/>
                <a:gd name="T54" fmla="*/ 2147483647 w 132"/>
                <a:gd name="T55" fmla="*/ 2147483647 h 138"/>
                <a:gd name="T56" fmla="*/ 2147483647 w 132"/>
                <a:gd name="T57" fmla="*/ 2147483647 h 138"/>
                <a:gd name="T58" fmla="*/ 2147483647 w 132"/>
                <a:gd name="T59" fmla="*/ 2147483647 h 138"/>
                <a:gd name="T60" fmla="*/ 2147483647 w 132"/>
                <a:gd name="T61" fmla="*/ 2147483647 h 138"/>
                <a:gd name="T62" fmla="*/ 2147483647 w 132"/>
                <a:gd name="T63" fmla="*/ 2147483647 h 138"/>
                <a:gd name="T64" fmla="*/ 2147483647 w 132"/>
                <a:gd name="T65" fmla="*/ 2147483647 h 138"/>
                <a:gd name="T66" fmla="*/ 2147483647 w 132"/>
                <a:gd name="T67" fmla="*/ 0 h 138"/>
                <a:gd name="T68" fmla="*/ 2147483647 w 132"/>
                <a:gd name="T69" fmla="*/ 2147483647 h 138"/>
                <a:gd name="T70" fmla="*/ 2147483647 w 132"/>
                <a:gd name="T71" fmla="*/ 2147483647 h 138"/>
                <a:gd name="T72" fmla="*/ 2147483647 w 132"/>
                <a:gd name="T73" fmla="*/ 2147483647 h 138"/>
                <a:gd name="T74" fmla="*/ 2147483647 w 132"/>
                <a:gd name="T75" fmla="*/ 2147483647 h 138"/>
                <a:gd name="T76" fmla="*/ 2147483647 w 132"/>
                <a:gd name="T77" fmla="*/ 2147483647 h 138"/>
                <a:gd name="T78" fmla="*/ 2147483647 w 132"/>
                <a:gd name="T79" fmla="*/ 2147483647 h 138"/>
                <a:gd name="T80" fmla="*/ 0 w 132"/>
                <a:gd name="T81" fmla="*/ 2147483647 h 138"/>
                <a:gd name="T82" fmla="*/ 0 w 132"/>
                <a:gd name="T83" fmla="*/ 2147483647 h 138"/>
                <a:gd name="T84" fmla="*/ 2147483647 w 132"/>
                <a:gd name="T85" fmla="*/ 2147483647 h 138"/>
                <a:gd name="T86" fmla="*/ 2147483647 w 132"/>
                <a:gd name="T87" fmla="*/ 2147483647 h 138"/>
                <a:gd name="T88" fmla="*/ 2147483647 w 132"/>
                <a:gd name="T89" fmla="*/ 2147483647 h 13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32"/>
                <a:gd name="T136" fmla="*/ 0 h 138"/>
                <a:gd name="T137" fmla="*/ 132 w 132"/>
                <a:gd name="T138" fmla="*/ 138 h 13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32" h="138">
                  <a:moveTo>
                    <a:pt x="5" y="101"/>
                  </a:moveTo>
                  <a:lnTo>
                    <a:pt x="8" y="104"/>
                  </a:lnTo>
                  <a:lnTo>
                    <a:pt x="14" y="104"/>
                  </a:lnTo>
                  <a:lnTo>
                    <a:pt x="17" y="107"/>
                  </a:lnTo>
                  <a:lnTo>
                    <a:pt x="20" y="104"/>
                  </a:lnTo>
                  <a:lnTo>
                    <a:pt x="22" y="104"/>
                  </a:lnTo>
                  <a:lnTo>
                    <a:pt x="28" y="107"/>
                  </a:lnTo>
                  <a:lnTo>
                    <a:pt x="34" y="109"/>
                  </a:lnTo>
                  <a:lnTo>
                    <a:pt x="25" y="118"/>
                  </a:lnTo>
                  <a:lnTo>
                    <a:pt x="22" y="135"/>
                  </a:lnTo>
                  <a:lnTo>
                    <a:pt x="31" y="135"/>
                  </a:lnTo>
                  <a:lnTo>
                    <a:pt x="37" y="130"/>
                  </a:lnTo>
                  <a:lnTo>
                    <a:pt x="43" y="132"/>
                  </a:lnTo>
                  <a:lnTo>
                    <a:pt x="51" y="135"/>
                  </a:lnTo>
                  <a:lnTo>
                    <a:pt x="57" y="135"/>
                  </a:lnTo>
                  <a:lnTo>
                    <a:pt x="63" y="138"/>
                  </a:lnTo>
                  <a:lnTo>
                    <a:pt x="66" y="135"/>
                  </a:lnTo>
                  <a:lnTo>
                    <a:pt x="74" y="135"/>
                  </a:lnTo>
                  <a:lnTo>
                    <a:pt x="74" y="138"/>
                  </a:lnTo>
                  <a:lnTo>
                    <a:pt x="80" y="138"/>
                  </a:lnTo>
                  <a:lnTo>
                    <a:pt x="91" y="132"/>
                  </a:lnTo>
                  <a:lnTo>
                    <a:pt x="100" y="132"/>
                  </a:lnTo>
                  <a:lnTo>
                    <a:pt x="100" y="135"/>
                  </a:lnTo>
                  <a:lnTo>
                    <a:pt x="103" y="135"/>
                  </a:lnTo>
                  <a:lnTo>
                    <a:pt x="100" y="127"/>
                  </a:lnTo>
                  <a:lnTo>
                    <a:pt x="100" y="121"/>
                  </a:lnTo>
                  <a:lnTo>
                    <a:pt x="106" y="121"/>
                  </a:lnTo>
                  <a:lnTo>
                    <a:pt x="109" y="115"/>
                  </a:lnTo>
                  <a:lnTo>
                    <a:pt x="111" y="115"/>
                  </a:lnTo>
                  <a:lnTo>
                    <a:pt x="106" y="107"/>
                  </a:lnTo>
                  <a:lnTo>
                    <a:pt x="94" y="98"/>
                  </a:lnTo>
                  <a:lnTo>
                    <a:pt x="94" y="89"/>
                  </a:lnTo>
                  <a:lnTo>
                    <a:pt x="86" y="86"/>
                  </a:lnTo>
                  <a:lnTo>
                    <a:pt x="89" y="84"/>
                  </a:lnTo>
                  <a:lnTo>
                    <a:pt x="91" y="84"/>
                  </a:lnTo>
                  <a:lnTo>
                    <a:pt x="91" y="81"/>
                  </a:lnTo>
                  <a:lnTo>
                    <a:pt x="94" y="81"/>
                  </a:lnTo>
                  <a:lnTo>
                    <a:pt x="100" y="81"/>
                  </a:lnTo>
                  <a:lnTo>
                    <a:pt x="103" y="78"/>
                  </a:lnTo>
                  <a:lnTo>
                    <a:pt x="111" y="75"/>
                  </a:lnTo>
                  <a:lnTo>
                    <a:pt x="120" y="72"/>
                  </a:lnTo>
                  <a:lnTo>
                    <a:pt x="123" y="69"/>
                  </a:lnTo>
                  <a:lnTo>
                    <a:pt x="126" y="69"/>
                  </a:lnTo>
                  <a:lnTo>
                    <a:pt x="126" y="75"/>
                  </a:lnTo>
                  <a:lnTo>
                    <a:pt x="129" y="72"/>
                  </a:lnTo>
                  <a:lnTo>
                    <a:pt x="132" y="66"/>
                  </a:lnTo>
                  <a:lnTo>
                    <a:pt x="126" y="58"/>
                  </a:lnTo>
                  <a:lnTo>
                    <a:pt x="123" y="55"/>
                  </a:lnTo>
                  <a:lnTo>
                    <a:pt x="126" y="52"/>
                  </a:lnTo>
                  <a:lnTo>
                    <a:pt x="129" y="52"/>
                  </a:lnTo>
                  <a:lnTo>
                    <a:pt x="126" y="49"/>
                  </a:lnTo>
                  <a:lnTo>
                    <a:pt x="123" y="49"/>
                  </a:lnTo>
                  <a:lnTo>
                    <a:pt x="120" y="49"/>
                  </a:lnTo>
                  <a:lnTo>
                    <a:pt x="123" y="46"/>
                  </a:lnTo>
                  <a:lnTo>
                    <a:pt x="123" y="43"/>
                  </a:lnTo>
                  <a:lnTo>
                    <a:pt x="117" y="35"/>
                  </a:lnTo>
                  <a:lnTo>
                    <a:pt x="120" y="29"/>
                  </a:lnTo>
                  <a:lnTo>
                    <a:pt x="117" y="15"/>
                  </a:lnTo>
                  <a:lnTo>
                    <a:pt x="109" y="12"/>
                  </a:lnTo>
                  <a:lnTo>
                    <a:pt x="103" y="9"/>
                  </a:lnTo>
                  <a:lnTo>
                    <a:pt x="97" y="9"/>
                  </a:lnTo>
                  <a:lnTo>
                    <a:pt x="94" y="9"/>
                  </a:lnTo>
                  <a:lnTo>
                    <a:pt x="80" y="15"/>
                  </a:lnTo>
                  <a:lnTo>
                    <a:pt x="68" y="15"/>
                  </a:lnTo>
                  <a:lnTo>
                    <a:pt x="74" y="9"/>
                  </a:lnTo>
                  <a:lnTo>
                    <a:pt x="71" y="9"/>
                  </a:lnTo>
                  <a:lnTo>
                    <a:pt x="66" y="9"/>
                  </a:lnTo>
                  <a:lnTo>
                    <a:pt x="60" y="9"/>
                  </a:lnTo>
                  <a:lnTo>
                    <a:pt x="57" y="6"/>
                  </a:lnTo>
                  <a:lnTo>
                    <a:pt x="57" y="3"/>
                  </a:lnTo>
                  <a:lnTo>
                    <a:pt x="54" y="3"/>
                  </a:lnTo>
                  <a:lnTo>
                    <a:pt x="45" y="0"/>
                  </a:lnTo>
                  <a:lnTo>
                    <a:pt x="37" y="0"/>
                  </a:lnTo>
                  <a:lnTo>
                    <a:pt x="37" y="3"/>
                  </a:lnTo>
                  <a:lnTo>
                    <a:pt x="40" y="9"/>
                  </a:lnTo>
                  <a:lnTo>
                    <a:pt x="40" y="15"/>
                  </a:lnTo>
                  <a:lnTo>
                    <a:pt x="40" y="18"/>
                  </a:lnTo>
                  <a:lnTo>
                    <a:pt x="37" y="23"/>
                  </a:lnTo>
                  <a:lnTo>
                    <a:pt x="31" y="23"/>
                  </a:lnTo>
                  <a:lnTo>
                    <a:pt x="25" y="20"/>
                  </a:lnTo>
                  <a:lnTo>
                    <a:pt x="17" y="23"/>
                  </a:lnTo>
                  <a:lnTo>
                    <a:pt x="20" y="35"/>
                  </a:lnTo>
                  <a:lnTo>
                    <a:pt x="17" y="41"/>
                  </a:lnTo>
                  <a:lnTo>
                    <a:pt x="11" y="43"/>
                  </a:lnTo>
                  <a:lnTo>
                    <a:pt x="17" y="49"/>
                  </a:lnTo>
                  <a:lnTo>
                    <a:pt x="11" y="52"/>
                  </a:lnTo>
                  <a:lnTo>
                    <a:pt x="11" y="58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5" y="61"/>
                  </a:lnTo>
                  <a:lnTo>
                    <a:pt x="0" y="72"/>
                  </a:lnTo>
                  <a:lnTo>
                    <a:pt x="2" y="75"/>
                  </a:lnTo>
                  <a:lnTo>
                    <a:pt x="5" y="81"/>
                  </a:lnTo>
                  <a:lnTo>
                    <a:pt x="2" y="86"/>
                  </a:lnTo>
                  <a:lnTo>
                    <a:pt x="5" y="92"/>
                  </a:lnTo>
                  <a:lnTo>
                    <a:pt x="8" y="98"/>
                  </a:lnTo>
                  <a:lnTo>
                    <a:pt x="5" y="10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18" name="Freeform 219"/>
            <p:cNvSpPr>
              <a:spLocks/>
            </p:cNvSpPr>
            <p:nvPr/>
          </p:nvSpPr>
          <p:spPr bwMode="auto">
            <a:xfrm>
              <a:off x="4421188" y="2466975"/>
              <a:ext cx="17462" cy="25400"/>
            </a:xfrm>
            <a:custGeom>
              <a:avLst/>
              <a:gdLst>
                <a:gd name="T0" fmla="*/ 2147483647 w 11"/>
                <a:gd name="T1" fmla="*/ 2147483647 h 15"/>
                <a:gd name="T2" fmla="*/ 0 w 11"/>
                <a:gd name="T3" fmla="*/ 2147483647 h 15"/>
                <a:gd name="T4" fmla="*/ 2147483647 w 11"/>
                <a:gd name="T5" fmla="*/ 2147483647 h 15"/>
                <a:gd name="T6" fmla="*/ 2147483647 w 11"/>
                <a:gd name="T7" fmla="*/ 2147483647 h 15"/>
                <a:gd name="T8" fmla="*/ 2147483647 w 11"/>
                <a:gd name="T9" fmla="*/ 2147483647 h 15"/>
                <a:gd name="T10" fmla="*/ 2147483647 w 11"/>
                <a:gd name="T11" fmla="*/ 2147483647 h 15"/>
                <a:gd name="T12" fmla="*/ 2147483647 w 11"/>
                <a:gd name="T13" fmla="*/ 2147483647 h 15"/>
                <a:gd name="T14" fmla="*/ 2147483647 w 11"/>
                <a:gd name="T15" fmla="*/ 0 h 15"/>
                <a:gd name="T16" fmla="*/ 2147483647 w 11"/>
                <a:gd name="T17" fmla="*/ 0 h 15"/>
                <a:gd name="T18" fmla="*/ 2147483647 w 11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"/>
                <a:gd name="T31" fmla="*/ 0 h 15"/>
                <a:gd name="T32" fmla="*/ 11 w 11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" h="15">
                  <a:moveTo>
                    <a:pt x="3" y="3"/>
                  </a:moveTo>
                  <a:lnTo>
                    <a:pt x="0" y="6"/>
                  </a:lnTo>
                  <a:lnTo>
                    <a:pt x="6" y="15"/>
                  </a:lnTo>
                  <a:lnTo>
                    <a:pt x="8" y="12"/>
                  </a:lnTo>
                  <a:lnTo>
                    <a:pt x="11" y="12"/>
                  </a:lnTo>
                  <a:lnTo>
                    <a:pt x="8" y="9"/>
                  </a:lnTo>
                  <a:lnTo>
                    <a:pt x="6" y="0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19" name="Freeform 220"/>
            <p:cNvSpPr>
              <a:spLocks/>
            </p:cNvSpPr>
            <p:nvPr/>
          </p:nvSpPr>
          <p:spPr bwMode="auto">
            <a:xfrm>
              <a:off x="4586288" y="2836863"/>
              <a:ext cx="79375" cy="50800"/>
            </a:xfrm>
            <a:custGeom>
              <a:avLst/>
              <a:gdLst>
                <a:gd name="T0" fmla="*/ 2147483647 w 49"/>
                <a:gd name="T1" fmla="*/ 2147483647 h 32"/>
                <a:gd name="T2" fmla="*/ 2147483647 w 49"/>
                <a:gd name="T3" fmla="*/ 2147483647 h 32"/>
                <a:gd name="T4" fmla="*/ 2147483647 w 49"/>
                <a:gd name="T5" fmla="*/ 2147483647 h 32"/>
                <a:gd name="T6" fmla="*/ 2147483647 w 49"/>
                <a:gd name="T7" fmla="*/ 2147483647 h 32"/>
                <a:gd name="T8" fmla="*/ 2147483647 w 49"/>
                <a:gd name="T9" fmla="*/ 2147483647 h 32"/>
                <a:gd name="T10" fmla="*/ 2147483647 w 49"/>
                <a:gd name="T11" fmla="*/ 2147483647 h 32"/>
                <a:gd name="T12" fmla="*/ 2147483647 w 49"/>
                <a:gd name="T13" fmla="*/ 0 h 32"/>
                <a:gd name="T14" fmla="*/ 2147483647 w 49"/>
                <a:gd name="T15" fmla="*/ 2147483647 h 32"/>
                <a:gd name="T16" fmla="*/ 2147483647 w 49"/>
                <a:gd name="T17" fmla="*/ 2147483647 h 32"/>
                <a:gd name="T18" fmla="*/ 2147483647 w 49"/>
                <a:gd name="T19" fmla="*/ 2147483647 h 32"/>
                <a:gd name="T20" fmla="*/ 2147483647 w 49"/>
                <a:gd name="T21" fmla="*/ 0 h 32"/>
                <a:gd name="T22" fmla="*/ 2147483647 w 49"/>
                <a:gd name="T23" fmla="*/ 0 h 32"/>
                <a:gd name="T24" fmla="*/ 0 w 49"/>
                <a:gd name="T25" fmla="*/ 2147483647 h 32"/>
                <a:gd name="T26" fmla="*/ 0 w 49"/>
                <a:gd name="T27" fmla="*/ 2147483647 h 32"/>
                <a:gd name="T28" fmla="*/ 0 w 49"/>
                <a:gd name="T29" fmla="*/ 2147483647 h 32"/>
                <a:gd name="T30" fmla="*/ 0 w 49"/>
                <a:gd name="T31" fmla="*/ 2147483647 h 32"/>
                <a:gd name="T32" fmla="*/ 2147483647 w 49"/>
                <a:gd name="T33" fmla="*/ 2147483647 h 32"/>
                <a:gd name="T34" fmla="*/ 2147483647 w 49"/>
                <a:gd name="T35" fmla="*/ 2147483647 h 32"/>
                <a:gd name="T36" fmla="*/ 2147483647 w 49"/>
                <a:gd name="T37" fmla="*/ 2147483647 h 32"/>
                <a:gd name="T38" fmla="*/ 2147483647 w 49"/>
                <a:gd name="T39" fmla="*/ 2147483647 h 32"/>
                <a:gd name="T40" fmla="*/ 2147483647 w 49"/>
                <a:gd name="T41" fmla="*/ 2147483647 h 32"/>
                <a:gd name="T42" fmla="*/ 2147483647 w 49"/>
                <a:gd name="T43" fmla="*/ 2147483647 h 32"/>
                <a:gd name="T44" fmla="*/ 2147483647 w 49"/>
                <a:gd name="T45" fmla="*/ 2147483647 h 32"/>
                <a:gd name="T46" fmla="*/ 2147483647 w 49"/>
                <a:gd name="T47" fmla="*/ 2147483647 h 32"/>
                <a:gd name="T48" fmla="*/ 2147483647 w 49"/>
                <a:gd name="T49" fmla="*/ 2147483647 h 32"/>
                <a:gd name="T50" fmla="*/ 2147483647 w 49"/>
                <a:gd name="T51" fmla="*/ 2147483647 h 32"/>
                <a:gd name="T52" fmla="*/ 2147483647 w 49"/>
                <a:gd name="T53" fmla="*/ 2147483647 h 32"/>
                <a:gd name="T54" fmla="*/ 2147483647 w 49"/>
                <a:gd name="T55" fmla="*/ 2147483647 h 32"/>
                <a:gd name="T56" fmla="*/ 2147483647 w 49"/>
                <a:gd name="T57" fmla="*/ 2147483647 h 32"/>
                <a:gd name="T58" fmla="*/ 2147483647 w 49"/>
                <a:gd name="T59" fmla="*/ 2147483647 h 32"/>
                <a:gd name="T60" fmla="*/ 2147483647 w 49"/>
                <a:gd name="T61" fmla="*/ 2147483647 h 32"/>
                <a:gd name="T62" fmla="*/ 2147483647 w 49"/>
                <a:gd name="T63" fmla="*/ 2147483647 h 32"/>
                <a:gd name="T64" fmla="*/ 2147483647 w 49"/>
                <a:gd name="T65" fmla="*/ 2147483647 h 32"/>
                <a:gd name="T66" fmla="*/ 2147483647 w 49"/>
                <a:gd name="T67" fmla="*/ 2147483647 h 32"/>
                <a:gd name="T68" fmla="*/ 2147483647 w 49"/>
                <a:gd name="T69" fmla="*/ 2147483647 h 32"/>
                <a:gd name="T70" fmla="*/ 2147483647 w 49"/>
                <a:gd name="T71" fmla="*/ 2147483647 h 32"/>
                <a:gd name="T72" fmla="*/ 2147483647 w 49"/>
                <a:gd name="T73" fmla="*/ 0 h 32"/>
                <a:gd name="T74" fmla="*/ 2147483647 w 49"/>
                <a:gd name="T75" fmla="*/ 0 h 32"/>
                <a:gd name="T76" fmla="*/ 2147483647 w 49"/>
                <a:gd name="T77" fmla="*/ 0 h 32"/>
                <a:gd name="T78" fmla="*/ 2147483647 w 49"/>
                <a:gd name="T79" fmla="*/ 2147483647 h 32"/>
                <a:gd name="T80" fmla="*/ 2147483647 w 49"/>
                <a:gd name="T81" fmla="*/ 2147483647 h 32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49"/>
                <a:gd name="T124" fmla="*/ 0 h 32"/>
                <a:gd name="T125" fmla="*/ 49 w 49"/>
                <a:gd name="T126" fmla="*/ 32 h 32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49" h="32">
                  <a:moveTo>
                    <a:pt x="37" y="3"/>
                  </a:moveTo>
                  <a:lnTo>
                    <a:pt x="37" y="3"/>
                  </a:lnTo>
                  <a:lnTo>
                    <a:pt x="35" y="6"/>
                  </a:lnTo>
                  <a:lnTo>
                    <a:pt x="29" y="6"/>
                  </a:lnTo>
                  <a:lnTo>
                    <a:pt x="17" y="3"/>
                  </a:lnTo>
                  <a:lnTo>
                    <a:pt x="12" y="0"/>
                  </a:lnTo>
                  <a:lnTo>
                    <a:pt x="9" y="6"/>
                  </a:lnTo>
                  <a:lnTo>
                    <a:pt x="6" y="3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2"/>
                  </a:lnTo>
                  <a:lnTo>
                    <a:pt x="9" y="15"/>
                  </a:lnTo>
                  <a:lnTo>
                    <a:pt x="17" y="20"/>
                  </a:lnTo>
                  <a:lnTo>
                    <a:pt x="20" y="20"/>
                  </a:lnTo>
                  <a:lnTo>
                    <a:pt x="23" y="23"/>
                  </a:lnTo>
                  <a:lnTo>
                    <a:pt x="26" y="23"/>
                  </a:lnTo>
                  <a:lnTo>
                    <a:pt x="29" y="23"/>
                  </a:lnTo>
                  <a:lnTo>
                    <a:pt x="32" y="29"/>
                  </a:lnTo>
                  <a:lnTo>
                    <a:pt x="37" y="32"/>
                  </a:lnTo>
                  <a:lnTo>
                    <a:pt x="43" y="29"/>
                  </a:lnTo>
                  <a:lnTo>
                    <a:pt x="46" y="26"/>
                  </a:lnTo>
                  <a:lnTo>
                    <a:pt x="43" y="20"/>
                  </a:lnTo>
                  <a:lnTo>
                    <a:pt x="46" y="15"/>
                  </a:lnTo>
                  <a:lnTo>
                    <a:pt x="46" y="6"/>
                  </a:lnTo>
                  <a:lnTo>
                    <a:pt x="49" y="3"/>
                  </a:lnTo>
                  <a:lnTo>
                    <a:pt x="46" y="0"/>
                  </a:lnTo>
                  <a:lnTo>
                    <a:pt x="40" y="0"/>
                  </a:lnTo>
                  <a:lnTo>
                    <a:pt x="37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20" name="Freeform 221"/>
            <p:cNvSpPr>
              <a:spLocks/>
            </p:cNvSpPr>
            <p:nvPr/>
          </p:nvSpPr>
          <p:spPr bwMode="auto">
            <a:xfrm>
              <a:off x="4935538" y="2800350"/>
              <a:ext cx="9525" cy="14288"/>
            </a:xfrm>
            <a:custGeom>
              <a:avLst/>
              <a:gdLst>
                <a:gd name="T0" fmla="*/ 2147483647 w 6"/>
                <a:gd name="T1" fmla="*/ 0 h 9"/>
                <a:gd name="T2" fmla="*/ 0 w 6"/>
                <a:gd name="T3" fmla="*/ 2147483647 h 9"/>
                <a:gd name="T4" fmla="*/ 2147483647 w 6"/>
                <a:gd name="T5" fmla="*/ 2147483647 h 9"/>
                <a:gd name="T6" fmla="*/ 2147483647 w 6"/>
                <a:gd name="T7" fmla="*/ 0 h 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9"/>
                <a:gd name="T14" fmla="*/ 6 w 6"/>
                <a:gd name="T15" fmla="*/ 9 h 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9">
                  <a:moveTo>
                    <a:pt x="3" y="0"/>
                  </a:moveTo>
                  <a:lnTo>
                    <a:pt x="0" y="6"/>
                  </a:lnTo>
                  <a:lnTo>
                    <a:pt x="6" y="9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21" name="Freeform 222"/>
            <p:cNvSpPr>
              <a:spLocks/>
            </p:cNvSpPr>
            <p:nvPr/>
          </p:nvSpPr>
          <p:spPr bwMode="auto">
            <a:xfrm>
              <a:off x="4025900" y="2868613"/>
              <a:ext cx="547688" cy="569912"/>
            </a:xfrm>
            <a:custGeom>
              <a:avLst/>
              <a:gdLst>
                <a:gd name="T0" fmla="*/ 2147483647 w 342"/>
                <a:gd name="T1" fmla="*/ 2147483647 h 356"/>
                <a:gd name="T2" fmla="*/ 2147483647 w 342"/>
                <a:gd name="T3" fmla="*/ 2147483647 h 356"/>
                <a:gd name="T4" fmla="*/ 2147483647 w 342"/>
                <a:gd name="T5" fmla="*/ 2147483647 h 356"/>
                <a:gd name="T6" fmla="*/ 2147483647 w 342"/>
                <a:gd name="T7" fmla="*/ 2147483647 h 356"/>
                <a:gd name="T8" fmla="*/ 2147483647 w 342"/>
                <a:gd name="T9" fmla="*/ 2147483647 h 356"/>
                <a:gd name="T10" fmla="*/ 2147483647 w 342"/>
                <a:gd name="T11" fmla="*/ 2147483647 h 356"/>
                <a:gd name="T12" fmla="*/ 2147483647 w 342"/>
                <a:gd name="T13" fmla="*/ 2147483647 h 356"/>
                <a:gd name="T14" fmla="*/ 2147483647 w 342"/>
                <a:gd name="T15" fmla="*/ 2147483647 h 356"/>
                <a:gd name="T16" fmla="*/ 2147483647 w 342"/>
                <a:gd name="T17" fmla="*/ 2147483647 h 356"/>
                <a:gd name="T18" fmla="*/ 2147483647 w 342"/>
                <a:gd name="T19" fmla="*/ 2147483647 h 356"/>
                <a:gd name="T20" fmla="*/ 2147483647 w 342"/>
                <a:gd name="T21" fmla="*/ 2147483647 h 356"/>
                <a:gd name="T22" fmla="*/ 2147483647 w 342"/>
                <a:gd name="T23" fmla="*/ 2147483647 h 356"/>
                <a:gd name="T24" fmla="*/ 2147483647 w 342"/>
                <a:gd name="T25" fmla="*/ 2147483647 h 356"/>
                <a:gd name="T26" fmla="*/ 2147483647 w 342"/>
                <a:gd name="T27" fmla="*/ 2147483647 h 356"/>
                <a:gd name="T28" fmla="*/ 2147483647 w 342"/>
                <a:gd name="T29" fmla="*/ 2147483647 h 356"/>
                <a:gd name="T30" fmla="*/ 2147483647 w 342"/>
                <a:gd name="T31" fmla="*/ 2147483647 h 356"/>
                <a:gd name="T32" fmla="*/ 2147483647 w 342"/>
                <a:gd name="T33" fmla="*/ 2147483647 h 356"/>
                <a:gd name="T34" fmla="*/ 0 w 342"/>
                <a:gd name="T35" fmla="*/ 2147483647 h 356"/>
                <a:gd name="T36" fmla="*/ 2147483647 w 342"/>
                <a:gd name="T37" fmla="*/ 2147483647 h 356"/>
                <a:gd name="T38" fmla="*/ 2147483647 w 342"/>
                <a:gd name="T39" fmla="*/ 2147483647 h 356"/>
                <a:gd name="T40" fmla="*/ 2147483647 w 342"/>
                <a:gd name="T41" fmla="*/ 2147483647 h 356"/>
                <a:gd name="T42" fmla="*/ 2147483647 w 342"/>
                <a:gd name="T43" fmla="*/ 2147483647 h 356"/>
                <a:gd name="T44" fmla="*/ 2147483647 w 342"/>
                <a:gd name="T45" fmla="*/ 2147483647 h 356"/>
                <a:gd name="T46" fmla="*/ 2147483647 w 342"/>
                <a:gd name="T47" fmla="*/ 2147483647 h 356"/>
                <a:gd name="T48" fmla="*/ 2147483647 w 342"/>
                <a:gd name="T49" fmla="*/ 2147483647 h 356"/>
                <a:gd name="T50" fmla="*/ 2147483647 w 342"/>
                <a:gd name="T51" fmla="*/ 2147483647 h 356"/>
                <a:gd name="T52" fmla="*/ 2147483647 w 342"/>
                <a:gd name="T53" fmla="*/ 2147483647 h 356"/>
                <a:gd name="T54" fmla="*/ 2147483647 w 342"/>
                <a:gd name="T55" fmla="*/ 2147483647 h 356"/>
                <a:gd name="T56" fmla="*/ 2147483647 w 342"/>
                <a:gd name="T57" fmla="*/ 2147483647 h 356"/>
                <a:gd name="T58" fmla="*/ 2147483647 w 342"/>
                <a:gd name="T59" fmla="*/ 2147483647 h 356"/>
                <a:gd name="T60" fmla="*/ 2147483647 w 342"/>
                <a:gd name="T61" fmla="*/ 2147483647 h 356"/>
                <a:gd name="T62" fmla="*/ 2147483647 w 342"/>
                <a:gd name="T63" fmla="*/ 2147483647 h 356"/>
                <a:gd name="T64" fmla="*/ 2147483647 w 342"/>
                <a:gd name="T65" fmla="*/ 2147483647 h 356"/>
                <a:gd name="T66" fmla="*/ 2147483647 w 342"/>
                <a:gd name="T67" fmla="*/ 2147483647 h 356"/>
                <a:gd name="T68" fmla="*/ 2147483647 w 342"/>
                <a:gd name="T69" fmla="*/ 2147483647 h 356"/>
                <a:gd name="T70" fmla="*/ 2147483647 w 342"/>
                <a:gd name="T71" fmla="*/ 2147483647 h 356"/>
                <a:gd name="T72" fmla="*/ 2147483647 w 342"/>
                <a:gd name="T73" fmla="*/ 2147483647 h 356"/>
                <a:gd name="T74" fmla="*/ 2147483647 w 342"/>
                <a:gd name="T75" fmla="*/ 2147483647 h 356"/>
                <a:gd name="T76" fmla="*/ 2147483647 w 342"/>
                <a:gd name="T77" fmla="*/ 2147483647 h 356"/>
                <a:gd name="T78" fmla="*/ 2147483647 w 342"/>
                <a:gd name="T79" fmla="*/ 2147483647 h 356"/>
                <a:gd name="T80" fmla="*/ 2147483647 w 342"/>
                <a:gd name="T81" fmla="*/ 2147483647 h 356"/>
                <a:gd name="T82" fmla="*/ 2147483647 w 342"/>
                <a:gd name="T83" fmla="*/ 2147483647 h 356"/>
                <a:gd name="T84" fmla="*/ 2147483647 w 342"/>
                <a:gd name="T85" fmla="*/ 2147483647 h 356"/>
                <a:gd name="T86" fmla="*/ 2147483647 w 342"/>
                <a:gd name="T87" fmla="*/ 2147483647 h 356"/>
                <a:gd name="T88" fmla="*/ 2147483647 w 342"/>
                <a:gd name="T89" fmla="*/ 2147483647 h 356"/>
                <a:gd name="T90" fmla="*/ 2147483647 w 342"/>
                <a:gd name="T91" fmla="*/ 2147483647 h 356"/>
                <a:gd name="T92" fmla="*/ 2147483647 w 342"/>
                <a:gd name="T93" fmla="*/ 2147483647 h 356"/>
                <a:gd name="T94" fmla="*/ 2147483647 w 342"/>
                <a:gd name="T95" fmla="*/ 2147483647 h 356"/>
                <a:gd name="T96" fmla="*/ 2147483647 w 342"/>
                <a:gd name="T97" fmla="*/ 2147483647 h 356"/>
                <a:gd name="T98" fmla="*/ 2147483647 w 342"/>
                <a:gd name="T99" fmla="*/ 2147483647 h 356"/>
                <a:gd name="T100" fmla="*/ 2147483647 w 342"/>
                <a:gd name="T101" fmla="*/ 2147483647 h 356"/>
                <a:gd name="T102" fmla="*/ 2147483647 w 342"/>
                <a:gd name="T103" fmla="*/ 2147483647 h 356"/>
                <a:gd name="T104" fmla="*/ 2147483647 w 342"/>
                <a:gd name="T105" fmla="*/ 2147483647 h 356"/>
                <a:gd name="T106" fmla="*/ 2147483647 w 342"/>
                <a:gd name="T107" fmla="*/ 2147483647 h 356"/>
                <a:gd name="T108" fmla="*/ 2147483647 w 342"/>
                <a:gd name="T109" fmla="*/ 2147483647 h 356"/>
                <a:gd name="T110" fmla="*/ 2147483647 w 342"/>
                <a:gd name="T111" fmla="*/ 2147483647 h 356"/>
                <a:gd name="T112" fmla="*/ 2147483647 w 342"/>
                <a:gd name="T113" fmla="*/ 2147483647 h 356"/>
                <a:gd name="T114" fmla="*/ 2147483647 w 342"/>
                <a:gd name="T115" fmla="*/ 2147483647 h 35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42"/>
                <a:gd name="T175" fmla="*/ 0 h 356"/>
                <a:gd name="T176" fmla="*/ 342 w 342"/>
                <a:gd name="T177" fmla="*/ 356 h 35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42" h="356">
                  <a:moveTo>
                    <a:pt x="204" y="9"/>
                  </a:moveTo>
                  <a:lnTo>
                    <a:pt x="204" y="9"/>
                  </a:lnTo>
                  <a:lnTo>
                    <a:pt x="198" y="9"/>
                  </a:lnTo>
                  <a:lnTo>
                    <a:pt x="192" y="12"/>
                  </a:lnTo>
                  <a:lnTo>
                    <a:pt x="169" y="15"/>
                  </a:lnTo>
                  <a:lnTo>
                    <a:pt x="152" y="20"/>
                  </a:lnTo>
                  <a:lnTo>
                    <a:pt x="146" y="29"/>
                  </a:lnTo>
                  <a:lnTo>
                    <a:pt x="138" y="29"/>
                  </a:lnTo>
                  <a:lnTo>
                    <a:pt x="129" y="35"/>
                  </a:lnTo>
                  <a:lnTo>
                    <a:pt x="120" y="40"/>
                  </a:lnTo>
                  <a:lnTo>
                    <a:pt x="112" y="43"/>
                  </a:lnTo>
                  <a:lnTo>
                    <a:pt x="118" y="46"/>
                  </a:lnTo>
                  <a:lnTo>
                    <a:pt x="120" y="61"/>
                  </a:lnTo>
                  <a:lnTo>
                    <a:pt x="120" y="78"/>
                  </a:lnTo>
                  <a:lnTo>
                    <a:pt x="132" y="92"/>
                  </a:lnTo>
                  <a:lnTo>
                    <a:pt x="126" y="104"/>
                  </a:lnTo>
                  <a:lnTo>
                    <a:pt x="98" y="101"/>
                  </a:lnTo>
                  <a:lnTo>
                    <a:pt x="95" y="106"/>
                  </a:lnTo>
                  <a:lnTo>
                    <a:pt x="83" y="109"/>
                  </a:lnTo>
                  <a:lnTo>
                    <a:pt x="86" y="121"/>
                  </a:lnTo>
                  <a:lnTo>
                    <a:pt x="77" y="129"/>
                  </a:lnTo>
                  <a:lnTo>
                    <a:pt x="72" y="132"/>
                  </a:lnTo>
                  <a:lnTo>
                    <a:pt x="66" y="135"/>
                  </a:lnTo>
                  <a:lnTo>
                    <a:pt x="57" y="144"/>
                  </a:lnTo>
                  <a:lnTo>
                    <a:pt x="40" y="147"/>
                  </a:lnTo>
                  <a:lnTo>
                    <a:pt x="37" y="152"/>
                  </a:lnTo>
                  <a:lnTo>
                    <a:pt x="29" y="147"/>
                  </a:lnTo>
                  <a:lnTo>
                    <a:pt x="23" y="155"/>
                  </a:lnTo>
                  <a:lnTo>
                    <a:pt x="3" y="167"/>
                  </a:lnTo>
                  <a:lnTo>
                    <a:pt x="0" y="187"/>
                  </a:lnTo>
                  <a:lnTo>
                    <a:pt x="0" y="193"/>
                  </a:lnTo>
                  <a:lnTo>
                    <a:pt x="164" y="313"/>
                  </a:lnTo>
                  <a:lnTo>
                    <a:pt x="164" y="316"/>
                  </a:lnTo>
                  <a:lnTo>
                    <a:pt x="164" y="319"/>
                  </a:lnTo>
                  <a:lnTo>
                    <a:pt x="169" y="322"/>
                  </a:lnTo>
                  <a:lnTo>
                    <a:pt x="175" y="330"/>
                  </a:lnTo>
                  <a:lnTo>
                    <a:pt x="181" y="328"/>
                  </a:lnTo>
                  <a:lnTo>
                    <a:pt x="187" y="336"/>
                  </a:lnTo>
                  <a:lnTo>
                    <a:pt x="198" y="339"/>
                  </a:lnTo>
                  <a:lnTo>
                    <a:pt x="195" y="351"/>
                  </a:lnTo>
                  <a:lnTo>
                    <a:pt x="198" y="356"/>
                  </a:lnTo>
                  <a:lnTo>
                    <a:pt x="241" y="348"/>
                  </a:lnTo>
                  <a:lnTo>
                    <a:pt x="255" y="330"/>
                  </a:lnTo>
                  <a:lnTo>
                    <a:pt x="310" y="287"/>
                  </a:lnTo>
                  <a:lnTo>
                    <a:pt x="342" y="264"/>
                  </a:lnTo>
                  <a:lnTo>
                    <a:pt x="333" y="256"/>
                  </a:lnTo>
                  <a:lnTo>
                    <a:pt x="327" y="250"/>
                  </a:lnTo>
                  <a:lnTo>
                    <a:pt x="319" y="253"/>
                  </a:lnTo>
                  <a:lnTo>
                    <a:pt x="319" y="250"/>
                  </a:lnTo>
                  <a:lnTo>
                    <a:pt x="316" y="244"/>
                  </a:lnTo>
                  <a:lnTo>
                    <a:pt x="310" y="236"/>
                  </a:lnTo>
                  <a:lnTo>
                    <a:pt x="307" y="227"/>
                  </a:lnTo>
                  <a:lnTo>
                    <a:pt x="301" y="218"/>
                  </a:lnTo>
                  <a:lnTo>
                    <a:pt x="301" y="216"/>
                  </a:lnTo>
                  <a:lnTo>
                    <a:pt x="310" y="210"/>
                  </a:lnTo>
                  <a:lnTo>
                    <a:pt x="304" y="193"/>
                  </a:lnTo>
                  <a:lnTo>
                    <a:pt x="310" y="181"/>
                  </a:lnTo>
                  <a:lnTo>
                    <a:pt x="307" y="164"/>
                  </a:lnTo>
                  <a:lnTo>
                    <a:pt x="307" y="150"/>
                  </a:lnTo>
                  <a:lnTo>
                    <a:pt x="298" y="135"/>
                  </a:lnTo>
                  <a:lnTo>
                    <a:pt x="301" y="135"/>
                  </a:lnTo>
                  <a:lnTo>
                    <a:pt x="296" y="104"/>
                  </a:lnTo>
                  <a:lnTo>
                    <a:pt x="284" y="95"/>
                  </a:lnTo>
                  <a:lnTo>
                    <a:pt x="284" y="86"/>
                  </a:lnTo>
                  <a:lnTo>
                    <a:pt x="273" y="81"/>
                  </a:lnTo>
                  <a:lnTo>
                    <a:pt x="270" y="63"/>
                  </a:lnTo>
                  <a:lnTo>
                    <a:pt x="278" y="49"/>
                  </a:lnTo>
                  <a:lnTo>
                    <a:pt x="284" y="40"/>
                  </a:lnTo>
                  <a:lnTo>
                    <a:pt x="278" y="29"/>
                  </a:lnTo>
                  <a:lnTo>
                    <a:pt x="284" y="20"/>
                  </a:lnTo>
                  <a:lnTo>
                    <a:pt x="278" y="15"/>
                  </a:lnTo>
                  <a:lnTo>
                    <a:pt x="284" y="9"/>
                  </a:lnTo>
                  <a:lnTo>
                    <a:pt x="287" y="6"/>
                  </a:lnTo>
                  <a:lnTo>
                    <a:pt x="284" y="6"/>
                  </a:lnTo>
                  <a:lnTo>
                    <a:pt x="278" y="9"/>
                  </a:lnTo>
                  <a:lnTo>
                    <a:pt x="275" y="9"/>
                  </a:lnTo>
                  <a:lnTo>
                    <a:pt x="273" y="3"/>
                  </a:lnTo>
                  <a:lnTo>
                    <a:pt x="267" y="3"/>
                  </a:lnTo>
                  <a:lnTo>
                    <a:pt x="264" y="3"/>
                  </a:lnTo>
                  <a:lnTo>
                    <a:pt x="261" y="6"/>
                  </a:lnTo>
                  <a:lnTo>
                    <a:pt x="258" y="6"/>
                  </a:lnTo>
                  <a:lnTo>
                    <a:pt x="255" y="3"/>
                  </a:lnTo>
                  <a:lnTo>
                    <a:pt x="253" y="0"/>
                  </a:lnTo>
                  <a:lnTo>
                    <a:pt x="253" y="3"/>
                  </a:lnTo>
                  <a:lnTo>
                    <a:pt x="247" y="6"/>
                  </a:lnTo>
                  <a:lnTo>
                    <a:pt x="244" y="9"/>
                  </a:lnTo>
                  <a:lnTo>
                    <a:pt x="235" y="15"/>
                  </a:lnTo>
                  <a:lnTo>
                    <a:pt x="232" y="9"/>
                  </a:lnTo>
                  <a:lnTo>
                    <a:pt x="232" y="3"/>
                  </a:lnTo>
                  <a:lnTo>
                    <a:pt x="230" y="3"/>
                  </a:lnTo>
                  <a:lnTo>
                    <a:pt x="224" y="3"/>
                  </a:lnTo>
                  <a:lnTo>
                    <a:pt x="221" y="6"/>
                  </a:lnTo>
                  <a:lnTo>
                    <a:pt x="215" y="3"/>
                  </a:lnTo>
                  <a:lnTo>
                    <a:pt x="209" y="3"/>
                  </a:lnTo>
                  <a:lnTo>
                    <a:pt x="207" y="9"/>
                  </a:lnTo>
                  <a:lnTo>
                    <a:pt x="204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22" name="Freeform 223"/>
            <p:cNvSpPr>
              <a:spLocks/>
            </p:cNvSpPr>
            <p:nvPr/>
          </p:nvSpPr>
          <p:spPr bwMode="auto">
            <a:xfrm>
              <a:off x="4475163" y="2243138"/>
              <a:ext cx="69850" cy="82550"/>
            </a:xfrm>
            <a:custGeom>
              <a:avLst/>
              <a:gdLst>
                <a:gd name="T0" fmla="*/ 2147483647 w 43"/>
                <a:gd name="T1" fmla="*/ 2147483647 h 51"/>
                <a:gd name="T2" fmla="*/ 2147483647 w 43"/>
                <a:gd name="T3" fmla="*/ 2147483647 h 51"/>
                <a:gd name="T4" fmla="*/ 2147483647 w 43"/>
                <a:gd name="T5" fmla="*/ 2147483647 h 51"/>
                <a:gd name="T6" fmla="*/ 2147483647 w 43"/>
                <a:gd name="T7" fmla="*/ 2147483647 h 51"/>
                <a:gd name="T8" fmla="*/ 2147483647 w 43"/>
                <a:gd name="T9" fmla="*/ 2147483647 h 51"/>
                <a:gd name="T10" fmla="*/ 2147483647 w 43"/>
                <a:gd name="T11" fmla="*/ 2147483647 h 51"/>
                <a:gd name="T12" fmla="*/ 2147483647 w 43"/>
                <a:gd name="T13" fmla="*/ 2147483647 h 51"/>
                <a:gd name="T14" fmla="*/ 0 w 43"/>
                <a:gd name="T15" fmla="*/ 2147483647 h 51"/>
                <a:gd name="T16" fmla="*/ 0 w 43"/>
                <a:gd name="T17" fmla="*/ 2147483647 h 51"/>
                <a:gd name="T18" fmla="*/ 0 w 43"/>
                <a:gd name="T19" fmla="*/ 2147483647 h 51"/>
                <a:gd name="T20" fmla="*/ 2147483647 w 43"/>
                <a:gd name="T21" fmla="*/ 2147483647 h 51"/>
                <a:gd name="T22" fmla="*/ 2147483647 w 43"/>
                <a:gd name="T23" fmla="*/ 2147483647 h 51"/>
                <a:gd name="T24" fmla="*/ 2147483647 w 43"/>
                <a:gd name="T25" fmla="*/ 2147483647 h 51"/>
                <a:gd name="T26" fmla="*/ 2147483647 w 43"/>
                <a:gd name="T27" fmla="*/ 2147483647 h 51"/>
                <a:gd name="T28" fmla="*/ 2147483647 w 43"/>
                <a:gd name="T29" fmla="*/ 2147483647 h 51"/>
                <a:gd name="T30" fmla="*/ 2147483647 w 43"/>
                <a:gd name="T31" fmla="*/ 2147483647 h 51"/>
                <a:gd name="T32" fmla="*/ 2147483647 w 43"/>
                <a:gd name="T33" fmla="*/ 2147483647 h 51"/>
                <a:gd name="T34" fmla="*/ 2147483647 w 43"/>
                <a:gd name="T35" fmla="*/ 2147483647 h 51"/>
                <a:gd name="T36" fmla="*/ 2147483647 w 43"/>
                <a:gd name="T37" fmla="*/ 2147483647 h 51"/>
                <a:gd name="T38" fmla="*/ 2147483647 w 43"/>
                <a:gd name="T39" fmla="*/ 2147483647 h 51"/>
                <a:gd name="T40" fmla="*/ 2147483647 w 43"/>
                <a:gd name="T41" fmla="*/ 2147483647 h 51"/>
                <a:gd name="T42" fmla="*/ 2147483647 w 43"/>
                <a:gd name="T43" fmla="*/ 2147483647 h 51"/>
                <a:gd name="T44" fmla="*/ 2147483647 w 43"/>
                <a:gd name="T45" fmla="*/ 2147483647 h 51"/>
                <a:gd name="T46" fmla="*/ 2147483647 w 43"/>
                <a:gd name="T47" fmla="*/ 2147483647 h 51"/>
                <a:gd name="T48" fmla="*/ 2147483647 w 43"/>
                <a:gd name="T49" fmla="*/ 2147483647 h 51"/>
                <a:gd name="T50" fmla="*/ 2147483647 w 43"/>
                <a:gd name="T51" fmla="*/ 2147483647 h 51"/>
                <a:gd name="T52" fmla="*/ 2147483647 w 43"/>
                <a:gd name="T53" fmla="*/ 2147483647 h 51"/>
                <a:gd name="T54" fmla="*/ 2147483647 w 43"/>
                <a:gd name="T55" fmla="*/ 2147483647 h 51"/>
                <a:gd name="T56" fmla="*/ 2147483647 w 43"/>
                <a:gd name="T57" fmla="*/ 2147483647 h 51"/>
                <a:gd name="T58" fmla="*/ 2147483647 w 43"/>
                <a:gd name="T59" fmla="*/ 2147483647 h 51"/>
                <a:gd name="T60" fmla="*/ 2147483647 w 43"/>
                <a:gd name="T61" fmla="*/ 2147483647 h 51"/>
                <a:gd name="T62" fmla="*/ 2147483647 w 43"/>
                <a:gd name="T63" fmla="*/ 2147483647 h 51"/>
                <a:gd name="T64" fmla="*/ 2147483647 w 43"/>
                <a:gd name="T65" fmla="*/ 2147483647 h 51"/>
                <a:gd name="T66" fmla="*/ 2147483647 w 43"/>
                <a:gd name="T67" fmla="*/ 2147483647 h 51"/>
                <a:gd name="T68" fmla="*/ 2147483647 w 43"/>
                <a:gd name="T69" fmla="*/ 2147483647 h 51"/>
                <a:gd name="T70" fmla="*/ 2147483647 w 43"/>
                <a:gd name="T71" fmla="*/ 2147483647 h 51"/>
                <a:gd name="T72" fmla="*/ 2147483647 w 43"/>
                <a:gd name="T73" fmla="*/ 2147483647 h 51"/>
                <a:gd name="T74" fmla="*/ 2147483647 w 43"/>
                <a:gd name="T75" fmla="*/ 2147483647 h 51"/>
                <a:gd name="T76" fmla="*/ 2147483647 w 43"/>
                <a:gd name="T77" fmla="*/ 2147483647 h 51"/>
                <a:gd name="T78" fmla="*/ 2147483647 w 43"/>
                <a:gd name="T79" fmla="*/ 2147483647 h 51"/>
                <a:gd name="T80" fmla="*/ 2147483647 w 43"/>
                <a:gd name="T81" fmla="*/ 2147483647 h 51"/>
                <a:gd name="T82" fmla="*/ 2147483647 w 43"/>
                <a:gd name="T83" fmla="*/ 0 h 51"/>
                <a:gd name="T84" fmla="*/ 2147483647 w 43"/>
                <a:gd name="T85" fmla="*/ 2147483647 h 51"/>
                <a:gd name="T86" fmla="*/ 2147483647 w 43"/>
                <a:gd name="T87" fmla="*/ 2147483647 h 51"/>
                <a:gd name="T88" fmla="*/ 2147483647 w 43"/>
                <a:gd name="T89" fmla="*/ 2147483647 h 51"/>
                <a:gd name="T90" fmla="*/ 2147483647 w 43"/>
                <a:gd name="T91" fmla="*/ 2147483647 h 51"/>
                <a:gd name="T92" fmla="*/ 2147483647 w 43"/>
                <a:gd name="T93" fmla="*/ 2147483647 h 51"/>
                <a:gd name="T94" fmla="*/ 2147483647 w 43"/>
                <a:gd name="T95" fmla="*/ 2147483647 h 51"/>
                <a:gd name="T96" fmla="*/ 2147483647 w 43"/>
                <a:gd name="T97" fmla="*/ 2147483647 h 51"/>
                <a:gd name="T98" fmla="*/ 2147483647 w 43"/>
                <a:gd name="T99" fmla="*/ 2147483647 h 51"/>
                <a:gd name="T100" fmla="*/ 2147483647 w 43"/>
                <a:gd name="T101" fmla="*/ 2147483647 h 51"/>
                <a:gd name="T102" fmla="*/ 2147483647 w 43"/>
                <a:gd name="T103" fmla="*/ 2147483647 h 51"/>
                <a:gd name="T104" fmla="*/ 2147483647 w 43"/>
                <a:gd name="T105" fmla="*/ 2147483647 h 51"/>
                <a:gd name="T106" fmla="*/ 2147483647 w 43"/>
                <a:gd name="T107" fmla="*/ 2147483647 h 51"/>
                <a:gd name="T108" fmla="*/ 2147483647 w 43"/>
                <a:gd name="T109" fmla="*/ 2147483647 h 51"/>
                <a:gd name="T110" fmla="*/ 2147483647 w 43"/>
                <a:gd name="T111" fmla="*/ 2147483647 h 5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3"/>
                <a:gd name="T169" fmla="*/ 0 h 51"/>
                <a:gd name="T170" fmla="*/ 43 w 43"/>
                <a:gd name="T171" fmla="*/ 51 h 5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3" h="51">
                  <a:moveTo>
                    <a:pt x="17" y="11"/>
                  </a:moveTo>
                  <a:lnTo>
                    <a:pt x="17" y="11"/>
                  </a:lnTo>
                  <a:lnTo>
                    <a:pt x="15" y="11"/>
                  </a:lnTo>
                  <a:lnTo>
                    <a:pt x="12" y="14"/>
                  </a:lnTo>
                  <a:lnTo>
                    <a:pt x="3" y="23"/>
                  </a:lnTo>
                  <a:lnTo>
                    <a:pt x="0" y="26"/>
                  </a:lnTo>
                  <a:lnTo>
                    <a:pt x="0" y="31"/>
                  </a:lnTo>
                  <a:lnTo>
                    <a:pt x="3" y="37"/>
                  </a:lnTo>
                  <a:lnTo>
                    <a:pt x="3" y="40"/>
                  </a:lnTo>
                  <a:lnTo>
                    <a:pt x="6" y="43"/>
                  </a:lnTo>
                  <a:lnTo>
                    <a:pt x="9" y="46"/>
                  </a:lnTo>
                  <a:lnTo>
                    <a:pt x="6" y="51"/>
                  </a:lnTo>
                  <a:lnTo>
                    <a:pt x="9" y="51"/>
                  </a:lnTo>
                  <a:lnTo>
                    <a:pt x="17" y="51"/>
                  </a:lnTo>
                  <a:lnTo>
                    <a:pt x="26" y="51"/>
                  </a:lnTo>
                  <a:lnTo>
                    <a:pt x="23" y="49"/>
                  </a:lnTo>
                  <a:lnTo>
                    <a:pt x="23" y="46"/>
                  </a:lnTo>
                  <a:lnTo>
                    <a:pt x="23" y="43"/>
                  </a:lnTo>
                  <a:lnTo>
                    <a:pt x="26" y="37"/>
                  </a:lnTo>
                  <a:lnTo>
                    <a:pt x="35" y="31"/>
                  </a:lnTo>
                  <a:lnTo>
                    <a:pt x="38" y="29"/>
                  </a:lnTo>
                  <a:lnTo>
                    <a:pt x="43" y="23"/>
                  </a:lnTo>
                  <a:lnTo>
                    <a:pt x="38" y="23"/>
                  </a:lnTo>
                  <a:lnTo>
                    <a:pt x="35" y="20"/>
                  </a:lnTo>
                  <a:lnTo>
                    <a:pt x="35" y="17"/>
                  </a:lnTo>
                  <a:lnTo>
                    <a:pt x="38" y="14"/>
                  </a:lnTo>
                  <a:lnTo>
                    <a:pt x="38" y="11"/>
                  </a:lnTo>
                  <a:lnTo>
                    <a:pt x="38" y="0"/>
                  </a:lnTo>
                  <a:lnTo>
                    <a:pt x="29" y="3"/>
                  </a:lnTo>
                  <a:lnTo>
                    <a:pt x="29" y="6"/>
                  </a:lnTo>
                  <a:lnTo>
                    <a:pt x="26" y="8"/>
                  </a:lnTo>
                  <a:lnTo>
                    <a:pt x="20" y="11"/>
                  </a:lnTo>
                  <a:lnTo>
                    <a:pt x="17" y="14"/>
                  </a:lnTo>
                  <a:lnTo>
                    <a:pt x="17" y="17"/>
                  </a:lnTo>
                  <a:lnTo>
                    <a:pt x="15" y="17"/>
                  </a:lnTo>
                  <a:lnTo>
                    <a:pt x="17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23" name="Freeform 224"/>
            <p:cNvSpPr>
              <a:spLocks/>
            </p:cNvSpPr>
            <p:nvPr/>
          </p:nvSpPr>
          <p:spPr bwMode="auto">
            <a:xfrm>
              <a:off x="4651375" y="2662238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0 w 6"/>
                <a:gd name="T5" fmla="*/ 2147483647 h 6"/>
                <a:gd name="T6" fmla="*/ 2147483647 w 6"/>
                <a:gd name="T7" fmla="*/ 2147483647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6" y="6"/>
                  </a:moveTo>
                  <a:lnTo>
                    <a:pt x="6" y="0"/>
                  </a:lnTo>
                  <a:lnTo>
                    <a:pt x="0" y="3"/>
                  </a:ln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24" name="Freeform 225"/>
            <p:cNvSpPr>
              <a:spLocks/>
            </p:cNvSpPr>
            <p:nvPr/>
          </p:nvSpPr>
          <p:spPr bwMode="auto">
            <a:xfrm>
              <a:off x="4365625" y="2776538"/>
              <a:ext cx="14288" cy="9525"/>
            </a:xfrm>
            <a:custGeom>
              <a:avLst/>
              <a:gdLst>
                <a:gd name="T0" fmla="*/ 2147483647 w 9"/>
                <a:gd name="T1" fmla="*/ 2147483647 h 6"/>
                <a:gd name="T2" fmla="*/ 2147483647 w 9"/>
                <a:gd name="T3" fmla="*/ 0 h 6"/>
                <a:gd name="T4" fmla="*/ 2147483647 w 9"/>
                <a:gd name="T5" fmla="*/ 0 h 6"/>
                <a:gd name="T6" fmla="*/ 2147483647 w 9"/>
                <a:gd name="T7" fmla="*/ 0 h 6"/>
                <a:gd name="T8" fmla="*/ 0 w 9"/>
                <a:gd name="T9" fmla="*/ 2147483647 h 6"/>
                <a:gd name="T10" fmla="*/ 0 w 9"/>
                <a:gd name="T11" fmla="*/ 2147483647 h 6"/>
                <a:gd name="T12" fmla="*/ 0 w 9"/>
                <a:gd name="T13" fmla="*/ 2147483647 h 6"/>
                <a:gd name="T14" fmla="*/ 2147483647 w 9"/>
                <a:gd name="T15" fmla="*/ 2147483647 h 6"/>
                <a:gd name="T16" fmla="*/ 2147483647 w 9"/>
                <a:gd name="T17" fmla="*/ 2147483647 h 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6"/>
                <a:gd name="T29" fmla="*/ 9 w 9"/>
                <a:gd name="T30" fmla="*/ 6 h 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6">
                  <a:moveTo>
                    <a:pt x="9" y="6"/>
                  </a:moveTo>
                  <a:lnTo>
                    <a:pt x="9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6" y="6"/>
                  </a:lnTo>
                  <a:lnTo>
                    <a:pt x="9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25" name="Freeform 226"/>
            <p:cNvSpPr>
              <a:spLocks/>
            </p:cNvSpPr>
            <p:nvPr/>
          </p:nvSpPr>
          <p:spPr bwMode="auto">
            <a:xfrm>
              <a:off x="4835525" y="2652713"/>
              <a:ext cx="152400" cy="87312"/>
            </a:xfrm>
            <a:custGeom>
              <a:avLst/>
              <a:gdLst>
                <a:gd name="T0" fmla="*/ 2147483647 w 95"/>
                <a:gd name="T1" fmla="*/ 2147483647 h 55"/>
                <a:gd name="T2" fmla="*/ 2147483647 w 95"/>
                <a:gd name="T3" fmla="*/ 2147483647 h 55"/>
                <a:gd name="T4" fmla="*/ 2147483647 w 95"/>
                <a:gd name="T5" fmla="*/ 2147483647 h 55"/>
                <a:gd name="T6" fmla="*/ 2147483647 w 95"/>
                <a:gd name="T7" fmla="*/ 2147483647 h 55"/>
                <a:gd name="T8" fmla="*/ 2147483647 w 95"/>
                <a:gd name="T9" fmla="*/ 2147483647 h 55"/>
                <a:gd name="T10" fmla="*/ 2147483647 w 95"/>
                <a:gd name="T11" fmla="*/ 2147483647 h 55"/>
                <a:gd name="T12" fmla="*/ 2147483647 w 95"/>
                <a:gd name="T13" fmla="*/ 2147483647 h 55"/>
                <a:gd name="T14" fmla="*/ 2147483647 w 95"/>
                <a:gd name="T15" fmla="*/ 2147483647 h 55"/>
                <a:gd name="T16" fmla="*/ 2147483647 w 95"/>
                <a:gd name="T17" fmla="*/ 2147483647 h 55"/>
                <a:gd name="T18" fmla="*/ 2147483647 w 95"/>
                <a:gd name="T19" fmla="*/ 2147483647 h 55"/>
                <a:gd name="T20" fmla="*/ 2147483647 w 95"/>
                <a:gd name="T21" fmla="*/ 2147483647 h 55"/>
                <a:gd name="T22" fmla="*/ 2147483647 w 95"/>
                <a:gd name="T23" fmla="*/ 2147483647 h 55"/>
                <a:gd name="T24" fmla="*/ 2147483647 w 95"/>
                <a:gd name="T25" fmla="*/ 0 h 55"/>
                <a:gd name="T26" fmla="*/ 0 w 95"/>
                <a:gd name="T27" fmla="*/ 2147483647 h 55"/>
                <a:gd name="T28" fmla="*/ 0 w 95"/>
                <a:gd name="T29" fmla="*/ 2147483647 h 55"/>
                <a:gd name="T30" fmla="*/ 2147483647 w 95"/>
                <a:gd name="T31" fmla="*/ 2147483647 h 55"/>
                <a:gd name="T32" fmla="*/ 2147483647 w 95"/>
                <a:gd name="T33" fmla="*/ 2147483647 h 55"/>
                <a:gd name="T34" fmla="*/ 2147483647 w 95"/>
                <a:gd name="T35" fmla="*/ 2147483647 h 55"/>
                <a:gd name="T36" fmla="*/ 2147483647 w 95"/>
                <a:gd name="T37" fmla="*/ 2147483647 h 55"/>
                <a:gd name="T38" fmla="*/ 2147483647 w 95"/>
                <a:gd name="T39" fmla="*/ 2147483647 h 55"/>
                <a:gd name="T40" fmla="*/ 2147483647 w 95"/>
                <a:gd name="T41" fmla="*/ 2147483647 h 55"/>
                <a:gd name="T42" fmla="*/ 2147483647 w 95"/>
                <a:gd name="T43" fmla="*/ 2147483647 h 55"/>
                <a:gd name="T44" fmla="*/ 2147483647 w 95"/>
                <a:gd name="T45" fmla="*/ 2147483647 h 55"/>
                <a:gd name="T46" fmla="*/ 2147483647 w 95"/>
                <a:gd name="T47" fmla="*/ 2147483647 h 55"/>
                <a:gd name="T48" fmla="*/ 2147483647 w 95"/>
                <a:gd name="T49" fmla="*/ 2147483647 h 55"/>
                <a:gd name="T50" fmla="*/ 2147483647 w 95"/>
                <a:gd name="T51" fmla="*/ 2147483647 h 55"/>
                <a:gd name="T52" fmla="*/ 2147483647 w 95"/>
                <a:gd name="T53" fmla="*/ 2147483647 h 55"/>
                <a:gd name="T54" fmla="*/ 2147483647 w 95"/>
                <a:gd name="T55" fmla="*/ 2147483647 h 55"/>
                <a:gd name="T56" fmla="*/ 2147483647 w 95"/>
                <a:gd name="T57" fmla="*/ 2147483647 h 55"/>
                <a:gd name="T58" fmla="*/ 2147483647 w 95"/>
                <a:gd name="T59" fmla="*/ 2147483647 h 55"/>
                <a:gd name="T60" fmla="*/ 2147483647 w 95"/>
                <a:gd name="T61" fmla="*/ 2147483647 h 55"/>
                <a:gd name="T62" fmla="*/ 2147483647 w 95"/>
                <a:gd name="T63" fmla="*/ 2147483647 h 55"/>
                <a:gd name="T64" fmla="*/ 2147483647 w 95"/>
                <a:gd name="T65" fmla="*/ 2147483647 h 55"/>
                <a:gd name="T66" fmla="*/ 2147483647 w 95"/>
                <a:gd name="T67" fmla="*/ 2147483647 h 55"/>
                <a:gd name="T68" fmla="*/ 2147483647 w 95"/>
                <a:gd name="T69" fmla="*/ 2147483647 h 55"/>
                <a:gd name="T70" fmla="*/ 2147483647 w 95"/>
                <a:gd name="T71" fmla="*/ 2147483647 h 55"/>
                <a:gd name="T72" fmla="*/ 2147483647 w 95"/>
                <a:gd name="T73" fmla="*/ 2147483647 h 55"/>
                <a:gd name="T74" fmla="*/ 2147483647 w 95"/>
                <a:gd name="T75" fmla="*/ 2147483647 h 55"/>
                <a:gd name="T76" fmla="*/ 2147483647 w 95"/>
                <a:gd name="T77" fmla="*/ 2147483647 h 55"/>
                <a:gd name="T78" fmla="*/ 2147483647 w 95"/>
                <a:gd name="T79" fmla="*/ 2147483647 h 55"/>
                <a:gd name="T80" fmla="*/ 2147483647 w 95"/>
                <a:gd name="T81" fmla="*/ 2147483647 h 55"/>
                <a:gd name="T82" fmla="*/ 2147483647 w 95"/>
                <a:gd name="T83" fmla="*/ 2147483647 h 55"/>
                <a:gd name="T84" fmla="*/ 2147483647 w 95"/>
                <a:gd name="T85" fmla="*/ 2147483647 h 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95"/>
                <a:gd name="T130" fmla="*/ 0 h 55"/>
                <a:gd name="T131" fmla="*/ 95 w 95"/>
                <a:gd name="T132" fmla="*/ 55 h 5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95" h="55">
                  <a:moveTo>
                    <a:pt x="92" y="18"/>
                  </a:moveTo>
                  <a:lnTo>
                    <a:pt x="95" y="12"/>
                  </a:lnTo>
                  <a:lnTo>
                    <a:pt x="86" y="9"/>
                  </a:lnTo>
                  <a:lnTo>
                    <a:pt x="78" y="3"/>
                  </a:lnTo>
                  <a:lnTo>
                    <a:pt x="66" y="3"/>
                  </a:lnTo>
                  <a:lnTo>
                    <a:pt x="55" y="6"/>
                  </a:lnTo>
                  <a:lnTo>
                    <a:pt x="46" y="12"/>
                  </a:lnTo>
                  <a:lnTo>
                    <a:pt x="32" y="9"/>
                  </a:lnTo>
                  <a:lnTo>
                    <a:pt x="29" y="15"/>
                  </a:lnTo>
                  <a:lnTo>
                    <a:pt x="3" y="6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6"/>
                  </a:lnTo>
                  <a:lnTo>
                    <a:pt x="0" y="12"/>
                  </a:lnTo>
                  <a:lnTo>
                    <a:pt x="9" y="18"/>
                  </a:lnTo>
                  <a:lnTo>
                    <a:pt x="9" y="20"/>
                  </a:lnTo>
                  <a:lnTo>
                    <a:pt x="6" y="26"/>
                  </a:lnTo>
                  <a:lnTo>
                    <a:pt x="3" y="29"/>
                  </a:lnTo>
                  <a:lnTo>
                    <a:pt x="3" y="35"/>
                  </a:lnTo>
                  <a:lnTo>
                    <a:pt x="3" y="38"/>
                  </a:lnTo>
                  <a:lnTo>
                    <a:pt x="9" y="41"/>
                  </a:lnTo>
                  <a:lnTo>
                    <a:pt x="12" y="49"/>
                  </a:lnTo>
                  <a:lnTo>
                    <a:pt x="29" y="52"/>
                  </a:lnTo>
                  <a:lnTo>
                    <a:pt x="40" y="52"/>
                  </a:lnTo>
                  <a:lnTo>
                    <a:pt x="49" y="55"/>
                  </a:lnTo>
                  <a:lnTo>
                    <a:pt x="58" y="55"/>
                  </a:lnTo>
                  <a:lnTo>
                    <a:pt x="55" y="46"/>
                  </a:lnTo>
                  <a:lnTo>
                    <a:pt x="58" y="46"/>
                  </a:lnTo>
                  <a:lnTo>
                    <a:pt x="63" y="43"/>
                  </a:lnTo>
                  <a:lnTo>
                    <a:pt x="66" y="43"/>
                  </a:lnTo>
                  <a:lnTo>
                    <a:pt x="75" y="41"/>
                  </a:lnTo>
                  <a:lnTo>
                    <a:pt x="78" y="41"/>
                  </a:lnTo>
                  <a:lnTo>
                    <a:pt x="81" y="43"/>
                  </a:lnTo>
                  <a:lnTo>
                    <a:pt x="89" y="43"/>
                  </a:lnTo>
                  <a:lnTo>
                    <a:pt x="86" y="41"/>
                  </a:lnTo>
                  <a:lnTo>
                    <a:pt x="83" y="35"/>
                  </a:lnTo>
                  <a:lnTo>
                    <a:pt x="83" y="23"/>
                  </a:lnTo>
                  <a:lnTo>
                    <a:pt x="92" y="1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26" name="Freeform 227"/>
            <p:cNvSpPr>
              <a:spLocks/>
            </p:cNvSpPr>
            <p:nvPr/>
          </p:nvSpPr>
          <p:spPr bwMode="auto">
            <a:xfrm>
              <a:off x="4779963" y="2730500"/>
              <a:ext cx="160337" cy="125413"/>
            </a:xfrm>
            <a:custGeom>
              <a:avLst/>
              <a:gdLst>
                <a:gd name="T0" fmla="*/ 2147483647 w 100"/>
                <a:gd name="T1" fmla="*/ 2147483647 h 78"/>
                <a:gd name="T2" fmla="*/ 2147483647 w 100"/>
                <a:gd name="T3" fmla="*/ 0 h 78"/>
                <a:gd name="T4" fmla="*/ 2147483647 w 100"/>
                <a:gd name="T5" fmla="*/ 2147483647 h 78"/>
                <a:gd name="T6" fmla="*/ 2147483647 w 100"/>
                <a:gd name="T7" fmla="*/ 2147483647 h 78"/>
                <a:gd name="T8" fmla="*/ 2147483647 w 100"/>
                <a:gd name="T9" fmla="*/ 2147483647 h 78"/>
                <a:gd name="T10" fmla="*/ 2147483647 w 100"/>
                <a:gd name="T11" fmla="*/ 2147483647 h 78"/>
                <a:gd name="T12" fmla="*/ 2147483647 w 100"/>
                <a:gd name="T13" fmla="*/ 2147483647 h 78"/>
                <a:gd name="T14" fmla="*/ 2147483647 w 100"/>
                <a:gd name="T15" fmla="*/ 2147483647 h 78"/>
                <a:gd name="T16" fmla="*/ 0 w 100"/>
                <a:gd name="T17" fmla="*/ 2147483647 h 78"/>
                <a:gd name="T18" fmla="*/ 2147483647 w 100"/>
                <a:gd name="T19" fmla="*/ 2147483647 h 78"/>
                <a:gd name="T20" fmla="*/ 0 w 100"/>
                <a:gd name="T21" fmla="*/ 2147483647 h 78"/>
                <a:gd name="T22" fmla="*/ 2147483647 w 100"/>
                <a:gd name="T23" fmla="*/ 2147483647 h 78"/>
                <a:gd name="T24" fmla="*/ 2147483647 w 100"/>
                <a:gd name="T25" fmla="*/ 2147483647 h 78"/>
                <a:gd name="T26" fmla="*/ 2147483647 w 100"/>
                <a:gd name="T27" fmla="*/ 2147483647 h 78"/>
                <a:gd name="T28" fmla="*/ 2147483647 w 100"/>
                <a:gd name="T29" fmla="*/ 2147483647 h 78"/>
                <a:gd name="T30" fmla="*/ 2147483647 w 100"/>
                <a:gd name="T31" fmla="*/ 2147483647 h 78"/>
                <a:gd name="T32" fmla="*/ 2147483647 w 100"/>
                <a:gd name="T33" fmla="*/ 2147483647 h 78"/>
                <a:gd name="T34" fmla="*/ 2147483647 w 100"/>
                <a:gd name="T35" fmla="*/ 2147483647 h 78"/>
                <a:gd name="T36" fmla="*/ 2147483647 w 100"/>
                <a:gd name="T37" fmla="*/ 2147483647 h 78"/>
                <a:gd name="T38" fmla="*/ 2147483647 w 100"/>
                <a:gd name="T39" fmla="*/ 2147483647 h 78"/>
                <a:gd name="T40" fmla="*/ 2147483647 w 100"/>
                <a:gd name="T41" fmla="*/ 2147483647 h 78"/>
                <a:gd name="T42" fmla="*/ 2147483647 w 100"/>
                <a:gd name="T43" fmla="*/ 2147483647 h 78"/>
                <a:gd name="T44" fmla="*/ 2147483647 w 100"/>
                <a:gd name="T45" fmla="*/ 2147483647 h 78"/>
                <a:gd name="T46" fmla="*/ 2147483647 w 100"/>
                <a:gd name="T47" fmla="*/ 2147483647 h 78"/>
                <a:gd name="T48" fmla="*/ 2147483647 w 100"/>
                <a:gd name="T49" fmla="*/ 2147483647 h 78"/>
                <a:gd name="T50" fmla="*/ 2147483647 w 100"/>
                <a:gd name="T51" fmla="*/ 2147483647 h 78"/>
                <a:gd name="T52" fmla="*/ 2147483647 w 100"/>
                <a:gd name="T53" fmla="*/ 2147483647 h 78"/>
                <a:gd name="T54" fmla="*/ 2147483647 w 100"/>
                <a:gd name="T55" fmla="*/ 2147483647 h 78"/>
                <a:gd name="T56" fmla="*/ 2147483647 w 100"/>
                <a:gd name="T57" fmla="*/ 2147483647 h 78"/>
                <a:gd name="T58" fmla="*/ 2147483647 w 100"/>
                <a:gd name="T59" fmla="*/ 2147483647 h 78"/>
                <a:gd name="T60" fmla="*/ 2147483647 w 100"/>
                <a:gd name="T61" fmla="*/ 2147483647 h 78"/>
                <a:gd name="T62" fmla="*/ 2147483647 w 100"/>
                <a:gd name="T63" fmla="*/ 2147483647 h 78"/>
                <a:gd name="T64" fmla="*/ 2147483647 w 100"/>
                <a:gd name="T65" fmla="*/ 2147483647 h 78"/>
                <a:gd name="T66" fmla="*/ 2147483647 w 100"/>
                <a:gd name="T67" fmla="*/ 2147483647 h 78"/>
                <a:gd name="T68" fmla="*/ 2147483647 w 100"/>
                <a:gd name="T69" fmla="*/ 2147483647 h 78"/>
                <a:gd name="T70" fmla="*/ 2147483647 w 100"/>
                <a:gd name="T71" fmla="*/ 2147483647 h 78"/>
                <a:gd name="T72" fmla="*/ 2147483647 w 100"/>
                <a:gd name="T73" fmla="*/ 2147483647 h 78"/>
                <a:gd name="T74" fmla="*/ 2147483647 w 100"/>
                <a:gd name="T75" fmla="*/ 2147483647 h 78"/>
                <a:gd name="T76" fmla="*/ 2147483647 w 100"/>
                <a:gd name="T77" fmla="*/ 2147483647 h 78"/>
                <a:gd name="T78" fmla="*/ 2147483647 w 100"/>
                <a:gd name="T79" fmla="*/ 2147483647 h 78"/>
                <a:gd name="T80" fmla="*/ 2147483647 w 100"/>
                <a:gd name="T81" fmla="*/ 2147483647 h 78"/>
                <a:gd name="T82" fmla="*/ 2147483647 w 100"/>
                <a:gd name="T83" fmla="*/ 2147483647 h 78"/>
                <a:gd name="T84" fmla="*/ 2147483647 w 100"/>
                <a:gd name="T85" fmla="*/ 2147483647 h 78"/>
                <a:gd name="T86" fmla="*/ 2147483647 w 100"/>
                <a:gd name="T87" fmla="*/ 2147483647 h 78"/>
                <a:gd name="T88" fmla="*/ 2147483647 w 100"/>
                <a:gd name="T89" fmla="*/ 2147483647 h 78"/>
                <a:gd name="T90" fmla="*/ 2147483647 w 100"/>
                <a:gd name="T91" fmla="*/ 2147483647 h 78"/>
                <a:gd name="T92" fmla="*/ 2147483647 w 100"/>
                <a:gd name="T93" fmla="*/ 2147483647 h 78"/>
                <a:gd name="T94" fmla="*/ 2147483647 w 100"/>
                <a:gd name="T95" fmla="*/ 2147483647 h 78"/>
                <a:gd name="T96" fmla="*/ 2147483647 w 100"/>
                <a:gd name="T97" fmla="*/ 2147483647 h 78"/>
                <a:gd name="T98" fmla="*/ 2147483647 w 100"/>
                <a:gd name="T99" fmla="*/ 2147483647 h 78"/>
                <a:gd name="T100" fmla="*/ 2147483647 w 100"/>
                <a:gd name="T101" fmla="*/ 2147483647 h 78"/>
                <a:gd name="T102" fmla="*/ 2147483647 w 100"/>
                <a:gd name="T103" fmla="*/ 2147483647 h 78"/>
                <a:gd name="T104" fmla="*/ 2147483647 w 100"/>
                <a:gd name="T105" fmla="*/ 2147483647 h 78"/>
                <a:gd name="T106" fmla="*/ 2147483647 w 100"/>
                <a:gd name="T107" fmla="*/ 2147483647 h 7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00"/>
                <a:gd name="T163" fmla="*/ 0 h 78"/>
                <a:gd name="T164" fmla="*/ 100 w 100"/>
                <a:gd name="T165" fmla="*/ 78 h 7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00" h="78">
                  <a:moveTo>
                    <a:pt x="100" y="6"/>
                  </a:moveTo>
                  <a:lnTo>
                    <a:pt x="100" y="3"/>
                  </a:lnTo>
                  <a:lnTo>
                    <a:pt x="97" y="0"/>
                  </a:lnTo>
                  <a:lnTo>
                    <a:pt x="94" y="0"/>
                  </a:lnTo>
                  <a:lnTo>
                    <a:pt x="94" y="12"/>
                  </a:lnTo>
                  <a:lnTo>
                    <a:pt x="83" y="9"/>
                  </a:lnTo>
                  <a:lnTo>
                    <a:pt x="74" y="9"/>
                  </a:lnTo>
                  <a:lnTo>
                    <a:pt x="63" y="6"/>
                  </a:lnTo>
                  <a:lnTo>
                    <a:pt x="43" y="3"/>
                  </a:lnTo>
                  <a:lnTo>
                    <a:pt x="43" y="9"/>
                  </a:lnTo>
                  <a:lnTo>
                    <a:pt x="31" y="12"/>
                  </a:lnTo>
                  <a:lnTo>
                    <a:pt x="23" y="17"/>
                  </a:lnTo>
                  <a:lnTo>
                    <a:pt x="17" y="17"/>
                  </a:lnTo>
                  <a:lnTo>
                    <a:pt x="17" y="20"/>
                  </a:lnTo>
                  <a:lnTo>
                    <a:pt x="8" y="29"/>
                  </a:lnTo>
                  <a:lnTo>
                    <a:pt x="5" y="32"/>
                  </a:lnTo>
                  <a:lnTo>
                    <a:pt x="3" y="37"/>
                  </a:lnTo>
                  <a:lnTo>
                    <a:pt x="0" y="43"/>
                  </a:lnTo>
                  <a:lnTo>
                    <a:pt x="3" y="43"/>
                  </a:lnTo>
                  <a:lnTo>
                    <a:pt x="3" y="49"/>
                  </a:lnTo>
                  <a:lnTo>
                    <a:pt x="0" y="52"/>
                  </a:lnTo>
                  <a:lnTo>
                    <a:pt x="3" y="58"/>
                  </a:lnTo>
                  <a:lnTo>
                    <a:pt x="8" y="58"/>
                  </a:lnTo>
                  <a:lnTo>
                    <a:pt x="14" y="60"/>
                  </a:lnTo>
                  <a:lnTo>
                    <a:pt x="20" y="66"/>
                  </a:lnTo>
                  <a:lnTo>
                    <a:pt x="31" y="66"/>
                  </a:lnTo>
                  <a:lnTo>
                    <a:pt x="31" y="63"/>
                  </a:lnTo>
                  <a:lnTo>
                    <a:pt x="34" y="63"/>
                  </a:lnTo>
                  <a:lnTo>
                    <a:pt x="43" y="63"/>
                  </a:lnTo>
                  <a:lnTo>
                    <a:pt x="48" y="69"/>
                  </a:lnTo>
                  <a:lnTo>
                    <a:pt x="51" y="72"/>
                  </a:lnTo>
                  <a:lnTo>
                    <a:pt x="54" y="78"/>
                  </a:lnTo>
                  <a:lnTo>
                    <a:pt x="54" y="72"/>
                  </a:lnTo>
                  <a:lnTo>
                    <a:pt x="57" y="75"/>
                  </a:lnTo>
                  <a:lnTo>
                    <a:pt x="60" y="72"/>
                  </a:lnTo>
                  <a:lnTo>
                    <a:pt x="66" y="78"/>
                  </a:lnTo>
                  <a:lnTo>
                    <a:pt x="66" y="72"/>
                  </a:lnTo>
                  <a:lnTo>
                    <a:pt x="66" y="69"/>
                  </a:lnTo>
                  <a:lnTo>
                    <a:pt x="63" y="69"/>
                  </a:lnTo>
                  <a:lnTo>
                    <a:pt x="66" y="69"/>
                  </a:lnTo>
                  <a:lnTo>
                    <a:pt x="71" y="72"/>
                  </a:lnTo>
                  <a:lnTo>
                    <a:pt x="74" y="69"/>
                  </a:lnTo>
                  <a:lnTo>
                    <a:pt x="69" y="66"/>
                  </a:lnTo>
                  <a:lnTo>
                    <a:pt x="69" y="60"/>
                  </a:lnTo>
                  <a:lnTo>
                    <a:pt x="69" y="58"/>
                  </a:lnTo>
                  <a:lnTo>
                    <a:pt x="66" y="60"/>
                  </a:lnTo>
                  <a:lnTo>
                    <a:pt x="60" y="63"/>
                  </a:lnTo>
                  <a:lnTo>
                    <a:pt x="57" y="63"/>
                  </a:lnTo>
                  <a:lnTo>
                    <a:pt x="54" y="58"/>
                  </a:lnTo>
                  <a:lnTo>
                    <a:pt x="48" y="55"/>
                  </a:lnTo>
                  <a:lnTo>
                    <a:pt x="48" y="52"/>
                  </a:lnTo>
                  <a:lnTo>
                    <a:pt x="51" y="49"/>
                  </a:lnTo>
                  <a:lnTo>
                    <a:pt x="54" y="49"/>
                  </a:lnTo>
                  <a:lnTo>
                    <a:pt x="54" y="46"/>
                  </a:lnTo>
                  <a:lnTo>
                    <a:pt x="46" y="43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7" y="20"/>
                  </a:lnTo>
                  <a:lnTo>
                    <a:pt x="46" y="23"/>
                  </a:lnTo>
                  <a:lnTo>
                    <a:pt x="54" y="26"/>
                  </a:lnTo>
                  <a:lnTo>
                    <a:pt x="57" y="26"/>
                  </a:lnTo>
                  <a:lnTo>
                    <a:pt x="60" y="26"/>
                  </a:lnTo>
                  <a:lnTo>
                    <a:pt x="57" y="17"/>
                  </a:lnTo>
                  <a:lnTo>
                    <a:pt x="60" y="17"/>
                  </a:lnTo>
                  <a:lnTo>
                    <a:pt x="63" y="17"/>
                  </a:lnTo>
                  <a:lnTo>
                    <a:pt x="71" y="14"/>
                  </a:lnTo>
                  <a:lnTo>
                    <a:pt x="71" y="17"/>
                  </a:lnTo>
                  <a:lnTo>
                    <a:pt x="74" y="17"/>
                  </a:lnTo>
                  <a:lnTo>
                    <a:pt x="74" y="14"/>
                  </a:lnTo>
                  <a:lnTo>
                    <a:pt x="77" y="14"/>
                  </a:lnTo>
                  <a:lnTo>
                    <a:pt x="80" y="14"/>
                  </a:lnTo>
                  <a:lnTo>
                    <a:pt x="86" y="17"/>
                  </a:lnTo>
                  <a:lnTo>
                    <a:pt x="89" y="17"/>
                  </a:lnTo>
                  <a:lnTo>
                    <a:pt x="92" y="17"/>
                  </a:lnTo>
                  <a:lnTo>
                    <a:pt x="94" y="14"/>
                  </a:lnTo>
                  <a:lnTo>
                    <a:pt x="94" y="9"/>
                  </a:lnTo>
                  <a:lnTo>
                    <a:pt x="10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27" name="Freeform 228"/>
            <p:cNvSpPr>
              <a:spLocks/>
            </p:cNvSpPr>
            <p:nvPr/>
          </p:nvSpPr>
          <p:spPr bwMode="auto">
            <a:xfrm>
              <a:off x="4927600" y="2827338"/>
              <a:ext cx="7938" cy="14287"/>
            </a:xfrm>
            <a:custGeom>
              <a:avLst/>
              <a:gdLst>
                <a:gd name="T0" fmla="*/ 0 w 5"/>
                <a:gd name="T1" fmla="*/ 0 h 9"/>
                <a:gd name="T2" fmla="*/ 0 w 5"/>
                <a:gd name="T3" fmla="*/ 2147483647 h 9"/>
                <a:gd name="T4" fmla="*/ 0 w 5"/>
                <a:gd name="T5" fmla="*/ 2147483647 h 9"/>
                <a:gd name="T6" fmla="*/ 2147483647 w 5"/>
                <a:gd name="T7" fmla="*/ 2147483647 h 9"/>
                <a:gd name="T8" fmla="*/ 2147483647 w 5"/>
                <a:gd name="T9" fmla="*/ 0 h 9"/>
                <a:gd name="T10" fmla="*/ 0 w 5"/>
                <a:gd name="T11" fmla="*/ 0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9"/>
                <a:gd name="T20" fmla="*/ 5 w 5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9">
                  <a:moveTo>
                    <a:pt x="0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5" y="9"/>
                  </a:lnTo>
                  <a:lnTo>
                    <a:pt x="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28" name="Freeform 229"/>
            <p:cNvSpPr>
              <a:spLocks/>
            </p:cNvSpPr>
            <p:nvPr/>
          </p:nvSpPr>
          <p:spPr bwMode="auto">
            <a:xfrm>
              <a:off x="4818063" y="2403475"/>
              <a:ext cx="430212" cy="220663"/>
            </a:xfrm>
            <a:custGeom>
              <a:avLst/>
              <a:gdLst>
                <a:gd name="T0" fmla="*/ 2147483647 w 269"/>
                <a:gd name="T1" fmla="*/ 2147483647 h 138"/>
                <a:gd name="T2" fmla="*/ 2147483647 w 269"/>
                <a:gd name="T3" fmla="*/ 2147483647 h 138"/>
                <a:gd name="T4" fmla="*/ 2147483647 w 269"/>
                <a:gd name="T5" fmla="*/ 2147483647 h 138"/>
                <a:gd name="T6" fmla="*/ 2147483647 w 269"/>
                <a:gd name="T7" fmla="*/ 2147483647 h 138"/>
                <a:gd name="T8" fmla="*/ 2147483647 w 269"/>
                <a:gd name="T9" fmla="*/ 2147483647 h 138"/>
                <a:gd name="T10" fmla="*/ 2147483647 w 269"/>
                <a:gd name="T11" fmla="*/ 2147483647 h 138"/>
                <a:gd name="T12" fmla="*/ 2147483647 w 269"/>
                <a:gd name="T13" fmla="*/ 2147483647 h 138"/>
                <a:gd name="T14" fmla="*/ 2147483647 w 269"/>
                <a:gd name="T15" fmla="*/ 2147483647 h 138"/>
                <a:gd name="T16" fmla="*/ 2147483647 w 269"/>
                <a:gd name="T17" fmla="*/ 2147483647 h 138"/>
                <a:gd name="T18" fmla="*/ 2147483647 w 269"/>
                <a:gd name="T19" fmla="*/ 2147483647 h 138"/>
                <a:gd name="T20" fmla="*/ 2147483647 w 269"/>
                <a:gd name="T21" fmla="*/ 2147483647 h 138"/>
                <a:gd name="T22" fmla="*/ 2147483647 w 269"/>
                <a:gd name="T23" fmla="*/ 2147483647 h 138"/>
                <a:gd name="T24" fmla="*/ 2147483647 w 269"/>
                <a:gd name="T25" fmla="*/ 2147483647 h 138"/>
                <a:gd name="T26" fmla="*/ 2147483647 w 269"/>
                <a:gd name="T27" fmla="*/ 2147483647 h 138"/>
                <a:gd name="T28" fmla="*/ 2147483647 w 269"/>
                <a:gd name="T29" fmla="*/ 2147483647 h 138"/>
                <a:gd name="T30" fmla="*/ 2147483647 w 269"/>
                <a:gd name="T31" fmla="*/ 2147483647 h 138"/>
                <a:gd name="T32" fmla="*/ 2147483647 w 269"/>
                <a:gd name="T33" fmla="*/ 2147483647 h 138"/>
                <a:gd name="T34" fmla="*/ 2147483647 w 269"/>
                <a:gd name="T35" fmla="*/ 2147483647 h 138"/>
                <a:gd name="T36" fmla="*/ 2147483647 w 269"/>
                <a:gd name="T37" fmla="*/ 2147483647 h 138"/>
                <a:gd name="T38" fmla="*/ 2147483647 w 269"/>
                <a:gd name="T39" fmla="*/ 2147483647 h 138"/>
                <a:gd name="T40" fmla="*/ 2147483647 w 269"/>
                <a:gd name="T41" fmla="*/ 2147483647 h 138"/>
                <a:gd name="T42" fmla="*/ 2147483647 w 269"/>
                <a:gd name="T43" fmla="*/ 2147483647 h 138"/>
                <a:gd name="T44" fmla="*/ 0 w 269"/>
                <a:gd name="T45" fmla="*/ 2147483647 h 138"/>
                <a:gd name="T46" fmla="*/ 2147483647 w 269"/>
                <a:gd name="T47" fmla="*/ 2147483647 h 138"/>
                <a:gd name="T48" fmla="*/ 2147483647 w 269"/>
                <a:gd name="T49" fmla="*/ 2147483647 h 138"/>
                <a:gd name="T50" fmla="*/ 2147483647 w 269"/>
                <a:gd name="T51" fmla="*/ 2147483647 h 138"/>
                <a:gd name="T52" fmla="*/ 2147483647 w 269"/>
                <a:gd name="T53" fmla="*/ 2147483647 h 138"/>
                <a:gd name="T54" fmla="*/ 2147483647 w 269"/>
                <a:gd name="T55" fmla="*/ 2147483647 h 138"/>
                <a:gd name="T56" fmla="*/ 2147483647 w 269"/>
                <a:gd name="T57" fmla="*/ 2147483647 h 138"/>
                <a:gd name="T58" fmla="*/ 2147483647 w 269"/>
                <a:gd name="T59" fmla="*/ 2147483647 h 138"/>
                <a:gd name="T60" fmla="*/ 2147483647 w 269"/>
                <a:gd name="T61" fmla="*/ 2147483647 h 138"/>
                <a:gd name="T62" fmla="*/ 2147483647 w 269"/>
                <a:gd name="T63" fmla="*/ 2147483647 h 138"/>
                <a:gd name="T64" fmla="*/ 2147483647 w 269"/>
                <a:gd name="T65" fmla="*/ 2147483647 h 138"/>
                <a:gd name="T66" fmla="*/ 2147483647 w 269"/>
                <a:gd name="T67" fmla="*/ 2147483647 h 138"/>
                <a:gd name="T68" fmla="*/ 2147483647 w 269"/>
                <a:gd name="T69" fmla="*/ 2147483647 h 138"/>
                <a:gd name="T70" fmla="*/ 2147483647 w 269"/>
                <a:gd name="T71" fmla="*/ 2147483647 h 138"/>
                <a:gd name="T72" fmla="*/ 2147483647 w 269"/>
                <a:gd name="T73" fmla="*/ 2147483647 h 138"/>
                <a:gd name="T74" fmla="*/ 2147483647 w 269"/>
                <a:gd name="T75" fmla="*/ 2147483647 h 138"/>
                <a:gd name="T76" fmla="*/ 2147483647 w 269"/>
                <a:gd name="T77" fmla="*/ 2147483647 h 138"/>
                <a:gd name="T78" fmla="*/ 2147483647 w 269"/>
                <a:gd name="T79" fmla="*/ 2147483647 h 138"/>
                <a:gd name="T80" fmla="*/ 2147483647 w 269"/>
                <a:gd name="T81" fmla="*/ 2147483647 h 138"/>
                <a:gd name="T82" fmla="*/ 2147483647 w 269"/>
                <a:gd name="T83" fmla="*/ 2147483647 h 138"/>
                <a:gd name="T84" fmla="*/ 2147483647 w 269"/>
                <a:gd name="T85" fmla="*/ 2147483647 h 138"/>
                <a:gd name="T86" fmla="*/ 2147483647 w 269"/>
                <a:gd name="T87" fmla="*/ 2147483647 h 138"/>
                <a:gd name="T88" fmla="*/ 2147483647 w 269"/>
                <a:gd name="T89" fmla="*/ 2147483647 h 138"/>
                <a:gd name="T90" fmla="*/ 2147483647 w 269"/>
                <a:gd name="T91" fmla="*/ 2147483647 h 138"/>
                <a:gd name="T92" fmla="*/ 2147483647 w 269"/>
                <a:gd name="T93" fmla="*/ 2147483647 h 138"/>
                <a:gd name="T94" fmla="*/ 2147483647 w 269"/>
                <a:gd name="T95" fmla="*/ 2147483647 h 138"/>
                <a:gd name="T96" fmla="*/ 2147483647 w 269"/>
                <a:gd name="T97" fmla="*/ 2147483647 h 138"/>
                <a:gd name="T98" fmla="*/ 2147483647 w 269"/>
                <a:gd name="T99" fmla="*/ 2147483647 h 138"/>
                <a:gd name="T100" fmla="*/ 2147483647 w 269"/>
                <a:gd name="T101" fmla="*/ 2147483647 h 138"/>
                <a:gd name="T102" fmla="*/ 2147483647 w 269"/>
                <a:gd name="T103" fmla="*/ 2147483647 h 138"/>
                <a:gd name="T104" fmla="*/ 2147483647 w 269"/>
                <a:gd name="T105" fmla="*/ 2147483647 h 138"/>
                <a:gd name="T106" fmla="*/ 2147483647 w 269"/>
                <a:gd name="T107" fmla="*/ 2147483647 h 138"/>
                <a:gd name="T108" fmla="*/ 2147483647 w 269"/>
                <a:gd name="T109" fmla="*/ 2147483647 h 138"/>
                <a:gd name="T110" fmla="*/ 2147483647 w 269"/>
                <a:gd name="T111" fmla="*/ 2147483647 h 138"/>
                <a:gd name="T112" fmla="*/ 2147483647 w 269"/>
                <a:gd name="T113" fmla="*/ 2147483647 h 13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69"/>
                <a:gd name="T172" fmla="*/ 0 h 138"/>
                <a:gd name="T173" fmla="*/ 269 w 269"/>
                <a:gd name="T174" fmla="*/ 138 h 13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69" h="138">
                  <a:moveTo>
                    <a:pt x="175" y="9"/>
                  </a:moveTo>
                  <a:lnTo>
                    <a:pt x="169" y="6"/>
                  </a:lnTo>
                  <a:lnTo>
                    <a:pt x="163" y="3"/>
                  </a:lnTo>
                  <a:lnTo>
                    <a:pt x="158" y="0"/>
                  </a:lnTo>
                  <a:lnTo>
                    <a:pt x="152" y="6"/>
                  </a:lnTo>
                  <a:lnTo>
                    <a:pt x="146" y="3"/>
                  </a:lnTo>
                  <a:lnTo>
                    <a:pt x="143" y="9"/>
                  </a:lnTo>
                  <a:lnTo>
                    <a:pt x="135" y="6"/>
                  </a:lnTo>
                  <a:lnTo>
                    <a:pt x="126" y="9"/>
                  </a:lnTo>
                  <a:lnTo>
                    <a:pt x="120" y="15"/>
                  </a:lnTo>
                  <a:lnTo>
                    <a:pt x="126" y="20"/>
                  </a:lnTo>
                  <a:lnTo>
                    <a:pt x="117" y="23"/>
                  </a:lnTo>
                  <a:lnTo>
                    <a:pt x="112" y="20"/>
                  </a:lnTo>
                  <a:lnTo>
                    <a:pt x="109" y="18"/>
                  </a:lnTo>
                  <a:lnTo>
                    <a:pt x="103" y="20"/>
                  </a:lnTo>
                  <a:lnTo>
                    <a:pt x="100" y="20"/>
                  </a:lnTo>
                  <a:lnTo>
                    <a:pt x="97" y="15"/>
                  </a:lnTo>
                  <a:lnTo>
                    <a:pt x="94" y="20"/>
                  </a:lnTo>
                  <a:lnTo>
                    <a:pt x="92" y="18"/>
                  </a:lnTo>
                  <a:lnTo>
                    <a:pt x="86" y="15"/>
                  </a:lnTo>
                  <a:lnTo>
                    <a:pt x="77" y="18"/>
                  </a:lnTo>
                  <a:lnTo>
                    <a:pt x="71" y="18"/>
                  </a:lnTo>
                  <a:lnTo>
                    <a:pt x="69" y="12"/>
                  </a:lnTo>
                  <a:lnTo>
                    <a:pt x="60" y="12"/>
                  </a:lnTo>
                  <a:lnTo>
                    <a:pt x="51" y="9"/>
                  </a:lnTo>
                  <a:lnTo>
                    <a:pt x="48" y="9"/>
                  </a:lnTo>
                  <a:lnTo>
                    <a:pt x="34" y="12"/>
                  </a:lnTo>
                  <a:lnTo>
                    <a:pt x="28" y="12"/>
                  </a:lnTo>
                  <a:lnTo>
                    <a:pt x="25" y="18"/>
                  </a:lnTo>
                  <a:lnTo>
                    <a:pt x="23" y="18"/>
                  </a:lnTo>
                  <a:lnTo>
                    <a:pt x="20" y="15"/>
                  </a:lnTo>
                  <a:lnTo>
                    <a:pt x="25" y="26"/>
                  </a:lnTo>
                  <a:lnTo>
                    <a:pt x="28" y="35"/>
                  </a:lnTo>
                  <a:lnTo>
                    <a:pt x="20" y="40"/>
                  </a:lnTo>
                  <a:lnTo>
                    <a:pt x="14" y="46"/>
                  </a:lnTo>
                  <a:lnTo>
                    <a:pt x="8" y="55"/>
                  </a:lnTo>
                  <a:lnTo>
                    <a:pt x="11" y="63"/>
                  </a:lnTo>
                  <a:lnTo>
                    <a:pt x="14" y="66"/>
                  </a:lnTo>
                  <a:lnTo>
                    <a:pt x="8" y="66"/>
                  </a:lnTo>
                  <a:lnTo>
                    <a:pt x="5" y="63"/>
                  </a:lnTo>
                  <a:lnTo>
                    <a:pt x="3" y="69"/>
                  </a:lnTo>
                  <a:lnTo>
                    <a:pt x="0" y="72"/>
                  </a:lnTo>
                  <a:lnTo>
                    <a:pt x="3" y="75"/>
                  </a:lnTo>
                  <a:lnTo>
                    <a:pt x="11" y="78"/>
                  </a:lnTo>
                  <a:lnTo>
                    <a:pt x="14" y="81"/>
                  </a:lnTo>
                  <a:lnTo>
                    <a:pt x="20" y="78"/>
                  </a:lnTo>
                  <a:lnTo>
                    <a:pt x="25" y="81"/>
                  </a:lnTo>
                  <a:lnTo>
                    <a:pt x="31" y="81"/>
                  </a:lnTo>
                  <a:lnTo>
                    <a:pt x="37" y="78"/>
                  </a:lnTo>
                  <a:lnTo>
                    <a:pt x="46" y="86"/>
                  </a:lnTo>
                  <a:lnTo>
                    <a:pt x="48" y="84"/>
                  </a:lnTo>
                  <a:lnTo>
                    <a:pt x="60" y="81"/>
                  </a:lnTo>
                  <a:lnTo>
                    <a:pt x="66" y="75"/>
                  </a:lnTo>
                  <a:lnTo>
                    <a:pt x="71" y="75"/>
                  </a:lnTo>
                  <a:lnTo>
                    <a:pt x="74" y="75"/>
                  </a:lnTo>
                  <a:lnTo>
                    <a:pt x="83" y="72"/>
                  </a:lnTo>
                  <a:lnTo>
                    <a:pt x="97" y="78"/>
                  </a:lnTo>
                  <a:lnTo>
                    <a:pt x="103" y="78"/>
                  </a:lnTo>
                  <a:lnTo>
                    <a:pt x="112" y="86"/>
                  </a:lnTo>
                  <a:lnTo>
                    <a:pt x="109" y="89"/>
                  </a:lnTo>
                  <a:lnTo>
                    <a:pt x="109" y="92"/>
                  </a:lnTo>
                  <a:lnTo>
                    <a:pt x="117" y="101"/>
                  </a:lnTo>
                  <a:lnTo>
                    <a:pt x="123" y="109"/>
                  </a:lnTo>
                  <a:lnTo>
                    <a:pt x="123" y="112"/>
                  </a:lnTo>
                  <a:lnTo>
                    <a:pt x="123" y="115"/>
                  </a:lnTo>
                  <a:lnTo>
                    <a:pt x="112" y="112"/>
                  </a:lnTo>
                  <a:lnTo>
                    <a:pt x="109" y="115"/>
                  </a:lnTo>
                  <a:lnTo>
                    <a:pt x="109" y="118"/>
                  </a:lnTo>
                  <a:lnTo>
                    <a:pt x="109" y="121"/>
                  </a:lnTo>
                  <a:lnTo>
                    <a:pt x="103" y="127"/>
                  </a:lnTo>
                  <a:lnTo>
                    <a:pt x="100" y="132"/>
                  </a:lnTo>
                  <a:lnTo>
                    <a:pt x="103" y="132"/>
                  </a:lnTo>
                  <a:lnTo>
                    <a:pt x="114" y="129"/>
                  </a:lnTo>
                  <a:lnTo>
                    <a:pt x="120" y="138"/>
                  </a:lnTo>
                  <a:lnTo>
                    <a:pt x="120" y="132"/>
                  </a:lnTo>
                  <a:lnTo>
                    <a:pt x="123" y="127"/>
                  </a:lnTo>
                  <a:lnTo>
                    <a:pt x="132" y="121"/>
                  </a:lnTo>
                  <a:lnTo>
                    <a:pt x="135" y="115"/>
                  </a:lnTo>
                  <a:lnTo>
                    <a:pt x="137" y="112"/>
                  </a:lnTo>
                  <a:lnTo>
                    <a:pt x="143" y="109"/>
                  </a:lnTo>
                  <a:lnTo>
                    <a:pt x="149" y="109"/>
                  </a:lnTo>
                  <a:lnTo>
                    <a:pt x="152" y="112"/>
                  </a:lnTo>
                  <a:lnTo>
                    <a:pt x="155" y="118"/>
                  </a:lnTo>
                  <a:lnTo>
                    <a:pt x="169" y="118"/>
                  </a:lnTo>
                  <a:lnTo>
                    <a:pt x="181" y="118"/>
                  </a:lnTo>
                  <a:lnTo>
                    <a:pt x="189" y="118"/>
                  </a:lnTo>
                  <a:lnTo>
                    <a:pt x="201" y="115"/>
                  </a:lnTo>
                  <a:lnTo>
                    <a:pt x="209" y="112"/>
                  </a:lnTo>
                  <a:lnTo>
                    <a:pt x="221" y="107"/>
                  </a:lnTo>
                  <a:lnTo>
                    <a:pt x="232" y="104"/>
                  </a:lnTo>
                  <a:lnTo>
                    <a:pt x="244" y="101"/>
                  </a:lnTo>
                  <a:lnTo>
                    <a:pt x="247" y="89"/>
                  </a:lnTo>
                  <a:lnTo>
                    <a:pt x="255" y="84"/>
                  </a:lnTo>
                  <a:lnTo>
                    <a:pt x="267" y="84"/>
                  </a:lnTo>
                  <a:lnTo>
                    <a:pt x="269" y="78"/>
                  </a:lnTo>
                  <a:lnTo>
                    <a:pt x="261" y="69"/>
                  </a:lnTo>
                  <a:lnTo>
                    <a:pt x="264" y="69"/>
                  </a:lnTo>
                  <a:lnTo>
                    <a:pt x="267" y="66"/>
                  </a:lnTo>
                  <a:lnTo>
                    <a:pt x="264" y="63"/>
                  </a:lnTo>
                  <a:lnTo>
                    <a:pt x="269" y="58"/>
                  </a:lnTo>
                  <a:lnTo>
                    <a:pt x="267" y="52"/>
                  </a:lnTo>
                  <a:lnTo>
                    <a:pt x="252" y="52"/>
                  </a:lnTo>
                  <a:lnTo>
                    <a:pt x="241" y="46"/>
                  </a:lnTo>
                  <a:lnTo>
                    <a:pt x="238" y="49"/>
                  </a:lnTo>
                  <a:lnTo>
                    <a:pt x="226" y="38"/>
                  </a:lnTo>
                  <a:lnTo>
                    <a:pt x="212" y="43"/>
                  </a:lnTo>
                  <a:lnTo>
                    <a:pt x="203" y="38"/>
                  </a:lnTo>
                  <a:lnTo>
                    <a:pt x="201" y="40"/>
                  </a:lnTo>
                  <a:lnTo>
                    <a:pt x="201" y="38"/>
                  </a:lnTo>
                  <a:lnTo>
                    <a:pt x="198" y="35"/>
                  </a:lnTo>
                  <a:lnTo>
                    <a:pt x="192" y="29"/>
                  </a:lnTo>
                  <a:lnTo>
                    <a:pt x="189" y="26"/>
                  </a:lnTo>
                  <a:lnTo>
                    <a:pt x="189" y="23"/>
                  </a:lnTo>
                  <a:lnTo>
                    <a:pt x="186" y="23"/>
                  </a:lnTo>
                  <a:lnTo>
                    <a:pt x="172" y="20"/>
                  </a:lnTo>
                  <a:lnTo>
                    <a:pt x="169" y="15"/>
                  </a:lnTo>
                  <a:lnTo>
                    <a:pt x="172" y="12"/>
                  </a:lnTo>
                  <a:lnTo>
                    <a:pt x="175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29" name="Freeform 230"/>
            <p:cNvSpPr>
              <a:spLocks/>
            </p:cNvSpPr>
            <p:nvPr/>
          </p:nvSpPr>
          <p:spPr bwMode="auto">
            <a:xfrm>
              <a:off x="4835525" y="2292350"/>
              <a:ext cx="215900" cy="142875"/>
            </a:xfrm>
            <a:custGeom>
              <a:avLst/>
              <a:gdLst>
                <a:gd name="T0" fmla="*/ 2147483647 w 135"/>
                <a:gd name="T1" fmla="*/ 2147483647 h 89"/>
                <a:gd name="T2" fmla="*/ 2147483647 w 135"/>
                <a:gd name="T3" fmla="*/ 0 h 89"/>
                <a:gd name="T4" fmla="*/ 2147483647 w 135"/>
                <a:gd name="T5" fmla="*/ 2147483647 h 89"/>
                <a:gd name="T6" fmla="*/ 2147483647 w 135"/>
                <a:gd name="T7" fmla="*/ 2147483647 h 89"/>
                <a:gd name="T8" fmla="*/ 2147483647 w 135"/>
                <a:gd name="T9" fmla="*/ 2147483647 h 89"/>
                <a:gd name="T10" fmla="*/ 2147483647 w 135"/>
                <a:gd name="T11" fmla="*/ 2147483647 h 89"/>
                <a:gd name="T12" fmla="*/ 2147483647 w 135"/>
                <a:gd name="T13" fmla="*/ 2147483647 h 89"/>
                <a:gd name="T14" fmla="*/ 2147483647 w 135"/>
                <a:gd name="T15" fmla="*/ 2147483647 h 89"/>
                <a:gd name="T16" fmla="*/ 2147483647 w 135"/>
                <a:gd name="T17" fmla="*/ 2147483647 h 89"/>
                <a:gd name="T18" fmla="*/ 2147483647 w 135"/>
                <a:gd name="T19" fmla="*/ 2147483647 h 89"/>
                <a:gd name="T20" fmla="*/ 2147483647 w 135"/>
                <a:gd name="T21" fmla="*/ 2147483647 h 89"/>
                <a:gd name="T22" fmla="*/ 2147483647 w 135"/>
                <a:gd name="T23" fmla="*/ 2147483647 h 89"/>
                <a:gd name="T24" fmla="*/ 2147483647 w 135"/>
                <a:gd name="T25" fmla="*/ 2147483647 h 89"/>
                <a:gd name="T26" fmla="*/ 2147483647 w 135"/>
                <a:gd name="T27" fmla="*/ 2147483647 h 89"/>
                <a:gd name="T28" fmla="*/ 2147483647 w 135"/>
                <a:gd name="T29" fmla="*/ 2147483647 h 89"/>
                <a:gd name="T30" fmla="*/ 2147483647 w 135"/>
                <a:gd name="T31" fmla="*/ 2147483647 h 89"/>
                <a:gd name="T32" fmla="*/ 2147483647 w 135"/>
                <a:gd name="T33" fmla="*/ 2147483647 h 89"/>
                <a:gd name="T34" fmla="*/ 2147483647 w 135"/>
                <a:gd name="T35" fmla="*/ 2147483647 h 89"/>
                <a:gd name="T36" fmla="*/ 2147483647 w 135"/>
                <a:gd name="T37" fmla="*/ 2147483647 h 89"/>
                <a:gd name="T38" fmla="*/ 2147483647 w 135"/>
                <a:gd name="T39" fmla="*/ 2147483647 h 89"/>
                <a:gd name="T40" fmla="*/ 2147483647 w 135"/>
                <a:gd name="T41" fmla="*/ 2147483647 h 89"/>
                <a:gd name="T42" fmla="*/ 2147483647 w 135"/>
                <a:gd name="T43" fmla="*/ 2147483647 h 89"/>
                <a:gd name="T44" fmla="*/ 2147483647 w 135"/>
                <a:gd name="T45" fmla="*/ 2147483647 h 89"/>
                <a:gd name="T46" fmla="*/ 2147483647 w 135"/>
                <a:gd name="T47" fmla="*/ 2147483647 h 89"/>
                <a:gd name="T48" fmla="*/ 2147483647 w 135"/>
                <a:gd name="T49" fmla="*/ 2147483647 h 89"/>
                <a:gd name="T50" fmla="*/ 2147483647 w 135"/>
                <a:gd name="T51" fmla="*/ 2147483647 h 89"/>
                <a:gd name="T52" fmla="*/ 2147483647 w 135"/>
                <a:gd name="T53" fmla="*/ 2147483647 h 89"/>
                <a:gd name="T54" fmla="*/ 2147483647 w 135"/>
                <a:gd name="T55" fmla="*/ 2147483647 h 89"/>
                <a:gd name="T56" fmla="*/ 2147483647 w 135"/>
                <a:gd name="T57" fmla="*/ 2147483647 h 89"/>
                <a:gd name="T58" fmla="*/ 2147483647 w 135"/>
                <a:gd name="T59" fmla="*/ 2147483647 h 89"/>
                <a:gd name="T60" fmla="*/ 2147483647 w 135"/>
                <a:gd name="T61" fmla="*/ 2147483647 h 89"/>
                <a:gd name="T62" fmla="*/ 2147483647 w 135"/>
                <a:gd name="T63" fmla="*/ 2147483647 h 89"/>
                <a:gd name="T64" fmla="*/ 2147483647 w 135"/>
                <a:gd name="T65" fmla="*/ 2147483647 h 89"/>
                <a:gd name="T66" fmla="*/ 2147483647 w 135"/>
                <a:gd name="T67" fmla="*/ 2147483647 h 89"/>
                <a:gd name="T68" fmla="*/ 2147483647 w 135"/>
                <a:gd name="T69" fmla="*/ 2147483647 h 89"/>
                <a:gd name="T70" fmla="*/ 2147483647 w 135"/>
                <a:gd name="T71" fmla="*/ 2147483647 h 89"/>
                <a:gd name="T72" fmla="*/ 2147483647 w 135"/>
                <a:gd name="T73" fmla="*/ 2147483647 h 89"/>
                <a:gd name="T74" fmla="*/ 2147483647 w 135"/>
                <a:gd name="T75" fmla="*/ 2147483647 h 89"/>
                <a:gd name="T76" fmla="*/ 2147483647 w 135"/>
                <a:gd name="T77" fmla="*/ 2147483647 h 89"/>
                <a:gd name="T78" fmla="*/ 2147483647 w 135"/>
                <a:gd name="T79" fmla="*/ 2147483647 h 89"/>
                <a:gd name="T80" fmla="*/ 2147483647 w 135"/>
                <a:gd name="T81" fmla="*/ 2147483647 h 89"/>
                <a:gd name="T82" fmla="*/ 2147483647 w 135"/>
                <a:gd name="T83" fmla="*/ 2147483647 h 89"/>
                <a:gd name="T84" fmla="*/ 2147483647 w 135"/>
                <a:gd name="T85" fmla="*/ 2147483647 h 89"/>
                <a:gd name="T86" fmla="*/ 2147483647 w 135"/>
                <a:gd name="T87" fmla="*/ 2147483647 h 89"/>
                <a:gd name="T88" fmla="*/ 2147483647 w 135"/>
                <a:gd name="T89" fmla="*/ 2147483647 h 89"/>
                <a:gd name="T90" fmla="*/ 2147483647 w 135"/>
                <a:gd name="T91" fmla="*/ 2147483647 h 89"/>
                <a:gd name="T92" fmla="*/ 2147483647 w 135"/>
                <a:gd name="T93" fmla="*/ 2147483647 h 89"/>
                <a:gd name="T94" fmla="*/ 2147483647 w 135"/>
                <a:gd name="T95" fmla="*/ 2147483647 h 89"/>
                <a:gd name="T96" fmla="*/ 2147483647 w 135"/>
                <a:gd name="T97" fmla="*/ 2147483647 h 89"/>
                <a:gd name="T98" fmla="*/ 2147483647 w 135"/>
                <a:gd name="T99" fmla="*/ 2147483647 h 89"/>
                <a:gd name="T100" fmla="*/ 2147483647 w 135"/>
                <a:gd name="T101" fmla="*/ 2147483647 h 89"/>
                <a:gd name="T102" fmla="*/ 2147483647 w 135"/>
                <a:gd name="T103" fmla="*/ 2147483647 h 89"/>
                <a:gd name="T104" fmla="*/ 2147483647 w 135"/>
                <a:gd name="T105" fmla="*/ 2147483647 h 89"/>
                <a:gd name="T106" fmla="*/ 2147483647 w 135"/>
                <a:gd name="T107" fmla="*/ 2147483647 h 89"/>
                <a:gd name="T108" fmla="*/ 2147483647 w 135"/>
                <a:gd name="T109" fmla="*/ 2147483647 h 89"/>
                <a:gd name="T110" fmla="*/ 2147483647 w 135"/>
                <a:gd name="T111" fmla="*/ 2147483647 h 89"/>
                <a:gd name="T112" fmla="*/ 2147483647 w 135"/>
                <a:gd name="T113" fmla="*/ 2147483647 h 89"/>
                <a:gd name="T114" fmla="*/ 2147483647 w 135"/>
                <a:gd name="T115" fmla="*/ 2147483647 h 89"/>
                <a:gd name="T116" fmla="*/ 2147483647 w 135"/>
                <a:gd name="T117" fmla="*/ 2147483647 h 89"/>
                <a:gd name="T118" fmla="*/ 2147483647 w 135"/>
                <a:gd name="T119" fmla="*/ 2147483647 h 89"/>
                <a:gd name="T120" fmla="*/ 2147483647 w 135"/>
                <a:gd name="T121" fmla="*/ 2147483647 h 8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5"/>
                <a:gd name="T184" fmla="*/ 0 h 89"/>
                <a:gd name="T185" fmla="*/ 135 w 135"/>
                <a:gd name="T186" fmla="*/ 89 h 8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5" h="89">
                  <a:moveTo>
                    <a:pt x="78" y="3"/>
                  </a:moveTo>
                  <a:lnTo>
                    <a:pt x="72" y="3"/>
                  </a:lnTo>
                  <a:lnTo>
                    <a:pt x="69" y="0"/>
                  </a:lnTo>
                  <a:lnTo>
                    <a:pt x="66" y="3"/>
                  </a:lnTo>
                  <a:lnTo>
                    <a:pt x="58" y="6"/>
                  </a:lnTo>
                  <a:lnTo>
                    <a:pt x="43" y="9"/>
                  </a:lnTo>
                  <a:lnTo>
                    <a:pt x="43" y="12"/>
                  </a:lnTo>
                  <a:lnTo>
                    <a:pt x="49" y="12"/>
                  </a:lnTo>
                  <a:lnTo>
                    <a:pt x="49" y="15"/>
                  </a:lnTo>
                  <a:lnTo>
                    <a:pt x="46" y="20"/>
                  </a:lnTo>
                  <a:lnTo>
                    <a:pt x="43" y="20"/>
                  </a:lnTo>
                  <a:lnTo>
                    <a:pt x="40" y="20"/>
                  </a:lnTo>
                  <a:lnTo>
                    <a:pt x="35" y="23"/>
                  </a:lnTo>
                  <a:lnTo>
                    <a:pt x="35" y="29"/>
                  </a:lnTo>
                  <a:lnTo>
                    <a:pt x="37" y="35"/>
                  </a:lnTo>
                  <a:lnTo>
                    <a:pt x="29" y="38"/>
                  </a:lnTo>
                  <a:lnTo>
                    <a:pt x="29" y="35"/>
                  </a:lnTo>
                  <a:lnTo>
                    <a:pt x="26" y="38"/>
                  </a:lnTo>
                  <a:lnTo>
                    <a:pt x="23" y="38"/>
                  </a:lnTo>
                  <a:lnTo>
                    <a:pt x="20" y="43"/>
                  </a:lnTo>
                  <a:lnTo>
                    <a:pt x="17" y="43"/>
                  </a:lnTo>
                  <a:lnTo>
                    <a:pt x="9" y="41"/>
                  </a:lnTo>
                  <a:lnTo>
                    <a:pt x="3" y="43"/>
                  </a:lnTo>
                  <a:lnTo>
                    <a:pt x="12" y="58"/>
                  </a:lnTo>
                  <a:lnTo>
                    <a:pt x="9" y="64"/>
                  </a:lnTo>
                  <a:lnTo>
                    <a:pt x="0" y="72"/>
                  </a:lnTo>
                  <a:lnTo>
                    <a:pt x="6" y="81"/>
                  </a:lnTo>
                  <a:lnTo>
                    <a:pt x="12" y="84"/>
                  </a:lnTo>
                  <a:lnTo>
                    <a:pt x="14" y="78"/>
                  </a:lnTo>
                  <a:lnTo>
                    <a:pt x="23" y="78"/>
                  </a:lnTo>
                  <a:lnTo>
                    <a:pt x="37" y="75"/>
                  </a:lnTo>
                  <a:lnTo>
                    <a:pt x="40" y="75"/>
                  </a:lnTo>
                  <a:lnTo>
                    <a:pt x="58" y="78"/>
                  </a:lnTo>
                  <a:lnTo>
                    <a:pt x="58" y="81"/>
                  </a:lnTo>
                  <a:lnTo>
                    <a:pt x="60" y="84"/>
                  </a:lnTo>
                  <a:lnTo>
                    <a:pt x="66" y="84"/>
                  </a:lnTo>
                  <a:lnTo>
                    <a:pt x="75" y="81"/>
                  </a:lnTo>
                  <a:lnTo>
                    <a:pt x="81" y="84"/>
                  </a:lnTo>
                  <a:lnTo>
                    <a:pt x="86" y="81"/>
                  </a:lnTo>
                  <a:lnTo>
                    <a:pt x="89" y="81"/>
                  </a:lnTo>
                  <a:lnTo>
                    <a:pt x="92" y="87"/>
                  </a:lnTo>
                  <a:lnTo>
                    <a:pt x="95" y="87"/>
                  </a:lnTo>
                  <a:lnTo>
                    <a:pt x="95" y="84"/>
                  </a:lnTo>
                  <a:lnTo>
                    <a:pt x="98" y="84"/>
                  </a:lnTo>
                  <a:lnTo>
                    <a:pt x="103" y="87"/>
                  </a:lnTo>
                  <a:lnTo>
                    <a:pt x="106" y="89"/>
                  </a:lnTo>
                  <a:lnTo>
                    <a:pt x="109" y="87"/>
                  </a:lnTo>
                  <a:lnTo>
                    <a:pt x="106" y="84"/>
                  </a:lnTo>
                  <a:lnTo>
                    <a:pt x="112" y="75"/>
                  </a:lnTo>
                  <a:lnTo>
                    <a:pt x="121" y="72"/>
                  </a:lnTo>
                  <a:lnTo>
                    <a:pt x="115" y="61"/>
                  </a:lnTo>
                  <a:lnTo>
                    <a:pt x="115" y="58"/>
                  </a:lnTo>
                  <a:lnTo>
                    <a:pt x="118" y="52"/>
                  </a:lnTo>
                  <a:lnTo>
                    <a:pt x="121" y="52"/>
                  </a:lnTo>
                  <a:lnTo>
                    <a:pt x="124" y="55"/>
                  </a:lnTo>
                  <a:lnTo>
                    <a:pt x="129" y="55"/>
                  </a:lnTo>
                  <a:lnTo>
                    <a:pt x="132" y="52"/>
                  </a:lnTo>
                  <a:lnTo>
                    <a:pt x="135" y="49"/>
                  </a:lnTo>
                  <a:lnTo>
                    <a:pt x="132" y="49"/>
                  </a:lnTo>
                  <a:lnTo>
                    <a:pt x="132" y="46"/>
                  </a:lnTo>
                  <a:lnTo>
                    <a:pt x="129" y="43"/>
                  </a:lnTo>
                  <a:lnTo>
                    <a:pt x="124" y="43"/>
                  </a:lnTo>
                  <a:lnTo>
                    <a:pt x="121" y="38"/>
                  </a:lnTo>
                  <a:lnTo>
                    <a:pt x="112" y="35"/>
                  </a:lnTo>
                  <a:lnTo>
                    <a:pt x="106" y="26"/>
                  </a:lnTo>
                  <a:lnTo>
                    <a:pt x="103" y="23"/>
                  </a:lnTo>
                  <a:lnTo>
                    <a:pt x="106" y="20"/>
                  </a:lnTo>
                  <a:lnTo>
                    <a:pt x="103" y="18"/>
                  </a:lnTo>
                  <a:lnTo>
                    <a:pt x="103" y="9"/>
                  </a:lnTo>
                  <a:lnTo>
                    <a:pt x="95" y="6"/>
                  </a:lnTo>
                  <a:lnTo>
                    <a:pt x="92" y="3"/>
                  </a:lnTo>
                  <a:lnTo>
                    <a:pt x="89" y="6"/>
                  </a:lnTo>
                  <a:lnTo>
                    <a:pt x="89" y="9"/>
                  </a:lnTo>
                  <a:lnTo>
                    <a:pt x="86" y="9"/>
                  </a:lnTo>
                  <a:lnTo>
                    <a:pt x="83" y="9"/>
                  </a:lnTo>
                  <a:lnTo>
                    <a:pt x="81" y="6"/>
                  </a:lnTo>
                  <a:lnTo>
                    <a:pt x="81" y="3"/>
                  </a:lnTo>
                  <a:lnTo>
                    <a:pt x="78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30" name="Freeform 231"/>
            <p:cNvSpPr>
              <a:spLocks/>
            </p:cNvSpPr>
            <p:nvPr/>
          </p:nvSpPr>
          <p:spPr bwMode="auto">
            <a:xfrm>
              <a:off x="4822825" y="2192338"/>
              <a:ext cx="100013" cy="55562"/>
            </a:xfrm>
            <a:custGeom>
              <a:avLst/>
              <a:gdLst>
                <a:gd name="T0" fmla="*/ 2147483647 w 63"/>
                <a:gd name="T1" fmla="*/ 2147483647 h 35"/>
                <a:gd name="T2" fmla="*/ 2147483647 w 63"/>
                <a:gd name="T3" fmla="*/ 2147483647 h 35"/>
                <a:gd name="T4" fmla="*/ 2147483647 w 63"/>
                <a:gd name="T5" fmla="*/ 2147483647 h 35"/>
                <a:gd name="T6" fmla="*/ 2147483647 w 63"/>
                <a:gd name="T7" fmla="*/ 2147483647 h 35"/>
                <a:gd name="T8" fmla="*/ 2147483647 w 63"/>
                <a:gd name="T9" fmla="*/ 2147483647 h 35"/>
                <a:gd name="T10" fmla="*/ 2147483647 w 63"/>
                <a:gd name="T11" fmla="*/ 2147483647 h 35"/>
                <a:gd name="T12" fmla="*/ 2147483647 w 63"/>
                <a:gd name="T13" fmla="*/ 2147483647 h 35"/>
                <a:gd name="T14" fmla="*/ 2147483647 w 63"/>
                <a:gd name="T15" fmla="*/ 0 h 35"/>
                <a:gd name="T16" fmla="*/ 2147483647 w 63"/>
                <a:gd name="T17" fmla="*/ 0 h 35"/>
                <a:gd name="T18" fmla="*/ 2147483647 w 63"/>
                <a:gd name="T19" fmla="*/ 0 h 35"/>
                <a:gd name="T20" fmla="*/ 2147483647 w 63"/>
                <a:gd name="T21" fmla="*/ 2147483647 h 35"/>
                <a:gd name="T22" fmla="*/ 2147483647 w 63"/>
                <a:gd name="T23" fmla="*/ 2147483647 h 35"/>
                <a:gd name="T24" fmla="*/ 0 w 63"/>
                <a:gd name="T25" fmla="*/ 2147483647 h 35"/>
                <a:gd name="T26" fmla="*/ 0 w 63"/>
                <a:gd name="T27" fmla="*/ 2147483647 h 35"/>
                <a:gd name="T28" fmla="*/ 0 w 63"/>
                <a:gd name="T29" fmla="*/ 2147483647 h 35"/>
                <a:gd name="T30" fmla="*/ 0 w 63"/>
                <a:gd name="T31" fmla="*/ 2147483647 h 35"/>
                <a:gd name="T32" fmla="*/ 0 w 63"/>
                <a:gd name="T33" fmla="*/ 2147483647 h 35"/>
                <a:gd name="T34" fmla="*/ 2147483647 w 63"/>
                <a:gd name="T35" fmla="*/ 2147483647 h 35"/>
                <a:gd name="T36" fmla="*/ 2147483647 w 63"/>
                <a:gd name="T37" fmla="*/ 2147483647 h 35"/>
                <a:gd name="T38" fmla="*/ 2147483647 w 63"/>
                <a:gd name="T39" fmla="*/ 2147483647 h 35"/>
                <a:gd name="T40" fmla="*/ 2147483647 w 63"/>
                <a:gd name="T41" fmla="*/ 2147483647 h 35"/>
                <a:gd name="T42" fmla="*/ 2147483647 w 63"/>
                <a:gd name="T43" fmla="*/ 2147483647 h 35"/>
                <a:gd name="T44" fmla="*/ 2147483647 w 63"/>
                <a:gd name="T45" fmla="*/ 2147483647 h 35"/>
                <a:gd name="T46" fmla="*/ 2147483647 w 63"/>
                <a:gd name="T47" fmla="*/ 2147483647 h 35"/>
                <a:gd name="T48" fmla="*/ 2147483647 w 63"/>
                <a:gd name="T49" fmla="*/ 2147483647 h 35"/>
                <a:gd name="T50" fmla="*/ 2147483647 w 63"/>
                <a:gd name="T51" fmla="*/ 2147483647 h 35"/>
                <a:gd name="T52" fmla="*/ 2147483647 w 63"/>
                <a:gd name="T53" fmla="*/ 2147483647 h 35"/>
                <a:gd name="T54" fmla="*/ 2147483647 w 63"/>
                <a:gd name="T55" fmla="*/ 2147483647 h 35"/>
                <a:gd name="T56" fmla="*/ 2147483647 w 63"/>
                <a:gd name="T57" fmla="*/ 2147483647 h 35"/>
                <a:gd name="T58" fmla="*/ 2147483647 w 63"/>
                <a:gd name="T59" fmla="*/ 2147483647 h 35"/>
                <a:gd name="T60" fmla="*/ 2147483647 w 63"/>
                <a:gd name="T61" fmla="*/ 2147483647 h 35"/>
                <a:gd name="T62" fmla="*/ 2147483647 w 63"/>
                <a:gd name="T63" fmla="*/ 2147483647 h 35"/>
                <a:gd name="T64" fmla="*/ 2147483647 w 63"/>
                <a:gd name="T65" fmla="*/ 2147483647 h 35"/>
                <a:gd name="T66" fmla="*/ 2147483647 w 63"/>
                <a:gd name="T67" fmla="*/ 2147483647 h 35"/>
                <a:gd name="T68" fmla="*/ 2147483647 w 63"/>
                <a:gd name="T69" fmla="*/ 2147483647 h 35"/>
                <a:gd name="T70" fmla="*/ 2147483647 w 63"/>
                <a:gd name="T71" fmla="*/ 2147483647 h 35"/>
                <a:gd name="T72" fmla="*/ 2147483647 w 63"/>
                <a:gd name="T73" fmla="*/ 2147483647 h 35"/>
                <a:gd name="T74" fmla="*/ 2147483647 w 63"/>
                <a:gd name="T75" fmla="*/ 2147483647 h 35"/>
                <a:gd name="T76" fmla="*/ 2147483647 w 63"/>
                <a:gd name="T77" fmla="*/ 2147483647 h 35"/>
                <a:gd name="T78" fmla="*/ 2147483647 w 63"/>
                <a:gd name="T79" fmla="*/ 2147483647 h 35"/>
                <a:gd name="T80" fmla="*/ 2147483647 w 63"/>
                <a:gd name="T81" fmla="*/ 2147483647 h 35"/>
                <a:gd name="T82" fmla="*/ 2147483647 w 63"/>
                <a:gd name="T83" fmla="*/ 2147483647 h 3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63"/>
                <a:gd name="T127" fmla="*/ 0 h 35"/>
                <a:gd name="T128" fmla="*/ 63 w 63"/>
                <a:gd name="T129" fmla="*/ 35 h 3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63" h="35">
                  <a:moveTo>
                    <a:pt x="60" y="3"/>
                  </a:moveTo>
                  <a:lnTo>
                    <a:pt x="60" y="3"/>
                  </a:lnTo>
                  <a:lnTo>
                    <a:pt x="57" y="3"/>
                  </a:lnTo>
                  <a:lnTo>
                    <a:pt x="51" y="3"/>
                  </a:lnTo>
                  <a:lnTo>
                    <a:pt x="43" y="3"/>
                  </a:lnTo>
                  <a:lnTo>
                    <a:pt x="34" y="0"/>
                  </a:lnTo>
                  <a:lnTo>
                    <a:pt x="28" y="0"/>
                  </a:lnTo>
                  <a:lnTo>
                    <a:pt x="17" y="3"/>
                  </a:lnTo>
                  <a:lnTo>
                    <a:pt x="0" y="6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2" y="20"/>
                  </a:lnTo>
                  <a:lnTo>
                    <a:pt x="5" y="23"/>
                  </a:lnTo>
                  <a:lnTo>
                    <a:pt x="11" y="26"/>
                  </a:lnTo>
                  <a:lnTo>
                    <a:pt x="14" y="23"/>
                  </a:lnTo>
                  <a:lnTo>
                    <a:pt x="17" y="26"/>
                  </a:lnTo>
                  <a:lnTo>
                    <a:pt x="17" y="29"/>
                  </a:lnTo>
                  <a:lnTo>
                    <a:pt x="25" y="26"/>
                  </a:lnTo>
                  <a:lnTo>
                    <a:pt x="37" y="29"/>
                  </a:lnTo>
                  <a:lnTo>
                    <a:pt x="45" y="35"/>
                  </a:lnTo>
                  <a:lnTo>
                    <a:pt x="48" y="35"/>
                  </a:lnTo>
                  <a:lnTo>
                    <a:pt x="51" y="32"/>
                  </a:lnTo>
                  <a:lnTo>
                    <a:pt x="57" y="35"/>
                  </a:lnTo>
                  <a:lnTo>
                    <a:pt x="63" y="32"/>
                  </a:lnTo>
                  <a:lnTo>
                    <a:pt x="57" y="29"/>
                  </a:lnTo>
                  <a:lnTo>
                    <a:pt x="57" y="23"/>
                  </a:lnTo>
                  <a:lnTo>
                    <a:pt x="54" y="17"/>
                  </a:lnTo>
                  <a:lnTo>
                    <a:pt x="57" y="9"/>
                  </a:lnTo>
                  <a:lnTo>
                    <a:pt x="6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31" name="Freeform 232"/>
            <p:cNvSpPr>
              <a:spLocks/>
            </p:cNvSpPr>
            <p:nvPr/>
          </p:nvSpPr>
          <p:spPr bwMode="auto">
            <a:xfrm>
              <a:off x="4743450" y="1901825"/>
              <a:ext cx="239713" cy="280988"/>
            </a:xfrm>
            <a:custGeom>
              <a:avLst/>
              <a:gdLst>
                <a:gd name="T0" fmla="*/ 2147483647 w 149"/>
                <a:gd name="T1" fmla="*/ 2147483647 h 175"/>
                <a:gd name="T2" fmla="*/ 2147483647 w 149"/>
                <a:gd name="T3" fmla="*/ 2147483647 h 175"/>
                <a:gd name="T4" fmla="*/ 2147483647 w 149"/>
                <a:gd name="T5" fmla="*/ 2147483647 h 175"/>
                <a:gd name="T6" fmla="*/ 2147483647 w 149"/>
                <a:gd name="T7" fmla="*/ 2147483647 h 175"/>
                <a:gd name="T8" fmla="*/ 2147483647 w 149"/>
                <a:gd name="T9" fmla="*/ 2147483647 h 175"/>
                <a:gd name="T10" fmla="*/ 2147483647 w 149"/>
                <a:gd name="T11" fmla="*/ 2147483647 h 175"/>
                <a:gd name="T12" fmla="*/ 2147483647 w 149"/>
                <a:gd name="T13" fmla="*/ 2147483647 h 175"/>
                <a:gd name="T14" fmla="*/ 2147483647 w 149"/>
                <a:gd name="T15" fmla="*/ 2147483647 h 175"/>
                <a:gd name="T16" fmla="*/ 2147483647 w 149"/>
                <a:gd name="T17" fmla="*/ 2147483647 h 175"/>
                <a:gd name="T18" fmla="*/ 2147483647 w 149"/>
                <a:gd name="T19" fmla="*/ 2147483647 h 175"/>
                <a:gd name="T20" fmla="*/ 2147483647 w 149"/>
                <a:gd name="T21" fmla="*/ 2147483647 h 175"/>
                <a:gd name="T22" fmla="*/ 2147483647 w 149"/>
                <a:gd name="T23" fmla="*/ 2147483647 h 175"/>
                <a:gd name="T24" fmla="*/ 2147483647 w 149"/>
                <a:gd name="T25" fmla="*/ 2147483647 h 175"/>
                <a:gd name="T26" fmla="*/ 0 w 149"/>
                <a:gd name="T27" fmla="*/ 2147483647 h 175"/>
                <a:gd name="T28" fmla="*/ 2147483647 w 149"/>
                <a:gd name="T29" fmla="*/ 2147483647 h 175"/>
                <a:gd name="T30" fmla="*/ 2147483647 w 149"/>
                <a:gd name="T31" fmla="*/ 2147483647 h 175"/>
                <a:gd name="T32" fmla="*/ 2147483647 w 149"/>
                <a:gd name="T33" fmla="*/ 2147483647 h 175"/>
                <a:gd name="T34" fmla="*/ 2147483647 w 149"/>
                <a:gd name="T35" fmla="*/ 2147483647 h 175"/>
                <a:gd name="T36" fmla="*/ 2147483647 w 149"/>
                <a:gd name="T37" fmla="*/ 2147483647 h 175"/>
                <a:gd name="T38" fmla="*/ 2147483647 w 149"/>
                <a:gd name="T39" fmla="*/ 2147483647 h 175"/>
                <a:gd name="T40" fmla="*/ 2147483647 w 149"/>
                <a:gd name="T41" fmla="*/ 2147483647 h 175"/>
                <a:gd name="T42" fmla="*/ 2147483647 w 149"/>
                <a:gd name="T43" fmla="*/ 2147483647 h 175"/>
                <a:gd name="T44" fmla="*/ 2147483647 w 149"/>
                <a:gd name="T45" fmla="*/ 2147483647 h 175"/>
                <a:gd name="T46" fmla="*/ 2147483647 w 149"/>
                <a:gd name="T47" fmla="*/ 2147483647 h 175"/>
                <a:gd name="T48" fmla="*/ 2147483647 w 149"/>
                <a:gd name="T49" fmla="*/ 2147483647 h 175"/>
                <a:gd name="T50" fmla="*/ 2147483647 w 149"/>
                <a:gd name="T51" fmla="*/ 2147483647 h 175"/>
                <a:gd name="T52" fmla="*/ 2147483647 w 149"/>
                <a:gd name="T53" fmla="*/ 2147483647 h 175"/>
                <a:gd name="T54" fmla="*/ 2147483647 w 149"/>
                <a:gd name="T55" fmla="*/ 2147483647 h 175"/>
                <a:gd name="T56" fmla="*/ 2147483647 w 149"/>
                <a:gd name="T57" fmla="*/ 2147483647 h 175"/>
                <a:gd name="T58" fmla="*/ 2147483647 w 149"/>
                <a:gd name="T59" fmla="*/ 2147483647 h 175"/>
                <a:gd name="T60" fmla="*/ 2147483647 w 149"/>
                <a:gd name="T61" fmla="*/ 2147483647 h 175"/>
                <a:gd name="T62" fmla="*/ 2147483647 w 149"/>
                <a:gd name="T63" fmla="*/ 2147483647 h 175"/>
                <a:gd name="T64" fmla="*/ 2147483647 w 149"/>
                <a:gd name="T65" fmla="*/ 2147483647 h 175"/>
                <a:gd name="T66" fmla="*/ 2147483647 w 149"/>
                <a:gd name="T67" fmla="*/ 2147483647 h 175"/>
                <a:gd name="T68" fmla="*/ 2147483647 w 149"/>
                <a:gd name="T69" fmla="*/ 2147483647 h 175"/>
                <a:gd name="T70" fmla="*/ 2147483647 w 149"/>
                <a:gd name="T71" fmla="*/ 2147483647 h 175"/>
                <a:gd name="T72" fmla="*/ 2147483647 w 149"/>
                <a:gd name="T73" fmla="*/ 2147483647 h 175"/>
                <a:gd name="T74" fmla="*/ 2147483647 w 149"/>
                <a:gd name="T75" fmla="*/ 2147483647 h 175"/>
                <a:gd name="T76" fmla="*/ 2147483647 w 149"/>
                <a:gd name="T77" fmla="*/ 2147483647 h 175"/>
                <a:gd name="T78" fmla="*/ 2147483647 w 149"/>
                <a:gd name="T79" fmla="*/ 2147483647 h 175"/>
                <a:gd name="T80" fmla="*/ 2147483647 w 149"/>
                <a:gd name="T81" fmla="*/ 2147483647 h 175"/>
                <a:gd name="T82" fmla="*/ 2147483647 w 149"/>
                <a:gd name="T83" fmla="*/ 2147483647 h 175"/>
                <a:gd name="T84" fmla="*/ 2147483647 w 149"/>
                <a:gd name="T85" fmla="*/ 2147483647 h 175"/>
                <a:gd name="T86" fmla="*/ 2147483647 w 149"/>
                <a:gd name="T87" fmla="*/ 2147483647 h 175"/>
                <a:gd name="T88" fmla="*/ 2147483647 w 149"/>
                <a:gd name="T89" fmla="*/ 2147483647 h 175"/>
                <a:gd name="T90" fmla="*/ 2147483647 w 149"/>
                <a:gd name="T91" fmla="*/ 2147483647 h 175"/>
                <a:gd name="T92" fmla="*/ 2147483647 w 149"/>
                <a:gd name="T93" fmla="*/ 2147483647 h 175"/>
                <a:gd name="T94" fmla="*/ 2147483647 w 149"/>
                <a:gd name="T95" fmla="*/ 2147483647 h 175"/>
                <a:gd name="T96" fmla="*/ 2147483647 w 149"/>
                <a:gd name="T97" fmla="*/ 2147483647 h 175"/>
                <a:gd name="T98" fmla="*/ 2147483647 w 149"/>
                <a:gd name="T99" fmla="*/ 2147483647 h 175"/>
                <a:gd name="T100" fmla="*/ 2147483647 w 149"/>
                <a:gd name="T101" fmla="*/ 2147483647 h 175"/>
                <a:gd name="T102" fmla="*/ 2147483647 w 149"/>
                <a:gd name="T103" fmla="*/ 2147483647 h 175"/>
                <a:gd name="T104" fmla="*/ 2147483647 w 149"/>
                <a:gd name="T105" fmla="*/ 2147483647 h 175"/>
                <a:gd name="T106" fmla="*/ 2147483647 w 149"/>
                <a:gd name="T107" fmla="*/ 2147483647 h 17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49"/>
                <a:gd name="T163" fmla="*/ 0 h 175"/>
                <a:gd name="T164" fmla="*/ 149 w 149"/>
                <a:gd name="T165" fmla="*/ 175 h 175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49" h="175">
                  <a:moveTo>
                    <a:pt x="97" y="18"/>
                  </a:moveTo>
                  <a:lnTo>
                    <a:pt x="97" y="18"/>
                  </a:lnTo>
                  <a:lnTo>
                    <a:pt x="97" y="12"/>
                  </a:lnTo>
                  <a:lnTo>
                    <a:pt x="100" y="9"/>
                  </a:lnTo>
                  <a:lnTo>
                    <a:pt x="100" y="6"/>
                  </a:lnTo>
                  <a:lnTo>
                    <a:pt x="92" y="3"/>
                  </a:lnTo>
                  <a:lnTo>
                    <a:pt x="83" y="0"/>
                  </a:lnTo>
                  <a:lnTo>
                    <a:pt x="71" y="3"/>
                  </a:lnTo>
                  <a:lnTo>
                    <a:pt x="69" y="6"/>
                  </a:lnTo>
                  <a:lnTo>
                    <a:pt x="63" y="6"/>
                  </a:lnTo>
                  <a:lnTo>
                    <a:pt x="63" y="9"/>
                  </a:lnTo>
                  <a:lnTo>
                    <a:pt x="63" y="12"/>
                  </a:lnTo>
                  <a:lnTo>
                    <a:pt x="63" y="18"/>
                  </a:lnTo>
                  <a:lnTo>
                    <a:pt x="63" y="20"/>
                  </a:lnTo>
                  <a:lnTo>
                    <a:pt x="60" y="20"/>
                  </a:lnTo>
                  <a:lnTo>
                    <a:pt x="57" y="20"/>
                  </a:lnTo>
                  <a:lnTo>
                    <a:pt x="49" y="26"/>
                  </a:lnTo>
                  <a:lnTo>
                    <a:pt x="37" y="23"/>
                  </a:lnTo>
                  <a:lnTo>
                    <a:pt x="34" y="23"/>
                  </a:lnTo>
                  <a:lnTo>
                    <a:pt x="28" y="23"/>
                  </a:lnTo>
                  <a:lnTo>
                    <a:pt x="23" y="23"/>
                  </a:lnTo>
                  <a:lnTo>
                    <a:pt x="20" y="23"/>
                  </a:lnTo>
                  <a:lnTo>
                    <a:pt x="17" y="23"/>
                  </a:lnTo>
                  <a:lnTo>
                    <a:pt x="14" y="20"/>
                  </a:lnTo>
                  <a:lnTo>
                    <a:pt x="8" y="15"/>
                  </a:lnTo>
                  <a:lnTo>
                    <a:pt x="3" y="15"/>
                  </a:lnTo>
                  <a:lnTo>
                    <a:pt x="3" y="18"/>
                  </a:lnTo>
                  <a:lnTo>
                    <a:pt x="0" y="18"/>
                  </a:lnTo>
                  <a:lnTo>
                    <a:pt x="8" y="23"/>
                  </a:lnTo>
                  <a:lnTo>
                    <a:pt x="17" y="26"/>
                  </a:lnTo>
                  <a:lnTo>
                    <a:pt x="23" y="26"/>
                  </a:lnTo>
                  <a:lnTo>
                    <a:pt x="28" y="26"/>
                  </a:lnTo>
                  <a:lnTo>
                    <a:pt x="34" y="32"/>
                  </a:lnTo>
                  <a:lnTo>
                    <a:pt x="37" y="35"/>
                  </a:lnTo>
                  <a:lnTo>
                    <a:pt x="40" y="41"/>
                  </a:lnTo>
                  <a:lnTo>
                    <a:pt x="40" y="43"/>
                  </a:lnTo>
                  <a:lnTo>
                    <a:pt x="40" y="46"/>
                  </a:lnTo>
                  <a:lnTo>
                    <a:pt x="43" y="52"/>
                  </a:lnTo>
                  <a:lnTo>
                    <a:pt x="43" y="58"/>
                  </a:lnTo>
                  <a:lnTo>
                    <a:pt x="43" y="61"/>
                  </a:lnTo>
                  <a:lnTo>
                    <a:pt x="43" y="64"/>
                  </a:lnTo>
                  <a:lnTo>
                    <a:pt x="49" y="72"/>
                  </a:lnTo>
                  <a:lnTo>
                    <a:pt x="57" y="75"/>
                  </a:lnTo>
                  <a:lnTo>
                    <a:pt x="63" y="78"/>
                  </a:lnTo>
                  <a:lnTo>
                    <a:pt x="66" y="84"/>
                  </a:lnTo>
                  <a:lnTo>
                    <a:pt x="66" y="86"/>
                  </a:lnTo>
                  <a:lnTo>
                    <a:pt x="63" y="89"/>
                  </a:lnTo>
                  <a:lnTo>
                    <a:pt x="57" y="86"/>
                  </a:lnTo>
                  <a:lnTo>
                    <a:pt x="57" y="84"/>
                  </a:lnTo>
                  <a:lnTo>
                    <a:pt x="51" y="86"/>
                  </a:lnTo>
                  <a:lnTo>
                    <a:pt x="51" y="92"/>
                  </a:lnTo>
                  <a:lnTo>
                    <a:pt x="49" y="98"/>
                  </a:lnTo>
                  <a:lnTo>
                    <a:pt x="43" y="104"/>
                  </a:lnTo>
                  <a:lnTo>
                    <a:pt x="31" y="109"/>
                  </a:lnTo>
                  <a:lnTo>
                    <a:pt x="26" y="115"/>
                  </a:lnTo>
                  <a:lnTo>
                    <a:pt x="23" y="115"/>
                  </a:lnTo>
                  <a:lnTo>
                    <a:pt x="17" y="115"/>
                  </a:lnTo>
                  <a:lnTo>
                    <a:pt x="14" y="124"/>
                  </a:lnTo>
                  <a:lnTo>
                    <a:pt x="11" y="124"/>
                  </a:lnTo>
                  <a:lnTo>
                    <a:pt x="14" y="127"/>
                  </a:lnTo>
                  <a:lnTo>
                    <a:pt x="17" y="132"/>
                  </a:lnTo>
                  <a:lnTo>
                    <a:pt x="17" y="135"/>
                  </a:lnTo>
                  <a:lnTo>
                    <a:pt x="14" y="135"/>
                  </a:lnTo>
                  <a:lnTo>
                    <a:pt x="14" y="138"/>
                  </a:lnTo>
                  <a:lnTo>
                    <a:pt x="17" y="144"/>
                  </a:lnTo>
                  <a:lnTo>
                    <a:pt x="20" y="144"/>
                  </a:lnTo>
                  <a:lnTo>
                    <a:pt x="20" y="147"/>
                  </a:lnTo>
                  <a:lnTo>
                    <a:pt x="20" y="150"/>
                  </a:lnTo>
                  <a:lnTo>
                    <a:pt x="20" y="153"/>
                  </a:lnTo>
                  <a:lnTo>
                    <a:pt x="17" y="155"/>
                  </a:lnTo>
                  <a:lnTo>
                    <a:pt x="17" y="161"/>
                  </a:lnTo>
                  <a:lnTo>
                    <a:pt x="20" y="164"/>
                  </a:lnTo>
                  <a:lnTo>
                    <a:pt x="23" y="164"/>
                  </a:lnTo>
                  <a:lnTo>
                    <a:pt x="28" y="164"/>
                  </a:lnTo>
                  <a:lnTo>
                    <a:pt x="26" y="167"/>
                  </a:lnTo>
                  <a:lnTo>
                    <a:pt x="28" y="170"/>
                  </a:lnTo>
                  <a:lnTo>
                    <a:pt x="34" y="167"/>
                  </a:lnTo>
                  <a:lnTo>
                    <a:pt x="34" y="173"/>
                  </a:lnTo>
                  <a:lnTo>
                    <a:pt x="40" y="170"/>
                  </a:lnTo>
                  <a:lnTo>
                    <a:pt x="43" y="173"/>
                  </a:lnTo>
                  <a:lnTo>
                    <a:pt x="43" y="175"/>
                  </a:lnTo>
                  <a:lnTo>
                    <a:pt x="51" y="175"/>
                  </a:lnTo>
                  <a:lnTo>
                    <a:pt x="60" y="173"/>
                  </a:lnTo>
                  <a:lnTo>
                    <a:pt x="66" y="170"/>
                  </a:lnTo>
                  <a:lnTo>
                    <a:pt x="74" y="167"/>
                  </a:lnTo>
                  <a:lnTo>
                    <a:pt x="77" y="167"/>
                  </a:lnTo>
                  <a:lnTo>
                    <a:pt x="80" y="167"/>
                  </a:lnTo>
                  <a:lnTo>
                    <a:pt x="86" y="167"/>
                  </a:lnTo>
                  <a:lnTo>
                    <a:pt x="94" y="164"/>
                  </a:lnTo>
                  <a:lnTo>
                    <a:pt x="106" y="164"/>
                  </a:lnTo>
                  <a:lnTo>
                    <a:pt x="115" y="155"/>
                  </a:lnTo>
                  <a:lnTo>
                    <a:pt x="129" y="144"/>
                  </a:lnTo>
                  <a:lnTo>
                    <a:pt x="138" y="135"/>
                  </a:lnTo>
                  <a:lnTo>
                    <a:pt x="143" y="127"/>
                  </a:lnTo>
                  <a:lnTo>
                    <a:pt x="149" y="124"/>
                  </a:lnTo>
                  <a:lnTo>
                    <a:pt x="138" y="115"/>
                  </a:lnTo>
                  <a:lnTo>
                    <a:pt x="129" y="109"/>
                  </a:lnTo>
                  <a:lnTo>
                    <a:pt x="126" y="109"/>
                  </a:lnTo>
                  <a:lnTo>
                    <a:pt x="132" y="101"/>
                  </a:lnTo>
                  <a:lnTo>
                    <a:pt x="123" y="95"/>
                  </a:lnTo>
                  <a:lnTo>
                    <a:pt x="126" y="95"/>
                  </a:lnTo>
                  <a:lnTo>
                    <a:pt x="126" y="89"/>
                  </a:lnTo>
                  <a:lnTo>
                    <a:pt x="120" y="86"/>
                  </a:lnTo>
                  <a:lnTo>
                    <a:pt x="117" y="89"/>
                  </a:lnTo>
                  <a:lnTo>
                    <a:pt x="117" y="86"/>
                  </a:lnTo>
                  <a:lnTo>
                    <a:pt x="120" y="81"/>
                  </a:lnTo>
                  <a:lnTo>
                    <a:pt x="117" y="72"/>
                  </a:lnTo>
                  <a:lnTo>
                    <a:pt x="120" y="69"/>
                  </a:lnTo>
                  <a:lnTo>
                    <a:pt x="115" y="64"/>
                  </a:lnTo>
                  <a:lnTo>
                    <a:pt x="106" y="55"/>
                  </a:lnTo>
                  <a:lnTo>
                    <a:pt x="106" y="52"/>
                  </a:lnTo>
                  <a:lnTo>
                    <a:pt x="106" y="49"/>
                  </a:lnTo>
                  <a:lnTo>
                    <a:pt x="109" y="43"/>
                  </a:lnTo>
                  <a:lnTo>
                    <a:pt x="112" y="43"/>
                  </a:lnTo>
                  <a:lnTo>
                    <a:pt x="115" y="41"/>
                  </a:lnTo>
                  <a:lnTo>
                    <a:pt x="109" y="35"/>
                  </a:lnTo>
                  <a:lnTo>
                    <a:pt x="97" y="32"/>
                  </a:lnTo>
                  <a:lnTo>
                    <a:pt x="94" y="32"/>
                  </a:lnTo>
                  <a:lnTo>
                    <a:pt x="94" y="23"/>
                  </a:lnTo>
                  <a:lnTo>
                    <a:pt x="97" y="23"/>
                  </a:lnTo>
                  <a:lnTo>
                    <a:pt x="97" y="1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32" name="Freeform 233"/>
            <p:cNvSpPr>
              <a:spLocks/>
            </p:cNvSpPr>
            <p:nvPr/>
          </p:nvSpPr>
          <p:spPr bwMode="auto">
            <a:xfrm>
              <a:off x="4770438" y="2238375"/>
              <a:ext cx="165100" cy="63500"/>
            </a:xfrm>
            <a:custGeom>
              <a:avLst/>
              <a:gdLst>
                <a:gd name="T0" fmla="*/ 2147483647 w 103"/>
                <a:gd name="T1" fmla="*/ 2147483647 h 40"/>
                <a:gd name="T2" fmla="*/ 2147483647 w 103"/>
                <a:gd name="T3" fmla="*/ 2147483647 h 40"/>
                <a:gd name="T4" fmla="*/ 2147483647 w 103"/>
                <a:gd name="T5" fmla="*/ 2147483647 h 40"/>
                <a:gd name="T6" fmla="*/ 2147483647 w 103"/>
                <a:gd name="T7" fmla="*/ 2147483647 h 40"/>
                <a:gd name="T8" fmla="*/ 2147483647 w 103"/>
                <a:gd name="T9" fmla="*/ 2147483647 h 40"/>
                <a:gd name="T10" fmla="*/ 2147483647 w 103"/>
                <a:gd name="T11" fmla="*/ 2147483647 h 40"/>
                <a:gd name="T12" fmla="*/ 2147483647 w 103"/>
                <a:gd name="T13" fmla="*/ 2147483647 h 40"/>
                <a:gd name="T14" fmla="*/ 2147483647 w 103"/>
                <a:gd name="T15" fmla="*/ 2147483647 h 40"/>
                <a:gd name="T16" fmla="*/ 2147483647 w 103"/>
                <a:gd name="T17" fmla="*/ 2147483647 h 40"/>
                <a:gd name="T18" fmla="*/ 2147483647 w 103"/>
                <a:gd name="T19" fmla="*/ 2147483647 h 40"/>
                <a:gd name="T20" fmla="*/ 2147483647 w 103"/>
                <a:gd name="T21" fmla="*/ 2147483647 h 40"/>
                <a:gd name="T22" fmla="*/ 2147483647 w 103"/>
                <a:gd name="T23" fmla="*/ 2147483647 h 40"/>
                <a:gd name="T24" fmla="*/ 2147483647 w 103"/>
                <a:gd name="T25" fmla="*/ 2147483647 h 40"/>
                <a:gd name="T26" fmla="*/ 2147483647 w 103"/>
                <a:gd name="T27" fmla="*/ 2147483647 h 40"/>
                <a:gd name="T28" fmla="*/ 2147483647 w 103"/>
                <a:gd name="T29" fmla="*/ 2147483647 h 40"/>
                <a:gd name="T30" fmla="*/ 0 w 103"/>
                <a:gd name="T31" fmla="*/ 2147483647 h 40"/>
                <a:gd name="T32" fmla="*/ 2147483647 w 103"/>
                <a:gd name="T33" fmla="*/ 2147483647 h 40"/>
                <a:gd name="T34" fmla="*/ 2147483647 w 103"/>
                <a:gd name="T35" fmla="*/ 2147483647 h 40"/>
                <a:gd name="T36" fmla="*/ 2147483647 w 103"/>
                <a:gd name="T37" fmla="*/ 2147483647 h 40"/>
                <a:gd name="T38" fmla="*/ 2147483647 w 103"/>
                <a:gd name="T39" fmla="*/ 2147483647 h 40"/>
                <a:gd name="T40" fmla="*/ 2147483647 w 103"/>
                <a:gd name="T41" fmla="*/ 2147483647 h 40"/>
                <a:gd name="T42" fmla="*/ 2147483647 w 103"/>
                <a:gd name="T43" fmla="*/ 2147483647 h 40"/>
                <a:gd name="T44" fmla="*/ 2147483647 w 103"/>
                <a:gd name="T45" fmla="*/ 2147483647 h 40"/>
                <a:gd name="T46" fmla="*/ 2147483647 w 103"/>
                <a:gd name="T47" fmla="*/ 2147483647 h 40"/>
                <a:gd name="T48" fmla="*/ 2147483647 w 103"/>
                <a:gd name="T49" fmla="*/ 2147483647 h 40"/>
                <a:gd name="T50" fmla="*/ 2147483647 w 103"/>
                <a:gd name="T51" fmla="*/ 2147483647 h 40"/>
                <a:gd name="T52" fmla="*/ 2147483647 w 103"/>
                <a:gd name="T53" fmla="*/ 2147483647 h 40"/>
                <a:gd name="T54" fmla="*/ 2147483647 w 103"/>
                <a:gd name="T55" fmla="*/ 2147483647 h 40"/>
                <a:gd name="T56" fmla="*/ 2147483647 w 103"/>
                <a:gd name="T57" fmla="*/ 2147483647 h 40"/>
                <a:gd name="T58" fmla="*/ 2147483647 w 103"/>
                <a:gd name="T59" fmla="*/ 2147483647 h 40"/>
                <a:gd name="T60" fmla="*/ 2147483647 w 103"/>
                <a:gd name="T61" fmla="*/ 2147483647 h 40"/>
                <a:gd name="T62" fmla="*/ 2147483647 w 103"/>
                <a:gd name="T63" fmla="*/ 2147483647 h 40"/>
                <a:gd name="T64" fmla="*/ 2147483647 w 103"/>
                <a:gd name="T65" fmla="*/ 2147483647 h 40"/>
                <a:gd name="T66" fmla="*/ 2147483647 w 103"/>
                <a:gd name="T67" fmla="*/ 2147483647 h 40"/>
                <a:gd name="T68" fmla="*/ 2147483647 w 103"/>
                <a:gd name="T69" fmla="*/ 2147483647 h 4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03"/>
                <a:gd name="T106" fmla="*/ 0 h 40"/>
                <a:gd name="T107" fmla="*/ 103 w 103"/>
                <a:gd name="T108" fmla="*/ 40 h 4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03" h="40">
                  <a:moveTo>
                    <a:pt x="98" y="11"/>
                  </a:moveTo>
                  <a:lnTo>
                    <a:pt x="98" y="11"/>
                  </a:lnTo>
                  <a:lnTo>
                    <a:pt x="92" y="11"/>
                  </a:lnTo>
                  <a:lnTo>
                    <a:pt x="89" y="11"/>
                  </a:lnTo>
                  <a:lnTo>
                    <a:pt x="86" y="11"/>
                  </a:lnTo>
                  <a:lnTo>
                    <a:pt x="86" y="9"/>
                  </a:lnTo>
                  <a:lnTo>
                    <a:pt x="83" y="9"/>
                  </a:lnTo>
                  <a:lnTo>
                    <a:pt x="80" y="9"/>
                  </a:lnTo>
                  <a:lnTo>
                    <a:pt x="77" y="9"/>
                  </a:lnTo>
                  <a:lnTo>
                    <a:pt x="75" y="9"/>
                  </a:lnTo>
                  <a:lnTo>
                    <a:pt x="69" y="3"/>
                  </a:lnTo>
                  <a:lnTo>
                    <a:pt x="57" y="0"/>
                  </a:lnTo>
                  <a:lnTo>
                    <a:pt x="49" y="3"/>
                  </a:lnTo>
                  <a:lnTo>
                    <a:pt x="49" y="14"/>
                  </a:lnTo>
                  <a:lnTo>
                    <a:pt x="43" y="17"/>
                  </a:lnTo>
                  <a:lnTo>
                    <a:pt x="37" y="17"/>
                  </a:lnTo>
                  <a:lnTo>
                    <a:pt x="23" y="9"/>
                  </a:lnTo>
                  <a:lnTo>
                    <a:pt x="17" y="6"/>
                  </a:lnTo>
                  <a:lnTo>
                    <a:pt x="11" y="6"/>
                  </a:lnTo>
                  <a:lnTo>
                    <a:pt x="6" y="11"/>
                  </a:lnTo>
                  <a:lnTo>
                    <a:pt x="0" y="17"/>
                  </a:lnTo>
                  <a:lnTo>
                    <a:pt x="0" y="23"/>
                  </a:lnTo>
                  <a:lnTo>
                    <a:pt x="3" y="34"/>
                  </a:lnTo>
                  <a:lnTo>
                    <a:pt x="17" y="29"/>
                  </a:lnTo>
                  <a:lnTo>
                    <a:pt x="20" y="29"/>
                  </a:lnTo>
                  <a:lnTo>
                    <a:pt x="32" y="29"/>
                  </a:lnTo>
                  <a:lnTo>
                    <a:pt x="34" y="29"/>
                  </a:lnTo>
                  <a:lnTo>
                    <a:pt x="46" y="26"/>
                  </a:lnTo>
                  <a:lnTo>
                    <a:pt x="57" y="26"/>
                  </a:lnTo>
                  <a:lnTo>
                    <a:pt x="63" y="32"/>
                  </a:lnTo>
                  <a:lnTo>
                    <a:pt x="69" y="34"/>
                  </a:lnTo>
                  <a:lnTo>
                    <a:pt x="83" y="40"/>
                  </a:lnTo>
                  <a:lnTo>
                    <a:pt x="98" y="37"/>
                  </a:lnTo>
                  <a:lnTo>
                    <a:pt x="103" y="34"/>
                  </a:lnTo>
                  <a:lnTo>
                    <a:pt x="100" y="26"/>
                  </a:lnTo>
                  <a:lnTo>
                    <a:pt x="95" y="23"/>
                  </a:lnTo>
                  <a:lnTo>
                    <a:pt x="95" y="20"/>
                  </a:lnTo>
                  <a:lnTo>
                    <a:pt x="98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33" name="Freeform 234"/>
            <p:cNvSpPr>
              <a:spLocks/>
            </p:cNvSpPr>
            <p:nvPr/>
          </p:nvSpPr>
          <p:spPr bwMode="auto">
            <a:xfrm>
              <a:off x="4622800" y="2330450"/>
              <a:ext cx="234950" cy="171450"/>
            </a:xfrm>
            <a:custGeom>
              <a:avLst/>
              <a:gdLst>
                <a:gd name="T0" fmla="*/ 2147483647 w 146"/>
                <a:gd name="T1" fmla="*/ 2147483647 h 107"/>
                <a:gd name="T2" fmla="*/ 2147483647 w 146"/>
                <a:gd name="T3" fmla="*/ 2147483647 h 107"/>
                <a:gd name="T4" fmla="*/ 2147483647 w 146"/>
                <a:gd name="T5" fmla="*/ 2147483647 h 107"/>
                <a:gd name="T6" fmla="*/ 2147483647 w 146"/>
                <a:gd name="T7" fmla="*/ 2147483647 h 107"/>
                <a:gd name="T8" fmla="*/ 2147483647 w 146"/>
                <a:gd name="T9" fmla="*/ 2147483647 h 107"/>
                <a:gd name="T10" fmla="*/ 2147483647 w 146"/>
                <a:gd name="T11" fmla="*/ 2147483647 h 107"/>
                <a:gd name="T12" fmla="*/ 2147483647 w 146"/>
                <a:gd name="T13" fmla="*/ 2147483647 h 107"/>
                <a:gd name="T14" fmla="*/ 2147483647 w 146"/>
                <a:gd name="T15" fmla="*/ 2147483647 h 107"/>
                <a:gd name="T16" fmla="*/ 2147483647 w 146"/>
                <a:gd name="T17" fmla="*/ 2147483647 h 107"/>
                <a:gd name="T18" fmla="*/ 2147483647 w 146"/>
                <a:gd name="T19" fmla="*/ 2147483647 h 107"/>
                <a:gd name="T20" fmla="*/ 2147483647 w 146"/>
                <a:gd name="T21" fmla="*/ 2147483647 h 107"/>
                <a:gd name="T22" fmla="*/ 2147483647 w 146"/>
                <a:gd name="T23" fmla="*/ 2147483647 h 107"/>
                <a:gd name="T24" fmla="*/ 2147483647 w 146"/>
                <a:gd name="T25" fmla="*/ 2147483647 h 107"/>
                <a:gd name="T26" fmla="*/ 2147483647 w 146"/>
                <a:gd name="T27" fmla="*/ 2147483647 h 107"/>
                <a:gd name="T28" fmla="*/ 2147483647 w 146"/>
                <a:gd name="T29" fmla="*/ 2147483647 h 107"/>
                <a:gd name="T30" fmla="*/ 2147483647 w 146"/>
                <a:gd name="T31" fmla="*/ 2147483647 h 107"/>
                <a:gd name="T32" fmla="*/ 2147483647 w 146"/>
                <a:gd name="T33" fmla="*/ 2147483647 h 107"/>
                <a:gd name="T34" fmla="*/ 2147483647 w 146"/>
                <a:gd name="T35" fmla="*/ 2147483647 h 107"/>
                <a:gd name="T36" fmla="*/ 2147483647 w 146"/>
                <a:gd name="T37" fmla="*/ 2147483647 h 107"/>
                <a:gd name="T38" fmla="*/ 2147483647 w 146"/>
                <a:gd name="T39" fmla="*/ 2147483647 h 107"/>
                <a:gd name="T40" fmla="*/ 2147483647 w 146"/>
                <a:gd name="T41" fmla="*/ 2147483647 h 107"/>
                <a:gd name="T42" fmla="*/ 2147483647 w 146"/>
                <a:gd name="T43" fmla="*/ 2147483647 h 107"/>
                <a:gd name="T44" fmla="*/ 2147483647 w 146"/>
                <a:gd name="T45" fmla="*/ 2147483647 h 107"/>
                <a:gd name="T46" fmla="*/ 2147483647 w 146"/>
                <a:gd name="T47" fmla="*/ 2147483647 h 107"/>
                <a:gd name="T48" fmla="*/ 2147483647 w 146"/>
                <a:gd name="T49" fmla="*/ 2147483647 h 107"/>
                <a:gd name="T50" fmla="*/ 2147483647 w 146"/>
                <a:gd name="T51" fmla="*/ 2147483647 h 107"/>
                <a:gd name="T52" fmla="*/ 2147483647 w 146"/>
                <a:gd name="T53" fmla="*/ 2147483647 h 107"/>
                <a:gd name="T54" fmla="*/ 2147483647 w 146"/>
                <a:gd name="T55" fmla="*/ 2147483647 h 107"/>
                <a:gd name="T56" fmla="*/ 2147483647 w 146"/>
                <a:gd name="T57" fmla="*/ 2147483647 h 107"/>
                <a:gd name="T58" fmla="*/ 2147483647 w 146"/>
                <a:gd name="T59" fmla="*/ 2147483647 h 107"/>
                <a:gd name="T60" fmla="*/ 2147483647 w 146"/>
                <a:gd name="T61" fmla="*/ 2147483647 h 107"/>
                <a:gd name="T62" fmla="*/ 2147483647 w 146"/>
                <a:gd name="T63" fmla="*/ 2147483647 h 107"/>
                <a:gd name="T64" fmla="*/ 2147483647 w 146"/>
                <a:gd name="T65" fmla="*/ 2147483647 h 107"/>
                <a:gd name="T66" fmla="*/ 2147483647 w 146"/>
                <a:gd name="T67" fmla="*/ 0 h 107"/>
                <a:gd name="T68" fmla="*/ 2147483647 w 146"/>
                <a:gd name="T69" fmla="*/ 0 h 107"/>
                <a:gd name="T70" fmla="*/ 2147483647 w 146"/>
                <a:gd name="T71" fmla="*/ 2147483647 h 107"/>
                <a:gd name="T72" fmla="*/ 2147483647 w 146"/>
                <a:gd name="T73" fmla="*/ 2147483647 h 107"/>
                <a:gd name="T74" fmla="*/ 2147483647 w 146"/>
                <a:gd name="T75" fmla="*/ 2147483647 h 107"/>
                <a:gd name="T76" fmla="*/ 2147483647 w 146"/>
                <a:gd name="T77" fmla="*/ 2147483647 h 107"/>
                <a:gd name="T78" fmla="*/ 2147483647 w 146"/>
                <a:gd name="T79" fmla="*/ 2147483647 h 107"/>
                <a:gd name="T80" fmla="*/ 0 w 146"/>
                <a:gd name="T81" fmla="*/ 2147483647 h 107"/>
                <a:gd name="T82" fmla="*/ 2147483647 w 146"/>
                <a:gd name="T83" fmla="*/ 2147483647 h 107"/>
                <a:gd name="T84" fmla="*/ 2147483647 w 146"/>
                <a:gd name="T85" fmla="*/ 2147483647 h 107"/>
                <a:gd name="T86" fmla="*/ 2147483647 w 146"/>
                <a:gd name="T87" fmla="*/ 2147483647 h 107"/>
                <a:gd name="T88" fmla="*/ 2147483647 w 146"/>
                <a:gd name="T89" fmla="*/ 2147483647 h 107"/>
                <a:gd name="T90" fmla="*/ 2147483647 w 146"/>
                <a:gd name="T91" fmla="*/ 2147483647 h 107"/>
                <a:gd name="T92" fmla="*/ 2147483647 w 146"/>
                <a:gd name="T93" fmla="*/ 2147483647 h 107"/>
                <a:gd name="T94" fmla="*/ 2147483647 w 146"/>
                <a:gd name="T95" fmla="*/ 2147483647 h 107"/>
                <a:gd name="T96" fmla="*/ 2147483647 w 146"/>
                <a:gd name="T97" fmla="*/ 2147483647 h 107"/>
                <a:gd name="T98" fmla="*/ 2147483647 w 146"/>
                <a:gd name="T99" fmla="*/ 2147483647 h 107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46"/>
                <a:gd name="T151" fmla="*/ 0 h 107"/>
                <a:gd name="T152" fmla="*/ 146 w 146"/>
                <a:gd name="T153" fmla="*/ 107 h 107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46" h="107">
                  <a:moveTo>
                    <a:pt x="9" y="55"/>
                  </a:moveTo>
                  <a:lnTo>
                    <a:pt x="9" y="55"/>
                  </a:lnTo>
                  <a:lnTo>
                    <a:pt x="9" y="58"/>
                  </a:lnTo>
                  <a:lnTo>
                    <a:pt x="14" y="64"/>
                  </a:lnTo>
                  <a:lnTo>
                    <a:pt x="14" y="66"/>
                  </a:lnTo>
                  <a:lnTo>
                    <a:pt x="12" y="72"/>
                  </a:lnTo>
                  <a:lnTo>
                    <a:pt x="23" y="78"/>
                  </a:lnTo>
                  <a:lnTo>
                    <a:pt x="35" y="78"/>
                  </a:lnTo>
                  <a:lnTo>
                    <a:pt x="43" y="84"/>
                  </a:lnTo>
                  <a:lnTo>
                    <a:pt x="52" y="81"/>
                  </a:lnTo>
                  <a:lnTo>
                    <a:pt x="52" y="84"/>
                  </a:lnTo>
                  <a:lnTo>
                    <a:pt x="55" y="89"/>
                  </a:lnTo>
                  <a:lnTo>
                    <a:pt x="58" y="89"/>
                  </a:lnTo>
                  <a:lnTo>
                    <a:pt x="58" y="86"/>
                  </a:lnTo>
                  <a:lnTo>
                    <a:pt x="66" y="89"/>
                  </a:lnTo>
                  <a:lnTo>
                    <a:pt x="75" y="101"/>
                  </a:lnTo>
                  <a:lnTo>
                    <a:pt x="78" y="95"/>
                  </a:lnTo>
                  <a:lnTo>
                    <a:pt x="86" y="104"/>
                  </a:lnTo>
                  <a:lnTo>
                    <a:pt x="92" y="98"/>
                  </a:lnTo>
                  <a:lnTo>
                    <a:pt x="101" y="101"/>
                  </a:lnTo>
                  <a:lnTo>
                    <a:pt x="106" y="101"/>
                  </a:lnTo>
                  <a:lnTo>
                    <a:pt x="118" y="104"/>
                  </a:lnTo>
                  <a:lnTo>
                    <a:pt x="129" y="107"/>
                  </a:lnTo>
                  <a:lnTo>
                    <a:pt x="126" y="101"/>
                  </a:lnTo>
                  <a:lnTo>
                    <a:pt x="126" y="98"/>
                  </a:lnTo>
                  <a:lnTo>
                    <a:pt x="132" y="89"/>
                  </a:lnTo>
                  <a:lnTo>
                    <a:pt x="138" y="84"/>
                  </a:lnTo>
                  <a:lnTo>
                    <a:pt x="146" y="81"/>
                  </a:lnTo>
                  <a:lnTo>
                    <a:pt x="144" y="75"/>
                  </a:lnTo>
                  <a:lnTo>
                    <a:pt x="138" y="61"/>
                  </a:lnTo>
                  <a:lnTo>
                    <a:pt x="129" y="46"/>
                  </a:lnTo>
                  <a:lnTo>
                    <a:pt x="138" y="38"/>
                  </a:lnTo>
                  <a:lnTo>
                    <a:pt x="138" y="35"/>
                  </a:lnTo>
                  <a:lnTo>
                    <a:pt x="132" y="20"/>
                  </a:lnTo>
                  <a:lnTo>
                    <a:pt x="129" y="15"/>
                  </a:lnTo>
                  <a:lnTo>
                    <a:pt x="121" y="12"/>
                  </a:lnTo>
                  <a:lnTo>
                    <a:pt x="101" y="12"/>
                  </a:lnTo>
                  <a:lnTo>
                    <a:pt x="98" y="12"/>
                  </a:lnTo>
                  <a:lnTo>
                    <a:pt x="83" y="9"/>
                  </a:lnTo>
                  <a:lnTo>
                    <a:pt x="78" y="9"/>
                  </a:lnTo>
                  <a:lnTo>
                    <a:pt x="72" y="12"/>
                  </a:lnTo>
                  <a:lnTo>
                    <a:pt x="66" y="9"/>
                  </a:lnTo>
                  <a:lnTo>
                    <a:pt x="63" y="9"/>
                  </a:lnTo>
                  <a:lnTo>
                    <a:pt x="60" y="6"/>
                  </a:lnTo>
                  <a:lnTo>
                    <a:pt x="60" y="3"/>
                  </a:lnTo>
                  <a:lnTo>
                    <a:pt x="60" y="0"/>
                  </a:lnTo>
                  <a:lnTo>
                    <a:pt x="52" y="0"/>
                  </a:lnTo>
                  <a:lnTo>
                    <a:pt x="40" y="3"/>
                  </a:lnTo>
                  <a:lnTo>
                    <a:pt x="32" y="9"/>
                  </a:lnTo>
                  <a:lnTo>
                    <a:pt x="23" y="12"/>
                  </a:lnTo>
                  <a:lnTo>
                    <a:pt x="12" y="15"/>
                  </a:lnTo>
                  <a:lnTo>
                    <a:pt x="9" y="18"/>
                  </a:lnTo>
                  <a:lnTo>
                    <a:pt x="3" y="18"/>
                  </a:lnTo>
                  <a:lnTo>
                    <a:pt x="0" y="18"/>
                  </a:lnTo>
                  <a:lnTo>
                    <a:pt x="3" y="26"/>
                  </a:lnTo>
                  <a:lnTo>
                    <a:pt x="3" y="29"/>
                  </a:lnTo>
                  <a:lnTo>
                    <a:pt x="0" y="35"/>
                  </a:lnTo>
                  <a:lnTo>
                    <a:pt x="9" y="41"/>
                  </a:lnTo>
                  <a:lnTo>
                    <a:pt x="9" y="43"/>
                  </a:lnTo>
                  <a:lnTo>
                    <a:pt x="6" y="46"/>
                  </a:lnTo>
                  <a:lnTo>
                    <a:pt x="9" y="49"/>
                  </a:lnTo>
                  <a:lnTo>
                    <a:pt x="12" y="52"/>
                  </a:lnTo>
                  <a:lnTo>
                    <a:pt x="9" y="5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34" name="Freeform 235"/>
            <p:cNvSpPr>
              <a:spLocks/>
            </p:cNvSpPr>
            <p:nvPr/>
          </p:nvSpPr>
          <p:spPr bwMode="auto">
            <a:xfrm>
              <a:off x="4927600" y="2800350"/>
              <a:ext cx="3175" cy="9525"/>
            </a:xfrm>
            <a:custGeom>
              <a:avLst/>
              <a:gdLst>
                <a:gd name="T0" fmla="*/ 2147483647 w 2"/>
                <a:gd name="T1" fmla="*/ 2147483647 h 6"/>
                <a:gd name="T2" fmla="*/ 2147483647 w 2"/>
                <a:gd name="T3" fmla="*/ 0 h 6"/>
                <a:gd name="T4" fmla="*/ 0 w 2"/>
                <a:gd name="T5" fmla="*/ 2147483647 h 6"/>
                <a:gd name="T6" fmla="*/ 2147483647 w 2"/>
                <a:gd name="T7" fmla="*/ 2147483647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6"/>
                <a:gd name="T14" fmla="*/ 2 w 2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6">
                  <a:moveTo>
                    <a:pt x="2" y="6"/>
                  </a:moveTo>
                  <a:lnTo>
                    <a:pt x="2" y="0"/>
                  </a:lnTo>
                  <a:lnTo>
                    <a:pt x="0" y="6"/>
                  </a:lnTo>
                  <a:lnTo>
                    <a:pt x="2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35" name="Freeform 236"/>
            <p:cNvSpPr>
              <a:spLocks/>
            </p:cNvSpPr>
            <p:nvPr/>
          </p:nvSpPr>
          <p:spPr bwMode="auto">
            <a:xfrm>
              <a:off x="4935538" y="2851150"/>
              <a:ext cx="9525" cy="9525"/>
            </a:xfrm>
            <a:custGeom>
              <a:avLst/>
              <a:gdLst>
                <a:gd name="T0" fmla="*/ 0 w 6"/>
                <a:gd name="T1" fmla="*/ 2147483647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3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36" name="Freeform 237"/>
            <p:cNvSpPr>
              <a:spLocks/>
            </p:cNvSpPr>
            <p:nvPr/>
          </p:nvSpPr>
          <p:spPr bwMode="auto">
            <a:xfrm>
              <a:off x="4784725" y="2528888"/>
              <a:ext cx="225425" cy="138112"/>
            </a:xfrm>
            <a:custGeom>
              <a:avLst/>
              <a:gdLst>
                <a:gd name="T0" fmla="*/ 2147483647 w 140"/>
                <a:gd name="T1" fmla="*/ 2147483647 h 86"/>
                <a:gd name="T2" fmla="*/ 2147483647 w 140"/>
                <a:gd name="T3" fmla="*/ 2147483647 h 86"/>
                <a:gd name="T4" fmla="*/ 2147483647 w 140"/>
                <a:gd name="T5" fmla="*/ 2147483647 h 86"/>
                <a:gd name="T6" fmla="*/ 2147483647 w 140"/>
                <a:gd name="T7" fmla="*/ 2147483647 h 86"/>
                <a:gd name="T8" fmla="*/ 2147483647 w 140"/>
                <a:gd name="T9" fmla="*/ 2147483647 h 86"/>
                <a:gd name="T10" fmla="*/ 2147483647 w 140"/>
                <a:gd name="T11" fmla="*/ 2147483647 h 86"/>
                <a:gd name="T12" fmla="*/ 2147483647 w 140"/>
                <a:gd name="T13" fmla="*/ 2147483647 h 86"/>
                <a:gd name="T14" fmla="*/ 2147483647 w 140"/>
                <a:gd name="T15" fmla="*/ 2147483647 h 86"/>
                <a:gd name="T16" fmla="*/ 2147483647 w 140"/>
                <a:gd name="T17" fmla="*/ 2147483647 h 86"/>
                <a:gd name="T18" fmla="*/ 2147483647 w 140"/>
                <a:gd name="T19" fmla="*/ 2147483647 h 86"/>
                <a:gd name="T20" fmla="*/ 2147483647 w 140"/>
                <a:gd name="T21" fmla="*/ 2147483647 h 86"/>
                <a:gd name="T22" fmla="*/ 2147483647 w 140"/>
                <a:gd name="T23" fmla="*/ 2147483647 h 86"/>
                <a:gd name="T24" fmla="*/ 2147483647 w 140"/>
                <a:gd name="T25" fmla="*/ 2147483647 h 86"/>
                <a:gd name="T26" fmla="*/ 2147483647 w 140"/>
                <a:gd name="T27" fmla="*/ 2147483647 h 86"/>
                <a:gd name="T28" fmla="*/ 2147483647 w 140"/>
                <a:gd name="T29" fmla="*/ 2147483647 h 86"/>
                <a:gd name="T30" fmla="*/ 2147483647 w 140"/>
                <a:gd name="T31" fmla="*/ 0 h 86"/>
                <a:gd name="T32" fmla="*/ 2147483647 w 140"/>
                <a:gd name="T33" fmla="*/ 2147483647 h 86"/>
                <a:gd name="T34" fmla="*/ 2147483647 w 140"/>
                <a:gd name="T35" fmla="*/ 2147483647 h 86"/>
                <a:gd name="T36" fmla="*/ 2147483647 w 140"/>
                <a:gd name="T37" fmla="*/ 2147483647 h 86"/>
                <a:gd name="T38" fmla="*/ 2147483647 w 140"/>
                <a:gd name="T39" fmla="*/ 2147483647 h 86"/>
                <a:gd name="T40" fmla="*/ 2147483647 w 140"/>
                <a:gd name="T41" fmla="*/ 2147483647 h 86"/>
                <a:gd name="T42" fmla="*/ 2147483647 w 140"/>
                <a:gd name="T43" fmla="*/ 2147483647 h 86"/>
                <a:gd name="T44" fmla="*/ 2147483647 w 140"/>
                <a:gd name="T45" fmla="*/ 2147483647 h 86"/>
                <a:gd name="T46" fmla="*/ 2147483647 w 140"/>
                <a:gd name="T47" fmla="*/ 2147483647 h 86"/>
                <a:gd name="T48" fmla="*/ 2147483647 w 140"/>
                <a:gd name="T49" fmla="*/ 2147483647 h 86"/>
                <a:gd name="T50" fmla="*/ 2147483647 w 140"/>
                <a:gd name="T51" fmla="*/ 2147483647 h 86"/>
                <a:gd name="T52" fmla="*/ 2147483647 w 140"/>
                <a:gd name="T53" fmla="*/ 2147483647 h 86"/>
                <a:gd name="T54" fmla="*/ 2147483647 w 140"/>
                <a:gd name="T55" fmla="*/ 2147483647 h 86"/>
                <a:gd name="T56" fmla="*/ 2147483647 w 140"/>
                <a:gd name="T57" fmla="*/ 2147483647 h 86"/>
                <a:gd name="T58" fmla="*/ 2147483647 w 140"/>
                <a:gd name="T59" fmla="*/ 2147483647 h 86"/>
                <a:gd name="T60" fmla="*/ 2147483647 w 140"/>
                <a:gd name="T61" fmla="*/ 2147483647 h 86"/>
                <a:gd name="T62" fmla="*/ 2147483647 w 140"/>
                <a:gd name="T63" fmla="*/ 2147483647 h 86"/>
                <a:gd name="T64" fmla="*/ 2147483647 w 140"/>
                <a:gd name="T65" fmla="*/ 2147483647 h 86"/>
                <a:gd name="T66" fmla="*/ 2147483647 w 140"/>
                <a:gd name="T67" fmla="*/ 2147483647 h 86"/>
                <a:gd name="T68" fmla="*/ 2147483647 w 140"/>
                <a:gd name="T69" fmla="*/ 2147483647 h 86"/>
                <a:gd name="T70" fmla="*/ 2147483647 w 140"/>
                <a:gd name="T71" fmla="*/ 2147483647 h 86"/>
                <a:gd name="T72" fmla="*/ 2147483647 w 140"/>
                <a:gd name="T73" fmla="*/ 2147483647 h 86"/>
                <a:gd name="T74" fmla="*/ 2147483647 w 140"/>
                <a:gd name="T75" fmla="*/ 2147483647 h 86"/>
                <a:gd name="T76" fmla="*/ 0 w 140"/>
                <a:gd name="T77" fmla="*/ 2147483647 h 86"/>
                <a:gd name="T78" fmla="*/ 0 w 140"/>
                <a:gd name="T79" fmla="*/ 2147483647 h 86"/>
                <a:gd name="T80" fmla="*/ 2147483647 w 140"/>
                <a:gd name="T81" fmla="*/ 2147483647 h 86"/>
                <a:gd name="T82" fmla="*/ 2147483647 w 140"/>
                <a:gd name="T83" fmla="*/ 2147483647 h 86"/>
                <a:gd name="T84" fmla="*/ 2147483647 w 140"/>
                <a:gd name="T85" fmla="*/ 2147483647 h 86"/>
                <a:gd name="T86" fmla="*/ 2147483647 w 140"/>
                <a:gd name="T87" fmla="*/ 2147483647 h 86"/>
                <a:gd name="T88" fmla="*/ 2147483647 w 140"/>
                <a:gd name="T89" fmla="*/ 2147483647 h 86"/>
                <a:gd name="T90" fmla="*/ 2147483647 w 140"/>
                <a:gd name="T91" fmla="*/ 2147483647 h 86"/>
                <a:gd name="T92" fmla="*/ 2147483647 w 140"/>
                <a:gd name="T93" fmla="*/ 2147483647 h 86"/>
                <a:gd name="T94" fmla="*/ 2147483647 w 140"/>
                <a:gd name="T95" fmla="*/ 2147483647 h 86"/>
                <a:gd name="T96" fmla="*/ 2147483647 w 140"/>
                <a:gd name="T97" fmla="*/ 2147483647 h 86"/>
                <a:gd name="T98" fmla="*/ 2147483647 w 140"/>
                <a:gd name="T99" fmla="*/ 2147483647 h 86"/>
                <a:gd name="T100" fmla="*/ 2147483647 w 140"/>
                <a:gd name="T101" fmla="*/ 2147483647 h 86"/>
                <a:gd name="T102" fmla="*/ 2147483647 w 140"/>
                <a:gd name="T103" fmla="*/ 2147483647 h 86"/>
                <a:gd name="T104" fmla="*/ 2147483647 w 140"/>
                <a:gd name="T105" fmla="*/ 2147483647 h 86"/>
                <a:gd name="T106" fmla="*/ 2147483647 w 140"/>
                <a:gd name="T107" fmla="*/ 2147483647 h 86"/>
                <a:gd name="T108" fmla="*/ 2147483647 w 140"/>
                <a:gd name="T109" fmla="*/ 2147483647 h 86"/>
                <a:gd name="T110" fmla="*/ 2147483647 w 140"/>
                <a:gd name="T111" fmla="*/ 2147483647 h 86"/>
                <a:gd name="T112" fmla="*/ 2147483647 w 140"/>
                <a:gd name="T113" fmla="*/ 2147483647 h 86"/>
                <a:gd name="T114" fmla="*/ 2147483647 w 140"/>
                <a:gd name="T115" fmla="*/ 2147483647 h 86"/>
                <a:gd name="T116" fmla="*/ 2147483647 w 140"/>
                <a:gd name="T117" fmla="*/ 2147483647 h 86"/>
                <a:gd name="T118" fmla="*/ 2147483647 w 140"/>
                <a:gd name="T119" fmla="*/ 2147483647 h 86"/>
                <a:gd name="T120" fmla="*/ 2147483647 w 140"/>
                <a:gd name="T121" fmla="*/ 2147483647 h 86"/>
                <a:gd name="T122" fmla="*/ 2147483647 w 140"/>
                <a:gd name="T123" fmla="*/ 2147483647 h 8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0"/>
                <a:gd name="T187" fmla="*/ 0 h 86"/>
                <a:gd name="T188" fmla="*/ 140 w 140"/>
                <a:gd name="T189" fmla="*/ 86 h 8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0" h="86">
                  <a:moveTo>
                    <a:pt x="126" y="83"/>
                  </a:moveTo>
                  <a:lnTo>
                    <a:pt x="126" y="83"/>
                  </a:lnTo>
                  <a:lnTo>
                    <a:pt x="129" y="77"/>
                  </a:lnTo>
                  <a:lnTo>
                    <a:pt x="132" y="69"/>
                  </a:lnTo>
                  <a:lnTo>
                    <a:pt x="132" y="66"/>
                  </a:lnTo>
                  <a:lnTo>
                    <a:pt x="137" y="66"/>
                  </a:lnTo>
                  <a:lnTo>
                    <a:pt x="140" y="63"/>
                  </a:lnTo>
                  <a:lnTo>
                    <a:pt x="134" y="57"/>
                  </a:lnTo>
                  <a:lnTo>
                    <a:pt x="123" y="57"/>
                  </a:lnTo>
                  <a:lnTo>
                    <a:pt x="112" y="51"/>
                  </a:lnTo>
                  <a:lnTo>
                    <a:pt x="114" y="37"/>
                  </a:lnTo>
                  <a:lnTo>
                    <a:pt x="114" y="31"/>
                  </a:lnTo>
                  <a:lnTo>
                    <a:pt x="106" y="20"/>
                  </a:lnTo>
                  <a:lnTo>
                    <a:pt x="91" y="0"/>
                  </a:lnTo>
                  <a:lnTo>
                    <a:pt x="89" y="3"/>
                  </a:lnTo>
                  <a:lnTo>
                    <a:pt x="80" y="6"/>
                  </a:lnTo>
                  <a:lnTo>
                    <a:pt x="68" y="8"/>
                  </a:lnTo>
                  <a:lnTo>
                    <a:pt x="66" y="14"/>
                  </a:lnTo>
                  <a:lnTo>
                    <a:pt x="57" y="6"/>
                  </a:lnTo>
                  <a:lnTo>
                    <a:pt x="54" y="8"/>
                  </a:lnTo>
                  <a:lnTo>
                    <a:pt x="45" y="8"/>
                  </a:lnTo>
                  <a:lnTo>
                    <a:pt x="37" y="3"/>
                  </a:lnTo>
                  <a:lnTo>
                    <a:pt x="34" y="6"/>
                  </a:lnTo>
                  <a:lnTo>
                    <a:pt x="31" y="8"/>
                  </a:lnTo>
                  <a:lnTo>
                    <a:pt x="23" y="11"/>
                  </a:lnTo>
                  <a:lnTo>
                    <a:pt x="20" y="14"/>
                  </a:lnTo>
                  <a:lnTo>
                    <a:pt x="23" y="20"/>
                  </a:lnTo>
                  <a:lnTo>
                    <a:pt x="20" y="23"/>
                  </a:lnTo>
                  <a:lnTo>
                    <a:pt x="17" y="26"/>
                  </a:lnTo>
                  <a:lnTo>
                    <a:pt x="11" y="31"/>
                  </a:lnTo>
                  <a:lnTo>
                    <a:pt x="5" y="37"/>
                  </a:lnTo>
                  <a:lnTo>
                    <a:pt x="2" y="37"/>
                  </a:lnTo>
                  <a:lnTo>
                    <a:pt x="0" y="40"/>
                  </a:lnTo>
                  <a:lnTo>
                    <a:pt x="5" y="46"/>
                  </a:lnTo>
                  <a:lnTo>
                    <a:pt x="5" y="49"/>
                  </a:lnTo>
                  <a:lnTo>
                    <a:pt x="2" y="51"/>
                  </a:lnTo>
                  <a:lnTo>
                    <a:pt x="14" y="63"/>
                  </a:lnTo>
                  <a:lnTo>
                    <a:pt x="17" y="66"/>
                  </a:lnTo>
                  <a:lnTo>
                    <a:pt x="23" y="69"/>
                  </a:lnTo>
                  <a:lnTo>
                    <a:pt x="25" y="63"/>
                  </a:lnTo>
                  <a:lnTo>
                    <a:pt x="37" y="69"/>
                  </a:lnTo>
                  <a:lnTo>
                    <a:pt x="37" y="72"/>
                  </a:lnTo>
                  <a:lnTo>
                    <a:pt x="31" y="74"/>
                  </a:lnTo>
                  <a:lnTo>
                    <a:pt x="40" y="77"/>
                  </a:lnTo>
                  <a:lnTo>
                    <a:pt x="37" y="80"/>
                  </a:lnTo>
                  <a:lnTo>
                    <a:pt x="57" y="86"/>
                  </a:lnTo>
                  <a:lnTo>
                    <a:pt x="60" y="83"/>
                  </a:lnTo>
                  <a:lnTo>
                    <a:pt x="77" y="86"/>
                  </a:lnTo>
                  <a:lnTo>
                    <a:pt x="86" y="80"/>
                  </a:lnTo>
                  <a:lnTo>
                    <a:pt x="97" y="77"/>
                  </a:lnTo>
                  <a:lnTo>
                    <a:pt x="109" y="77"/>
                  </a:lnTo>
                  <a:lnTo>
                    <a:pt x="120" y="83"/>
                  </a:lnTo>
                  <a:lnTo>
                    <a:pt x="126" y="86"/>
                  </a:lnTo>
                  <a:lnTo>
                    <a:pt x="126" y="8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37" name="Freeform 238"/>
            <p:cNvSpPr>
              <a:spLocks/>
            </p:cNvSpPr>
            <p:nvPr/>
          </p:nvSpPr>
          <p:spPr bwMode="auto">
            <a:xfrm>
              <a:off x="4935538" y="2524125"/>
              <a:ext cx="74612" cy="85725"/>
            </a:xfrm>
            <a:custGeom>
              <a:avLst/>
              <a:gdLst>
                <a:gd name="T0" fmla="*/ 2147483647 w 46"/>
                <a:gd name="T1" fmla="*/ 2147483647 h 54"/>
                <a:gd name="T2" fmla="*/ 2147483647 w 46"/>
                <a:gd name="T3" fmla="*/ 2147483647 h 54"/>
                <a:gd name="T4" fmla="*/ 2147483647 w 46"/>
                <a:gd name="T5" fmla="*/ 0 h 54"/>
                <a:gd name="T6" fmla="*/ 0 w 46"/>
                <a:gd name="T7" fmla="*/ 2147483647 h 54"/>
                <a:gd name="T8" fmla="*/ 0 w 46"/>
                <a:gd name="T9" fmla="*/ 2147483647 h 54"/>
                <a:gd name="T10" fmla="*/ 2147483647 w 46"/>
                <a:gd name="T11" fmla="*/ 2147483647 h 54"/>
                <a:gd name="T12" fmla="*/ 2147483647 w 46"/>
                <a:gd name="T13" fmla="*/ 2147483647 h 54"/>
                <a:gd name="T14" fmla="*/ 2147483647 w 46"/>
                <a:gd name="T15" fmla="*/ 2147483647 h 54"/>
                <a:gd name="T16" fmla="*/ 2147483647 w 46"/>
                <a:gd name="T17" fmla="*/ 2147483647 h 54"/>
                <a:gd name="T18" fmla="*/ 2147483647 w 46"/>
                <a:gd name="T19" fmla="*/ 2147483647 h 54"/>
                <a:gd name="T20" fmla="*/ 2147483647 w 46"/>
                <a:gd name="T21" fmla="*/ 2147483647 h 54"/>
                <a:gd name="T22" fmla="*/ 2147483647 w 46"/>
                <a:gd name="T23" fmla="*/ 2147483647 h 54"/>
                <a:gd name="T24" fmla="*/ 2147483647 w 46"/>
                <a:gd name="T25" fmla="*/ 2147483647 h 54"/>
                <a:gd name="T26" fmla="*/ 2147483647 w 46"/>
                <a:gd name="T27" fmla="*/ 2147483647 h 54"/>
                <a:gd name="T28" fmla="*/ 2147483647 w 46"/>
                <a:gd name="T29" fmla="*/ 2147483647 h 54"/>
                <a:gd name="T30" fmla="*/ 2147483647 w 46"/>
                <a:gd name="T31" fmla="*/ 2147483647 h 54"/>
                <a:gd name="T32" fmla="*/ 2147483647 w 46"/>
                <a:gd name="T33" fmla="*/ 2147483647 h 54"/>
                <a:gd name="T34" fmla="*/ 2147483647 w 46"/>
                <a:gd name="T35" fmla="*/ 2147483647 h 54"/>
                <a:gd name="T36" fmla="*/ 2147483647 w 46"/>
                <a:gd name="T37" fmla="*/ 2147483647 h 54"/>
                <a:gd name="T38" fmla="*/ 2147483647 w 46"/>
                <a:gd name="T39" fmla="*/ 2147483647 h 54"/>
                <a:gd name="T40" fmla="*/ 2147483647 w 46"/>
                <a:gd name="T41" fmla="*/ 2147483647 h 54"/>
                <a:gd name="T42" fmla="*/ 2147483647 w 46"/>
                <a:gd name="T43" fmla="*/ 2147483647 h 54"/>
                <a:gd name="T44" fmla="*/ 2147483647 w 46"/>
                <a:gd name="T45" fmla="*/ 2147483647 h 54"/>
                <a:gd name="T46" fmla="*/ 2147483647 w 46"/>
                <a:gd name="T47" fmla="*/ 2147483647 h 54"/>
                <a:gd name="T48" fmla="*/ 2147483647 w 46"/>
                <a:gd name="T49" fmla="*/ 2147483647 h 54"/>
                <a:gd name="T50" fmla="*/ 2147483647 w 46"/>
                <a:gd name="T51" fmla="*/ 2147483647 h 54"/>
                <a:gd name="T52" fmla="*/ 2147483647 w 46"/>
                <a:gd name="T53" fmla="*/ 2147483647 h 54"/>
                <a:gd name="T54" fmla="*/ 2147483647 w 46"/>
                <a:gd name="T55" fmla="*/ 2147483647 h 54"/>
                <a:gd name="T56" fmla="*/ 2147483647 w 46"/>
                <a:gd name="T57" fmla="*/ 2147483647 h 54"/>
                <a:gd name="T58" fmla="*/ 2147483647 w 46"/>
                <a:gd name="T59" fmla="*/ 2147483647 h 54"/>
                <a:gd name="T60" fmla="*/ 2147483647 w 46"/>
                <a:gd name="T61" fmla="*/ 2147483647 h 54"/>
                <a:gd name="T62" fmla="*/ 2147483647 w 46"/>
                <a:gd name="T63" fmla="*/ 2147483647 h 5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46"/>
                <a:gd name="T97" fmla="*/ 0 h 54"/>
                <a:gd name="T98" fmla="*/ 46 w 46"/>
                <a:gd name="T99" fmla="*/ 54 h 54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46" h="54">
                  <a:moveTo>
                    <a:pt x="26" y="6"/>
                  </a:moveTo>
                  <a:lnTo>
                    <a:pt x="20" y="6"/>
                  </a:lnTo>
                  <a:lnTo>
                    <a:pt x="9" y="0"/>
                  </a:lnTo>
                  <a:lnTo>
                    <a:pt x="0" y="3"/>
                  </a:lnTo>
                  <a:lnTo>
                    <a:pt x="15" y="23"/>
                  </a:lnTo>
                  <a:lnTo>
                    <a:pt x="23" y="34"/>
                  </a:lnTo>
                  <a:lnTo>
                    <a:pt x="23" y="40"/>
                  </a:lnTo>
                  <a:lnTo>
                    <a:pt x="20" y="52"/>
                  </a:lnTo>
                  <a:lnTo>
                    <a:pt x="23" y="54"/>
                  </a:lnTo>
                  <a:lnTo>
                    <a:pt x="26" y="49"/>
                  </a:lnTo>
                  <a:lnTo>
                    <a:pt x="32" y="43"/>
                  </a:lnTo>
                  <a:lnTo>
                    <a:pt x="29" y="37"/>
                  </a:lnTo>
                  <a:lnTo>
                    <a:pt x="32" y="37"/>
                  </a:lnTo>
                  <a:lnTo>
                    <a:pt x="38" y="34"/>
                  </a:lnTo>
                  <a:lnTo>
                    <a:pt x="46" y="37"/>
                  </a:lnTo>
                  <a:lnTo>
                    <a:pt x="43" y="29"/>
                  </a:lnTo>
                  <a:lnTo>
                    <a:pt x="32" y="17"/>
                  </a:lnTo>
                  <a:lnTo>
                    <a:pt x="32" y="14"/>
                  </a:lnTo>
                  <a:lnTo>
                    <a:pt x="35" y="11"/>
                  </a:lnTo>
                  <a:lnTo>
                    <a:pt x="26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38" name="Freeform 239"/>
            <p:cNvSpPr>
              <a:spLocks/>
            </p:cNvSpPr>
            <p:nvPr/>
          </p:nvSpPr>
          <p:spPr bwMode="auto">
            <a:xfrm>
              <a:off x="4891088" y="2882900"/>
              <a:ext cx="7937" cy="4763"/>
            </a:xfrm>
            <a:custGeom>
              <a:avLst/>
              <a:gdLst>
                <a:gd name="T0" fmla="*/ 2147483647 w 5"/>
                <a:gd name="T1" fmla="*/ 2147483647 h 3"/>
                <a:gd name="T2" fmla="*/ 2147483647 w 5"/>
                <a:gd name="T3" fmla="*/ 0 h 3"/>
                <a:gd name="T4" fmla="*/ 0 w 5"/>
                <a:gd name="T5" fmla="*/ 0 h 3"/>
                <a:gd name="T6" fmla="*/ 2147483647 w 5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3"/>
                <a:gd name="T14" fmla="*/ 5 w 5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3">
                  <a:moveTo>
                    <a:pt x="5" y="3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5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39" name="Rectangle 240"/>
            <p:cNvSpPr>
              <a:spLocks noChangeArrowheads="1"/>
            </p:cNvSpPr>
            <p:nvPr/>
          </p:nvSpPr>
          <p:spPr bwMode="auto">
            <a:xfrm>
              <a:off x="4891088" y="2855913"/>
              <a:ext cx="3175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40" name="Rectangle 241"/>
            <p:cNvSpPr>
              <a:spLocks noChangeArrowheads="1"/>
            </p:cNvSpPr>
            <p:nvPr/>
          </p:nvSpPr>
          <p:spPr bwMode="auto">
            <a:xfrm>
              <a:off x="4940300" y="2887663"/>
              <a:ext cx="9525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41" name="Rectangle 242"/>
            <p:cNvSpPr>
              <a:spLocks noChangeArrowheads="1"/>
            </p:cNvSpPr>
            <p:nvPr/>
          </p:nvSpPr>
          <p:spPr bwMode="auto">
            <a:xfrm>
              <a:off x="4484688" y="2330450"/>
              <a:ext cx="1587" cy="1588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42" name="Freeform 243"/>
            <p:cNvSpPr>
              <a:spLocks/>
            </p:cNvSpPr>
            <p:nvPr/>
          </p:nvSpPr>
          <p:spPr bwMode="auto">
            <a:xfrm>
              <a:off x="4295775" y="2809875"/>
              <a:ext cx="14288" cy="9525"/>
            </a:xfrm>
            <a:custGeom>
              <a:avLst/>
              <a:gdLst>
                <a:gd name="T0" fmla="*/ 2147483647 w 9"/>
                <a:gd name="T1" fmla="*/ 0 h 6"/>
                <a:gd name="T2" fmla="*/ 2147483647 w 9"/>
                <a:gd name="T3" fmla="*/ 0 h 6"/>
                <a:gd name="T4" fmla="*/ 0 w 9"/>
                <a:gd name="T5" fmla="*/ 2147483647 h 6"/>
                <a:gd name="T6" fmla="*/ 0 w 9"/>
                <a:gd name="T7" fmla="*/ 2147483647 h 6"/>
                <a:gd name="T8" fmla="*/ 2147483647 w 9"/>
                <a:gd name="T9" fmla="*/ 2147483647 h 6"/>
                <a:gd name="T10" fmla="*/ 2147483647 w 9"/>
                <a:gd name="T11" fmla="*/ 2147483647 h 6"/>
                <a:gd name="T12" fmla="*/ 2147483647 w 9"/>
                <a:gd name="T13" fmla="*/ 2147483647 h 6"/>
                <a:gd name="T14" fmla="*/ 2147483647 w 9"/>
                <a:gd name="T15" fmla="*/ 2147483647 h 6"/>
                <a:gd name="T16" fmla="*/ 2147483647 w 9"/>
                <a:gd name="T17" fmla="*/ 0 h 6"/>
                <a:gd name="T18" fmla="*/ 2147483647 w 9"/>
                <a:gd name="T19" fmla="*/ 0 h 6"/>
                <a:gd name="T20" fmla="*/ 2147483647 w 9"/>
                <a:gd name="T21" fmla="*/ 0 h 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9"/>
                <a:gd name="T34" fmla="*/ 0 h 6"/>
                <a:gd name="T35" fmla="*/ 9 w 9"/>
                <a:gd name="T36" fmla="*/ 6 h 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9" h="6">
                  <a:moveTo>
                    <a:pt x="9" y="0"/>
                  </a:moveTo>
                  <a:lnTo>
                    <a:pt x="6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6"/>
                  </a:lnTo>
                  <a:lnTo>
                    <a:pt x="9" y="6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43" name="Freeform 244"/>
            <p:cNvSpPr>
              <a:spLocks/>
            </p:cNvSpPr>
            <p:nvPr/>
          </p:nvSpPr>
          <p:spPr bwMode="auto">
            <a:xfrm>
              <a:off x="4035425" y="1677988"/>
              <a:ext cx="7938" cy="7937"/>
            </a:xfrm>
            <a:custGeom>
              <a:avLst/>
              <a:gdLst>
                <a:gd name="T0" fmla="*/ 0 w 5"/>
                <a:gd name="T1" fmla="*/ 0 h 5"/>
                <a:gd name="T2" fmla="*/ 0 w 5"/>
                <a:gd name="T3" fmla="*/ 2147483647 h 5"/>
                <a:gd name="T4" fmla="*/ 2147483647 w 5"/>
                <a:gd name="T5" fmla="*/ 2147483647 h 5"/>
                <a:gd name="T6" fmla="*/ 2147483647 w 5"/>
                <a:gd name="T7" fmla="*/ 2147483647 h 5"/>
                <a:gd name="T8" fmla="*/ 2147483647 w 5"/>
                <a:gd name="T9" fmla="*/ 0 h 5"/>
                <a:gd name="T10" fmla="*/ 0 w 5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5"/>
                <a:gd name="T20" fmla="*/ 5 w 5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5">
                  <a:moveTo>
                    <a:pt x="0" y="0"/>
                  </a:moveTo>
                  <a:lnTo>
                    <a:pt x="0" y="3"/>
                  </a:lnTo>
                  <a:lnTo>
                    <a:pt x="3" y="5"/>
                  </a:lnTo>
                  <a:lnTo>
                    <a:pt x="5" y="3"/>
                  </a:lnTo>
                  <a:lnTo>
                    <a:pt x="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44" name="Freeform 245"/>
            <p:cNvSpPr>
              <a:spLocks/>
            </p:cNvSpPr>
            <p:nvPr/>
          </p:nvSpPr>
          <p:spPr bwMode="auto">
            <a:xfrm>
              <a:off x="4030663" y="2720975"/>
              <a:ext cx="80962" cy="157163"/>
            </a:xfrm>
            <a:custGeom>
              <a:avLst/>
              <a:gdLst>
                <a:gd name="T0" fmla="*/ 0 w 51"/>
                <a:gd name="T1" fmla="*/ 2147483647 h 98"/>
                <a:gd name="T2" fmla="*/ 2147483647 w 51"/>
                <a:gd name="T3" fmla="*/ 2147483647 h 98"/>
                <a:gd name="T4" fmla="*/ 2147483647 w 51"/>
                <a:gd name="T5" fmla="*/ 2147483647 h 98"/>
                <a:gd name="T6" fmla="*/ 2147483647 w 51"/>
                <a:gd name="T7" fmla="*/ 2147483647 h 98"/>
                <a:gd name="T8" fmla="*/ 2147483647 w 51"/>
                <a:gd name="T9" fmla="*/ 2147483647 h 98"/>
                <a:gd name="T10" fmla="*/ 2147483647 w 51"/>
                <a:gd name="T11" fmla="*/ 2147483647 h 98"/>
                <a:gd name="T12" fmla="*/ 2147483647 w 51"/>
                <a:gd name="T13" fmla="*/ 2147483647 h 98"/>
                <a:gd name="T14" fmla="*/ 2147483647 w 51"/>
                <a:gd name="T15" fmla="*/ 2147483647 h 98"/>
                <a:gd name="T16" fmla="*/ 2147483647 w 51"/>
                <a:gd name="T17" fmla="*/ 2147483647 h 98"/>
                <a:gd name="T18" fmla="*/ 2147483647 w 51"/>
                <a:gd name="T19" fmla="*/ 2147483647 h 98"/>
                <a:gd name="T20" fmla="*/ 2147483647 w 51"/>
                <a:gd name="T21" fmla="*/ 2147483647 h 98"/>
                <a:gd name="T22" fmla="*/ 2147483647 w 51"/>
                <a:gd name="T23" fmla="*/ 2147483647 h 98"/>
                <a:gd name="T24" fmla="*/ 2147483647 w 51"/>
                <a:gd name="T25" fmla="*/ 2147483647 h 98"/>
                <a:gd name="T26" fmla="*/ 2147483647 w 51"/>
                <a:gd name="T27" fmla="*/ 2147483647 h 98"/>
                <a:gd name="T28" fmla="*/ 2147483647 w 51"/>
                <a:gd name="T29" fmla="*/ 2147483647 h 98"/>
                <a:gd name="T30" fmla="*/ 2147483647 w 51"/>
                <a:gd name="T31" fmla="*/ 2147483647 h 98"/>
                <a:gd name="T32" fmla="*/ 2147483647 w 51"/>
                <a:gd name="T33" fmla="*/ 2147483647 h 98"/>
                <a:gd name="T34" fmla="*/ 2147483647 w 51"/>
                <a:gd name="T35" fmla="*/ 2147483647 h 98"/>
                <a:gd name="T36" fmla="*/ 2147483647 w 51"/>
                <a:gd name="T37" fmla="*/ 2147483647 h 98"/>
                <a:gd name="T38" fmla="*/ 2147483647 w 51"/>
                <a:gd name="T39" fmla="*/ 2147483647 h 98"/>
                <a:gd name="T40" fmla="*/ 2147483647 w 51"/>
                <a:gd name="T41" fmla="*/ 2147483647 h 98"/>
                <a:gd name="T42" fmla="*/ 2147483647 w 51"/>
                <a:gd name="T43" fmla="*/ 2147483647 h 98"/>
                <a:gd name="T44" fmla="*/ 2147483647 w 51"/>
                <a:gd name="T45" fmla="*/ 2147483647 h 98"/>
                <a:gd name="T46" fmla="*/ 2147483647 w 51"/>
                <a:gd name="T47" fmla="*/ 2147483647 h 98"/>
                <a:gd name="T48" fmla="*/ 2147483647 w 51"/>
                <a:gd name="T49" fmla="*/ 2147483647 h 98"/>
                <a:gd name="T50" fmla="*/ 2147483647 w 51"/>
                <a:gd name="T51" fmla="*/ 2147483647 h 98"/>
                <a:gd name="T52" fmla="*/ 2147483647 w 51"/>
                <a:gd name="T53" fmla="*/ 2147483647 h 98"/>
                <a:gd name="T54" fmla="*/ 2147483647 w 51"/>
                <a:gd name="T55" fmla="*/ 2147483647 h 98"/>
                <a:gd name="T56" fmla="*/ 2147483647 w 51"/>
                <a:gd name="T57" fmla="*/ 2147483647 h 98"/>
                <a:gd name="T58" fmla="*/ 2147483647 w 51"/>
                <a:gd name="T59" fmla="*/ 2147483647 h 98"/>
                <a:gd name="T60" fmla="*/ 2147483647 w 51"/>
                <a:gd name="T61" fmla="*/ 2147483647 h 98"/>
                <a:gd name="T62" fmla="*/ 2147483647 w 51"/>
                <a:gd name="T63" fmla="*/ 2147483647 h 98"/>
                <a:gd name="T64" fmla="*/ 2147483647 w 51"/>
                <a:gd name="T65" fmla="*/ 2147483647 h 98"/>
                <a:gd name="T66" fmla="*/ 2147483647 w 51"/>
                <a:gd name="T67" fmla="*/ 2147483647 h 98"/>
                <a:gd name="T68" fmla="*/ 2147483647 w 51"/>
                <a:gd name="T69" fmla="*/ 2147483647 h 98"/>
                <a:gd name="T70" fmla="*/ 2147483647 w 51"/>
                <a:gd name="T71" fmla="*/ 2147483647 h 98"/>
                <a:gd name="T72" fmla="*/ 2147483647 w 51"/>
                <a:gd name="T73" fmla="*/ 2147483647 h 98"/>
                <a:gd name="T74" fmla="*/ 2147483647 w 51"/>
                <a:gd name="T75" fmla="*/ 0 h 98"/>
                <a:gd name="T76" fmla="*/ 2147483647 w 51"/>
                <a:gd name="T77" fmla="*/ 2147483647 h 98"/>
                <a:gd name="T78" fmla="*/ 2147483647 w 51"/>
                <a:gd name="T79" fmla="*/ 2147483647 h 98"/>
                <a:gd name="T80" fmla="*/ 2147483647 w 51"/>
                <a:gd name="T81" fmla="*/ 2147483647 h 98"/>
                <a:gd name="T82" fmla="*/ 2147483647 w 51"/>
                <a:gd name="T83" fmla="*/ 2147483647 h 98"/>
                <a:gd name="T84" fmla="*/ 2147483647 w 51"/>
                <a:gd name="T85" fmla="*/ 2147483647 h 98"/>
                <a:gd name="T86" fmla="*/ 2147483647 w 51"/>
                <a:gd name="T87" fmla="*/ 2147483647 h 98"/>
                <a:gd name="T88" fmla="*/ 2147483647 w 51"/>
                <a:gd name="T89" fmla="*/ 2147483647 h 98"/>
                <a:gd name="T90" fmla="*/ 2147483647 w 51"/>
                <a:gd name="T91" fmla="*/ 2147483647 h 98"/>
                <a:gd name="T92" fmla="*/ 2147483647 w 51"/>
                <a:gd name="T93" fmla="*/ 2147483647 h 98"/>
                <a:gd name="T94" fmla="*/ 2147483647 w 51"/>
                <a:gd name="T95" fmla="*/ 2147483647 h 98"/>
                <a:gd name="T96" fmla="*/ 0 w 51"/>
                <a:gd name="T97" fmla="*/ 2147483647 h 98"/>
                <a:gd name="T98" fmla="*/ 0 w 51"/>
                <a:gd name="T99" fmla="*/ 2147483647 h 98"/>
                <a:gd name="T100" fmla="*/ 0 w 51"/>
                <a:gd name="T101" fmla="*/ 2147483647 h 98"/>
                <a:gd name="T102" fmla="*/ 0 w 51"/>
                <a:gd name="T103" fmla="*/ 2147483647 h 98"/>
                <a:gd name="T104" fmla="*/ 0 w 51"/>
                <a:gd name="T105" fmla="*/ 2147483647 h 98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1"/>
                <a:gd name="T160" fmla="*/ 0 h 98"/>
                <a:gd name="T161" fmla="*/ 51 w 51"/>
                <a:gd name="T162" fmla="*/ 98 h 98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1" h="98">
                  <a:moveTo>
                    <a:pt x="0" y="64"/>
                  </a:moveTo>
                  <a:lnTo>
                    <a:pt x="3" y="69"/>
                  </a:lnTo>
                  <a:lnTo>
                    <a:pt x="6" y="66"/>
                  </a:lnTo>
                  <a:lnTo>
                    <a:pt x="6" y="75"/>
                  </a:lnTo>
                  <a:lnTo>
                    <a:pt x="6" y="92"/>
                  </a:lnTo>
                  <a:lnTo>
                    <a:pt x="6" y="98"/>
                  </a:lnTo>
                  <a:lnTo>
                    <a:pt x="8" y="95"/>
                  </a:lnTo>
                  <a:lnTo>
                    <a:pt x="14" y="98"/>
                  </a:lnTo>
                  <a:lnTo>
                    <a:pt x="23" y="95"/>
                  </a:lnTo>
                  <a:lnTo>
                    <a:pt x="26" y="95"/>
                  </a:lnTo>
                  <a:lnTo>
                    <a:pt x="26" y="87"/>
                  </a:lnTo>
                  <a:lnTo>
                    <a:pt x="28" y="81"/>
                  </a:lnTo>
                  <a:lnTo>
                    <a:pt x="34" y="75"/>
                  </a:lnTo>
                  <a:lnTo>
                    <a:pt x="31" y="66"/>
                  </a:lnTo>
                  <a:lnTo>
                    <a:pt x="34" y="58"/>
                  </a:lnTo>
                  <a:lnTo>
                    <a:pt x="28" y="46"/>
                  </a:lnTo>
                  <a:lnTo>
                    <a:pt x="37" y="41"/>
                  </a:lnTo>
                  <a:lnTo>
                    <a:pt x="34" y="35"/>
                  </a:lnTo>
                  <a:lnTo>
                    <a:pt x="37" y="32"/>
                  </a:lnTo>
                  <a:lnTo>
                    <a:pt x="40" y="29"/>
                  </a:lnTo>
                  <a:lnTo>
                    <a:pt x="43" y="15"/>
                  </a:lnTo>
                  <a:lnTo>
                    <a:pt x="51" y="6"/>
                  </a:lnTo>
                  <a:lnTo>
                    <a:pt x="49" y="3"/>
                  </a:lnTo>
                  <a:lnTo>
                    <a:pt x="40" y="3"/>
                  </a:lnTo>
                  <a:lnTo>
                    <a:pt x="37" y="6"/>
                  </a:lnTo>
                  <a:lnTo>
                    <a:pt x="34" y="6"/>
                  </a:lnTo>
                  <a:lnTo>
                    <a:pt x="28" y="3"/>
                  </a:lnTo>
                  <a:lnTo>
                    <a:pt x="23" y="6"/>
                  </a:lnTo>
                  <a:lnTo>
                    <a:pt x="20" y="0"/>
                  </a:lnTo>
                  <a:lnTo>
                    <a:pt x="11" y="3"/>
                  </a:lnTo>
                  <a:lnTo>
                    <a:pt x="11" y="9"/>
                  </a:lnTo>
                  <a:lnTo>
                    <a:pt x="11" y="18"/>
                  </a:lnTo>
                  <a:lnTo>
                    <a:pt x="11" y="26"/>
                  </a:lnTo>
                  <a:lnTo>
                    <a:pt x="8" y="35"/>
                  </a:lnTo>
                  <a:lnTo>
                    <a:pt x="6" y="43"/>
                  </a:lnTo>
                  <a:lnTo>
                    <a:pt x="0" y="52"/>
                  </a:lnTo>
                  <a:lnTo>
                    <a:pt x="0" y="58"/>
                  </a:lnTo>
                  <a:lnTo>
                    <a:pt x="0" y="6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45" name="Freeform 246"/>
            <p:cNvSpPr>
              <a:spLocks/>
            </p:cNvSpPr>
            <p:nvPr/>
          </p:nvSpPr>
          <p:spPr bwMode="auto">
            <a:xfrm>
              <a:off x="4305300" y="2698750"/>
              <a:ext cx="14288" cy="9525"/>
            </a:xfrm>
            <a:custGeom>
              <a:avLst/>
              <a:gdLst>
                <a:gd name="T0" fmla="*/ 2147483647 w 9"/>
                <a:gd name="T1" fmla="*/ 2147483647 h 6"/>
                <a:gd name="T2" fmla="*/ 2147483647 w 9"/>
                <a:gd name="T3" fmla="*/ 2147483647 h 6"/>
                <a:gd name="T4" fmla="*/ 2147483647 w 9"/>
                <a:gd name="T5" fmla="*/ 0 h 6"/>
                <a:gd name="T6" fmla="*/ 0 w 9"/>
                <a:gd name="T7" fmla="*/ 0 h 6"/>
                <a:gd name="T8" fmla="*/ 0 w 9"/>
                <a:gd name="T9" fmla="*/ 0 h 6"/>
                <a:gd name="T10" fmla="*/ 2147483647 w 9"/>
                <a:gd name="T11" fmla="*/ 2147483647 h 6"/>
                <a:gd name="T12" fmla="*/ 2147483647 w 9"/>
                <a:gd name="T13" fmla="*/ 2147483647 h 6"/>
                <a:gd name="T14" fmla="*/ 2147483647 w 9"/>
                <a:gd name="T15" fmla="*/ 2147483647 h 6"/>
                <a:gd name="T16" fmla="*/ 2147483647 w 9"/>
                <a:gd name="T17" fmla="*/ 2147483647 h 6"/>
                <a:gd name="T18" fmla="*/ 2147483647 w 9"/>
                <a:gd name="T19" fmla="*/ 2147483647 h 6"/>
                <a:gd name="T20" fmla="*/ 2147483647 w 9"/>
                <a:gd name="T21" fmla="*/ 2147483647 h 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9"/>
                <a:gd name="T34" fmla="*/ 0 h 6"/>
                <a:gd name="T35" fmla="*/ 9 w 9"/>
                <a:gd name="T36" fmla="*/ 6 h 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9" h="6">
                  <a:moveTo>
                    <a:pt x="3" y="6"/>
                  </a:moveTo>
                  <a:lnTo>
                    <a:pt x="9" y="3"/>
                  </a:lnTo>
                  <a:lnTo>
                    <a:pt x="6" y="0"/>
                  </a:lnTo>
                  <a:lnTo>
                    <a:pt x="0" y="0"/>
                  </a:lnTo>
                  <a:lnTo>
                    <a:pt x="3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46" name="Freeform 247"/>
            <p:cNvSpPr>
              <a:spLocks/>
            </p:cNvSpPr>
            <p:nvPr/>
          </p:nvSpPr>
          <p:spPr bwMode="auto">
            <a:xfrm>
              <a:off x="4637088" y="2652713"/>
              <a:ext cx="14287" cy="4762"/>
            </a:xfrm>
            <a:custGeom>
              <a:avLst/>
              <a:gdLst>
                <a:gd name="T0" fmla="*/ 0 w 8"/>
                <a:gd name="T1" fmla="*/ 0 h 3"/>
                <a:gd name="T2" fmla="*/ 2147483647 w 8"/>
                <a:gd name="T3" fmla="*/ 2147483647 h 3"/>
                <a:gd name="T4" fmla="*/ 2147483647 w 8"/>
                <a:gd name="T5" fmla="*/ 0 h 3"/>
                <a:gd name="T6" fmla="*/ 0 w 8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3"/>
                <a:gd name="T14" fmla="*/ 8 w 8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3">
                  <a:moveTo>
                    <a:pt x="0" y="0"/>
                  </a:moveTo>
                  <a:lnTo>
                    <a:pt x="8" y="3"/>
                  </a:lnTo>
                  <a:lnTo>
                    <a:pt x="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47" name="Freeform 248"/>
            <p:cNvSpPr>
              <a:spLocks/>
            </p:cNvSpPr>
            <p:nvPr/>
          </p:nvSpPr>
          <p:spPr bwMode="auto">
            <a:xfrm>
              <a:off x="4425950" y="2541588"/>
              <a:ext cx="114300" cy="55562"/>
            </a:xfrm>
            <a:custGeom>
              <a:avLst/>
              <a:gdLst>
                <a:gd name="T0" fmla="*/ 2147483647 w 71"/>
                <a:gd name="T1" fmla="*/ 2147483647 h 35"/>
                <a:gd name="T2" fmla="*/ 2147483647 w 71"/>
                <a:gd name="T3" fmla="*/ 2147483647 h 35"/>
                <a:gd name="T4" fmla="*/ 2147483647 w 71"/>
                <a:gd name="T5" fmla="*/ 2147483647 h 35"/>
                <a:gd name="T6" fmla="*/ 2147483647 w 71"/>
                <a:gd name="T7" fmla="*/ 2147483647 h 35"/>
                <a:gd name="T8" fmla="*/ 2147483647 w 71"/>
                <a:gd name="T9" fmla="*/ 2147483647 h 35"/>
                <a:gd name="T10" fmla="*/ 0 w 71"/>
                <a:gd name="T11" fmla="*/ 2147483647 h 35"/>
                <a:gd name="T12" fmla="*/ 2147483647 w 71"/>
                <a:gd name="T13" fmla="*/ 2147483647 h 35"/>
                <a:gd name="T14" fmla="*/ 2147483647 w 71"/>
                <a:gd name="T15" fmla="*/ 2147483647 h 35"/>
                <a:gd name="T16" fmla="*/ 2147483647 w 71"/>
                <a:gd name="T17" fmla="*/ 2147483647 h 35"/>
                <a:gd name="T18" fmla="*/ 2147483647 w 71"/>
                <a:gd name="T19" fmla="*/ 2147483647 h 35"/>
                <a:gd name="T20" fmla="*/ 2147483647 w 71"/>
                <a:gd name="T21" fmla="*/ 2147483647 h 35"/>
                <a:gd name="T22" fmla="*/ 2147483647 w 71"/>
                <a:gd name="T23" fmla="*/ 2147483647 h 35"/>
                <a:gd name="T24" fmla="*/ 2147483647 w 71"/>
                <a:gd name="T25" fmla="*/ 2147483647 h 35"/>
                <a:gd name="T26" fmla="*/ 2147483647 w 71"/>
                <a:gd name="T27" fmla="*/ 2147483647 h 35"/>
                <a:gd name="T28" fmla="*/ 2147483647 w 71"/>
                <a:gd name="T29" fmla="*/ 2147483647 h 35"/>
                <a:gd name="T30" fmla="*/ 2147483647 w 71"/>
                <a:gd name="T31" fmla="*/ 2147483647 h 35"/>
                <a:gd name="T32" fmla="*/ 2147483647 w 71"/>
                <a:gd name="T33" fmla="*/ 2147483647 h 35"/>
                <a:gd name="T34" fmla="*/ 2147483647 w 71"/>
                <a:gd name="T35" fmla="*/ 2147483647 h 35"/>
                <a:gd name="T36" fmla="*/ 2147483647 w 71"/>
                <a:gd name="T37" fmla="*/ 2147483647 h 35"/>
                <a:gd name="T38" fmla="*/ 2147483647 w 71"/>
                <a:gd name="T39" fmla="*/ 2147483647 h 35"/>
                <a:gd name="T40" fmla="*/ 2147483647 w 71"/>
                <a:gd name="T41" fmla="*/ 2147483647 h 35"/>
                <a:gd name="T42" fmla="*/ 2147483647 w 71"/>
                <a:gd name="T43" fmla="*/ 2147483647 h 35"/>
                <a:gd name="T44" fmla="*/ 2147483647 w 71"/>
                <a:gd name="T45" fmla="*/ 2147483647 h 35"/>
                <a:gd name="T46" fmla="*/ 2147483647 w 71"/>
                <a:gd name="T47" fmla="*/ 2147483647 h 35"/>
                <a:gd name="T48" fmla="*/ 2147483647 w 71"/>
                <a:gd name="T49" fmla="*/ 2147483647 h 35"/>
                <a:gd name="T50" fmla="*/ 2147483647 w 71"/>
                <a:gd name="T51" fmla="*/ 2147483647 h 35"/>
                <a:gd name="T52" fmla="*/ 2147483647 w 71"/>
                <a:gd name="T53" fmla="*/ 2147483647 h 35"/>
                <a:gd name="T54" fmla="*/ 2147483647 w 71"/>
                <a:gd name="T55" fmla="*/ 2147483647 h 35"/>
                <a:gd name="T56" fmla="*/ 2147483647 w 71"/>
                <a:gd name="T57" fmla="*/ 2147483647 h 35"/>
                <a:gd name="T58" fmla="*/ 2147483647 w 71"/>
                <a:gd name="T59" fmla="*/ 2147483647 h 35"/>
                <a:gd name="T60" fmla="*/ 2147483647 w 71"/>
                <a:gd name="T61" fmla="*/ 2147483647 h 35"/>
                <a:gd name="T62" fmla="*/ 2147483647 w 71"/>
                <a:gd name="T63" fmla="*/ 2147483647 h 35"/>
                <a:gd name="T64" fmla="*/ 2147483647 w 71"/>
                <a:gd name="T65" fmla="*/ 2147483647 h 35"/>
                <a:gd name="T66" fmla="*/ 2147483647 w 71"/>
                <a:gd name="T67" fmla="*/ 2147483647 h 35"/>
                <a:gd name="T68" fmla="*/ 2147483647 w 71"/>
                <a:gd name="T69" fmla="*/ 2147483647 h 35"/>
                <a:gd name="T70" fmla="*/ 2147483647 w 71"/>
                <a:gd name="T71" fmla="*/ 2147483647 h 35"/>
                <a:gd name="T72" fmla="*/ 2147483647 w 71"/>
                <a:gd name="T73" fmla="*/ 2147483647 h 35"/>
                <a:gd name="T74" fmla="*/ 2147483647 w 71"/>
                <a:gd name="T75" fmla="*/ 0 h 35"/>
                <a:gd name="T76" fmla="*/ 2147483647 w 71"/>
                <a:gd name="T77" fmla="*/ 2147483647 h 35"/>
                <a:gd name="T78" fmla="*/ 2147483647 w 71"/>
                <a:gd name="T79" fmla="*/ 2147483647 h 35"/>
                <a:gd name="T80" fmla="*/ 2147483647 w 71"/>
                <a:gd name="T81" fmla="*/ 2147483647 h 3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1"/>
                <a:gd name="T124" fmla="*/ 0 h 35"/>
                <a:gd name="T125" fmla="*/ 71 w 71"/>
                <a:gd name="T126" fmla="*/ 35 h 3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1" h="35">
                  <a:moveTo>
                    <a:pt x="20" y="9"/>
                  </a:moveTo>
                  <a:lnTo>
                    <a:pt x="20" y="9"/>
                  </a:lnTo>
                  <a:lnTo>
                    <a:pt x="17" y="9"/>
                  </a:lnTo>
                  <a:lnTo>
                    <a:pt x="14" y="12"/>
                  </a:lnTo>
                  <a:lnTo>
                    <a:pt x="5" y="23"/>
                  </a:lnTo>
                  <a:lnTo>
                    <a:pt x="0" y="29"/>
                  </a:lnTo>
                  <a:lnTo>
                    <a:pt x="3" y="32"/>
                  </a:lnTo>
                  <a:lnTo>
                    <a:pt x="8" y="21"/>
                  </a:lnTo>
                  <a:lnTo>
                    <a:pt x="14" y="32"/>
                  </a:lnTo>
                  <a:lnTo>
                    <a:pt x="17" y="35"/>
                  </a:lnTo>
                  <a:lnTo>
                    <a:pt x="23" y="32"/>
                  </a:lnTo>
                  <a:lnTo>
                    <a:pt x="28" y="35"/>
                  </a:lnTo>
                  <a:lnTo>
                    <a:pt x="28" y="26"/>
                  </a:lnTo>
                  <a:lnTo>
                    <a:pt x="31" y="26"/>
                  </a:lnTo>
                  <a:lnTo>
                    <a:pt x="37" y="26"/>
                  </a:lnTo>
                  <a:lnTo>
                    <a:pt x="46" y="35"/>
                  </a:lnTo>
                  <a:lnTo>
                    <a:pt x="51" y="23"/>
                  </a:lnTo>
                  <a:lnTo>
                    <a:pt x="51" y="26"/>
                  </a:lnTo>
                  <a:lnTo>
                    <a:pt x="54" y="29"/>
                  </a:lnTo>
                  <a:lnTo>
                    <a:pt x="60" y="23"/>
                  </a:lnTo>
                  <a:lnTo>
                    <a:pt x="60" y="26"/>
                  </a:lnTo>
                  <a:lnTo>
                    <a:pt x="63" y="21"/>
                  </a:lnTo>
                  <a:lnTo>
                    <a:pt x="66" y="23"/>
                  </a:lnTo>
                  <a:lnTo>
                    <a:pt x="69" y="15"/>
                  </a:lnTo>
                  <a:lnTo>
                    <a:pt x="71" y="15"/>
                  </a:lnTo>
                  <a:lnTo>
                    <a:pt x="71" y="6"/>
                  </a:lnTo>
                  <a:lnTo>
                    <a:pt x="69" y="6"/>
                  </a:lnTo>
                  <a:lnTo>
                    <a:pt x="66" y="9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6" y="3"/>
                  </a:lnTo>
                  <a:lnTo>
                    <a:pt x="40" y="0"/>
                  </a:lnTo>
                  <a:lnTo>
                    <a:pt x="34" y="6"/>
                  </a:lnTo>
                  <a:lnTo>
                    <a:pt x="23" y="6"/>
                  </a:lnTo>
                  <a:lnTo>
                    <a:pt x="20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48" name="Freeform 249"/>
            <p:cNvSpPr>
              <a:spLocks/>
            </p:cNvSpPr>
            <p:nvPr/>
          </p:nvSpPr>
          <p:spPr bwMode="auto">
            <a:xfrm>
              <a:off x="3914775" y="2909888"/>
              <a:ext cx="312738" cy="254000"/>
            </a:xfrm>
            <a:custGeom>
              <a:avLst/>
              <a:gdLst>
                <a:gd name="T0" fmla="*/ 2147483647 w 195"/>
                <a:gd name="T1" fmla="*/ 2147483647 h 158"/>
                <a:gd name="T2" fmla="*/ 2147483647 w 195"/>
                <a:gd name="T3" fmla="*/ 2147483647 h 158"/>
                <a:gd name="T4" fmla="*/ 2147483647 w 195"/>
                <a:gd name="T5" fmla="*/ 2147483647 h 158"/>
                <a:gd name="T6" fmla="*/ 2147483647 w 195"/>
                <a:gd name="T7" fmla="*/ 2147483647 h 158"/>
                <a:gd name="T8" fmla="*/ 2147483647 w 195"/>
                <a:gd name="T9" fmla="*/ 2147483647 h 158"/>
                <a:gd name="T10" fmla="*/ 2147483647 w 195"/>
                <a:gd name="T11" fmla="*/ 2147483647 h 158"/>
                <a:gd name="T12" fmla="*/ 2147483647 w 195"/>
                <a:gd name="T13" fmla="*/ 2147483647 h 158"/>
                <a:gd name="T14" fmla="*/ 2147483647 w 195"/>
                <a:gd name="T15" fmla="*/ 2147483647 h 158"/>
                <a:gd name="T16" fmla="*/ 2147483647 w 195"/>
                <a:gd name="T17" fmla="*/ 2147483647 h 158"/>
                <a:gd name="T18" fmla="*/ 2147483647 w 195"/>
                <a:gd name="T19" fmla="*/ 2147483647 h 158"/>
                <a:gd name="T20" fmla="*/ 2147483647 w 195"/>
                <a:gd name="T21" fmla="*/ 2147483647 h 158"/>
                <a:gd name="T22" fmla="*/ 2147483647 w 195"/>
                <a:gd name="T23" fmla="*/ 2147483647 h 158"/>
                <a:gd name="T24" fmla="*/ 2147483647 w 195"/>
                <a:gd name="T25" fmla="*/ 2147483647 h 158"/>
                <a:gd name="T26" fmla="*/ 2147483647 w 195"/>
                <a:gd name="T27" fmla="*/ 2147483647 h 158"/>
                <a:gd name="T28" fmla="*/ 2147483647 w 195"/>
                <a:gd name="T29" fmla="*/ 2147483647 h 158"/>
                <a:gd name="T30" fmla="*/ 2147483647 w 195"/>
                <a:gd name="T31" fmla="*/ 2147483647 h 158"/>
                <a:gd name="T32" fmla="*/ 2147483647 w 195"/>
                <a:gd name="T33" fmla="*/ 2147483647 h 158"/>
                <a:gd name="T34" fmla="*/ 2147483647 w 195"/>
                <a:gd name="T35" fmla="*/ 2147483647 h 158"/>
                <a:gd name="T36" fmla="*/ 2147483647 w 195"/>
                <a:gd name="T37" fmla="*/ 2147483647 h 158"/>
                <a:gd name="T38" fmla="*/ 2147483647 w 195"/>
                <a:gd name="T39" fmla="*/ 0 h 158"/>
                <a:gd name="T40" fmla="*/ 2147483647 w 195"/>
                <a:gd name="T41" fmla="*/ 2147483647 h 158"/>
                <a:gd name="T42" fmla="*/ 2147483647 w 195"/>
                <a:gd name="T43" fmla="*/ 2147483647 h 158"/>
                <a:gd name="T44" fmla="*/ 2147483647 w 195"/>
                <a:gd name="T45" fmla="*/ 2147483647 h 158"/>
                <a:gd name="T46" fmla="*/ 2147483647 w 195"/>
                <a:gd name="T47" fmla="*/ 2147483647 h 158"/>
                <a:gd name="T48" fmla="*/ 2147483647 w 195"/>
                <a:gd name="T49" fmla="*/ 2147483647 h 158"/>
                <a:gd name="T50" fmla="*/ 2147483647 w 195"/>
                <a:gd name="T51" fmla="*/ 2147483647 h 158"/>
                <a:gd name="T52" fmla="*/ 2147483647 w 195"/>
                <a:gd name="T53" fmla="*/ 2147483647 h 158"/>
                <a:gd name="T54" fmla="*/ 2147483647 w 195"/>
                <a:gd name="T55" fmla="*/ 2147483647 h 158"/>
                <a:gd name="T56" fmla="*/ 2147483647 w 195"/>
                <a:gd name="T57" fmla="*/ 2147483647 h 158"/>
                <a:gd name="T58" fmla="*/ 2147483647 w 195"/>
                <a:gd name="T59" fmla="*/ 2147483647 h 158"/>
                <a:gd name="T60" fmla="*/ 2147483647 w 195"/>
                <a:gd name="T61" fmla="*/ 2147483647 h 158"/>
                <a:gd name="T62" fmla="*/ 2147483647 w 195"/>
                <a:gd name="T63" fmla="*/ 2147483647 h 158"/>
                <a:gd name="T64" fmla="*/ 2147483647 w 195"/>
                <a:gd name="T65" fmla="*/ 2147483647 h 158"/>
                <a:gd name="T66" fmla="*/ 2147483647 w 195"/>
                <a:gd name="T67" fmla="*/ 2147483647 h 158"/>
                <a:gd name="T68" fmla="*/ 2147483647 w 195"/>
                <a:gd name="T69" fmla="*/ 2147483647 h 158"/>
                <a:gd name="T70" fmla="*/ 2147483647 w 195"/>
                <a:gd name="T71" fmla="*/ 2147483647 h 158"/>
                <a:gd name="T72" fmla="*/ 2147483647 w 195"/>
                <a:gd name="T73" fmla="*/ 2147483647 h 15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95"/>
                <a:gd name="T112" fmla="*/ 0 h 158"/>
                <a:gd name="T113" fmla="*/ 195 w 195"/>
                <a:gd name="T114" fmla="*/ 158 h 158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95" h="158">
                  <a:moveTo>
                    <a:pt x="6" y="152"/>
                  </a:moveTo>
                  <a:lnTo>
                    <a:pt x="6" y="152"/>
                  </a:lnTo>
                  <a:lnTo>
                    <a:pt x="0" y="158"/>
                  </a:lnTo>
                  <a:lnTo>
                    <a:pt x="66" y="158"/>
                  </a:lnTo>
                  <a:lnTo>
                    <a:pt x="69" y="141"/>
                  </a:lnTo>
                  <a:lnTo>
                    <a:pt x="89" y="126"/>
                  </a:lnTo>
                  <a:lnTo>
                    <a:pt x="98" y="118"/>
                  </a:lnTo>
                  <a:lnTo>
                    <a:pt x="103" y="121"/>
                  </a:lnTo>
                  <a:lnTo>
                    <a:pt x="106" y="118"/>
                  </a:lnTo>
                  <a:lnTo>
                    <a:pt x="126" y="115"/>
                  </a:lnTo>
                  <a:lnTo>
                    <a:pt x="132" y="106"/>
                  </a:lnTo>
                  <a:lnTo>
                    <a:pt x="138" y="103"/>
                  </a:lnTo>
                  <a:lnTo>
                    <a:pt x="146" y="101"/>
                  </a:lnTo>
                  <a:lnTo>
                    <a:pt x="152" y="95"/>
                  </a:lnTo>
                  <a:lnTo>
                    <a:pt x="149" y="80"/>
                  </a:lnTo>
                  <a:lnTo>
                    <a:pt x="164" y="78"/>
                  </a:lnTo>
                  <a:lnTo>
                    <a:pt x="167" y="72"/>
                  </a:lnTo>
                  <a:lnTo>
                    <a:pt x="195" y="72"/>
                  </a:lnTo>
                  <a:lnTo>
                    <a:pt x="195" y="66"/>
                  </a:lnTo>
                  <a:lnTo>
                    <a:pt x="187" y="52"/>
                  </a:lnTo>
                  <a:lnTo>
                    <a:pt x="187" y="35"/>
                  </a:lnTo>
                  <a:lnTo>
                    <a:pt x="184" y="23"/>
                  </a:lnTo>
                  <a:lnTo>
                    <a:pt x="172" y="17"/>
                  </a:lnTo>
                  <a:lnTo>
                    <a:pt x="172" y="14"/>
                  </a:lnTo>
                  <a:lnTo>
                    <a:pt x="169" y="12"/>
                  </a:lnTo>
                  <a:lnTo>
                    <a:pt x="169" y="9"/>
                  </a:lnTo>
                  <a:lnTo>
                    <a:pt x="164" y="14"/>
                  </a:lnTo>
                  <a:lnTo>
                    <a:pt x="155" y="12"/>
                  </a:lnTo>
                  <a:lnTo>
                    <a:pt x="146" y="14"/>
                  </a:lnTo>
                  <a:lnTo>
                    <a:pt x="141" y="12"/>
                  </a:lnTo>
                  <a:lnTo>
                    <a:pt x="138" y="12"/>
                  </a:lnTo>
                  <a:lnTo>
                    <a:pt x="132" y="0"/>
                  </a:lnTo>
                  <a:lnTo>
                    <a:pt x="126" y="3"/>
                  </a:lnTo>
                  <a:lnTo>
                    <a:pt x="121" y="6"/>
                  </a:lnTo>
                  <a:lnTo>
                    <a:pt x="118" y="14"/>
                  </a:lnTo>
                  <a:lnTo>
                    <a:pt x="109" y="26"/>
                  </a:lnTo>
                  <a:lnTo>
                    <a:pt x="103" y="35"/>
                  </a:lnTo>
                  <a:lnTo>
                    <a:pt x="98" y="43"/>
                  </a:lnTo>
                  <a:lnTo>
                    <a:pt x="83" y="52"/>
                  </a:lnTo>
                  <a:lnTo>
                    <a:pt x="72" y="58"/>
                  </a:lnTo>
                  <a:lnTo>
                    <a:pt x="66" y="60"/>
                  </a:lnTo>
                  <a:lnTo>
                    <a:pt x="66" y="63"/>
                  </a:lnTo>
                  <a:lnTo>
                    <a:pt x="63" y="66"/>
                  </a:lnTo>
                  <a:lnTo>
                    <a:pt x="63" y="72"/>
                  </a:lnTo>
                  <a:lnTo>
                    <a:pt x="57" y="78"/>
                  </a:lnTo>
                  <a:lnTo>
                    <a:pt x="55" y="83"/>
                  </a:lnTo>
                  <a:lnTo>
                    <a:pt x="55" y="89"/>
                  </a:lnTo>
                  <a:lnTo>
                    <a:pt x="55" y="98"/>
                  </a:lnTo>
                  <a:lnTo>
                    <a:pt x="55" y="106"/>
                  </a:lnTo>
                  <a:lnTo>
                    <a:pt x="55" y="112"/>
                  </a:lnTo>
                  <a:lnTo>
                    <a:pt x="49" y="121"/>
                  </a:lnTo>
                  <a:lnTo>
                    <a:pt x="43" y="129"/>
                  </a:lnTo>
                  <a:lnTo>
                    <a:pt x="32" y="138"/>
                  </a:lnTo>
                  <a:lnTo>
                    <a:pt x="17" y="149"/>
                  </a:lnTo>
                  <a:lnTo>
                    <a:pt x="6" y="15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49" name="Freeform 250"/>
            <p:cNvSpPr>
              <a:spLocks/>
            </p:cNvSpPr>
            <p:nvPr/>
          </p:nvSpPr>
          <p:spPr bwMode="auto">
            <a:xfrm>
              <a:off x="4891088" y="2814638"/>
              <a:ext cx="7937" cy="4762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2147483647 h 3"/>
                <a:gd name="T4" fmla="*/ 2147483647 w 5"/>
                <a:gd name="T5" fmla="*/ 2147483647 h 3"/>
                <a:gd name="T6" fmla="*/ 2147483647 w 5"/>
                <a:gd name="T7" fmla="*/ 0 h 3"/>
                <a:gd name="T8" fmla="*/ 0 w 5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0" y="3"/>
                  </a:moveTo>
                  <a:lnTo>
                    <a:pt x="5" y="3"/>
                  </a:lnTo>
                  <a:lnTo>
                    <a:pt x="2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50" name="Freeform 251"/>
            <p:cNvSpPr>
              <a:spLocks/>
            </p:cNvSpPr>
            <p:nvPr/>
          </p:nvSpPr>
          <p:spPr bwMode="auto">
            <a:xfrm>
              <a:off x="4876800" y="2919413"/>
              <a:ext cx="68263" cy="22225"/>
            </a:xfrm>
            <a:custGeom>
              <a:avLst/>
              <a:gdLst>
                <a:gd name="T0" fmla="*/ 0 w 43"/>
                <a:gd name="T1" fmla="*/ 2147483647 h 14"/>
                <a:gd name="T2" fmla="*/ 2147483647 w 43"/>
                <a:gd name="T3" fmla="*/ 2147483647 h 14"/>
                <a:gd name="T4" fmla="*/ 2147483647 w 43"/>
                <a:gd name="T5" fmla="*/ 2147483647 h 14"/>
                <a:gd name="T6" fmla="*/ 2147483647 w 43"/>
                <a:gd name="T7" fmla="*/ 2147483647 h 14"/>
                <a:gd name="T8" fmla="*/ 2147483647 w 43"/>
                <a:gd name="T9" fmla="*/ 2147483647 h 14"/>
                <a:gd name="T10" fmla="*/ 2147483647 w 43"/>
                <a:gd name="T11" fmla="*/ 2147483647 h 14"/>
                <a:gd name="T12" fmla="*/ 2147483647 w 43"/>
                <a:gd name="T13" fmla="*/ 2147483647 h 14"/>
                <a:gd name="T14" fmla="*/ 2147483647 w 43"/>
                <a:gd name="T15" fmla="*/ 2147483647 h 14"/>
                <a:gd name="T16" fmla="*/ 2147483647 w 43"/>
                <a:gd name="T17" fmla="*/ 2147483647 h 14"/>
                <a:gd name="T18" fmla="*/ 2147483647 w 43"/>
                <a:gd name="T19" fmla="*/ 2147483647 h 14"/>
                <a:gd name="T20" fmla="*/ 2147483647 w 43"/>
                <a:gd name="T21" fmla="*/ 2147483647 h 14"/>
                <a:gd name="T22" fmla="*/ 2147483647 w 43"/>
                <a:gd name="T23" fmla="*/ 2147483647 h 14"/>
                <a:gd name="T24" fmla="*/ 2147483647 w 43"/>
                <a:gd name="T25" fmla="*/ 0 h 14"/>
                <a:gd name="T26" fmla="*/ 2147483647 w 43"/>
                <a:gd name="T27" fmla="*/ 2147483647 h 14"/>
                <a:gd name="T28" fmla="*/ 2147483647 w 43"/>
                <a:gd name="T29" fmla="*/ 2147483647 h 14"/>
                <a:gd name="T30" fmla="*/ 2147483647 w 43"/>
                <a:gd name="T31" fmla="*/ 0 h 14"/>
                <a:gd name="T32" fmla="*/ 0 w 43"/>
                <a:gd name="T33" fmla="*/ 2147483647 h 1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3"/>
                <a:gd name="T52" fmla="*/ 0 h 14"/>
                <a:gd name="T53" fmla="*/ 43 w 43"/>
                <a:gd name="T54" fmla="*/ 14 h 1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3" h="14">
                  <a:moveTo>
                    <a:pt x="0" y="3"/>
                  </a:moveTo>
                  <a:lnTo>
                    <a:pt x="3" y="8"/>
                  </a:lnTo>
                  <a:lnTo>
                    <a:pt x="11" y="8"/>
                  </a:lnTo>
                  <a:lnTo>
                    <a:pt x="17" y="8"/>
                  </a:lnTo>
                  <a:lnTo>
                    <a:pt x="20" y="14"/>
                  </a:lnTo>
                  <a:lnTo>
                    <a:pt x="26" y="14"/>
                  </a:lnTo>
                  <a:lnTo>
                    <a:pt x="32" y="11"/>
                  </a:lnTo>
                  <a:lnTo>
                    <a:pt x="43" y="11"/>
                  </a:lnTo>
                  <a:lnTo>
                    <a:pt x="43" y="6"/>
                  </a:lnTo>
                  <a:lnTo>
                    <a:pt x="34" y="6"/>
                  </a:lnTo>
                  <a:lnTo>
                    <a:pt x="34" y="3"/>
                  </a:lnTo>
                  <a:lnTo>
                    <a:pt x="26" y="3"/>
                  </a:lnTo>
                  <a:lnTo>
                    <a:pt x="20" y="0"/>
                  </a:lnTo>
                  <a:lnTo>
                    <a:pt x="17" y="3"/>
                  </a:lnTo>
                  <a:lnTo>
                    <a:pt x="9" y="3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51" name="Freeform 252"/>
            <p:cNvSpPr>
              <a:spLocks/>
            </p:cNvSpPr>
            <p:nvPr/>
          </p:nvSpPr>
          <p:spPr bwMode="auto">
            <a:xfrm>
              <a:off x="4751388" y="2317750"/>
              <a:ext cx="66675" cy="26988"/>
            </a:xfrm>
            <a:custGeom>
              <a:avLst/>
              <a:gdLst>
                <a:gd name="T0" fmla="*/ 2147483647 w 41"/>
                <a:gd name="T1" fmla="*/ 0 h 17"/>
                <a:gd name="T2" fmla="*/ 2147483647 w 41"/>
                <a:gd name="T3" fmla="*/ 0 h 17"/>
                <a:gd name="T4" fmla="*/ 2147483647 w 41"/>
                <a:gd name="T5" fmla="*/ 2147483647 h 17"/>
                <a:gd name="T6" fmla="*/ 2147483647 w 41"/>
                <a:gd name="T7" fmla="*/ 2147483647 h 17"/>
                <a:gd name="T8" fmla="*/ 2147483647 w 41"/>
                <a:gd name="T9" fmla="*/ 2147483647 h 17"/>
                <a:gd name="T10" fmla="*/ 2147483647 w 41"/>
                <a:gd name="T11" fmla="*/ 2147483647 h 17"/>
                <a:gd name="T12" fmla="*/ 0 w 41"/>
                <a:gd name="T13" fmla="*/ 2147483647 h 17"/>
                <a:gd name="T14" fmla="*/ 0 w 41"/>
                <a:gd name="T15" fmla="*/ 2147483647 h 17"/>
                <a:gd name="T16" fmla="*/ 2147483647 w 41"/>
                <a:gd name="T17" fmla="*/ 2147483647 h 17"/>
                <a:gd name="T18" fmla="*/ 2147483647 w 41"/>
                <a:gd name="T19" fmla="*/ 2147483647 h 17"/>
                <a:gd name="T20" fmla="*/ 2147483647 w 41"/>
                <a:gd name="T21" fmla="*/ 2147483647 h 17"/>
                <a:gd name="T22" fmla="*/ 2147483647 w 41"/>
                <a:gd name="T23" fmla="*/ 2147483647 h 17"/>
                <a:gd name="T24" fmla="*/ 2147483647 w 41"/>
                <a:gd name="T25" fmla="*/ 2147483647 h 17"/>
                <a:gd name="T26" fmla="*/ 2147483647 w 41"/>
                <a:gd name="T27" fmla="*/ 2147483647 h 17"/>
                <a:gd name="T28" fmla="*/ 2147483647 w 41"/>
                <a:gd name="T29" fmla="*/ 2147483647 h 17"/>
                <a:gd name="T30" fmla="*/ 2147483647 w 41"/>
                <a:gd name="T31" fmla="*/ 2147483647 h 17"/>
                <a:gd name="T32" fmla="*/ 2147483647 w 41"/>
                <a:gd name="T33" fmla="*/ 2147483647 h 17"/>
                <a:gd name="T34" fmla="*/ 2147483647 w 41"/>
                <a:gd name="T35" fmla="*/ 2147483647 h 17"/>
                <a:gd name="T36" fmla="*/ 2147483647 w 41"/>
                <a:gd name="T37" fmla="*/ 2147483647 h 17"/>
                <a:gd name="T38" fmla="*/ 2147483647 w 41"/>
                <a:gd name="T39" fmla="*/ 2147483647 h 17"/>
                <a:gd name="T40" fmla="*/ 2147483647 w 41"/>
                <a:gd name="T41" fmla="*/ 2147483647 h 17"/>
                <a:gd name="T42" fmla="*/ 2147483647 w 41"/>
                <a:gd name="T43" fmla="*/ 2147483647 h 17"/>
                <a:gd name="T44" fmla="*/ 2147483647 w 41"/>
                <a:gd name="T45" fmla="*/ 2147483647 h 17"/>
                <a:gd name="T46" fmla="*/ 2147483647 w 41"/>
                <a:gd name="T47" fmla="*/ 2147483647 h 17"/>
                <a:gd name="T48" fmla="*/ 2147483647 w 41"/>
                <a:gd name="T49" fmla="*/ 2147483647 h 17"/>
                <a:gd name="T50" fmla="*/ 2147483647 w 41"/>
                <a:gd name="T51" fmla="*/ 2147483647 h 17"/>
                <a:gd name="T52" fmla="*/ 2147483647 w 41"/>
                <a:gd name="T53" fmla="*/ 2147483647 h 17"/>
                <a:gd name="T54" fmla="*/ 2147483647 w 41"/>
                <a:gd name="T55" fmla="*/ 2147483647 h 17"/>
                <a:gd name="T56" fmla="*/ 2147483647 w 41"/>
                <a:gd name="T57" fmla="*/ 2147483647 h 17"/>
                <a:gd name="T58" fmla="*/ 2147483647 w 41"/>
                <a:gd name="T59" fmla="*/ 0 h 17"/>
                <a:gd name="T60" fmla="*/ 2147483647 w 41"/>
                <a:gd name="T61" fmla="*/ 0 h 17"/>
                <a:gd name="T62" fmla="*/ 2147483647 w 41"/>
                <a:gd name="T63" fmla="*/ 0 h 17"/>
                <a:gd name="T64" fmla="*/ 2147483647 w 41"/>
                <a:gd name="T65" fmla="*/ 0 h 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41"/>
                <a:gd name="T100" fmla="*/ 0 h 17"/>
                <a:gd name="T101" fmla="*/ 41 w 41"/>
                <a:gd name="T102" fmla="*/ 17 h 1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41" h="17">
                  <a:moveTo>
                    <a:pt x="15" y="0"/>
                  </a:moveTo>
                  <a:lnTo>
                    <a:pt x="15" y="0"/>
                  </a:lnTo>
                  <a:lnTo>
                    <a:pt x="12" y="3"/>
                  </a:lnTo>
                  <a:lnTo>
                    <a:pt x="6" y="5"/>
                  </a:lnTo>
                  <a:lnTo>
                    <a:pt x="3" y="5"/>
                  </a:lnTo>
                  <a:lnTo>
                    <a:pt x="0" y="14"/>
                  </a:lnTo>
                  <a:lnTo>
                    <a:pt x="3" y="14"/>
                  </a:lnTo>
                  <a:lnTo>
                    <a:pt x="18" y="17"/>
                  </a:lnTo>
                  <a:lnTo>
                    <a:pt x="21" y="17"/>
                  </a:lnTo>
                  <a:lnTo>
                    <a:pt x="41" y="14"/>
                  </a:lnTo>
                  <a:lnTo>
                    <a:pt x="41" y="11"/>
                  </a:lnTo>
                  <a:lnTo>
                    <a:pt x="38" y="5"/>
                  </a:lnTo>
                  <a:lnTo>
                    <a:pt x="32" y="5"/>
                  </a:lnTo>
                  <a:lnTo>
                    <a:pt x="29" y="5"/>
                  </a:lnTo>
                  <a:lnTo>
                    <a:pt x="18" y="3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52" name="Freeform 253"/>
            <p:cNvSpPr>
              <a:spLocks/>
            </p:cNvSpPr>
            <p:nvPr/>
          </p:nvSpPr>
          <p:spPr bwMode="auto">
            <a:xfrm>
              <a:off x="4679950" y="2524125"/>
              <a:ext cx="150813" cy="77788"/>
            </a:xfrm>
            <a:custGeom>
              <a:avLst/>
              <a:gdLst>
                <a:gd name="T0" fmla="*/ 2147483647 w 94"/>
                <a:gd name="T1" fmla="*/ 2147483647 h 49"/>
                <a:gd name="T2" fmla="*/ 2147483647 w 94"/>
                <a:gd name="T3" fmla="*/ 2147483647 h 49"/>
                <a:gd name="T4" fmla="*/ 2147483647 w 94"/>
                <a:gd name="T5" fmla="*/ 2147483647 h 49"/>
                <a:gd name="T6" fmla="*/ 2147483647 w 94"/>
                <a:gd name="T7" fmla="*/ 2147483647 h 49"/>
                <a:gd name="T8" fmla="*/ 2147483647 w 94"/>
                <a:gd name="T9" fmla="*/ 2147483647 h 49"/>
                <a:gd name="T10" fmla="*/ 2147483647 w 94"/>
                <a:gd name="T11" fmla="*/ 2147483647 h 49"/>
                <a:gd name="T12" fmla="*/ 2147483647 w 94"/>
                <a:gd name="T13" fmla="*/ 2147483647 h 49"/>
                <a:gd name="T14" fmla="*/ 2147483647 w 94"/>
                <a:gd name="T15" fmla="*/ 2147483647 h 49"/>
                <a:gd name="T16" fmla="*/ 2147483647 w 94"/>
                <a:gd name="T17" fmla="*/ 2147483647 h 49"/>
                <a:gd name="T18" fmla="*/ 2147483647 w 94"/>
                <a:gd name="T19" fmla="*/ 2147483647 h 49"/>
                <a:gd name="T20" fmla="*/ 2147483647 w 94"/>
                <a:gd name="T21" fmla="*/ 2147483647 h 49"/>
                <a:gd name="T22" fmla="*/ 2147483647 w 94"/>
                <a:gd name="T23" fmla="*/ 2147483647 h 49"/>
                <a:gd name="T24" fmla="*/ 2147483647 w 94"/>
                <a:gd name="T25" fmla="*/ 2147483647 h 49"/>
                <a:gd name="T26" fmla="*/ 2147483647 w 94"/>
                <a:gd name="T27" fmla="*/ 2147483647 h 49"/>
                <a:gd name="T28" fmla="*/ 2147483647 w 94"/>
                <a:gd name="T29" fmla="*/ 2147483647 h 49"/>
                <a:gd name="T30" fmla="*/ 2147483647 w 94"/>
                <a:gd name="T31" fmla="*/ 2147483647 h 49"/>
                <a:gd name="T32" fmla="*/ 2147483647 w 94"/>
                <a:gd name="T33" fmla="*/ 2147483647 h 49"/>
                <a:gd name="T34" fmla="*/ 2147483647 w 94"/>
                <a:gd name="T35" fmla="*/ 2147483647 h 49"/>
                <a:gd name="T36" fmla="*/ 2147483647 w 94"/>
                <a:gd name="T37" fmla="*/ 2147483647 h 49"/>
                <a:gd name="T38" fmla="*/ 2147483647 w 94"/>
                <a:gd name="T39" fmla="*/ 2147483647 h 49"/>
                <a:gd name="T40" fmla="*/ 2147483647 w 94"/>
                <a:gd name="T41" fmla="*/ 2147483647 h 49"/>
                <a:gd name="T42" fmla="*/ 2147483647 w 94"/>
                <a:gd name="T43" fmla="*/ 2147483647 h 49"/>
                <a:gd name="T44" fmla="*/ 2147483647 w 94"/>
                <a:gd name="T45" fmla="*/ 2147483647 h 49"/>
                <a:gd name="T46" fmla="*/ 2147483647 w 94"/>
                <a:gd name="T47" fmla="*/ 2147483647 h 49"/>
                <a:gd name="T48" fmla="*/ 2147483647 w 94"/>
                <a:gd name="T49" fmla="*/ 0 h 49"/>
                <a:gd name="T50" fmla="*/ 2147483647 w 94"/>
                <a:gd name="T51" fmla="*/ 0 h 49"/>
                <a:gd name="T52" fmla="*/ 2147483647 w 94"/>
                <a:gd name="T53" fmla="*/ 0 h 49"/>
                <a:gd name="T54" fmla="*/ 2147483647 w 94"/>
                <a:gd name="T55" fmla="*/ 2147483647 h 49"/>
                <a:gd name="T56" fmla="*/ 2147483647 w 94"/>
                <a:gd name="T57" fmla="*/ 2147483647 h 49"/>
                <a:gd name="T58" fmla="*/ 2147483647 w 94"/>
                <a:gd name="T59" fmla="*/ 2147483647 h 49"/>
                <a:gd name="T60" fmla="*/ 2147483647 w 94"/>
                <a:gd name="T61" fmla="*/ 2147483647 h 49"/>
                <a:gd name="T62" fmla="*/ 2147483647 w 94"/>
                <a:gd name="T63" fmla="*/ 2147483647 h 49"/>
                <a:gd name="T64" fmla="*/ 2147483647 w 94"/>
                <a:gd name="T65" fmla="*/ 2147483647 h 49"/>
                <a:gd name="T66" fmla="*/ 2147483647 w 94"/>
                <a:gd name="T67" fmla="*/ 2147483647 h 49"/>
                <a:gd name="T68" fmla="*/ 2147483647 w 94"/>
                <a:gd name="T69" fmla="*/ 2147483647 h 49"/>
                <a:gd name="T70" fmla="*/ 2147483647 w 94"/>
                <a:gd name="T71" fmla="*/ 2147483647 h 49"/>
                <a:gd name="T72" fmla="*/ 2147483647 w 94"/>
                <a:gd name="T73" fmla="*/ 2147483647 h 49"/>
                <a:gd name="T74" fmla="*/ 2147483647 w 94"/>
                <a:gd name="T75" fmla="*/ 2147483647 h 49"/>
                <a:gd name="T76" fmla="*/ 2147483647 w 94"/>
                <a:gd name="T77" fmla="*/ 2147483647 h 49"/>
                <a:gd name="T78" fmla="*/ 2147483647 w 94"/>
                <a:gd name="T79" fmla="*/ 2147483647 h 49"/>
                <a:gd name="T80" fmla="*/ 2147483647 w 94"/>
                <a:gd name="T81" fmla="*/ 2147483647 h 49"/>
                <a:gd name="T82" fmla="*/ 0 w 94"/>
                <a:gd name="T83" fmla="*/ 2147483647 h 49"/>
                <a:gd name="T84" fmla="*/ 0 w 94"/>
                <a:gd name="T85" fmla="*/ 2147483647 h 49"/>
                <a:gd name="T86" fmla="*/ 2147483647 w 94"/>
                <a:gd name="T87" fmla="*/ 2147483647 h 49"/>
                <a:gd name="T88" fmla="*/ 2147483647 w 94"/>
                <a:gd name="T89" fmla="*/ 2147483647 h 49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94"/>
                <a:gd name="T136" fmla="*/ 0 h 49"/>
                <a:gd name="T137" fmla="*/ 94 w 94"/>
                <a:gd name="T138" fmla="*/ 49 h 49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94" h="49">
                  <a:moveTo>
                    <a:pt x="11" y="40"/>
                  </a:moveTo>
                  <a:lnTo>
                    <a:pt x="14" y="43"/>
                  </a:lnTo>
                  <a:lnTo>
                    <a:pt x="23" y="46"/>
                  </a:lnTo>
                  <a:lnTo>
                    <a:pt x="28" y="49"/>
                  </a:lnTo>
                  <a:lnTo>
                    <a:pt x="34" y="49"/>
                  </a:lnTo>
                  <a:lnTo>
                    <a:pt x="34" y="46"/>
                  </a:lnTo>
                  <a:lnTo>
                    <a:pt x="40" y="46"/>
                  </a:lnTo>
                  <a:lnTo>
                    <a:pt x="43" y="43"/>
                  </a:lnTo>
                  <a:lnTo>
                    <a:pt x="48" y="40"/>
                  </a:lnTo>
                  <a:lnTo>
                    <a:pt x="63" y="40"/>
                  </a:lnTo>
                  <a:lnTo>
                    <a:pt x="66" y="37"/>
                  </a:lnTo>
                  <a:lnTo>
                    <a:pt x="68" y="37"/>
                  </a:lnTo>
                  <a:lnTo>
                    <a:pt x="71" y="37"/>
                  </a:lnTo>
                  <a:lnTo>
                    <a:pt x="74" y="34"/>
                  </a:lnTo>
                  <a:lnTo>
                    <a:pt x="80" y="26"/>
                  </a:lnTo>
                  <a:lnTo>
                    <a:pt x="83" y="23"/>
                  </a:lnTo>
                  <a:lnTo>
                    <a:pt x="83" y="17"/>
                  </a:lnTo>
                  <a:lnTo>
                    <a:pt x="89" y="11"/>
                  </a:lnTo>
                  <a:lnTo>
                    <a:pt x="94" y="9"/>
                  </a:lnTo>
                  <a:lnTo>
                    <a:pt x="94" y="6"/>
                  </a:lnTo>
                  <a:lnTo>
                    <a:pt x="86" y="3"/>
                  </a:lnTo>
                  <a:lnTo>
                    <a:pt x="83" y="3"/>
                  </a:lnTo>
                  <a:lnTo>
                    <a:pt x="77" y="0"/>
                  </a:lnTo>
                  <a:lnTo>
                    <a:pt x="68" y="0"/>
                  </a:lnTo>
                  <a:lnTo>
                    <a:pt x="60" y="0"/>
                  </a:lnTo>
                  <a:lnTo>
                    <a:pt x="63" y="6"/>
                  </a:lnTo>
                  <a:lnTo>
                    <a:pt x="57" y="9"/>
                  </a:lnTo>
                  <a:lnTo>
                    <a:pt x="48" y="9"/>
                  </a:lnTo>
                  <a:lnTo>
                    <a:pt x="34" y="14"/>
                  </a:lnTo>
                  <a:lnTo>
                    <a:pt x="20" y="14"/>
                  </a:lnTo>
                  <a:lnTo>
                    <a:pt x="11" y="9"/>
                  </a:lnTo>
                  <a:lnTo>
                    <a:pt x="8" y="14"/>
                  </a:lnTo>
                  <a:lnTo>
                    <a:pt x="2" y="14"/>
                  </a:lnTo>
                  <a:lnTo>
                    <a:pt x="5" y="14"/>
                  </a:lnTo>
                  <a:lnTo>
                    <a:pt x="5" y="17"/>
                  </a:lnTo>
                  <a:lnTo>
                    <a:pt x="2" y="20"/>
                  </a:lnTo>
                  <a:lnTo>
                    <a:pt x="2" y="29"/>
                  </a:lnTo>
                  <a:lnTo>
                    <a:pt x="0" y="29"/>
                  </a:lnTo>
                  <a:lnTo>
                    <a:pt x="2" y="34"/>
                  </a:lnTo>
                  <a:lnTo>
                    <a:pt x="11" y="4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53" name="Freeform 254"/>
            <p:cNvSpPr>
              <a:spLocks/>
            </p:cNvSpPr>
            <p:nvPr/>
          </p:nvSpPr>
          <p:spPr bwMode="auto">
            <a:xfrm>
              <a:off x="4692650" y="2492375"/>
              <a:ext cx="130175" cy="49213"/>
            </a:xfrm>
            <a:custGeom>
              <a:avLst/>
              <a:gdLst>
                <a:gd name="T0" fmla="*/ 2147483647 w 81"/>
                <a:gd name="T1" fmla="*/ 2147483647 h 31"/>
                <a:gd name="T2" fmla="*/ 2147483647 w 81"/>
                <a:gd name="T3" fmla="*/ 2147483647 h 31"/>
                <a:gd name="T4" fmla="*/ 2147483647 w 81"/>
                <a:gd name="T5" fmla="*/ 2147483647 h 31"/>
                <a:gd name="T6" fmla="*/ 2147483647 w 81"/>
                <a:gd name="T7" fmla="*/ 2147483647 h 31"/>
                <a:gd name="T8" fmla="*/ 2147483647 w 81"/>
                <a:gd name="T9" fmla="*/ 2147483647 h 31"/>
                <a:gd name="T10" fmla="*/ 2147483647 w 81"/>
                <a:gd name="T11" fmla="*/ 2147483647 h 31"/>
                <a:gd name="T12" fmla="*/ 2147483647 w 81"/>
                <a:gd name="T13" fmla="*/ 0 h 31"/>
                <a:gd name="T14" fmla="*/ 2147483647 w 81"/>
                <a:gd name="T15" fmla="*/ 2147483647 h 31"/>
                <a:gd name="T16" fmla="*/ 2147483647 w 81"/>
                <a:gd name="T17" fmla="*/ 0 h 31"/>
                <a:gd name="T18" fmla="*/ 2147483647 w 81"/>
                <a:gd name="T19" fmla="*/ 2147483647 h 31"/>
                <a:gd name="T20" fmla="*/ 2147483647 w 81"/>
                <a:gd name="T21" fmla="*/ 2147483647 h 31"/>
                <a:gd name="T22" fmla="*/ 2147483647 w 81"/>
                <a:gd name="T23" fmla="*/ 2147483647 h 31"/>
                <a:gd name="T24" fmla="*/ 0 w 81"/>
                <a:gd name="T25" fmla="*/ 2147483647 h 31"/>
                <a:gd name="T26" fmla="*/ 2147483647 w 81"/>
                <a:gd name="T27" fmla="*/ 2147483647 h 31"/>
                <a:gd name="T28" fmla="*/ 2147483647 w 81"/>
                <a:gd name="T29" fmla="*/ 2147483647 h 31"/>
                <a:gd name="T30" fmla="*/ 2147483647 w 81"/>
                <a:gd name="T31" fmla="*/ 2147483647 h 31"/>
                <a:gd name="T32" fmla="*/ 2147483647 w 81"/>
                <a:gd name="T33" fmla="*/ 2147483647 h 31"/>
                <a:gd name="T34" fmla="*/ 2147483647 w 81"/>
                <a:gd name="T35" fmla="*/ 2147483647 h 31"/>
                <a:gd name="T36" fmla="*/ 2147483647 w 81"/>
                <a:gd name="T37" fmla="*/ 2147483647 h 31"/>
                <a:gd name="T38" fmla="*/ 2147483647 w 81"/>
                <a:gd name="T39" fmla="*/ 2147483647 h 31"/>
                <a:gd name="T40" fmla="*/ 2147483647 w 81"/>
                <a:gd name="T41" fmla="*/ 2147483647 h 31"/>
                <a:gd name="T42" fmla="*/ 2147483647 w 81"/>
                <a:gd name="T43" fmla="*/ 2147483647 h 31"/>
                <a:gd name="T44" fmla="*/ 2147483647 w 81"/>
                <a:gd name="T45" fmla="*/ 2147483647 h 31"/>
                <a:gd name="T46" fmla="*/ 2147483647 w 81"/>
                <a:gd name="T47" fmla="*/ 2147483647 h 31"/>
                <a:gd name="T48" fmla="*/ 2147483647 w 81"/>
                <a:gd name="T49" fmla="*/ 2147483647 h 31"/>
                <a:gd name="T50" fmla="*/ 2147483647 w 81"/>
                <a:gd name="T51" fmla="*/ 2147483647 h 31"/>
                <a:gd name="T52" fmla="*/ 2147483647 w 81"/>
                <a:gd name="T53" fmla="*/ 2147483647 h 31"/>
                <a:gd name="T54" fmla="*/ 2147483647 w 81"/>
                <a:gd name="T55" fmla="*/ 2147483647 h 31"/>
                <a:gd name="T56" fmla="*/ 2147483647 w 81"/>
                <a:gd name="T57" fmla="*/ 2147483647 h 31"/>
                <a:gd name="T58" fmla="*/ 2147483647 w 81"/>
                <a:gd name="T59" fmla="*/ 2147483647 h 31"/>
                <a:gd name="T60" fmla="*/ 2147483647 w 81"/>
                <a:gd name="T61" fmla="*/ 2147483647 h 31"/>
                <a:gd name="T62" fmla="*/ 2147483647 w 81"/>
                <a:gd name="T63" fmla="*/ 2147483647 h 3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81"/>
                <a:gd name="T97" fmla="*/ 0 h 31"/>
                <a:gd name="T98" fmla="*/ 81 w 81"/>
                <a:gd name="T99" fmla="*/ 31 h 3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81" h="31">
                  <a:moveTo>
                    <a:pt x="75" y="6"/>
                  </a:moveTo>
                  <a:lnTo>
                    <a:pt x="75" y="6"/>
                  </a:lnTo>
                  <a:lnTo>
                    <a:pt x="63" y="3"/>
                  </a:lnTo>
                  <a:lnTo>
                    <a:pt x="58" y="6"/>
                  </a:lnTo>
                  <a:lnTo>
                    <a:pt x="49" y="3"/>
                  </a:lnTo>
                  <a:lnTo>
                    <a:pt x="43" y="6"/>
                  </a:lnTo>
                  <a:lnTo>
                    <a:pt x="35" y="0"/>
                  </a:lnTo>
                  <a:lnTo>
                    <a:pt x="29" y="3"/>
                  </a:lnTo>
                  <a:lnTo>
                    <a:pt x="26" y="0"/>
                  </a:lnTo>
                  <a:lnTo>
                    <a:pt x="20" y="3"/>
                  </a:lnTo>
                  <a:lnTo>
                    <a:pt x="12" y="11"/>
                  </a:lnTo>
                  <a:lnTo>
                    <a:pt x="3" y="11"/>
                  </a:lnTo>
                  <a:lnTo>
                    <a:pt x="0" y="17"/>
                  </a:lnTo>
                  <a:lnTo>
                    <a:pt x="3" y="26"/>
                  </a:lnTo>
                  <a:lnTo>
                    <a:pt x="15" y="31"/>
                  </a:lnTo>
                  <a:lnTo>
                    <a:pt x="26" y="31"/>
                  </a:lnTo>
                  <a:lnTo>
                    <a:pt x="40" y="26"/>
                  </a:lnTo>
                  <a:lnTo>
                    <a:pt x="49" y="26"/>
                  </a:lnTo>
                  <a:lnTo>
                    <a:pt x="52" y="23"/>
                  </a:lnTo>
                  <a:lnTo>
                    <a:pt x="49" y="14"/>
                  </a:lnTo>
                  <a:lnTo>
                    <a:pt x="60" y="17"/>
                  </a:lnTo>
                  <a:lnTo>
                    <a:pt x="69" y="14"/>
                  </a:lnTo>
                  <a:lnTo>
                    <a:pt x="75" y="20"/>
                  </a:lnTo>
                  <a:lnTo>
                    <a:pt x="75" y="17"/>
                  </a:lnTo>
                  <a:lnTo>
                    <a:pt x="78" y="11"/>
                  </a:lnTo>
                  <a:lnTo>
                    <a:pt x="81" y="8"/>
                  </a:lnTo>
                  <a:lnTo>
                    <a:pt x="75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54" name="Freeform 255"/>
            <p:cNvSpPr>
              <a:spLocks/>
            </p:cNvSpPr>
            <p:nvPr/>
          </p:nvSpPr>
          <p:spPr bwMode="auto">
            <a:xfrm>
              <a:off x="4770438" y="2789238"/>
              <a:ext cx="9525" cy="4762"/>
            </a:xfrm>
            <a:custGeom>
              <a:avLst/>
              <a:gdLst>
                <a:gd name="T0" fmla="*/ 2147483647 w 6"/>
                <a:gd name="T1" fmla="*/ 0 h 3"/>
                <a:gd name="T2" fmla="*/ 0 w 6"/>
                <a:gd name="T3" fmla="*/ 0 h 3"/>
                <a:gd name="T4" fmla="*/ 0 w 6"/>
                <a:gd name="T5" fmla="*/ 0 h 3"/>
                <a:gd name="T6" fmla="*/ 2147483647 w 6"/>
                <a:gd name="T7" fmla="*/ 2147483647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6" y="0"/>
                  </a:moveTo>
                  <a:lnTo>
                    <a:pt x="0" y="0"/>
                  </a:lnTo>
                  <a:lnTo>
                    <a:pt x="3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55" name="Rectangle 256"/>
            <p:cNvSpPr>
              <a:spLocks noChangeArrowheads="1"/>
            </p:cNvSpPr>
            <p:nvPr/>
          </p:nvSpPr>
          <p:spPr bwMode="auto">
            <a:xfrm>
              <a:off x="4770438" y="2794000"/>
              <a:ext cx="4762" cy="6350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56" name="Freeform 257"/>
            <p:cNvSpPr>
              <a:spLocks/>
            </p:cNvSpPr>
            <p:nvPr/>
          </p:nvSpPr>
          <p:spPr bwMode="auto">
            <a:xfrm>
              <a:off x="4765675" y="2786063"/>
              <a:ext cx="4763" cy="3175"/>
            </a:xfrm>
            <a:custGeom>
              <a:avLst/>
              <a:gdLst>
                <a:gd name="T0" fmla="*/ 0 w 3"/>
                <a:gd name="T1" fmla="*/ 0 h 2"/>
                <a:gd name="T2" fmla="*/ 2147483647 w 3"/>
                <a:gd name="T3" fmla="*/ 2147483647 h 2"/>
                <a:gd name="T4" fmla="*/ 2147483647 w 3"/>
                <a:gd name="T5" fmla="*/ 2147483647 h 2"/>
                <a:gd name="T6" fmla="*/ 0 w 3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2"/>
                <a:gd name="T14" fmla="*/ 3 w 3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2">
                  <a:moveTo>
                    <a:pt x="0" y="0"/>
                  </a:moveTo>
                  <a:lnTo>
                    <a:pt x="3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57" name="Freeform 258"/>
            <p:cNvSpPr>
              <a:spLocks/>
            </p:cNvSpPr>
            <p:nvPr/>
          </p:nvSpPr>
          <p:spPr bwMode="auto">
            <a:xfrm>
              <a:off x="4899025" y="2873375"/>
              <a:ext cx="4763" cy="4763"/>
            </a:xfrm>
            <a:custGeom>
              <a:avLst/>
              <a:gdLst>
                <a:gd name="T0" fmla="*/ 2147483647 w 3"/>
                <a:gd name="T1" fmla="*/ 0 h 3"/>
                <a:gd name="T2" fmla="*/ 0 w 3"/>
                <a:gd name="T3" fmla="*/ 0 h 3"/>
                <a:gd name="T4" fmla="*/ 2147483647 w 3"/>
                <a:gd name="T5" fmla="*/ 2147483647 h 3"/>
                <a:gd name="T6" fmla="*/ 2147483647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3" y="0"/>
                  </a:moveTo>
                  <a:lnTo>
                    <a:pt x="0" y="0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58" name="Freeform 259"/>
            <p:cNvSpPr>
              <a:spLocks/>
            </p:cNvSpPr>
            <p:nvPr/>
          </p:nvSpPr>
          <p:spPr bwMode="auto">
            <a:xfrm>
              <a:off x="4775200" y="2284413"/>
              <a:ext cx="128588" cy="74612"/>
            </a:xfrm>
            <a:custGeom>
              <a:avLst/>
              <a:gdLst>
                <a:gd name="T0" fmla="*/ 2147483647 w 80"/>
                <a:gd name="T1" fmla="*/ 2147483647 h 46"/>
                <a:gd name="T2" fmla="*/ 0 w 80"/>
                <a:gd name="T3" fmla="*/ 2147483647 h 46"/>
                <a:gd name="T4" fmla="*/ 0 w 80"/>
                <a:gd name="T5" fmla="*/ 2147483647 h 46"/>
                <a:gd name="T6" fmla="*/ 2147483647 w 80"/>
                <a:gd name="T7" fmla="*/ 2147483647 h 46"/>
                <a:gd name="T8" fmla="*/ 2147483647 w 80"/>
                <a:gd name="T9" fmla="*/ 2147483647 h 46"/>
                <a:gd name="T10" fmla="*/ 2147483647 w 80"/>
                <a:gd name="T11" fmla="*/ 2147483647 h 46"/>
                <a:gd name="T12" fmla="*/ 2147483647 w 80"/>
                <a:gd name="T13" fmla="*/ 2147483647 h 46"/>
                <a:gd name="T14" fmla="*/ 2147483647 w 80"/>
                <a:gd name="T15" fmla="*/ 2147483647 h 46"/>
                <a:gd name="T16" fmla="*/ 2147483647 w 80"/>
                <a:gd name="T17" fmla="*/ 2147483647 h 46"/>
                <a:gd name="T18" fmla="*/ 2147483647 w 80"/>
                <a:gd name="T19" fmla="*/ 2147483647 h 46"/>
                <a:gd name="T20" fmla="*/ 2147483647 w 80"/>
                <a:gd name="T21" fmla="*/ 2147483647 h 46"/>
                <a:gd name="T22" fmla="*/ 2147483647 w 80"/>
                <a:gd name="T23" fmla="*/ 2147483647 h 46"/>
                <a:gd name="T24" fmla="*/ 2147483647 w 80"/>
                <a:gd name="T25" fmla="*/ 2147483647 h 46"/>
                <a:gd name="T26" fmla="*/ 2147483647 w 80"/>
                <a:gd name="T27" fmla="*/ 2147483647 h 46"/>
                <a:gd name="T28" fmla="*/ 2147483647 w 80"/>
                <a:gd name="T29" fmla="*/ 2147483647 h 46"/>
                <a:gd name="T30" fmla="*/ 2147483647 w 80"/>
                <a:gd name="T31" fmla="*/ 2147483647 h 46"/>
                <a:gd name="T32" fmla="*/ 2147483647 w 80"/>
                <a:gd name="T33" fmla="*/ 2147483647 h 46"/>
                <a:gd name="T34" fmla="*/ 2147483647 w 80"/>
                <a:gd name="T35" fmla="*/ 2147483647 h 46"/>
                <a:gd name="T36" fmla="*/ 2147483647 w 80"/>
                <a:gd name="T37" fmla="*/ 2147483647 h 46"/>
                <a:gd name="T38" fmla="*/ 2147483647 w 80"/>
                <a:gd name="T39" fmla="*/ 2147483647 h 46"/>
                <a:gd name="T40" fmla="*/ 2147483647 w 80"/>
                <a:gd name="T41" fmla="*/ 2147483647 h 46"/>
                <a:gd name="T42" fmla="*/ 2147483647 w 80"/>
                <a:gd name="T43" fmla="*/ 2147483647 h 46"/>
                <a:gd name="T44" fmla="*/ 2147483647 w 80"/>
                <a:gd name="T45" fmla="*/ 2147483647 h 46"/>
                <a:gd name="T46" fmla="*/ 2147483647 w 80"/>
                <a:gd name="T47" fmla="*/ 0 h 46"/>
                <a:gd name="T48" fmla="*/ 2147483647 w 80"/>
                <a:gd name="T49" fmla="*/ 0 h 46"/>
                <a:gd name="T50" fmla="*/ 2147483647 w 80"/>
                <a:gd name="T51" fmla="*/ 2147483647 h 46"/>
                <a:gd name="T52" fmla="*/ 2147483647 w 80"/>
                <a:gd name="T53" fmla="*/ 2147483647 h 46"/>
                <a:gd name="T54" fmla="*/ 2147483647 w 80"/>
                <a:gd name="T55" fmla="*/ 2147483647 h 46"/>
                <a:gd name="T56" fmla="*/ 2147483647 w 80"/>
                <a:gd name="T57" fmla="*/ 2147483647 h 46"/>
                <a:gd name="T58" fmla="*/ 2147483647 w 80"/>
                <a:gd name="T59" fmla="*/ 2147483647 h 46"/>
                <a:gd name="T60" fmla="*/ 2147483647 w 80"/>
                <a:gd name="T61" fmla="*/ 2147483647 h 46"/>
                <a:gd name="T62" fmla="*/ 2147483647 w 80"/>
                <a:gd name="T63" fmla="*/ 2147483647 h 4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80"/>
                <a:gd name="T97" fmla="*/ 0 h 46"/>
                <a:gd name="T98" fmla="*/ 80 w 80"/>
                <a:gd name="T99" fmla="*/ 46 h 4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80" h="46">
                  <a:moveTo>
                    <a:pt x="6" y="5"/>
                  </a:moveTo>
                  <a:lnTo>
                    <a:pt x="6" y="5"/>
                  </a:lnTo>
                  <a:lnTo>
                    <a:pt x="0" y="8"/>
                  </a:lnTo>
                  <a:lnTo>
                    <a:pt x="0" y="11"/>
                  </a:lnTo>
                  <a:lnTo>
                    <a:pt x="3" y="17"/>
                  </a:lnTo>
                  <a:lnTo>
                    <a:pt x="6" y="20"/>
                  </a:lnTo>
                  <a:lnTo>
                    <a:pt x="8" y="20"/>
                  </a:lnTo>
                  <a:lnTo>
                    <a:pt x="14" y="23"/>
                  </a:lnTo>
                  <a:lnTo>
                    <a:pt x="17" y="23"/>
                  </a:lnTo>
                  <a:lnTo>
                    <a:pt x="23" y="23"/>
                  </a:lnTo>
                  <a:lnTo>
                    <a:pt x="26" y="25"/>
                  </a:lnTo>
                  <a:lnTo>
                    <a:pt x="29" y="28"/>
                  </a:lnTo>
                  <a:lnTo>
                    <a:pt x="31" y="28"/>
                  </a:lnTo>
                  <a:lnTo>
                    <a:pt x="31" y="31"/>
                  </a:lnTo>
                  <a:lnTo>
                    <a:pt x="29" y="37"/>
                  </a:lnTo>
                  <a:lnTo>
                    <a:pt x="37" y="40"/>
                  </a:lnTo>
                  <a:lnTo>
                    <a:pt x="40" y="46"/>
                  </a:lnTo>
                  <a:lnTo>
                    <a:pt x="46" y="43"/>
                  </a:lnTo>
                  <a:lnTo>
                    <a:pt x="54" y="43"/>
                  </a:lnTo>
                  <a:lnTo>
                    <a:pt x="57" y="40"/>
                  </a:lnTo>
                  <a:lnTo>
                    <a:pt x="60" y="40"/>
                  </a:lnTo>
                  <a:lnTo>
                    <a:pt x="66" y="37"/>
                  </a:lnTo>
                  <a:lnTo>
                    <a:pt x="66" y="40"/>
                  </a:lnTo>
                  <a:lnTo>
                    <a:pt x="69" y="37"/>
                  </a:lnTo>
                  <a:lnTo>
                    <a:pt x="66" y="34"/>
                  </a:lnTo>
                  <a:lnTo>
                    <a:pt x="69" y="25"/>
                  </a:lnTo>
                  <a:lnTo>
                    <a:pt x="74" y="23"/>
                  </a:lnTo>
                  <a:lnTo>
                    <a:pt x="80" y="23"/>
                  </a:lnTo>
                  <a:lnTo>
                    <a:pt x="80" y="20"/>
                  </a:lnTo>
                  <a:lnTo>
                    <a:pt x="77" y="17"/>
                  </a:lnTo>
                  <a:lnTo>
                    <a:pt x="77" y="14"/>
                  </a:lnTo>
                  <a:lnTo>
                    <a:pt x="66" y="8"/>
                  </a:lnTo>
                  <a:lnTo>
                    <a:pt x="57" y="5"/>
                  </a:lnTo>
                  <a:lnTo>
                    <a:pt x="51" y="0"/>
                  </a:lnTo>
                  <a:lnTo>
                    <a:pt x="43" y="0"/>
                  </a:lnTo>
                  <a:lnTo>
                    <a:pt x="31" y="3"/>
                  </a:lnTo>
                  <a:lnTo>
                    <a:pt x="29" y="3"/>
                  </a:lnTo>
                  <a:lnTo>
                    <a:pt x="17" y="3"/>
                  </a:lnTo>
                  <a:lnTo>
                    <a:pt x="14" y="3"/>
                  </a:lnTo>
                  <a:lnTo>
                    <a:pt x="6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59" name="Freeform 260"/>
            <p:cNvSpPr>
              <a:spLocks/>
            </p:cNvSpPr>
            <p:nvPr/>
          </p:nvSpPr>
          <p:spPr bwMode="auto">
            <a:xfrm>
              <a:off x="4913313" y="2868613"/>
              <a:ext cx="14287" cy="9525"/>
            </a:xfrm>
            <a:custGeom>
              <a:avLst/>
              <a:gdLst>
                <a:gd name="T0" fmla="*/ 2147483647 w 9"/>
                <a:gd name="T1" fmla="*/ 0 h 6"/>
                <a:gd name="T2" fmla="*/ 0 w 9"/>
                <a:gd name="T3" fmla="*/ 2147483647 h 6"/>
                <a:gd name="T4" fmla="*/ 2147483647 w 9"/>
                <a:gd name="T5" fmla="*/ 2147483647 h 6"/>
                <a:gd name="T6" fmla="*/ 2147483647 w 9"/>
                <a:gd name="T7" fmla="*/ 0 h 6"/>
                <a:gd name="T8" fmla="*/ 2147483647 w 9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6"/>
                <a:gd name="T17" fmla="*/ 9 w 9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6">
                  <a:moveTo>
                    <a:pt x="3" y="0"/>
                  </a:moveTo>
                  <a:lnTo>
                    <a:pt x="0" y="3"/>
                  </a:lnTo>
                  <a:lnTo>
                    <a:pt x="6" y="6"/>
                  </a:lnTo>
                  <a:lnTo>
                    <a:pt x="9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60" name="Freeform 261"/>
            <p:cNvSpPr>
              <a:spLocks/>
            </p:cNvSpPr>
            <p:nvPr/>
          </p:nvSpPr>
          <p:spPr bwMode="auto">
            <a:xfrm>
              <a:off x="4899025" y="2846388"/>
              <a:ext cx="14288" cy="14287"/>
            </a:xfrm>
            <a:custGeom>
              <a:avLst/>
              <a:gdLst>
                <a:gd name="T0" fmla="*/ 2147483647 w 9"/>
                <a:gd name="T1" fmla="*/ 2147483647 h 9"/>
                <a:gd name="T2" fmla="*/ 2147483647 w 9"/>
                <a:gd name="T3" fmla="*/ 2147483647 h 9"/>
                <a:gd name="T4" fmla="*/ 2147483647 w 9"/>
                <a:gd name="T5" fmla="*/ 2147483647 h 9"/>
                <a:gd name="T6" fmla="*/ 2147483647 w 9"/>
                <a:gd name="T7" fmla="*/ 2147483647 h 9"/>
                <a:gd name="T8" fmla="*/ 2147483647 w 9"/>
                <a:gd name="T9" fmla="*/ 0 h 9"/>
                <a:gd name="T10" fmla="*/ 0 w 9"/>
                <a:gd name="T11" fmla="*/ 2147483647 h 9"/>
                <a:gd name="T12" fmla="*/ 2147483647 w 9"/>
                <a:gd name="T13" fmla="*/ 2147483647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9"/>
                <a:gd name="T23" fmla="*/ 9 w 9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9">
                  <a:moveTo>
                    <a:pt x="6" y="9"/>
                  </a:moveTo>
                  <a:lnTo>
                    <a:pt x="9" y="6"/>
                  </a:lnTo>
                  <a:lnTo>
                    <a:pt x="9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6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61" name="Freeform 262"/>
            <p:cNvSpPr>
              <a:spLocks/>
            </p:cNvSpPr>
            <p:nvPr/>
          </p:nvSpPr>
          <p:spPr bwMode="auto">
            <a:xfrm>
              <a:off x="4903788" y="2794000"/>
              <a:ext cx="4762" cy="6350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2147483647 h 3"/>
                <a:gd name="T4" fmla="*/ 2147483647 w 3"/>
                <a:gd name="T5" fmla="*/ 2147483647 h 3"/>
                <a:gd name="T6" fmla="*/ 0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62" name="Freeform 263"/>
            <p:cNvSpPr>
              <a:spLocks/>
            </p:cNvSpPr>
            <p:nvPr/>
          </p:nvSpPr>
          <p:spPr bwMode="auto">
            <a:xfrm>
              <a:off x="4918075" y="2882900"/>
              <a:ext cx="4763" cy="4763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0 h 3"/>
                <a:gd name="T4" fmla="*/ 0 w 3"/>
                <a:gd name="T5" fmla="*/ 0 h 3"/>
                <a:gd name="T6" fmla="*/ 0 w 3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63" name="Freeform 264"/>
            <p:cNvSpPr>
              <a:spLocks/>
            </p:cNvSpPr>
            <p:nvPr/>
          </p:nvSpPr>
          <p:spPr bwMode="auto">
            <a:xfrm>
              <a:off x="4854575" y="2892425"/>
              <a:ext cx="7938" cy="7938"/>
            </a:xfrm>
            <a:custGeom>
              <a:avLst/>
              <a:gdLst>
                <a:gd name="T0" fmla="*/ 0 w 5"/>
                <a:gd name="T1" fmla="*/ 2147483647 h 5"/>
                <a:gd name="T2" fmla="*/ 2147483647 w 5"/>
                <a:gd name="T3" fmla="*/ 2147483647 h 5"/>
                <a:gd name="T4" fmla="*/ 2147483647 w 5"/>
                <a:gd name="T5" fmla="*/ 0 h 5"/>
                <a:gd name="T6" fmla="*/ 0 w 5"/>
                <a:gd name="T7" fmla="*/ 2147483647 h 5"/>
                <a:gd name="T8" fmla="*/ 0 w 5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5"/>
                <a:gd name="T17" fmla="*/ 5 w 5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5">
                  <a:moveTo>
                    <a:pt x="0" y="5"/>
                  </a:moveTo>
                  <a:lnTo>
                    <a:pt x="5" y="5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64" name="Freeform 265"/>
            <p:cNvSpPr>
              <a:spLocks/>
            </p:cNvSpPr>
            <p:nvPr/>
          </p:nvSpPr>
          <p:spPr bwMode="auto">
            <a:xfrm>
              <a:off x="4751388" y="2703513"/>
              <a:ext cx="50800" cy="85725"/>
            </a:xfrm>
            <a:custGeom>
              <a:avLst/>
              <a:gdLst>
                <a:gd name="T0" fmla="*/ 2147483647 w 32"/>
                <a:gd name="T1" fmla="*/ 2147483647 h 54"/>
                <a:gd name="T2" fmla="*/ 2147483647 w 32"/>
                <a:gd name="T3" fmla="*/ 2147483647 h 54"/>
                <a:gd name="T4" fmla="*/ 2147483647 w 32"/>
                <a:gd name="T5" fmla="*/ 2147483647 h 54"/>
                <a:gd name="T6" fmla="*/ 2147483647 w 32"/>
                <a:gd name="T7" fmla="*/ 2147483647 h 54"/>
                <a:gd name="T8" fmla="*/ 2147483647 w 32"/>
                <a:gd name="T9" fmla="*/ 2147483647 h 54"/>
                <a:gd name="T10" fmla="*/ 2147483647 w 32"/>
                <a:gd name="T11" fmla="*/ 2147483647 h 54"/>
                <a:gd name="T12" fmla="*/ 2147483647 w 32"/>
                <a:gd name="T13" fmla="*/ 2147483647 h 54"/>
                <a:gd name="T14" fmla="*/ 2147483647 w 32"/>
                <a:gd name="T15" fmla="*/ 2147483647 h 54"/>
                <a:gd name="T16" fmla="*/ 2147483647 w 32"/>
                <a:gd name="T17" fmla="*/ 2147483647 h 54"/>
                <a:gd name="T18" fmla="*/ 2147483647 w 32"/>
                <a:gd name="T19" fmla="*/ 2147483647 h 54"/>
                <a:gd name="T20" fmla="*/ 2147483647 w 32"/>
                <a:gd name="T21" fmla="*/ 2147483647 h 54"/>
                <a:gd name="T22" fmla="*/ 2147483647 w 32"/>
                <a:gd name="T23" fmla="*/ 0 h 54"/>
                <a:gd name="T24" fmla="*/ 2147483647 w 32"/>
                <a:gd name="T25" fmla="*/ 2147483647 h 54"/>
                <a:gd name="T26" fmla="*/ 2147483647 w 32"/>
                <a:gd name="T27" fmla="*/ 2147483647 h 54"/>
                <a:gd name="T28" fmla="*/ 2147483647 w 32"/>
                <a:gd name="T29" fmla="*/ 2147483647 h 54"/>
                <a:gd name="T30" fmla="*/ 2147483647 w 32"/>
                <a:gd name="T31" fmla="*/ 2147483647 h 54"/>
                <a:gd name="T32" fmla="*/ 0 w 32"/>
                <a:gd name="T33" fmla="*/ 2147483647 h 54"/>
                <a:gd name="T34" fmla="*/ 2147483647 w 32"/>
                <a:gd name="T35" fmla="*/ 2147483647 h 54"/>
                <a:gd name="T36" fmla="*/ 2147483647 w 32"/>
                <a:gd name="T37" fmla="*/ 2147483647 h 54"/>
                <a:gd name="T38" fmla="*/ 2147483647 w 32"/>
                <a:gd name="T39" fmla="*/ 2147483647 h 54"/>
                <a:gd name="T40" fmla="*/ 2147483647 w 32"/>
                <a:gd name="T41" fmla="*/ 2147483647 h 54"/>
                <a:gd name="T42" fmla="*/ 2147483647 w 32"/>
                <a:gd name="T43" fmla="*/ 2147483647 h 54"/>
                <a:gd name="T44" fmla="*/ 2147483647 w 32"/>
                <a:gd name="T45" fmla="*/ 2147483647 h 54"/>
                <a:gd name="T46" fmla="*/ 2147483647 w 32"/>
                <a:gd name="T47" fmla="*/ 2147483647 h 54"/>
                <a:gd name="T48" fmla="*/ 2147483647 w 32"/>
                <a:gd name="T49" fmla="*/ 2147483647 h 5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2"/>
                <a:gd name="T76" fmla="*/ 0 h 54"/>
                <a:gd name="T77" fmla="*/ 32 w 32"/>
                <a:gd name="T78" fmla="*/ 54 h 54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2" h="54">
                  <a:moveTo>
                    <a:pt x="18" y="54"/>
                  </a:moveTo>
                  <a:lnTo>
                    <a:pt x="21" y="49"/>
                  </a:lnTo>
                  <a:lnTo>
                    <a:pt x="23" y="43"/>
                  </a:lnTo>
                  <a:lnTo>
                    <a:pt x="32" y="37"/>
                  </a:lnTo>
                  <a:lnTo>
                    <a:pt x="32" y="34"/>
                  </a:lnTo>
                  <a:lnTo>
                    <a:pt x="29" y="34"/>
                  </a:lnTo>
                  <a:lnTo>
                    <a:pt x="23" y="29"/>
                  </a:lnTo>
                  <a:lnTo>
                    <a:pt x="23" y="20"/>
                  </a:lnTo>
                  <a:lnTo>
                    <a:pt x="23" y="11"/>
                  </a:lnTo>
                  <a:lnTo>
                    <a:pt x="18" y="6"/>
                  </a:lnTo>
                  <a:lnTo>
                    <a:pt x="15" y="0"/>
                  </a:lnTo>
                  <a:lnTo>
                    <a:pt x="9" y="6"/>
                  </a:lnTo>
                  <a:lnTo>
                    <a:pt x="9" y="3"/>
                  </a:lnTo>
                  <a:lnTo>
                    <a:pt x="6" y="6"/>
                  </a:lnTo>
                  <a:lnTo>
                    <a:pt x="0" y="11"/>
                  </a:lnTo>
                  <a:lnTo>
                    <a:pt x="6" y="14"/>
                  </a:lnTo>
                  <a:lnTo>
                    <a:pt x="6" y="20"/>
                  </a:lnTo>
                  <a:lnTo>
                    <a:pt x="6" y="34"/>
                  </a:lnTo>
                  <a:lnTo>
                    <a:pt x="6" y="46"/>
                  </a:lnTo>
                  <a:lnTo>
                    <a:pt x="12" y="46"/>
                  </a:lnTo>
                  <a:lnTo>
                    <a:pt x="15" y="52"/>
                  </a:lnTo>
                  <a:lnTo>
                    <a:pt x="18" y="5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65" name="Freeform 266"/>
            <p:cNvSpPr>
              <a:spLocks/>
            </p:cNvSpPr>
            <p:nvPr/>
          </p:nvSpPr>
          <p:spPr bwMode="auto">
            <a:xfrm>
              <a:off x="4792663" y="2717800"/>
              <a:ext cx="52387" cy="34925"/>
            </a:xfrm>
            <a:custGeom>
              <a:avLst/>
              <a:gdLst>
                <a:gd name="T0" fmla="*/ 2147483647 w 32"/>
                <a:gd name="T1" fmla="*/ 2147483647 h 22"/>
                <a:gd name="T2" fmla="*/ 2147483647 w 32"/>
                <a:gd name="T3" fmla="*/ 2147483647 h 22"/>
                <a:gd name="T4" fmla="*/ 2147483647 w 32"/>
                <a:gd name="T5" fmla="*/ 2147483647 h 22"/>
                <a:gd name="T6" fmla="*/ 2147483647 w 32"/>
                <a:gd name="T7" fmla="*/ 2147483647 h 22"/>
                <a:gd name="T8" fmla="*/ 2147483647 w 32"/>
                <a:gd name="T9" fmla="*/ 0 h 22"/>
                <a:gd name="T10" fmla="*/ 2147483647 w 32"/>
                <a:gd name="T11" fmla="*/ 0 h 22"/>
                <a:gd name="T12" fmla="*/ 2147483647 w 32"/>
                <a:gd name="T13" fmla="*/ 0 h 22"/>
                <a:gd name="T14" fmla="*/ 0 w 32"/>
                <a:gd name="T15" fmla="*/ 2147483647 h 22"/>
                <a:gd name="T16" fmla="*/ 0 w 32"/>
                <a:gd name="T17" fmla="*/ 2147483647 h 22"/>
                <a:gd name="T18" fmla="*/ 2147483647 w 32"/>
                <a:gd name="T19" fmla="*/ 2147483647 h 22"/>
                <a:gd name="T20" fmla="*/ 2147483647 w 32"/>
                <a:gd name="T21" fmla="*/ 2147483647 h 22"/>
                <a:gd name="T22" fmla="*/ 2147483647 w 32"/>
                <a:gd name="T23" fmla="*/ 2147483647 h 2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2"/>
                <a:gd name="T37" fmla="*/ 0 h 22"/>
                <a:gd name="T38" fmla="*/ 32 w 32"/>
                <a:gd name="T39" fmla="*/ 22 h 22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2" h="22">
                  <a:moveTo>
                    <a:pt x="20" y="17"/>
                  </a:moveTo>
                  <a:lnTo>
                    <a:pt x="32" y="14"/>
                  </a:lnTo>
                  <a:lnTo>
                    <a:pt x="32" y="8"/>
                  </a:lnTo>
                  <a:lnTo>
                    <a:pt x="32" y="2"/>
                  </a:lnTo>
                  <a:lnTo>
                    <a:pt x="23" y="0"/>
                  </a:lnTo>
                  <a:lnTo>
                    <a:pt x="15" y="0"/>
                  </a:lnTo>
                  <a:lnTo>
                    <a:pt x="9" y="0"/>
                  </a:lnTo>
                  <a:lnTo>
                    <a:pt x="0" y="2"/>
                  </a:lnTo>
                  <a:lnTo>
                    <a:pt x="0" y="20"/>
                  </a:lnTo>
                  <a:lnTo>
                    <a:pt x="6" y="22"/>
                  </a:lnTo>
                  <a:lnTo>
                    <a:pt x="15" y="22"/>
                  </a:lnTo>
                  <a:lnTo>
                    <a:pt x="20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66" name="Freeform 267"/>
            <p:cNvSpPr>
              <a:spLocks/>
            </p:cNvSpPr>
            <p:nvPr/>
          </p:nvSpPr>
          <p:spPr bwMode="auto">
            <a:xfrm>
              <a:off x="4787900" y="2827338"/>
              <a:ext cx="14288" cy="14287"/>
            </a:xfrm>
            <a:custGeom>
              <a:avLst/>
              <a:gdLst>
                <a:gd name="T0" fmla="*/ 2147483647 w 9"/>
                <a:gd name="T1" fmla="*/ 2147483647 h 9"/>
                <a:gd name="T2" fmla="*/ 2147483647 w 9"/>
                <a:gd name="T3" fmla="*/ 0 h 9"/>
                <a:gd name="T4" fmla="*/ 0 w 9"/>
                <a:gd name="T5" fmla="*/ 2147483647 h 9"/>
                <a:gd name="T6" fmla="*/ 2147483647 w 9"/>
                <a:gd name="T7" fmla="*/ 2147483647 h 9"/>
                <a:gd name="T8" fmla="*/ 2147483647 w 9"/>
                <a:gd name="T9" fmla="*/ 2147483647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9"/>
                <a:gd name="T17" fmla="*/ 9 w 9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9">
                  <a:moveTo>
                    <a:pt x="9" y="9"/>
                  </a:moveTo>
                  <a:lnTo>
                    <a:pt x="3" y="0"/>
                  </a:lnTo>
                  <a:lnTo>
                    <a:pt x="0" y="6"/>
                  </a:lnTo>
                  <a:lnTo>
                    <a:pt x="6" y="9"/>
                  </a:lnTo>
                  <a:lnTo>
                    <a:pt x="9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67" name="Freeform 268"/>
            <p:cNvSpPr>
              <a:spLocks/>
            </p:cNvSpPr>
            <p:nvPr/>
          </p:nvSpPr>
          <p:spPr bwMode="auto">
            <a:xfrm>
              <a:off x="4813300" y="2836863"/>
              <a:ext cx="53975" cy="55562"/>
            </a:xfrm>
            <a:custGeom>
              <a:avLst/>
              <a:gdLst>
                <a:gd name="T0" fmla="*/ 2147483647 w 34"/>
                <a:gd name="T1" fmla="*/ 2147483647 h 35"/>
                <a:gd name="T2" fmla="*/ 2147483647 w 34"/>
                <a:gd name="T3" fmla="*/ 2147483647 h 35"/>
                <a:gd name="T4" fmla="*/ 2147483647 w 34"/>
                <a:gd name="T5" fmla="*/ 2147483647 h 35"/>
                <a:gd name="T6" fmla="*/ 2147483647 w 34"/>
                <a:gd name="T7" fmla="*/ 2147483647 h 35"/>
                <a:gd name="T8" fmla="*/ 2147483647 w 34"/>
                <a:gd name="T9" fmla="*/ 2147483647 h 35"/>
                <a:gd name="T10" fmla="*/ 2147483647 w 34"/>
                <a:gd name="T11" fmla="*/ 0 h 35"/>
                <a:gd name="T12" fmla="*/ 2147483647 w 34"/>
                <a:gd name="T13" fmla="*/ 0 h 35"/>
                <a:gd name="T14" fmla="*/ 2147483647 w 34"/>
                <a:gd name="T15" fmla="*/ 0 h 35"/>
                <a:gd name="T16" fmla="*/ 2147483647 w 34"/>
                <a:gd name="T17" fmla="*/ 0 h 35"/>
                <a:gd name="T18" fmla="*/ 2147483647 w 34"/>
                <a:gd name="T19" fmla="*/ 2147483647 h 35"/>
                <a:gd name="T20" fmla="*/ 0 w 34"/>
                <a:gd name="T21" fmla="*/ 2147483647 h 35"/>
                <a:gd name="T22" fmla="*/ 0 w 34"/>
                <a:gd name="T23" fmla="*/ 2147483647 h 35"/>
                <a:gd name="T24" fmla="*/ 2147483647 w 34"/>
                <a:gd name="T25" fmla="*/ 2147483647 h 35"/>
                <a:gd name="T26" fmla="*/ 2147483647 w 34"/>
                <a:gd name="T27" fmla="*/ 2147483647 h 35"/>
                <a:gd name="T28" fmla="*/ 2147483647 w 34"/>
                <a:gd name="T29" fmla="*/ 2147483647 h 35"/>
                <a:gd name="T30" fmla="*/ 2147483647 w 34"/>
                <a:gd name="T31" fmla="*/ 2147483647 h 35"/>
                <a:gd name="T32" fmla="*/ 2147483647 w 34"/>
                <a:gd name="T33" fmla="*/ 2147483647 h 35"/>
                <a:gd name="T34" fmla="*/ 2147483647 w 34"/>
                <a:gd name="T35" fmla="*/ 2147483647 h 35"/>
                <a:gd name="T36" fmla="*/ 2147483647 w 34"/>
                <a:gd name="T37" fmla="*/ 2147483647 h 35"/>
                <a:gd name="T38" fmla="*/ 2147483647 w 34"/>
                <a:gd name="T39" fmla="*/ 2147483647 h 35"/>
                <a:gd name="T40" fmla="*/ 2147483647 w 34"/>
                <a:gd name="T41" fmla="*/ 2147483647 h 35"/>
                <a:gd name="T42" fmla="*/ 2147483647 w 34"/>
                <a:gd name="T43" fmla="*/ 2147483647 h 35"/>
                <a:gd name="T44" fmla="*/ 2147483647 w 34"/>
                <a:gd name="T45" fmla="*/ 2147483647 h 35"/>
                <a:gd name="T46" fmla="*/ 2147483647 w 34"/>
                <a:gd name="T47" fmla="*/ 2147483647 h 35"/>
                <a:gd name="T48" fmla="*/ 2147483647 w 34"/>
                <a:gd name="T49" fmla="*/ 2147483647 h 35"/>
                <a:gd name="T50" fmla="*/ 2147483647 w 34"/>
                <a:gd name="T51" fmla="*/ 2147483647 h 35"/>
                <a:gd name="T52" fmla="*/ 2147483647 w 34"/>
                <a:gd name="T53" fmla="*/ 2147483647 h 35"/>
                <a:gd name="T54" fmla="*/ 2147483647 w 34"/>
                <a:gd name="T55" fmla="*/ 2147483647 h 35"/>
                <a:gd name="T56" fmla="*/ 2147483647 w 34"/>
                <a:gd name="T57" fmla="*/ 2147483647 h 35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4"/>
                <a:gd name="T88" fmla="*/ 0 h 35"/>
                <a:gd name="T89" fmla="*/ 34 w 34"/>
                <a:gd name="T90" fmla="*/ 35 h 35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4" h="35">
                  <a:moveTo>
                    <a:pt x="34" y="15"/>
                  </a:moveTo>
                  <a:lnTo>
                    <a:pt x="34" y="15"/>
                  </a:lnTo>
                  <a:lnTo>
                    <a:pt x="31" y="12"/>
                  </a:lnTo>
                  <a:lnTo>
                    <a:pt x="26" y="6"/>
                  </a:lnTo>
                  <a:lnTo>
                    <a:pt x="17" y="0"/>
                  </a:lnTo>
                  <a:lnTo>
                    <a:pt x="14" y="0"/>
                  </a:lnTo>
                  <a:lnTo>
                    <a:pt x="8" y="0"/>
                  </a:lnTo>
                  <a:lnTo>
                    <a:pt x="3" y="3"/>
                  </a:lnTo>
                  <a:lnTo>
                    <a:pt x="0" y="9"/>
                  </a:lnTo>
                  <a:lnTo>
                    <a:pt x="3" y="9"/>
                  </a:lnTo>
                  <a:lnTo>
                    <a:pt x="6" y="9"/>
                  </a:lnTo>
                  <a:lnTo>
                    <a:pt x="6" y="12"/>
                  </a:lnTo>
                  <a:lnTo>
                    <a:pt x="8" y="17"/>
                  </a:lnTo>
                  <a:lnTo>
                    <a:pt x="6" y="20"/>
                  </a:lnTo>
                  <a:lnTo>
                    <a:pt x="8" y="29"/>
                  </a:lnTo>
                  <a:lnTo>
                    <a:pt x="14" y="20"/>
                  </a:lnTo>
                  <a:lnTo>
                    <a:pt x="17" y="32"/>
                  </a:lnTo>
                  <a:lnTo>
                    <a:pt x="20" y="26"/>
                  </a:lnTo>
                  <a:lnTo>
                    <a:pt x="23" y="29"/>
                  </a:lnTo>
                  <a:lnTo>
                    <a:pt x="28" y="35"/>
                  </a:lnTo>
                  <a:lnTo>
                    <a:pt x="34" y="35"/>
                  </a:lnTo>
                  <a:lnTo>
                    <a:pt x="28" y="23"/>
                  </a:lnTo>
                  <a:lnTo>
                    <a:pt x="26" y="17"/>
                  </a:lnTo>
                  <a:lnTo>
                    <a:pt x="26" y="15"/>
                  </a:lnTo>
                  <a:lnTo>
                    <a:pt x="34" y="1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68" name="Freeform 269"/>
            <p:cNvSpPr>
              <a:spLocks/>
            </p:cNvSpPr>
            <p:nvPr/>
          </p:nvSpPr>
          <p:spPr bwMode="auto">
            <a:xfrm>
              <a:off x="4324350" y="2781300"/>
              <a:ext cx="33338" cy="23813"/>
            </a:xfrm>
            <a:custGeom>
              <a:avLst/>
              <a:gdLst>
                <a:gd name="T0" fmla="*/ 2147483647 w 20"/>
                <a:gd name="T1" fmla="*/ 0 h 14"/>
                <a:gd name="T2" fmla="*/ 2147483647 w 20"/>
                <a:gd name="T3" fmla="*/ 0 h 14"/>
                <a:gd name="T4" fmla="*/ 2147483647 w 20"/>
                <a:gd name="T5" fmla="*/ 2147483647 h 14"/>
                <a:gd name="T6" fmla="*/ 2147483647 w 20"/>
                <a:gd name="T7" fmla="*/ 2147483647 h 14"/>
                <a:gd name="T8" fmla="*/ 2147483647 w 20"/>
                <a:gd name="T9" fmla="*/ 2147483647 h 14"/>
                <a:gd name="T10" fmla="*/ 0 w 20"/>
                <a:gd name="T11" fmla="*/ 2147483647 h 14"/>
                <a:gd name="T12" fmla="*/ 2147483647 w 20"/>
                <a:gd name="T13" fmla="*/ 2147483647 h 14"/>
                <a:gd name="T14" fmla="*/ 2147483647 w 20"/>
                <a:gd name="T15" fmla="*/ 2147483647 h 14"/>
                <a:gd name="T16" fmla="*/ 2147483647 w 20"/>
                <a:gd name="T17" fmla="*/ 2147483647 h 14"/>
                <a:gd name="T18" fmla="*/ 2147483647 w 20"/>
                <a:gd name="T19" fmla="*/ 2147483647 h 14"/>
                <a:gd name="T20" fmla="*/ 2147483647 w 20"/>
                <a:gd name="T21" fmla="*/ 2147483647 h 14"/>
                <a:gd name="T22" fmla="*/ 2147483647 w 20"/>
                <a:gd name="T23" fmla="*/ 2147483647 h 14"/>
                <a:gd name="T24" fmla="*/ 2147483647 w 20"/>
                <a:gd name="T25" fmla="*/ 2147483647 h 14"/>
                <a:gd name="T26" fmla="*/ 2147483647 w 20"/>
                <a:gd name="T27" fmla="*/ 2147483647 h 14"/>
                <a:gd name="T28" fmla="*/ 2147483647 w 20"/>
                <a:gd name="T29" fmla="*/ 2147483647 h 14"/>
                <a:gd name="T30" fmla="*/ 2147483647 w 20"/>
                <a:gd name="T31" fmla="*/ 0 h 14"/>
                <a:gd name="T32" fmla="*/ 2147483647 w 20"/>
                <a:gd name="T33" fmla="*/ 0 h 1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0"/>
                <a:gd name="T52" fmla="*/ 0 h 14"/>
                <a:gd name="T53" fmla="*/ 20 w 20"/>
                <a:gd name="T54" fmla="*/ 14 h 1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0" h="14">
                  <a:moveTo>
                    <a:pt x="14" y="0"/>
                  </a:moveTo>
                  <a:lnTo>
                    <a:pt x="14" y="0"/>
                  </a:lnTo>
                  <a:lnTo>
                    <a:pt x="8" y="3"/>
                  </a:lnTo>
                  <a:lnTo>
                    <a:pt x="2" y="5"/>
                  </a:lnTo>
                  <a:lnTo>
                    <a:pt x="0" y="8"/>
                  </a:lnTo>
                  <a:lnTo>
                    <a:pt x="2" y="11"/>
                  </a:lnTo>
                  <a:lnTo>
                    <a:pt x="8" y="11"/>
                  </a:lnTo>
                  <a:lnTo>
                    <a:pt x="17" y="14"/>
                  </a:lnTo>
                  <a:lnTo>
                    <a:pt x="20" y="8"/>
                  </a:lnTo>
                  <a:lnTo>
                    <a:pt x="20" y="3"/>
                  </a:lnTo>
                  <a:lnTo>
                    <a:pt x="17" y="3"/>
                  </a:lnTo>
                  <a:lnTo>
                    <a:pt x="14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69" name="Freeform 270"/>
            <p:cNvSpPr>
              <a:spLocks/>
            </p:cNvSpPr>
            <p:nvPr/>
          </p:nvSpPr>
          <p:spPr bwMode="auto">
            <a:xfrm>
              <a:off x="5589588" y="2703513"/>
              <a:ext cx="387350" cy="225425"/>
            </a:xfrm>
            <a:custGeom>
              <a:avLst/>
              <a:gdLst>
                <a:gd name="T0" fmla="*/ 2147483647 w 241"/>
                <a:gd name="T1" fmla="*/ 2147483647 h 141"/>
                <a:gd name="T2" fmla="*/ 2147483647 w 241"/>
                <a:gd name="T3" fmla="*/ 2147483647 h 141"/>
                <a:gd name="T4" fmla="*/ 2147483647 w 241"/>
                <a:gd name="T5" fmla="*/ 2147483647 h 141"/>
                <a:gd name="T6" fmla="*/ 2147483647 w 241"/>
                <a:gd name="T7" fmla="*/ 2147483647 h 141"/>
                <a:gd name="T8" fmla="*/ 2147483647 w 241"/>
                <a:gd name="T9" fmla="*/ 2147483647 h 141"/>
                <a:gd name="T10" fmla="*/ 2147483647 w 241"/>
                <a:gd name="T11" fmla="*/ 2147483647 h 141"/>
                <a:gd name="T12" fmla="*/ 2147483647 w 241"/>
                <a:gd name="T13" fmla="*/ 2147483647 h 141"/>
                <a:gd name="T14" fmla="*/ 2147483647 w 241"/>
                <a:gd name="T15" fmla="*/ 2147483647 h 141"/>
                <a:gd name="T16" fmla="*/ 2147483647 w 241"/>
                <a:gd name="T17" fmla="*/ 2147483647 h 141"/>
                <a:gd name="T18" fmla="*/ 2147483647 w 241"/>
                <a:gd name="T19" fmla="*/ 2147483647 h 141"/>
                <a:gd name="T20" fmla="*/ 2147483647 w 241"/>
                <a:gd name="T21" fmla="*/ 2147483647 h 141"/>
                <a:gd name="T22" fmla="*/ 2147483647 w 241"/>
                <a:gd name="T23" fmla="*/ 2147483647 h 141"/>
                <a:gd name="T24" fmla="*/ 2147483647 w 241"/>
                <a:gd name="T25" fmla="*/ 2147483647 h 141"/>
                <a:gd name="T26" fmla="*/ 2147483647 w 241"/>
                <a:gd name="T27" fmla="*/ 2147483647 h 141"/>
                <a:gd name="T28" fmla="*/ 2147483647 w 241"/>
                <a:gd name="T29" fmla="*/ 2147483647 h 141"/>
                <a:gd name="T30" fmla="*/ 2147483647 w 241"/>
                <a:gd name="T31" fmla="*/ 2147483647 h 141"/>
                <a:gd name="T32" fmla="*/ 2147483647 w 241"/>
                <a:gd name="T33" fmla="*/ 2147483647 h 141"/>
                <a:gd name="T34" fmla="*/ 2147483647 w 241"/>
                <a:gd name="T35" fmla="*/ 2147483647 h 141"/>
                <a:gd name="T36" fmla="*/ 2147483647 w 241"/>
                <a:gd name="T37" fmla="*/ 2147483647 h 141"/>
                <a:gd name="T38" fmla="*/ 2147483647 w 241"/>
                <a:gd name="T39" fmla="*/ 2147483647 h 141"/>
                <a:gd name="T40" fmla="*/ 2147483647 w 241"/>
                <a:gd name="T41" fmla="*/ 2147483647 h 141"/>
                <a:gd name="T42" fmla="*/ 2147483647 w 241"/>
                <a:gd name="T43" fmla="*/ 2147483647 h 141"/>
                <a:gd name="T44" fmla="*/ 2147483647 w 241"/>
                <a:gd name="T45" fmla="*/ 2147483647 h 141"/>
                <a:gd name="T46" fmla="*/ 2147483647 w 241"/>
                <a:gd name="T47" fmla="*/ 2147483647 h 141"/>
                <a:gd name="T48" fmla="*/ 2147483647 w 241"/>
                <a:gd name="T49" fmla="*/ 2147483647 h 141"/>
                <a:gd name="T50" fmla="*/ 2147483647 w 241"/>
                <a:gd name="T51" fmla="*/ 2147483647 h 141"/>
                <a:gd name="T52" fmla="*/ 2147483647 w 241"/>
                <a:gd name="T53" fmla="*/ 2147483647 h 141"/>
                <a:gd name="T54" fmla="*/ 2147483647 w 241"/>
                <a:gd name="T55" fmla="*/ 2147483647 h 141"/>
                <a:gd name="T56" fmla="*/ 2147483647 w 241"/>
                <a:gd name="T57" fmla="*/ 2147483647 h 141"/>
                <a:gd name="T58" fmla="*/ 2147483647 w 241"/>
                <a:gd name="T59" fmla="*/ 2147483647 h 141"/>
                <a:gd name="T60" fmla="*/ 2147483647 w 241"/>
                <a:gd name="T61" fmla="*/ 2147483647 h 141"/>
                <a:gd name="T62" fmla="*/ 2147483647 w 241"/>
                <a:gd name="T63" fmla="*/ 2147483647 h 141"/>
                <a:gd name="T64" fmla="*/ 2147483647 w 241"/>
                <a:gd name="T65" fmla="*/ 2147483647 h 141"/>
                <a:gd name="T66" fmla="*/ 0 w 241"/>
                <a:gd name="T67" fmla="*/ 2147483647 h 141"/>
                <a:gd name="T68" fmla="*/ 2147483647 w 241"/>
                <a:gd name="T69" fmla="*/ 2147483647 h 141"/>
                <a:gd name="T70" fmla="*/ 2147483647 w 241"/>
                <a:gd name="T71" fmla="*/ 2147483647 h 141"/>
                <a:gd name="T72" fmla="*/ 2147483647 w 241"/>
                <a:gd name="T73" fmla="*/ 2147483647 h 141"/>
                <a:gd name="T74" fmla="*/ 2147483647 w 241"/>
                <a:gd name="T75" fmla="*/ 2147483647 h 141"/>
                <a:gd name="T76" fmla="*/ 2147483647 w 241"/>
                <a:gd name="T77" fmla="*/ 2147483647 h 141"/>
                <a:gd name="T78" fmla="*/ 2147483647 w 241"/>
                <a:gd name="T79" fmla="*/ 2147483647 h 141"/>
                <a:gd name="T80" fmla="*/ 2147483647 w 241"/>
                <a:gd name="T81" fmla="*/ 2147483647 h 141"/>
                <a:gd name="T82" fmla="*/ 2147483647 w 241"/>
                <a:gd name="T83" fmla="*/ 2147483647 h 141"/>
                <a:gd name="T84" fmla="*/ 2147483647 w 241"/>
                <a:gd name="T85" fmla="*/ 2147483647 h 141"/>
                <a:gd name="T86" fmla="*/ 2147483647 w 241"/>
                <a:gd name="T87" fmla="*/ 2147483647 h 141"/>
                <a:gd name="T88" fmla="*/ 2147483647 w 241"/>
                <a:gd name="T89" fmla="*/ 2147483647 h 141"/>
                <a:gd name="T90" fmla="*/ 2147483647 w 241"/>
                <a:gd name="T91" fmla="*/ 2147483647 h 141"/>
                <a:gd name="T92" fmla="*/ 2147483647 w 241"/>
                <a:gd name="T93" fmla="*/ 2147483647 h 141"/>
                <a:gd name="T94" fmla="*/ 2147483647 w 241"/>
                <a:gd name="T95" fmla="*/ 2147483647 h 141"/>
                <a:gd name="T96" fmla="*/ 2147483647 w 241"/>
                <a:gd name="T97" fmla="*/ 2147483647 h 141"/>
                <a:gd name="T98" fmla="*/ 2147483647 w 241"/>
                <a:gd name="T99" fmla="*/ 2147483647 h 141"/>
                <a:gd name="T100" fmla="*/ 2147483647 w 241"/>
                <a:gd name="T101" fmla="*/ 2147483647 h 141"/>
                <a:gd name="T102" fmla="*/ 2147483647 w 241"/>
                <a:gd name="T103" fmla="*/ 2147483647 h 141"/>
                <a:gd name="T104" fmla="*/ 2147483647 w 241"/>
                <a:gd name="T105" fmla="*/ 2147483647 h 141"/>
                <a:gd name="T106" fmla="*/ 2147483647 w 241"/>
                <a:gd name="T107" fmla="*/ 2147483647 h 141"/>
                <a:gd name="T108" fmla="*/ 2147483647 w 241"/>
                <a:gd name="T109" fmla="*/ 2147483647 h 141"/>
                <a:gd name="T110" fmla="*/ 2147483647 w 241"/>
                <a:gd name="T111" fmla="*/ 2147483647 h 141"/>
                <a:gd name="T112" fmla="*/ 2147483647 w 241"/>
                <a:gd name="T113" fmla="*/ 2147483647 h 141"/>
                <a:gd name="T114" fmla="*/ 2147483647 w 241"/>
                <a:gd name="T115" fmla="*/ 2147483647 h 14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41"/>
                <a:gd name="T175" fmla="*/ 0 h 141"/>
                <a:gd name="T176" fmla="*/ 241 w 241"/>
                <a:gd name="T177" fmla="*/ 141 h 141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41" h="141">
                  <a:moveTo>
                    <a:pt x="164" y="126"/>
                  </a:moveTo>
                  <a:lnTo>
                    <a:pt x="164" y="126"/>
                  </a:lnTo>
                  <a:lnTo>
                    <a:pt x="166" y="129"/>
                  </a:lnTo>
                  <a:lnTo>
                    <a:pt x="166" y="135"/>
                  </a:lnTo>
                  <a:lnTo>
                    <a:pt x="178" y="135"/>
                  </a:lnTo>
                  <a:lnTo>
                    <a:pt x="181" y="141"/>
                  </a:lnTo>
                  <a:lnTo>
                    <a:pt x="192" y="138"/>
                  </a:lnTo>
                  <a:lnTo>
                    <a:pt x="192" y="129"/>
                  </a:lnTo>
                  <a:lnTo>
                    <a:pt x="204" y="126"/>
                  </a:lnTo>
                  <a:lnTo>
                    <a:pt x="212" y="120"/>
                  </a:lnTo>
                  <a:lnTo>
                    <a:pt x="212" y="106"/>
                  </a:lnTo>
                  <a:lnTo>
                    <a:pt x="224" y="103"/>
                  </a:lnTo>
                  <a:lnTo>
                    <a:pt x="227" y="98"/>
                  </a:lnTo>
                  <a:lnTo>
                    <a:pt x="230" y="95"/>
                  </a:lnTo>
                  <a:lnTo>
                    <a:pt x="241" y="98"/>
                  </a:lnTo>
                  <a:lnTo>
                    <a:pt x="238" y="89"/>
                  </a:lnTo>
                  <a:lnTo>
                    <a:pt x="238" y="86"/>
                  </a:lnTo>
                  <a:lnTo>
                    <a:pt x="230" y="86"/>
                  </a:lnTo>
                  <a:lnTo>
                    <a:pt x="221" y="83"/>
                  </a:lnTo>
                  <a:lnTo>
                    <a:pt x="209" y="77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81" y="60"/>
                  </a:lnTo>
                  <a:lnTo>
                    <a:pt x="172" y="57"/>
                  </a:lnTo>
                  <a:lnTo>
                    <a:pt x="169" y="54"/>
                  </a:lnTo>
                  <a:lnTo>
                    <a:pt x="164" y="49"/>
                  </a:lnTo>
                  <a:lnTo>
                    <a:pt x="161" y="40"/>
                  </a:lnTo>
                  <a:lnTo>
                    <a:pt x="155" y="34"/>
                  </a:lnTo>
                  <a:lnTo>
                    <a:pt x="152" y="29"/>
                  </a:lnTo>
                  <a:lnTo>
                    <a:pt x="146" y="26"/>
                  </a:lnTo>
                  <a:lnTo>
                    <a:pt x="143" y="26"/>
                  </a:lnTo>
                  <a:lnTo>
                    <a:pt x="141" y="29"/>
                  </a:lnTo>
                  <a:lnTo>
                    <a:pt x="138" y="29"/>
                  </a:lnTo>
                  <a:lnTo>
                    <a:pt x="123" y="26"/>
                  </a:lnTo>
                  <a:lnTo>
                    <a:pt x="120" y="26"/>
                  </a:lnTo>
                  <a:lnTo>
                    <a:pt x="120" y="23"/>
                  </a:lnTo>
                  <a:lnTo>
                    <a:pt x="120" y="17"/>
                  </a:lnTo>
                  <a:lnTo>
                    <a:pt x="118" y="11"/>
                  </a:lnTo>
                  <a:lnTo>
                    <a:pt x="106" y="6"/>
                  </a:lnTo>
                  <a:lnTo>
                    <a:pt x="92" y="0"/>
                  </a:lnTo>
                  <a:lnTo>
                    <a:pt x="98" y="9"/>
                  </a:lnTo>
                  <a:lnTo>
                    <a:pt x="92" y="6"/>
                  </a:lnTo>
                  <a:lnTo>
                    <a:pt x="86" y="3"/>
                  </a:lnTo>
                  <a:lnTo>
                    <a:pt x="86" y="9"/>
                  </a:lnTo>
                  <a:lnTo>
                    <a:pt x="83" y="9"/>
                  </a:lnTo>
                  <a:lnTo>
                    <a:pt x="80" y="9"/>
                  </a:lnTo>
                  <a:lnTo>
                    <a:pt x="77" y="9"/>
                  </a:lnTo>
                  <a:lnTo>
                    <a:pt x="75" y="17"/>
                  </a:lnTo>
                  <a:lnTo>
                    <a:pt x="80" y="26"/>
                  </a:lnTo>
                  <a:lnTo>
                    <a:pt x="60" y="26"/>
                  </a:lnTo>
                  <a:lnTo>
                    <a:pt x="63" y="26"/>
                  </a:lnTo>
                  <a:lnTo>
                    <a:pt x="52" y="26"/>
                  </a:lnTo>
                  <a:lnTo>
                    <a:pt x="49" y="26"/>
                  </a:lnTo>
                  <a:lnTo>
                    <a:pt x="46" y="23"/>
                  </a:lnTo>
                  <a:lnTo>
                    <a:pt x="46" y="20"/>
                  </a:lnTo>
                  <a:lnTo>
                    <a:pt x="37" y="11"/>
                  </a:lnTo>
                  <a:lnTo>
                    <a:pt x="31" y="9"/>
                  </a:lnTo>
                  <a:lnTo>
                    <a:pt x="29" y="6"/>
                  </a:lnTo>
                  <a:lnTo>
                    <a:pt x="23" y="3"/>
                  </a:lnTo>
                  <a:lnTo>
                    <a:pt x="20" y="6"/>
                  </a:lnTo>
                  <a:lnTo>
                    <a:pt x="6" y="14"/>
                  </a:lnTo>
                  <a:lnTo>
                    <a:pt x="0" y="17"/>
                  </a:lnTo>
                  <a:lnTo>
                    <a:pt x="0" y="20"/>
                  </a:lnTo>
                  <a:lnTo>
                    <a:pt x="9" y="26"/>
                  </a:lnTo>
                  <a:lnTo>
                    <a:pt x="9" y="23"/>
                  </a:lnTo>
                  <a:lnTo>
                    <a:pt x="11" y="14"/>
                  </a:lnTo>
                  <a:lnTo>
                    <a:pt x="23" y="14"/>
                  </a:lnTo>
                  <a:lnTo>
                    <a:pt x="26" y="20"/>
                  </a:lnTo>
                  <a:lnTo>
                    <a:pt x="37" y="29"/>
                  </a:lnTo>
                  <a:lnTo>
                    <a:pt x="37" y="31"/>
                  </a:lnTo>
                  <a:lnTo>
                    <a:pt x="34" y="37"/>
                  </a:lnTo>
                  <a:lnTo>
                    <a:pt x="29" y="37"/>
                  </a:lnTo>
                  <a:lnTo>
                    <a:pt x="26" y="34"/>
                  </a:lnTo>
                  <a:lnTo>
                    <a:pt x="17" y="34"/>
                  </a:lnTo>
                  <a:lnTo>
                    <a:pt x="11" y="31"/>
                  </a:lnTo>
                  <a:lnTo>
                    <a:pt x="11" y="43"/>
                  </a:lnTo>
                  <a:lnTo>
                    <a:pt x="14" y="52"/>
                  </a:lnTo>
                  <a:lnTo>
                    <a:pt x="20" y="52"/>
                  </a:lnTo>
                  <a:lnTo>
                    <a:pt x="23" y="54"/>
                  </a:lnTo>
                  <a:lnTo>
                    <a:pt x="20" y="66"/>
                  </a:lnTo>
                  <a:lnTo>
                    <a:pt x="26" y="63"/>
                  </a:lnTo>
                  <a:lnTo>
                    <a:pt x="34" y="69"/>
                  </a:lnTo>
                  <a:lnTo>
                    <a:pt x="37" y="77"/>
                  </a:lnTo>
                  <a:lnTo>
                    <a:pt x="37" y="98"/>
                  </a:lnTo>
                  <a:lnTo>
                    <a:pt x="37" y="100"/>
                  </a:lnTo>
                  <a:lnTo>
                    <a:pt x="46" y="100"/>
                  </a:lnTo>
                  <a:lnTo>
                    <a:pt x="52" y="92"/>
                  </a:lnTo>
                  <a:lnTo>
                    <a:pt x="60" y="86"/>
                  </a:lnTo>
                  <a:lnTo>
                    <a:pt x="66" y="86"/>
                  </a:lnTo>
                  <a:lnTo>
                    <a:pt x="72" y="86"/>
                  </a:lnTo>
                  <a:lnTo>
                    <a:pt x="75" y="80"/>
                  </a:lnTo>
                  <a:lnTo>
                    <a:pt x="86" y="80"/>
                  </a:lnTo>
                  <a:lnTo>
                    <a:pt x="89" y="80"/>
                  </a:lnTo>
                  <a:lnTo>
                    <a:pt x="92" y="83"/>
                  </a:lnTo>
                  <a:lnTo>
                    <a:pt x="98" y="89"/>
                  </a:lnTo>
                  <a:lnTo>
                    <a:pt x="109" y="92"/>
                  </a:lnTo>
                  <a:lnTo>
                    <a:pt x="115" y="95"/>
                  </a:lnTo>
                  <a:lnTo>
                    <a:pt x="118" y="95"/>
                  </a:lnTo>
                  <a:lnTo>
                    <a:pt x="126" y="95"/>
                  </a:lnTo>
                  <a:lnTo>
                    <a:pt x="132" y="103"/>
                  </a:lnTo>
                  <a:lnTo>
                    <a:pt x="135" y="103"/>
                  </a:lnTo>
                  <a:lnTo>
                    <a:pt x="141" y="106"/>
                  </a:lnTo>
                  <a:lnTo>
                    <a:pt x="146" y="115"/>
                  </a:lnTo>
                  <a:lnTo>
                    <a:pt x="149" y="115"/>
                  </a:lnTo>
                  <a:lnTo>
                    <a:pt x="158" y="115"/>
                  </a:lnTo>
                  <a:lnTo>
                    <a:pt x="161" y="118"/>
                  </a:lnTo>
                  <a:lnTo>
                    <a:pt x="164" y="123"/>
                  </a:lnTo>
                  <a:lnTo>
                    <a:pt x="164" y="12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70" name="Freeform 271"/>
            <p:cNvSpPr>
              <a:spLocks/>
            </p:cNvSpPr>
            <p:nvPr/>
          </p:nvSpPr>
          <p:spPr bwMode="auto">
            <a:xfrm>
              <a:off x="6294438" y="2909888"/>
              <a:ext cx="50800" cy="57150"/>
            </a:xfrm>
            <a:custGeom>
              <a:avLst/>
              <a:gdLst>
                <a:gd name="T0" fmla="*/ 2147483647 w 32"/>
                <a:gd name="T1" fmla="*/ 2147483647 h 35"/>
                <a:gd name="T2" fmla="*/ 2147483647 w 32"/>
                <a:gd name="T3" fmla="*/ 2147483647 h 35"/>
                <a:gd name="T4" fmla="*/ 2147483647 w 32"/>
                <a:gd name="T5" fmla="*/ 2147483647 h 35"/>
                <a:gd name="T6" fmla="*/ 2147483647 w 32"/>
                <a:gd name="T7" fmla="*/ 2147483647 h 35"/>
                <a:gd name="T8" fmla="*/ 2147483647 w 32"/>
                <a:gd name="T9" fmla="*/ 2147483647 h 35"/>
                <a:gd name="T10" fmla="*/ 2147483647 w 32"/>
                <a:gd name="T11" fmla="*/ 2147483647 h 35"/>
                <a:gd name="T12" fmla="*/ 2147483647 w 32"/>
                <a:gd name="T13" fmla="*/ 2147483647 h 35"/>
                <a:gd name="T14" fmla="*/ 2147483647 w 32"/>
                <a:gd name="T15" fmla="*/ 2147483647 h 35"/>
                <a:gd name="T16" fmla="*/ 2147483647 w 32"/>
                <a:gd name="T17" fmla="*/ 2147483647 h 35"/>
                <a:gd name="T18" fmla="*/ 2147483647 w 32"/>
                <a:gd name="T19" fmla="*/ 0 h 35"/>
                <a:gd name="T20" fmla="*/ 2147483647 w 32"/>
                <a:gd name="T21" fmla="*/ 2147483647 h 35"/>
                <a:gd name="T22" fmla="*/ 2147483647 w 32"/>
                <a:gd name="T23" fmla="*/ 2147483647 h 35"/>
                <a:gd name="T24" fmla="*/ 0 w 32"/>
                <a:gd name="T25" fmla="*/ 2147483647 h 35"/>
                <a:gd name="T26" fmla="*/ 2147483647 w 32"/>
                <a:gd name="T27" fmla="*/ 2147483647 h 35"/>
                <a:gd name="T28" fmla="*/ 2147483647 w 32"/>
                <a:gd name="T29" fmla="*/ 2147483647 h 35"/>
                <a:gd name="T30" fmla="*/ 2147483647 w 32"/>
                <a:gd name="T31" fmla="*/ 2147483647 h 35"/>
                <a:gd name="T32" fmla="*/ 2147483647 w 32"/>
                <a:gd name="T33" fmla="*/ 2147483647 h 35"/>
                <a:gd name="T34" fmla="*/ 2147483647 w 32"/>
                <a:gd name="T35" fmla="*/ 2147483647 h 35"/>
                <a:gd name="T36" fmla="*/ 2147483647 w 32"/>
                <a:gd name="T37" fmla="*/ 2147483647 h 35"/>
                <a:gd name="T38" fmla="*/ 2147483647 w 32"/>
                <a:gd name="T39" fmla="*/ 2147483647 h 3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32"/>
                <a:gd name="T61" fmla="*/ 0 h 35"/>
                <a:gd name="T62" fmla="*/ 32 w 32"/>
                <a:gd name="T63" fmla="*/ 35 h 35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32" h="35">
                  <a:moveTo>
                    <a:pt x="17" y="35"/>
                  </a:moveTo>
                  <a:lnTo>
                    <a:pt x="23" y="35"/>
                  </a:lnTo>
                  <a:lnTo>
                    <a:pt x="29" y="26"/>
                  </a:lnTo>
                  <a:lnTo>
                    <a:pt x="32" y="23"/>
                  </a:lnTo>
                  <a:lnTo>
                    <a:pt x="32" y="17"/>
                  </a:lnTo>
                  <a:lnTo>
                    <a:pt x="32" y="9"/>
                  </a:lnTo>
                  <a:lnTo>
                    <a:pt x="29" y="6"/>
                  </a:lnTo>
                  <a:lnTo>
                    <a:pt x="17" y="0"/>
                  </a:lnTo>
                  <a:lnTo>
                    <a:pt x="12" y="3"/>
                  </a:lnTo>
                  <a:lnTo>
                    <a:pt x="3" y="6"/>
                  </a:lnTo>
                  <a:lnTo>
                    <a:pt x="0" y="9"/>
                  </a:lnTo>
                  <a:lnTo>
                    <a:pt x="3" y="14"/>
                  </a:lnTo>
                  <a:lnTo>
                    <a:pt x="6" y="23"/>
                  </a:lnTo>
                  <a:lnTo>
                    <a:pt x="12" y="26"/>
                  </a:lnTo>
                  <a:lnTo>
                    <a:pt x="17" y="29"/>
                  </a:lnTo>
                  <a:lnTo>
                    <a:pt x="20" y="32"/>
                  </a:lnTo>
                  <a:lnTo>
                    <a:pt x="17" y="3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71" name="Freeform 272"/>
            <p:cNvSpPr>
              <a:spLocks/>
            </p:cNvSpPr>
            <p:nvPr/>
          </p:nvSpPr>
          <p:spPr bwMode="auto">
            <a:xfrm>
              <a:off x="5843588" y="2832100"/>
              <a:ext cx="339725" cy="279400"/>
            </a:xfrm>
            <a:custGeom>
              <a:avLst/>
              <a:gdLst>
                <a:gd name="T0" fmla="*/ 2147483647 w 212"/>
                <a:gd name="T1" fmla="*/ 2147483647 h 175"/>
                <a:gd name="T2" fmla="*/ 2147483647 w 212"/>
                <a:gd name="T3" fmla="*/ 2147483647 h 175"/>
                <a:gd name="T4" fmla="*/ 2147483647 w 212"/>
                <a:gd name="T5" fmla="*/ 2147483647 h 175"/>
                <a:gd name="T6" fmla="*/ 2147483647 w 212"/>
                <a:gd name="T7" fmla="*/ 2147483647 h 175"/>
                <a:gd name="T8" fmla="*/ 2147483647 w 212"/>
                <a:gd name="T9" fmla="*/ 2147483647 h 175"/>
                <a:gd name="T10" fmla="*/ 2147483647 w 212"/>
                <a:gd name="T11" fmla="*/ 2147483647 h 175"/>
                <a:gd name="T12" fmla="*/ 2147483647 w 212"/>
                <a:gd name="T13" fmla="*/ 2147483647 h 175"/>
                <a:gd name="T14" fmla="*/ 2147483647 w 212"/>
                <a:gd name="T15" fmla="*/ 0 h 175"/>
                <a:gd name="T16" fmla="*/ 2147483647 w 212"/>
                <a:gd name="T17" fmla="*/ 2147483647 h 175"/>
                <a:gd name="T18" fmla="*/ 2147483647 w 212"/>
                <a:gd name="T19" fmla="*/ 2147483647 h 175"/>
                <a:gd name="T20" fmla="*/ 2147483647 w 212"/>
                <a:gd name="T21" fmla="*/ 2147483647 h 175"/>
                <a:gd name="T22" fmla="*/ 2147483647 w 212"/>
                <a:gd name="T23" fmla="*/ 2147483647 h 175"/>
                <a:gd name="T24" fmla="*/ 2147483647 w 212"/>
                <a:gd name="T25" fmla="*/ 2147483647 h 175"/>
                <a:gd name="T26" fmla="*/ 2147483647 w 212"/>
                <a:gd name="T27" fmla="*/ 2147483647 h 175"/>
                <a:gd name="T28" fmla="*/ 2147483647 w 212"/>
                <a:gd name="T29" fmla="*/ 2147483647 h 175"/>
                <a:gd name="T30" fmla="*/ 2147483647 w 212"/>
                <a:gd name="T31" fmla="*/ 2147483647 h 175"/>
                <a:gd name="T32" fmla="*/ 2147483647 w 212"/>
                <a:gd name="T33" fmla="*/ 2147483647 h 175"/>
                <a:gd name="T34" fmla="*/ 2147483647 w 212"/>
                <a:gd name="T35" fmla="*/ 2147483647 h 175"/>
                <a:gd name="T36" fmla="*/ 2147483647 w 212"/>
                <a:gd name="T37" fmla="*/ 2147483647 h 175"/>
                <a:gd name="T38" fmla="*/ 2147483647 w 212"/>
                <a:gd name="T39" fmla="*/ 2147483647 h 175"/>
                <a:gd name="T40" fmla="*/ 0 w 212"/>
                <a:gd name="T41" fmla="*/ 2147483647 h 175"/>
                <a:gd name="T42" fmla="*/ 2147483647 w 212"/>
                <a:gd name="T43" fmla="*/ 2147483647 h 175"/>
                <a:gd name="T44" fmla="*/ 2147483647 w 212"/>
                <a:gd name="T45" fmla="*/ 2147483647 h 175"/>
                <a:gd name="T46" fmla="*/ 2147483647 w 212"/>
                <a:gd name="T47" fmla="*/ 2147483647 h 175"/>
                <a:gd name="T48" fmla="*/ 2147483647 w 212"/>
                <a:gd name="T49" fmla="*/ 2147483647 h 175"/>
                <a:gd name="T50" fmla="*/ 2147483647 w 212"/>
                <a:gd name="T51" fmla="*/ 2147483647 h 175"/>
                <a:gd name="T52" fmla="*/ 2147483647 w 212"/>
                <a:gd name="T53" fmla="*/ 2147483647 h 175"/>
                <a:gd name="T54" fmla="*/ 2147483647 w 212"/>
                <a:gd name="T55" fmla="*/ 2147483647 h 175"/>
                <a:gd name="T56" fmla="*/ 2147483647 w 212"/>
                <a:gd name="T57" fmla="*/ 2147483647 h 175"/>
                <a:gd name="T58" fmla="*/ 2147483647 w 212"/>
                <a:gd name="T59" fmla="*/ 2147483647 h 175"/>
                <a:gd name="T60" fmla="*/ 2147483647 w 212"/>
                <a:gd name="T61" fmla="*/ 2147483647 h 175"/>
                <a:gd name="T62" fmla="*/ 2147483647 w 212"/>
                <a:gd name="T63" fmla="*/ 2147483647 h 175"/>
                <a:gd name="T64" fmla="*/ 2147483647 w 212"/>
                <a:gd name="T65" fmla="*/ 2147483647 h 175"/>
                <a:gd name="T66" fmla="*/ 2147483647 w 212"/>
                <a:gd name="T67" fmla="*/ 2147483647 h 175"/>
                <a:gd name="T68" fmla="*/ 2147483647 w 212"/>
                <a:gd name="T69" fmla="*/ 2147483647 h 175"/>
                <a:gd name="T70" fmla="*/ 2147483647 w 212"/>
                <a:gd name="T71" fmla="*/ 2147483647 h 175"/>
                <a:gd name="T72" fmla="*/ 2147483647 w 212"/>
                <a:gd name="T73" fmla="*/ 2147483647 h 175"/>
                <a:gd name="T74" fmla="*/ 2147483647 w 212"/>
                <a:gd name="T75" fmla="*/ 2147483647 h 175"/>
                <a:gd name="T76" fmla="*/ 2147483647 w 212"/>
                <a:gd name="T77" fmla="*/ 2147483647 h 175"/>
                <a:gd name="T78" fmla="*/ 2147483647 w 212"/>
                <a:gd name="T79" fmla="*/ 2147483647 h 175"/>
                <a:gd name="T80" fmla="*/ 2147483647 w 212"/>
                <a:gd name="T81" fmla="*/ 2147483647 h 175"/>
                <a:gd name="T82" fmla="*/ 2147483647 w 212"/>
                <a:gd name="T83" fmla="*/ 2147483647 h 175"/>
                <a:gd name="T84" fmla="*/ 2147483647 w 212"/>
                <a:gd name="T85" fmla="*/ 2147483647 h 175"/>
                <a:gd name="T86" fmla="*/ 2147483647 w 212"/>
                <a:gd name="T87" fmla="*/ 2147483647 h 175"/>
                <a:gd name="T88" fmla="*/ 2147483647 w 212"/>
                <a:gd name="T89" fmla="*/ 2147483647 h 175"/>
                <a:gd name="T90" fmla="*/ 2147483647 w 212"/>
                <a:gd name="T91" fmla="*/ 2147483647 h 175"/>
                <a:gd name="T92" fmla="*/ 2147483647 w 212"/>
                <a:gd name="T93" fmla="*/ 2147483647 h 175"/>
                <a:gd name="T94" fmla="*/ 2147483647 w 212"/>
                <a:gd name="T95" fmla="*/ 2147483647 h 175"/>
                <a:gd name="T96" fmla="*/ 2147483647 w 212"/>
                <a:gd name="T97" fmla="*/ 2147483647 h 175"/>
                <a:gd name="T98" fmla="*/ 2147483647 w 212"/>
                <a:gd name="T99" fmla="*/ 2147483647 h 175"/>
                <a:gd name="T100" fmla="*/ 2147483647 w 212"/>
                <a:gd name="T101" fmla="*/ 2147483647 h 175"/>
                <a:gd name="T102" fmla="*/ 2147483647 w 212"/>
                <a:gd name="T103" fmla="*/ 2147483647 h 175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12"/>
                <a:gd name="T157" fmla="*/ 0 h 175"/>
                <a:gd name="T158" fmla="*/ 212 w 212"/>
                <a:gd name="T159" fmla="*/ 175 h 175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12" h="175">
                  <a:moveTo>
                    <a:pt x="169" y="38"/>
                  </a:moveTo>
                  <a:lnTo>
                    <a:pt x="175" y="38"/>
                  </a:lnTo>
                  <a:lnTo>
                    <a:pt x="184" y="29"/>
                  </a:lnTo>
                  <a:lnTo>
                    <a:pt x="192" y="29"/>
                  </a:lnTo>
                  <a:lnTo>
                    <a:pt x="206" y="29"/>
                  </a:lnTo>
                  <a:lnTo>
                    <a:pt x="212" y="26"/>
                  </a:lnTo>
                  <a:lnTo>
                    <a:pt x="212" y="23"/>
                  </a:lnTo>
                  <a:lnTo>
                    <a:pt x="209" y="20"/>
                  </a:lnTo>
                  <a:lnTo>
                    <a:pt x="201" y="26"/>
                  </a:lnTo>
                  <a:lnTo>
                    <a:pt x="201" y="23"/>
                  </a:lnTo>
                  <a:lnTo>
                    <a:pt x="198" y="20"/>
                  </a:lnTo>
                  <a:lnTo>
                    <a:pt x="189" y="20"/>
                  </a:lnTo>
                  <a:lnTo>
                    <a:pt x="186" y="29"/>
                  </a:lnTo>
                  <a:lnTo>
                    <a:pt x="184" y="29"/>
                  </a:lnTo>
                  <a:lnTo>
                    <a:pt x="178" y="26"/>
                  </a:lnTo>
                  <a:lnTo>
                    <a:pt x="169" y="35"/>
                  </a:lnTo>
                  <a:lnTo>
                    <a:pt x="166" y="29"/>
                  </a:lnTo>
                  <a:lnTo>
                    <a:pt x="161" y="12"/>
                  </a:lnTo>
                  <a:lnTo>
                    <a:pt x="158" y="12"/>
                  </a:lnTo>
                  <a:lnTo>
                    <a:pt x="158" y="9"/>
                  </a:lnTo>
                  <a:lnTo>
                    <a:pt x="155" y="6"/>
                  </a:lnTo>
                  <a:lnTo>
                    <a:pt x="155" y="0"/>
                  </a:lnTo>
                  <a:lnTo>
                    <a:pt x="152" y="0"/>
                  </a:lnTo>
                  <a:lnTo>
                    <a:pt x="149" y="0"/>
                  </a:lnTo>
                  <a:lnTo>
                    <a:pt x="143" y="9"/>
                  </a:lnTo>
                  <a:lnTo>
                    <a:pt x="143" y="18"/>
                  </a:lnTo>
                  <a:lnTo>
                    <a:pt x="143" y="20"/>
                  </a:lnTo>
                  <a:lnTo>
                    <a:pt x="140" y="20"/>
                  </a:lnTo>
                  <a:lnTo>
                    <a:pt x="138" y="18"/>
                  </a:lnTo>
                  <a:lnTo>
                    <a:pt x="135" y="18"/>
                  </a:lnTo>
                  <a:lnTo>
                    <a:pt x="132" y="18"/>
                  </a:lnTo>
                  <a:lnTo>
                    <a:pt x="135" y="26"/>
                  </a:lnTo>
                  <a:lnTo>
                    <a:pt x="132" y="26"/>
                  </a:lnTo>
                  <a:lnTo>
                    <a:pt x="126" y="26"/>
                  </a:lnTo>
                  <a:lnTo>
                    <a:pt x="120" y="26"/>
                  </a:lnTo>
                  <a:lnTo>
                    <a:pt x="109" y="32"/>
                  </a:lnTo>
                  <a:lnTo>
                    <a:pt x="103" y="26"/>
                  </a:lnTo>
                  <a:lnTo>
                    <a:pt x="92" y="23"/>
                  </a:lnTo>
                  <a:lnTo>
                    <a:pt x="86" y="23"/>
                  </a:lnTo>
                  <a:lnTo>
                    <a:pt x="83" y="23"/>
                  </a:lnTo>
                  <a:lnTo>
                    <a:pt x="72" y="20"/>
                  </a:lnTo>
                  <a:lnTo>
                    <a:pt x="69" y="20"/>
                  </a:lnTo>
                  <a:lnTo>
                    <a:pt x="69" y="23"/>
                  </a:lnTo>
                  <a:lnTo>
                    <a:pt x="60" y="26"/>
                  </a:lnTo>
                  <a:lnTo>
                    <a:pt x="57" y="43"/>
                  </a:lnTo>
                  <a:lnTo>
                    <a:pt x="46" y="49"/>
                  </a:lnTo>
                  <a:lnTo>
                    <a:pt x="37" y="52"/>
                  </a:lnTo>
                  <a:lnTo>
                    <a:pt x="37" y="61"/>
                  </a:lnTo>
                  <a:lnTo>
                    <a:pt x="23" y="63"/>
                  </a:lnTo>
                  <a:lnTo>
                    <a:pt x="17" y="58"/>
                  </a:lnTo>
                  <a:lnTo>
                    <a:pt x="8" y="58"/>
                  </a:lnTo>
                  <a:lnTo>
                    <a:pt x="8" y="63"/>
                  </a:lnTo>
                  <a:lnTo>
                    <a:pt x="8" y="72"/>
                  </a:lnTo>
                  <a:lnTo>
                    <a:pt x="6" y="75"/>
                  </a:lnTo>
                  <a:lnTo>
                    <a:pt x="6" y="78"/>
                  </a:lnTo>
                  <a:lnTo>
                    <a:pt x="6" y="81"/>
                  </a:lnTo>
                  <a:lnTo>
                    <a:pt x="0" y="84"/>
                  </a:lnTo>
                  <a:lnTo>
                    <a:pt x="3" y="86"/>
                  </a:lnTo>
                  <a:lnTo>
                    <a:pt x="6" y="92"/>
                  </a:lnTo>
                  <a:lnTo>
                    <a:pt x="8" y="95"/>
                  </a:lnTo>
                  <a:lnTo>
                    <a:pt x="6" y="107"/>
                  </a:lnTo>
                  <a:lnTo>
                    <a:pt x="11" y="121"/>
                  </a:lnTo>
                  <a:lnTo>
                    <a:pt x="17" y="132"/>
                  </a:lnTo>
                  <a:lnTo>
                    <a:pt x="28" y="135"/>
                  </a:lnTo>
                  <a:lnTo>
                    <a:pt x="31" y="150"/>
                  </a:lnTo>
                  <a:lnTo>
                    <a:pt x="26" y="158"/>
                  </a:lnTo>
                  <a:lnTo>
                    <a:pt x="20" y="167"/>
                  </a:lnTo>
                  <a:lnTo>
                    <a:pt x="23" y="167"/>
                  </a:lnTo>
                  <a:lnTo>
                    <a:pt x="28" y="170"/>
                  </a:lnTo>
                  <a:lnTo>
                    <a:pt x="46" y="175"/>
                  </a:lnTo>
                  <a:lnTo>
                    <a:pt x="49" y="175"/>
                  </a:lnTo>
                  <a:lnTo>
                    <a:pt x="51" y="173"/>
                  </a:lnTo>
                  <a:lnTo>
                    <a:pt x="60" y="173"/>
                  </a:lnTo>
                  <a:lnTo>
                    <a:pt x="63" y="170"/>
                  </a:lnTo>
                  <a:lnTo>
                    <a:pt x="72" y="173"/>
                  </a:lnTo>
                  <a:lnTo>
                    <a:pt x="80" y="173"/>
                  </a:lnTo>
                  <a:lnTo>
                    <a:pt x="83" y="173"/>
                  </a:lnTo>
                  <a:lnTo>
                    <a:pt x="95" y="170"/>
                  </a:lnTo>
                  <a:lnTo>
                    <a:pt x="103" y="167"/>
                  </a:lnTo>
                  <a:lnTo>
                    <a:pt x="103" y="155"/>
                  </a:lnTo>
                  <a:lnTo>
                    <a:pt x="103" y="152"/>
                  </a:lnTo>
                  <a:lnTo>
                    <a:pt x="106" y="144"/>
                  </a:lnTo>
                  <a:lnTo>
                    <a:pt x="112" y="138"/>
                  </a:lnTo>
                  <a:lnTo>
                    <a:pt x="120" y="138"/>
                  </a:lnTo>
                  <a:lnTo>
                    <a:pt x="123" y="141"/>
                  </a:lnTo>
                  <a:lnTo>
                    <a:pt x="126" y="138"/>
                  </a:lnTo>
                  <a:lnTo>
                    <a:pt x="120" y="132"/>
                  </a:lnTo>
                  <a:lnTo>
                    <a:pt x="123" y="132"/>
                  </a:lnTo>
                  <a:lnTo>
                    <a:pt x="129" y="127"/>
                  </a:lnTo>
                  <a:lnTo>
                    <a:pt x="135" y="124"/>
                  </a:lnTo>
                  <a:lnTo>
                    <a:pt x="138" y="127"/>
                  </a:lnTo>
                  <a:lnTo>
                    <a:pt x="146" y="129"/>
                  </a:lnTo>
                  <a:lnTo>
                    <a:pt x="146" y="132"/>
                  </a:lnTo>
                  <a:lnTo>
                    <a:pt x="146" y="129"/>
                  </a:lnTo>
                  <a:lnTo>
                    <a:pt x="149" y="127"/>
                  </a:lnTo>
                  <a:lnTo>
                    <a:pt x="146" y="124"/>
                  </a:lnTo>
                  <a:lnTo>
                    <a:pt x="146" y="121"/>
                  </a:lnTo>
                  <a:lnTo>
                    <a:pt x="146" y="115"/>
                  </a:lnTo>
                  <a:lnTo>
                    <a:pt x="149" y="112"/>
                  </a:lnTo>
                  <a:lnTo>
                    <a:pt x="149" y="104"/>
                  </a:lnTo>
                  <a:lnTo>
                    <a:pt x="152" y="101"/>
                  </a:lnTo>
                  <a:lnTo>
                    <a:pt x="158" y="101"/>
                  </a:lnTo>
                  <a:lnTo>
                    <a:pt x="161" y="101"/>
                  </a:lnTo>
                  <a:lnTo>
                    <a:pt x="155" y="92"/>
                  </a:lnTo>
                  <a:lnTo>
                    <a:pt x="152" y="86"/>
                  </a:lnTo>
                  <a:lnTo>
                    <a:pt x="149" y="84"/>
                  </a:lnTo>
                  <a:lnTo>
                    <a:pt x="152" y="84"/>
                  </a:lnTo>
                  <a:lnTo>
                    <a:pt x="163" y="86"/>
                  </a:lnTo>
                  <a:lnTo>
                    <a:pt x="166" y="86"/>
                  </a:lnTo>
                  <a:lnTo>
                    <a:pt x="169" y="86"/>
                  </a:lnTo>
                  <a:lnTo>
                    <a:pt x="169" y="84"/>
                  </a:lnTo>
                  <a:lnTo>
                    <a:pt x="169" y="78"/>
                  </a:lnTo>
                  <a:lnTo>
                    <a:pt x="169" y="75"/>
                  </a:lnTo>
                  <a:lnTo>
                    <a:pt x="175" y="63"/>
                  </a:lnTo>
                  <a:lnTo>
                    <a:pt x="175" y="61"/>
                  </a:lnTo>
                  <a:lnTo>
                    <a:pt x="172" y="55"/>
                  </a:lnTo>
                  <a:lnTo>
                    <a:pt x="166" y="46"/>
                  </a:lnTo>
                  <a:lnTo>
                    <a:pt x="163" y="46"/>
                  </a:lnTo>
                  <a:lnTo>
                    <a:pt x="169" y="3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72" name="Freeform 273"/>
            <p:cNvSpPr>
              <a:spLocks/>
            </p:cNvSpPr>
            <p:nvPr/>
          </p:nvSpPr>
          <p:spPr bwMode="auto">
            <a:xfrm>
              <a:off x="5410200" y="2725738"/>
              <a:ext cx="138113" cy="101600"/>
            </a:xfrm>
            <a:custGeom>
              <a:avLst/>
              <a:gdLst>
                <a:gd name="T0" fmla="*/ 2147483647 w 86"/>
                <a:gd name="T1" fmla="*/ 2147483647 h 63"/>
                <a:gd name="T2" fmla="*/ 2147483647 w 86"/>
                <a:gd name="T3" fmla="*/ 2147483647 h 63"/>
                <a:gd name="T4" fmla="*/ 2147483647 w 86"/>
                <a:gd name="T5" fmla="*/ 2147483647 h 63"/>
                <a:gd name="T6" fmla="*/ 2147483647 w 86"/>
                <a:gd name="T7" fmla="*/ 2147483647 h 63"/>
                <a:gd name="T8" fmla="*/ 2147483647 w 86"/>
                <a:gd name="T9" fmla="*/ 2147483647 h 63"/>
                <a:gd name="T10" fmla="*/ 2147483647 w 86"/>
                <a:gd name="T11" fmla="*/ 2147483647 h 63"/>
                <a:gd name="T12" fmla="*/ 2147483647 w 86"/>
                <a:gd name="T13" fmla="*/ 2147483647 h 63"/>
                <a:gd name="T14" fmla="*/ 2147483647 w 86"/>
                <a:gd name="T15" fmla="*/ 2147483647 h 63"/>
                <a:gd name="T16" fmla="*/ 2147483647 w 86"/>
                <a:gd name="T17" fmla="*/ 2147483647 h 63"/>
                <a:gd name="T18" fmla="*/ 2147483647 w 86"/>
                <a:gd name="T19" fmla="*/ 2147483647 h 63"/>
                <a:gd name="T20" fmla="*/ 2147483647 w 86"/>
                <a:gd name="T21" fmla="*/ 2147483647 h 63"/>
                <a:gd name="T22" fmla="*/ 2147483647 w 86"/>
                <a:gd name="T23" fmla="*/ 2147483647 h 63"/>
                <a:gd name="T24" fmla="*/ 2147483647 w 86"/>
                <a:gd name="T25" fmla="*/ 2147483647 h 63"/>
                <a:gd name="T26" fmla="*/ 2147483647 w 86"/>
                <a:gd name="T27" fmla="*/ 2147483647 h 63"/>
                <a:gd name="T28" fmla="*/ 0 w 86"/>
                <a:gd name="T29" fmla="*/ 2147483647 h 63"/>
                <a:gd name="T30" fmla="*/ 2147483647 w 86"/>
                <a:gd name="T31" fmla="*/ 2147483647 h 63"/>
                <a:gd name="T32" fmla="*/ 2147483647 w 86"/>
                <a:gd name="T33" fmla="*/ 2147483647 h 63"/>
                <a:gd name="T34" fmla="*/ 2147483647 w 86"/>
                <a:gd name="T35" fmla="*/ 2147483647 h 63"/>
                <a:gd name="T36" fmla="*/ 2147483647 w 86"/>
                <a:gd name="T37" fmla="*/ 2147483647 h 63"/>
                <a:gd name="T38" fmla="*/ 2147483647 w 86"/>
                <a:gd name="T39" fmla="*/ 2147483647 h 63"/>
                <a:gd name="T40" fmla="*/ 2147483647 w 86"/>
                <a:gd name="T41" fmla="*/ 2147483647 h 63"/>
                <a:gd name="T42" fmla="*/ 2147483647 w 86"/>
                <a:gd name="T43" fmla="*/ 2147483647 h 63"/>
                <a:gd name="T44" fmla="*/ 2147483647 w 86"/>
                <a:gd name="T45" fmla="*/ 2147483647 h 63"/>
                <a:gd name="T46" fmla="*/ 2147483647 w 86"/>
                <a:gd name="T47" fmla="*/ 2147483647 h 63"/>
                <a:gd name="T48" fmla="*/ 2147483647 w 86"/>
                <a:gd name="T49" fmla="*/ 2147483647 h 63"/>
                <a:gd name="T50" fmla="*/ 2147483647 w 86"/>
                <a:gd name="T51" fmla="*/ 2147483647 h 63"/>
                <a:gd name="T52" fmla="*/ 2147483647 w 86"/>
                <a:gd name="T53" fmla="*/ 2147483647 h 63"/>
                <a:gd name="T54" fmla="*/ 2147483647 w 86"/>
                <a:gd name="T55" fmla="*/ 2147483647 h 63"/>
                <a:gd name="T56" fmla="*/ 2147483647 w 86"/>
                <a:gd name="T57" fmla="*/ 2147483647 h 63"/>
                <a:gd name="T58" fmla="*/ 2147483647 w 86"/>
                <a:gd name="T59" fmla="*/ 2147483647 h 63"/>
                <a:gd name="T60" fmla="*/ 2147483647 w 86"/>
                <a:gd name="T61" fmla="*/ 2147483647 h 63"/>
                <a:gd name="T62" fmla="*/ 2147483647 w 86"/>
                <a:gd name="T63" fmla="*/ 2147483647 h 63"/>
                <a:gd name="T64" fmla="*/ 2147483647 w 86"/>
                <a:gd name="T65" fmla="*/ 2147483647 h 63"/>
                <a:gd name="T66" fmla="*/ 2147483647 w 86"/>
                <a:gd name="T67" fmla="*/ 2147483647 h 63"/>
                <a:gd name="T68" fmla="*/ 2147483647 w 86"/>
                <a:gd name="T69" fmla="*/ 2147483647 h 63"/>
                <a:gd name="T70" fmla="*/ 2147483647 w 86"/>
                <a:gd name="T71" fmla="*/ 2147483647 h 63"/>
                <a:gd name="T72" fmla="*/ 2147483647 w 86"/>
                <a:gd name="T73" fmla="*/ 2147483647 h 63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86"/>
                <a:gd name="T112" fmla="*/ 0 h 63"/>
                <a:gd name="T113" fmla="*/ 86 w 86"/>
                <a:gd name="T114" fmla="*/ 63 h 63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86" h="63">
                  <a:moveTo>
                    <a:pt x="80" y="29"/>
                  </a:moveTo>
                  <a:lnTo>
                    <a:pt x="86" y="32"/>
                  </a:lnTo>
                  <a:lnTo>
                    <a:pt x="80" y="26"/>
                  </a:lnTo>
                  <a:lnTo>
                    <a:pt x="80" y="20"/>
                  </a:lnTo>
                  <a:lnTo>
                    <a:pt x="83" y="23"/>
                  </a:lnTo>
                  <a:lnTo>
                    <a:pt x="80" y="15"/>
                  </a:lnTo>
                  <a:lnTo>
                    <a:pt x="77" y="15"/>
                  </a:lnTo>
                  <a:lnTo>
                    <a:pt x="75" y="20"/>
                  </a:lnTo>
                  <a:lnTo>
                    <a:pt x="75" y="15"/>
                  </a:lnTo>
                  <a:lnTo>
                    <a:pt x="69" y="20"/>
                  </a:lnTo>
                  <a:lnTo>
                    <a:pt x="63" y="12"/>
                  </a:lnTo>
                  <a:lnTo>
                    <a:pt x="54" y="0"/>
                  </a:lnTo>
                  <a:lnTo>
                    <a:pt x="52" y="3"/>
                  </a:lnTo>
                  <a:lnTo>
                    <a:pt x="46" y="15"/>
                  </a:lnTo>
                  <a:lnTo>
                    <a:pt x="46" y="12"/>
                  </a:lnTo>
                  <a:lnTo>
                    <a:pt x="34" y="12"/>
                  </a:lnTo>
                  <a:lnTo>
                    <a:pt x="29" y="9"/>
                  </a:lnTo>
                  <a:lnTo>
                    <a:pt x="26" y="3"/>
                  </a:lnTo>
                  <a:lnTo>
                    <a:pt x="23" y="0"/>
                  </a:lnTo>
                  <a:lnTo>
                    <a:pt x="17" y="3"/>
                  </a:lnTo>
                  <a:lnTo>
                    <a:pt x="26" y="9"/>
                  </a:lnTo>
                  <a:lnTo>
                    <a:pt x="26" y="15"/>
                  </a:lnTo>
                  <a:lnTo>
                    <a:pt x="14" y="15"/>
                  </a:lnTo>
                  <a:lnTo>
                    <a:pt x="9" y="9"/>
                  </a:lnTo>
                  <a:lnTo>
                    <a:pt x="0" y="9"/>
                  </a:lnTo>
                  <a:lnTo>
                    <a:pt x="3" y="12"/>
                  </a:lnTo>
                  <a:lnTo>
                    <a:pt x="6" y="15"/>
                  </a:lnTo>
                  <a:lnTo>
                    <a:pt x="11" y="17"/>
                  </a:lnTo>
                  <a:lnTo>
                    <a:pt x="9" y="23"/>
                  </a:lnTo>
                  <a:lnTo>
                    <a:pt x="11" y="26"/>
                  </a:lnTo>
                  <a:lnTo>
                    <a:pt x="14" y="29"/>
                  </a:lnTo>
                  <a:lnTo>
                    <a:pt x="20" y="29"/>
                  </a:lnTo>
                  <a:lnTo>
                    <a:pt x="20" y="32"/>
                  </a:lnTo>
                  <a:lnTo>
                    <a:pt x="14" y="35"/>
                  </a:lnTo>
                  <a:lnTo>
                    <a:pt x="20" y="38"/>
                  </a:lnTo>
                  <a:lnTo>
                    <a:pt x="29" y="40"/>
                  </a:lnTo>
                  <a:lnTo>
                    <a:pt x="29" y="49"/>
                  </a:lnTo>
                  <a:lnTo>
                    <a:pt x="32" y="52"/>
                  </a:lnTo>
                  <a:lnTo>
                    <a:pt x="37" y="46"/>
                  </a:lnTo>
                  <a:lnTo>
                    <a:pt x="43" y="40"/>
                  </a:lnTo>
                  <a:lnTo>
                    <a:pt x="52" y="38"/>
                  </a:lnTo>
                  <a:lnTo>
                    <a:pt x="60" y="49"/>
                  </a:lnTo>
                  <a:lnTo>
                    <a:pt x="57" y="49"/>
                  </a:lnTo>
                  <a:lnTo>
                    <a:pt x="54" y="52"/>
                  </a:lnTo>
                  <a:lnTo>
                    <a:pt x="60" y="55"/>
                  </a:lnTo>
                  <a:lnTo>
                    <a:pt x="57" y="55"/>
                  </a:lnTo>
                  <a:lnTo>
                    <a:pt x="54" y="58"/>
                  </a:lnTo>
                  <a:lnTo>
                    <a:pt x="57" y="61"/>
                  </a:lnTo>
                  <a:lnTo>
                    <a:pt x="66" y="63"/>
                  </a:lnTo>
                  <a:lnTo>
                    <a:pt x="69" y="63"/>
                  </a:lnTo>
                  <a:lnTo>
                    <a:pt x="66" y="55"/>
                  </a:lnTo>
                  <a:lnTo>
                    <a:pt x="69" y="55"/>
                  </a:lnTo>
                  <a:lnTo>
                    <a:pt x="72" y="52"/>
                  </a:lnTo>
                  <a:lnTo>
                    <a:pt x="72" y="46"/>
                  </a:lnTo>
                  <a:lnTo>
                    <a:pt x="72" y="35"/>
                  </a:lnTo>
                  <a:lnTo>
                    <a:pt x="75" y="29"/>
                  </a:lnTo>
                  <a:lnTo>
                    <a:pt x="80" y="2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73" name="Freeform 274"/>
            <p:cNvSpPr>
              <a:spLocks/>
            </p:cNvSpPr>
            <p:nvPr/>
          </p:nvSpPr>
          <p:spPr bwMode="auto">
            <a:xfrm>
              <a:off x="6151563" y="2371725"/>
              <a:ext cx="1409700" cy="1022350"/>
            </a:xfrm>
            <a:custGeom>
              <a:avLst/>
              <a:gdLst>
                <a:gd name="T0" fmla="*/ 2147483647 w 879"/>
                <a:gd name="T1" fmla="*/ 2147483647 h 638"/>
                <a:gd name="T2" fmla="*/ 2147483647 w 879"/>
                <a:gd name="T3" fmla="*/ 2147483647 h 638"/>
                <a:gd name="T4" fmla="*/ 2147483647 w 879"/>
                <a:gd name="T5" fmla="*/ 2147483647 h 638"/>
                <a:gd name="T6" fmla="*/ 2147483647 w 879"/>
                <a:gd name="T7" fmla="*/ 2147483647 h 638"/>
                <a:gd name="T8" fmla="*/ 2147483647 w 879"/>
                <a:gd name="T9" fmla="*/ 2147483647 h 638"/>
                <a:gd name="T10" fmla="*/ 2147483647 w 879"/>
                <a:gd name="T11" fmla="*/ 2147483647 h 638"/>
                <a:gd name="T12" fmla="*/ 2147483647 w 879"/>
                <a:gd name="T13" fmla="*/ 2147483647 h 638"/>
                <a:gd name="T14" fmla="*/ 2147483647 w 879"/>
                <a:gd name="T15" fmla="*/ 2147483647 h 638"/>
                <a:gd name="T16" fmla="*/ 2147483647 w 879"/>
                <a:gd name="T17" fmla="*/ 2147483647 h 638"/>
                <a:gd name="T18" fmla="*/ 2147483647 w 879"/>
                <a:gd name="T19" fmla="*/ 2147483647 h 638"/>
                <a:gd name="T20" fmla="*/ 2147483647 w 879"/>
                <a:gd name="T21" fmla="*/ 2147483647 h 638"/>
                <a:gd name="T22" fmla="*/ 2147483647 w 879"/>
                <a:gd name="T23" fmla="*/ 2147483647 h 638"/>
                <a:gd name="T24" fmla="*/ 2147483647 w 879"/>
                <a:gd name="T25" fmla="*/ 2147483647 h 638"/>
                <a:gd name="T26" fmla="*/ 2147483647 w 879"/>
                <a:gd name="T27" fmla="*/ 2147483647 h 638"/>
                <a:gd name="T28" fmla="*/ 2147483647 w 879"/>
                <a:gd name="T29" fmla="*/ 2147483647 h 638"/>
                <a:gd name="T30" fmla="*/ 2147483647 w 879"/>
                <a:gd name="T31" fmla="*/ 2147483647 h 638"/>
                <a:gd name="T32" fmla="*/ 2147483647 w 879"/>
                <a:gd name="T33" fmla="*/ 2147483647 h 638"/>
                <a:gd name="T34" fmla="*/ 2147483647 w 879"/>
                <a:gd name="T35" fmla="*/ 2147483647 h 638"/>
                <a:gd name="T36" fmla="*/ 2147483647 w 879"/>
                <a:gd name="T37" fmla="*/ 2147483647 h 638"/>
                <a:gd name="T38" fmla="*/ 2147483647 w 879"/>
                <a:gd name="T39" fmla="*/ 2147483647 h 638"/>
                <a:gd name="T40" fmla="*/ 2147483647 w 879"/>
                <a:gd name="T41" fmla="*/ 2147483647 h 638"/>
                <a:gd name="T42" fmla="*/ 2147483647 w 879"/>
                <a:gd name="T43" fmla="*/ 2147483647 h 638"/>
                <a:gd name="T44" fmla="*/ 2147483647 w 879"/>
                <a:gd name="T45" fmla="*/ 2147483647 h 638"/>
                <a:gd name="T46" fmla="*/ 2147483647 w 879"/>
                <a:gd name="T47" fmla="*/ 2147483647 h 638"/>
                <a:gd name="T48" fmla="*/ 2147483647 w 879"/>
                <a:gd name="T49" fmla="*/ 0 h 638"/>
                <a:gd name="T50" fmla="*/ 2147483647 w 879"/>
                <a:gd name="T51" fmla="*/ 2147483647 h 638"/>
                <a:gd name="T52" fmla="*/ 2147483647 w 879"/>
                <a:gd name="T53" fmla="*/ 2147483647 h 638"/>
                <a:gd name="T54" fmla="*/ 2147483647 w 879"/>
                <a:gd name="T55" fmla="*/ 2147483647 h 638"/>
                <a:gd name="T56" fmla="*/ 2147483647 w 879"/>
                <a:gd name="T57" fmla="*/ 2147483647 h 638"/>
                <a:gd name="T58" fmla="*/ 2147483647 w 879"/>
                <a:gd name="T59" fmla="*/ 2147483647 h 638"/>
                <a:gd name="T60" fmla="*/ 2147483647 w 879"/>
                <a:gd name="T61" fmla="*/ 2147483647 h 638"/>
                <a:gd name="T62" fmla="*/ 2147483647 w 879"/>
                <a:gd name="T63" fmla="*/ 2147483647 h 638"/>
                <a:gd name="T64" fmla="*/ 2147483647 w 879"/>
                <a:gd name="T65" fmla="*/ 2147483647 h 638"/>
                <a:gd name="T66" fmla="*/ 2147483647 w 879"/>
                <a:gd name="T67" fmla="*/ 2147483647 h 638"/>
                <a:gd name="T68" fmla="*/ 2147483647 w 879"/>
                <a:gd name="T69" fmla="*/ 2147483647 h 638"/>
                <a:gd name="T70" fmla="*/ 2147483647 w 879"/>
                <a:gd name="T71" fmla="*/ 2147483647 h 638"/>
                <a:gd name="T72" fmla="*/ 2147483647 w 879"/>
                <a:gd name="T73" fmla="*/ 2147483647 h 638"/>
                <a:gd name="T74" fmla="*/ 2147483647 w 879"/>
                <a:gd name="T75" fmla="*/ 2147483647 h 638"/>
                <a:gd name="T76" fmla="*/ 2147483647 w 879"/>
                <a:gd name="T77" fmla="*/ 2147483647 h 638"/>
                <a:gd name="T78" fmla="*/ 2147483647 w 879"/>
                <a:gd name="T79" fmla="*/ 2147483647 h 638"/>
                <a:gd name="T80" fmla="*/ 2147483647 w 879"/>
                <a:gd name="T81" fmla="*/ 2147483647 h 638"/>
                <a:gd name="T82" fmla="*/ 2147483647 w 879"/>
                <a:gd name="T83" fmla="*/ 2147483647 h 638"/>
                <a:gd name="T84" fmla="*/ 2147483647 w 879"/>
                <a:gd name="T85" fmla="*/ 2147483647 h 638"/>
                <a:gd name="T86" fmla="*/ 2147483647 w 879"/>
                <a:gd name="T87" fmla="*/ 2147483647 h 638"/>
                <a:gd name="T88" fmla="*/ 2147483647 w 879"/>
                <a:gd name="T89" fmla="*/ 2147483647 h 638"/>
                <a:gd name="T90" fmla="*/ 2147483647 w 879"/>
                <a:gd name="T91" fmla="*/ 2147483647 h 638"/>
                <a:gd name="T92" fmla="*/ 2147483647 w 879"/>
                <a:gd name="T93" fmla="*/ 2147483647 h 638"/>
                <a:gd name="T94" fmla="*/ 2147483647 w 879"/>
                <a:gd name="T95" fmla="*/ 2147483647 h 638"/>
                <a:gd name="T96" fmla="*/ 2147483647 w 879"/>
                <a:gd name="T97" fmla="*/ 2147483647 h 638"/>
                <a:gd name="T98" fmla="*/ 2147483647 w 879"/>
                <a:gd name="T99" fmla="*/ 2147483647 h 638"/>
                <a:gd name="T100" fmla="*/ 2147483647 w 879"/>
                <a:gd name="T101" fmla="*/ 2147483647 h 638"/>
                <a:gd name="T102" fmla="*/ 2147483647 w 879"/>
                <a:gd name="T103" fmla="*/ 2147483647 h 638"/>
                <a:gd name="T104" fmla="*/ 2147483647 w 879"/>
                <a:gd name="T105" fmla="*/ 2147483647 h 638"/>
                <a:gd name="T106" fmla="*/ 2147483647 w 879"/>
                <a:gd name="T107" fmla="*/ 2147483647 h 638"/>
                <a:gd name="T108" fmla="*/ 2147483647 w 879"/>
                <a:gd name="T109" fmla="*/ 2147483647 h 638"/>
                <a:gd name="T110" fmla="*/ 2147483647 w 879"/>
                <a:gd name="T111" fmla="*/ 2147483647 h 638"/>
                <a:gd name="T112" fmla="*/ 2147483647 w 879"/>
                <a:gd name="T113" fmla="*/ 2147483647 h 638"/>
                <a:gd name="T114" fmla="*/ 2147483647 w 879"/>
                <a:gd name="T115" fmla="*/ 2147483647 h 638"/>
                <a:gd name="T116" fmla="*/ 2147483647 w 879"/>
                <a:gd name="T117" fmla="*/ 2147483647 h 638"/>
                <a:gd name="T118" fmla="*/ 2147483647 w 879"/>
                <a:gd name="T119" fmla="*/ 2147483647 h 638"/>
                <a:gd name="T120" fmla="*/ 2147483647 w 879"/>
                <a:gd name="T121" fmla="*/ 2147483647 h 63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879"/>
                <a:gd name="T184" fmla="*/ 0 h 638"/>
                <a:gd name="T185" fmla="*/ 879 w 879"/>
                <a:gd name="T186" fmla="*/ 638 h 63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879" h="638">
                  <a:moveTo>
                    <a:pt x="494" y="606"/>
                  </a:moveTo>
                  <a:lnTo>
                    <a:pt x="494" y="606"/>
                  </a:lnTo>
                  <a:lnTo>
                    <a:pt x="500" y="606"/>
                  </a:lnTo>
                  <a:lnTo>
                    <a:pt x="502" y="606"/>
                  </a:lnTo>
                  <a:lnTo>
                    <a:pt x="508" y="615"/>
                  </a:lnTo>
                  <a:lnTo>
                    <a:pt x="514" y="612"/>
                  </a:lnTo>
                  <a:lnTo>
                    <a:pt x="517" y="606"/>
                  </a:lnTo>
                  <a:lnTo>
                    <a:pt x="525" y="617"/>
                  </a:lnTo>
                  <a:lnTo>
                    <a:pt x="525" y="620"/>
                  </a:lnTo>
                  <a:lnTo>
                    <a:pt x="528" y="620"/>
                  </a:lnTo>
                  <a:lnTo>
                    <a:pt x="531" y="615"/>
                  </a:lnTo>
                  <a:lnTo>
                    <a:pt x="525" y="603"/>
                  </a:lnTo>
                  <a:lnTo>
                    <a:pt x="525" y="594"/>
                  </a:lnTo>
                  <a:lnTo>
                    <a:pt x="537" y="594"/>
                  </a:lnTo>
                  <a:lnTo>
                    <a:pt x="540" y="589"/>
                  </a:lnTo>
                  <a:lnTo>
                    <a:pt x="548" y="594"/>
                  </a:lnTo>
                  <a:lnTo>
                    <a:pt x="554" y="589"/>
                  </a:lnTo>
                  <a:lnTo>
                    <a:pt x="557" y="589"/>
                  </a:lnTo>
                  <a:lnTo>
                    <a:pt x="557" y="592"/>
                  </a:lnTo>
                  <a:lnTo>
                    <a:pt x="557" y="589"/>
                  </a:lnTo>
                  <a:lnTo>
                    <a:pt x="566" y="594"/>
                  </a:lnTo>
                  <a:lnTo>
                    <a:pt x="568" y="586"/>
                  </a:lnTo>
                  <a:lnTo>
                    <a:pt x="571" y="589"/>
                  </a:lnTo>
                  <a:lnTo>
                    <a:pt x="574" y="594"/>
                  </a:lnTo>
                  <a:lnTo>
                    <a:pt x="577" y="589"/>
                  </a:lnTo>
                  <a:lnTo>
                    <a:pt x="577" y="583"/>
                  </a:lnTo>
                  <a:lnTo>
                    <a:pt x="586" y="577"/>
                  </a:lnTo>
                  <a:lnTo>
                    <a:pt x="594" y="583"/>
                  </a:lnTo>
                  <a:lnTo>
                    <a:pt x="600" y="586"/>
                  </a:lnTo>
                  <a:lnTo>
                    <a:pt x="614" y="586"/>
                  </a:lnTo>
                  <a:lnTo>
                    <a:pt x="612" y="594"/>
                  </a:lnTo>
                  <a:lnTo>
                    <a:pt x="612" y="603"/>
                  </a:lnTo>
                  <a:lnTo>
                    <a:pt x="623" y="609"/>
                  </a:lnTo>
                  <a:lnTo>
                    <a:pt x="632" y="612"/>
                  </a:lnTo>
                  <a:lnTo>
                    <a:pt x="637" y="617"/>
                  </a:lnTo>
                  <a:lnTo>
                    <a:pt x="640" y="617"/>
                  </a:lnTo>
                  <a:lnTo>
                    <a:pt x="640" y="615"/>
                  </a:lnTo>
                  <a:lnTo>
                    <a:pt x="646" y="609"/>
                  </a:lnTo>
                  <a:lnTo>
                    <a:pt x="652" y="615"/>
                  </a:lnTo>
                  <a:lnTo>
                    <a:pt x="655" y="617"/>
                  </a:lnTo>
                  <a:lnTo>
                    <a:pt x="660" y="617"/>
                  </a:lnTo>
                  <a:lnTo>
                    <a:pt x="666" y="615"/>
                  </a:lnTo>
                  <a:lnTo>
                    <a:pt x="669" y="617"/>
                  </a:lnTo>
                  <a:lnTo>
                    <a:pt x="666" y="626"/>
                  </a:lnTo>
                  <a:lnTo>
                    <a:pt x="672" y="638"/>
                  </a:lnTo>
                  <a:lnTo>
                    <a:pt x="680" y="638"/>
                  </a:lnTo>
                  <a:lnTo>
                    <a:pt x="680" y="629"/>
                  </a:lnTo>
                  <a:lnTo>
                    <a:pt x="680" y="620"/>
                  </a:lnTo>
                  <a:lnTo>
                    <a:pt x="683" y="617"/>
                  </a:lnTo>
                  <a:lnTo>
                    <a:pt x="692" y="617"/>
                  </a:lnTo>
                  <a:lnTo>
                    <a:pt x="698" y="615"/>
                  </a:lnTo>
                  <a:lnTo>
                    <a:pt x="703" y="612"/>
                  </a:lnTo>
                  <a:lnTo>
                    <a:pt x="709" y="612"/>
                  </a:lnTo>
                  <a:lnTo>
                    <a:pt x="712" y="609"/>
                  </a:lnTo>
                  <a:lnTo>
                    <a:pt x="718" y="609"/>
                  </a:lnTo>
                  <a:lnTo>
                    <a:pt x="723" y="603"/>
                  </a:lnTo>
                  <a:lnTo>
                    <a:pt x="726" y="600"/>
                  </a:lnTo>
                  <a:lnTo>
                    <a:pt x="732" y="603"/>
                  </a:lnTo>
                  <a:lnTo>
                    <a:pt x="741" y="603"/>
                  </a:lnTo>
                  <a:lnTo>
                    <a:pt x="744" y="603"/>
                  </a:lnTo>
                  <a:lnTo>
                    <a:pt x="746" y="597"/>
                  </a:lnTo>
                  <a:lnTo>
                    <a:pt x="752" y="592"/>
                  </a:lnTo>
                  <a:lnTo>
                    <a:pt x="758" y="594"/>
                  </a:lnTo>
                  <a:lnTo>
                    <a:pt x="761" y="592"/>
                  </a:lnTo>
                  <a:lnTo>
                    <a:pt x="769" y="592"/>
                  </a:lnTo>
                  <a:lnTo>
                    <a:pt x="778" y="586"/>
                  </a:lnTo>
                  <a:lnTo>
                    <a:pt x="778" y="577"/>
                  </a:lnTo>
                  <a:lnTo>
                    <a:pt x="781" y="574"/>
                  </a:lnTo>
                  <a:lnTo>
                    <a:pt x="787" y="574"/>
                  </a:lnTo>
                  <a:lnTo>
                    <a:pt x="790" y="577"/>
                  </a:lnTo>
                  <a:lnTo>
                    <a:pt x="792" y="569"/>
                  </a:lnTo>
                  <a:lnTo>
                    <a:pt x="795" y="563"/>
                  </a:lnTo>
                  <a:lnTo>
                    <a:pt x="798" y="560"/>
                  </a:lnTo>
                  <a:lnTo>
                    <a:pt x="798" y="557"/>
                  </a:lnTo>
                  <a:lnTo>
                    <a:pt x="804" y="560"/>
                  </a:lnTo>
                  <a:lnTo>
                    <a:pt x="810" y="554"/>
                  </a:lnTo>
                  <a:lnTo>
                    <a:pt x="810" y="549"/>
                  </a:lnTo>
                  <a:lnTo>
                    <a:pt x="812" y="540"/>
                  </a:lnTo>
                  <a:lnTo>
                    <a:pt x="818" y="540"/>
                  </a:lnTo>
                  <a:lnTo>
                    <a:pt x="821" y="534"/>
                  </a:lnTo>
                  <a:lnTo>
                    <a:pt x="815" y="534"/>
                  </a:lnTo>
                  <a:lnTo>
                    <a:pt x="815" y="528"/>
                  </a:lnTo>
                  <a:lnTo>
                    <a:pt x="815" y="526"/>
                  </a:lnTo>
                  <a:lnTo>
                    <a:pt x="818" y="520"/>
                  </a:lnTo>
                  <a:lnTo>
                    <a:pt x="824" y="514"/>
                  </a:lnTo>
                  <a:lnTo>
                    <a:pt x="821" y="514"/>
                  </a:lnTo>
                  <a:lnTo>
                    <a:pt x="821" y="511"/>
                  </a:lnTo>
                  <a:lnTo>
                    <a:pt x="827" y="503"/>
                  </a:lnTo>
                  <a:lnTo>
                    <a:pt x="824" y="494"/>
                  </a:lnTo>
                  <a:lnTo>
                    <a:pt x="830" y="488"/>
                  </a:lnTo>
                  <a:lnTo>
                    <a:pt x="835" y="485"/>
                  </a:lnTo>
                  <a:lnTo>
                    <a:pt x="835" y="471"/>
                  </a:lnTo>
                  <a:lnTo>
                    <a:pt x="835" y="468"/>
                  </a:lnTo>
                  <a:lnTo>
                    <a:pt x="841" y="462"/>
                  </a:lnTo>
                  <a:lnTo>
                    <a:pt x="838" y="457"/>
                  </a:lnTo>
                  <a:lnTo>
                    <a:pt x="841" y="454"/>
                  </a:lnTo>
                  <a:lnTo>
                    <a:pt x="835" y="442"/>
                  </a:lnTo>
                  <a:lnTo>
                    <a:pt x="833" y="445"/>
                  </a:lnTo>
                  <a:lnTo>
                    <a:pt x="833" y="454"/>
                  </a:lnTo>
                  <a:lnTo>
                    <a:pt x="830" y="457"/>
                  </a:lnTo>
                  <a:lnTo>
                    <a:pt x="830" y="448"/>
                  </a:lnTo>
                  <a:lnTo>
                    <a:pt x="830" y="445"/>
                  </a:lnTo>
                  <a:lnTo>
                    <a:pt x="824" y="445"/>
                  </a:lnTo>
                  <a:lnTo>
                    <a:pt x="818" y="448"/>
                  </a:lnTo>
                  <a:lnTo>
                    <a:pt x="815" y="448"/>
                  </a:lnTo>
                  <a:lnTo>
                    <a:pt x="812" y="448"/>
                  </a:lnTo>
                  <a:lnTo>
                    <a:pt x="810" y="445"/>
                  </a:lnTo>
                  <a:lnTo>
                    <a:pt x="807" y="445"/>
                  </a:lnTo>
                  <a:lnTo>
                    <a:pt x="810" y="442"/>
                  </a:lnTo>
                  <a:lnTo>
                    <a:pt x="815" y="439"/>
                  </a:lnTo>
                  <a:lnTo>
                    <a:pt x="818" y="437"/>
                  </a:lnTo>
                  <a:lnTo>
                    <a:pt x="821" y="437"/>
                  </a:lnTo>
                  <a:lnTo>
                    <a:pt x="827" y="434"/>
                  </a:lnTo>
                  <a:lnTo>
                    <a:pt x="824" y="425"/>
                  </a:lnTo>
                  <a:lnTo>
                    <a:pt x="821" y="416"/>
                  </a:lnTo>
                  <a:lnTo>
                    <a:pt x="821" y="414"/>
                  </a:lnTo>
                  <a:lnTo>
                    <a:pt x="815" y="408"/>
                  </a:lnTo>
                  <a:lnTo>
                    <a:pt x="810" y="402"/>
                  </a:lnTo>
                  <a:lnTo>
                    <a:pt x="801" y="399"/>
                  </a:lnTo>
                  <a:lnTo>
                    <a:pt x="798" y="394"/>
                  </a:lnTo>
                  <a:lnTo>
                    <a:pt x="795" y="388"/>
                  </a:lnTo>
                  <a:lnTo>
                    <a:pt x="787" y="379"/>
                  </a:lnTo>
                  <a:lnTo>
                    <a:pt x="784" y="373"/>
                  </a:lnTo>
                  <a:lnTo>
                    <a:pt x="781" y="368"/>
                  </a:lnTo>
                  <a:lnTo>
                    <a:pt x="778" y="365"/>
                  </a:lnTo>
                  <a:lnTo>
                    <a:pt x="769" y="362"/>
                  </a:lnTo>
                  <a:lnTo>
                    <a:pt x="764" y="359"/>
                  </a:lnTo>
                  <a:lnTo>
                    <a:pt x="761" y="356"/>
                  </a:lnTo>
                  <a:lnTo>
                    <a:pt x="758" y="353"/>
                  </a:lnTo>
                  <a:lnTo>
                    <a:pt x="761" y="345"/>
                  </a:lnTo>
                  <a:lnTo>
                    <a:pt x="764" y="342"/>
                  </a:lnTo>
                  <a:lnTo>
                    <a:pt x="764" y="339"/>
                  </a:lnTo>
                  <a:lnTo>
                    <a:pt x="767" y="336"/>
                  </a:lnTo>
                  <a:lnTo>
                    <a:pt x="769" y="333"/>
                  </a:lnTo>
                  <a:lnTo>
                    <a:pt x="772" y="327"/>
                  </a:lnTo>
                  <a:lnTo>
                    <a:pt x="775" y="319"/>
                  </a:lnTo>
                  <a:lnTo>
                    <a:pt x="778" y="319"/>
                  </a:lnTo>
                  <a:lnTo>
                    <a:pt x="784" y="316"/>
                  </a:lnTo>
                  <a:lnTo>
                    <a:pt x="787" y="313"/>
                  </a:lnTo>
                  <a:lnTo>
                    <a:pt x="787" y="316"/>
                  </a:lnTo>
                  <a:lnTo>
                    <a:pt x="792" y="319"/>
                  </a:lnTo>
                  <a:lnTo>
                    <a:pt x="795" y="307"/>
                  </a:lnTo>
                  <a:lnTo>
                    <a:pt x="792" y="307"/>
                  </a:lnTo>
                  <a:lnTo>
                    <a:pt x="787" y="305"/>
                  </a:lnTo>
                  <a:lnTo>
                    <a:pt x="775" y="305"/>
                  </a:lnTo>
                  <a:lnTo>
                    <a:pt x="767" y="299"/>
                  </a:lnTo>
                  <a:lnTo>
                    <a:pt x="761" y="296"/>
                  </a:lnTo>
                  <a:lnTo>
                    <a:pt x="758" y="296"/>
                  </a:lnTo>
                  <a:lnTo>
                    <a:pt x="752" y="299"/>
                  </a:lnTo>
                  <a:lnTo>
                    <a:pt x="752" y="302"/>
                  </a:lnTo>
                  <a:lnTo>
                    <a:pt x="752" y="307"/>
                  </a:lnTo>
                  <a:lnTo>
                    <a:pt x="749" y="310"/>
                  </a:lnTo>
                  <a:lnTo>
                    <a:pt x="746" y="310"/>
                  </a:lnTo>
                  <a:lnTo>
                    <a:pt x="741" y="310"/>
                  </a:lnTo>
                  <a:lnTo>
                    <a:pt x="738" y="307"/>
                  </a:lnTo>
                  <a:lnTo>
                    <a:pt x="735" y="307"/>
                  </a:lnTo>
                  <a:lnTo>
                    <a:pt x="735" y="305"/>
                  </a:lnTo>
                  <a:lnTo>
                    <a:pt x="732" y="299"/>
                  </a:lnTo>
                  <a:lnTo>
                    <a:pt x="732" y="296"/>
                  </a:lnTo>
                  <a:lnTo>
                    <a:pt x="729" y="293"/>
                  </a:lnTo>
                  <a:lnTo>
                    <a:pt x="726" y="290"/>
                  </a:lnTo>
                  <a:lnTo>
                    <a:pt x="723" y="293"/>
                  </a:lnTo>
                  <a:lnTo>
                    <a:pt x="721" y="293"/>
                  </a:lnTo>
                  <a:lnTo>
                    <a:pt x="709" y="290"/>
                  </a:lnTo>
                  <a:lnTo>
                    <a:pt x="706" y="287"/>
                  </a:lnTo>
                  <a:lnTo>
                    <a:pt x="703" y="284"/>
                  </a:lnTo>
                  <a:lnTo>
                    <a:pt x="701" y="282"/>
                  </a:lnTo>
                  <a:lnTo>
                    <a:pt x="701" y="273"/>
                  </a:lnTo>
                  <a:lnTo>
                    <a:pt x="703" y="270"/>
                  </a:lnTo>
                  <a:lnTo>
                    <a:pt x="706" y="273"/>
                  </a:lnTo>
                  <a:lnTo>
                    <a:pt x="709" y="276"/>
                  </a:lnTo>
                  <a:lnTo>
                    <a:pt x="712" y="273"/>
                  </a:lnTo>
                  <a:lnTo>
                    <a:pt x="715" y="273"/>
                  </a:lnTo>
                  <a:lnTo>
                    <a:pt x="718" y="273"/>
                  </a:lnTo>
                  <a:lnTo>
                    <a:pt x="721" y="270"/>
                  </a:lnTo>
                  <a:lnTo>
                    <a:pt x="723" y="264"/>
                  </a:lnTo>
                  <a:lnTo>
                    <a:pt x="723" y="261"/>
                  </a:lnTo>
                  <a:lnTo>
                    <a:pt x="726" y="259"/>
                  </a:lnTo>
                  <a:lnTo>
                    <a:pt x="732" y="256"/>
                  </a:lnTo>
                  <a:lnTo>
                    <a:pt x="732" y="253"/>
                  </a:lnTo>
                  <a:lnTo>
                    <a:pt x="735" y="247"/>
                  </a:lnTo>
                  <a:lnTo>
                    <a:pt x="738" y="241"/>
                  </a:lnTo>
                  <a:lnTo>
                    <a:pt x="741" y="241"/>
                  </a:lnTo>
                  <a:lnTo>
                    <a:pt x="741" y="238"/>
                  </a:lnTo>
                  <a:lnTo>
                    <a:pt x="744" y="238"/>
                  </a:lnTo>
                  <a:lnTo>
                    <a:pt x="746" y="238"/>
                  </a:lnTo>
                  <a:lnTo>
                    <a:pt x="749" y="238"/>
                  </a:lnTo>
                  <a:lnTo>
                    <a:pt x="752" y="238"/>
                  </a:lnTo>
                  <a:lnTo>
                    <a:pt x="758" y="244"/>
                  </a:lnTo>
                  <a:lnTo>
                    <a:pt x="761" y="247"/>
                  </a:lnTo>
                  <a:lnTo>
                    <a:pt x="758" y="253"/>
                  </a:lnTo>
                  <a:lnTo>
                    <a:pt x="752" y="259"/>
                  </a:lnTo>
                  <a:lnTo>
                    <a:pt x="755" y="264"/>
                  </a:lnTo>
                  <a:lnTo>
                    <a:pt x="758" y="267"/>
                  </a:lnTo>
                  <a:lnTo>
                    <a:pt x="761" y="270"/>
                  </a:lnTo>
                  <a:lnTo>
                    <a:pt x="761" y="273"/>
                  </a:lnTo>
                  <a:lnTo>
                    <a:pt x="758" y="279"/>
                  </a:lnTo>
                  <a:lnTo>
                    <a:pt x="758" y="282"/>
                  </a:lnTo>
                  <a:lnTo>
                    <a:pt x="764" y="282"/>
                  </a:lnTo>
                  <a:lnTo>
                    <a:pt x="767" y="276"/>
                  </a:lnTo>
                  <a:lnTo>
                    <a:pt x="769" y="273"/>
                  </a:lnTo>
                  <a:lnTo>
                    <a:pt x="769" y="270"/>
                  </a:lnTo>
                  <a:lnTo>
                    <a:pt x="775" y="267"/>
                  </a:lnTo>
                  <a:lnTo>
                    <a:pt x="784" y="261"/>
                  </a:lnTo>
                  <a:lnTo>
                    <a:pt x="790" y="261"/>
                  </a:lnTo>
                  <a:lnTo>
                    <a:pt x="795" y="259"/>
                  </a:lnTo>
                  <a:lnTo>
                    <a:pt x="795" y="250"/>
                  </a:lnTo>
                  <a:lnTo>
                    <a:pt x="801" y="247"/>
                  </a:lnTo>
                  <a:lnTo>
                    <a:pt x="807" y="244"/>
                  </a:lnTo>
                  <a:lnTo>
                    <a:pt x="810" y="238"/>
                  </a:lnTo>
                  <a:lnTo>
                    <a:pt x="815" y="230"/>
                  </a:lnTo>
                  <a:lnTo>
                    <a:pt x="821" y="218"/>
                  </a:lnTo>
                  <a:lnTo>
                    <a:pt x="841" y="224"/>
                  </a:lnTo>
                  <a:lnTo>
                    <a:pt x="835" y="216"/>
                  </a:lnTo>
                  <a:lnTo>
                    <a:pt x="838" y="216"/>
                  </a:lnTo>
                  <a:lnTo>
                    <a:pt x="850" y="216"/>
                  </a:lnTo>
                  <a:lnTo>
                    <a:pt x="850" y="213"/>
                  </a:lnTo>
                  <a:lnTo>
                    <a:pt x="850" y="210"/>
                  </a:lnTo>
                  <a:lnTo>
                    <a:pt x="853" y="207"/>
                  </a:lnTo>
                  <a:lnTo>
                    <a:pt x="856" y="204"/>
                  </a:lnTo>
                  <a:lnTo>
                    <a:pt x="853" y="201"/>
                  </a:lnTo>
                  <a:lnTo>
                    <a:pt x="856" y="195"/>
                  </a:lnTo>
                  <a:lnTo>
                    <a:pt x="867" y="201"/>
                  </a:lnTo>
                  <a:lnTo>
                    <a:pt x="870" y="198"/>
                  </a:lnTo>
                  <a:lnTo>
                    <a:pt x="870" y="190"/>
                  </a:lnTo>
                  <a:lnTo>
                    <a:pt x="861" y="178"/>
                  </a:lnTo>
                  <a:lnTo>
                    <a:pt x="850" y="161"/>
                  </a:lnTo>
                  <a:lnTo>
                    <a:pt x="858" y="152"/>
                  </a:lnTo>
                  <a:lnTo>
                    <a:pt x="879" y="155"/>
                  </a:lnTo>
                  <a:lnTo>
                    <a:pt x="879" y="147"/>
                  </a:lnTo>
                  <a:lnTo>
                    <a:pt x="879" y="141"/>
                  </a:lnTo>
                  <a:lnTo>
                    <a:pt x="879" y="132"/>
                  </a:lnTo>
                  <a:lnTo>
                    <a:pt x="873" y="121"/>
                  </a:lnTo>
                  <a:lnTo>
                    <a:pt x="873" y="115"/>
                  </a:lnTo>
                  <a:lnTo>
                    <a:pt x="870" y="115"/>
                  </a:lnTo>
                  <a:lnTo>
                    <a:pt x="876" y="106"/>
                  </a:lnTo>
                  <a:lnTo>
                    <a:pt x="870" y="101"/>
                  </a:lnTo>
                  <a:lnTo>
                    <a:pt x="867" y="101"/>
                  </a:lnTo>
                  <a:lnTo>
                    <a:pt x="870" y="95"/>
                  </a:lnTo>
                  <a:lnTo>
                    <a:pt x="861" y="98"/>
                  </a:lnTo>
                  <a:lnTo>
                    <a:pt x="853" y="104"/>
                  </a:lnTo>
                  <a:lnTo>
                    <a:pt x="844" y="109"/>
                  </a:lnTo>
                  <a:lnTo>
                    <a:pt x="818" y="112"/>
                  </a:lnTo>
                  <a:lnTo>
                    <a:pt x="807" y="98"/>
                  </a:lnTo>
                  <a:lnTo>
                    <a:pt x="801" y="92"/>
                  </a:lnTo>
                  <a:lnTo>
                    <a:pt x="801" y="86"/>
                  </a:lnTo>
                  <a:lnTo>
                    <a:pt x="792" y="86"/>
                  </a:lnTo>
                  <a:lnTo>
                    <a:pt x="775" y="75"/>
                  </a:lnTo>
                  <a:lnTo>
                    <a:pt x="764" y="78"/>
                  </a:lnTo>
                  <a:lnTo>
                    <a:pt x="744" y="72"/>
                  </a:lnTo>
                  <a:lnTo>
                    <a:pt x="744" y="69"/>
                  </a:lnTo>
                  <a:lnTo>
                    <a:pt x="741" y="66"/>
                  </a:lnTo>
                  <a:lnTo>
                    <a:pt x="738" y="60"/>
                  </a:lnTo>
                  <a:lnTo>
                    <a:pt x="732" y="60"/>
                  </a:lnTo>
                  <a:lnTo>
                    <a:pt x="729" y="55"/>
                  </a:lnTo>
                  <a:lnTo>
                    <a:pt x="721" y="49"/>
                  </a:lnTo>
                  <a:lnTo>
                    <a:pt x="715" y="46"/>
                  </a:lnTo>
                  <a:lnTo>
                    <a:pt x="709" y="38"/>
                  </a:lnTo>
                  <a:lnTo>
                    <a:pt x="703" y="32"/>
                  </a:lnTo>
                  <a:lnTo>
                    <a:pt x="701" y="29"/>
                  </a:lnTo>
                  <a:lnTo>
                    <a:pt x="698" y="29"/>
                  </a:lnTo>
                  <a:lnTo>
                    <a:pt x="692" y="23"/>
                  </a:lnTo>
                  <a:lnTo>
                    <a:pt x="686" y="20"/>
                  </a:lnTo>
                  <a:lnTo>
                    <a:pt x="675" y="12"/>
                  </a:lnTo>
                  <a:lnTo>
                    <a:pt x="666" y="6"/>
                  </a:lnTo>
                  <a:lnTo>
                    <a:pt x="660" y="9"/>
                  </a:lnTo>
                  <a:lnTo>
                    <a:pt x="657" y="9"/>
                  </a:lnTo>
                  <a:lnTo>
                    <a:pt x="652" y="6"/>
                  </a:lnTo>
                  <a:lnTo>
                    <a:pt x="640" y="0"/>
                  </a:lnTo>
                  <a:lnTo>
                    <a:pt x="635" y="0"/>
                  </a:lnTo>
                  <a:lnTo>
                    <a:pt x="620" y="0"/>
                  </a:lnTo>
                  <a:lnTo>
                    <a:pt x="609" y="3"/>
                  </a:lnTo>
                  <a:lnTo>
                    <a:pt x="603" y="6"/>
                  </a:lnTo>
                  <a:lnTo>
                    <a:pt x="597" y="12"/>
                  </a:lnTo>
                  <a:lnTo>
                    <a:pt x="606" y="15"/>
                  </a:lnTo>
                  <a:lnTo>
                    <a:pt x="612" y="17"/>
                  </a:lnTo>
                  <a:lnTo>
                    <a:pt x="614" y="26"/>
                  </a:lnTo>
                  <a:lnTo>
                    <a:pt x="617" y="29"/>
                  </a:lnTo>
                  <a:lnTo>
                    <a:pt x="614" y="32"/>
                  </a:lnTo>
                  <a:lnTo>
                    <a:pt x="614" y="35"/>
                  </a:lnTo>
                  <a:lnTo>
                    <a:pt x="612" y="35"/>
                  </a:lnTo>
                  <a:lnTo>
                    <a:pt x="612" y="40"/>
                  </a:lnTo>
                  <a:lnTo>
                    <a:pt x="612" y="46"/>
                  </a:lnTo>
                  <a:lnTo>
                    <a:pt x="612" y="55"/>
                  </a:lnTo>
                  <a:lnTo>
                    <a:pt x="614" y="58"/>
                  </a:lnTo>
                  <a:lnTo>
                    <a:pt x="617" y="63"/>
                  </a:lnTo>
                  <a:lnTo>
                    <a:pt x="606" y="66"/>
                  </a:lnTo>
                  <a:lnTo>
                    <a:pt x="603" y="75"/>
                  </a:lnTo>
                  <a:lnTo>
                    <a:pt x="600" y="75"/>
                  </a:lnTo>
                  <a:lnTo>
                    <a:pt x="594" y="75"/>
                  </a:lnTo>
                  <a:lnTo>
                    <a:pt x="586" y="72"/>
                  </a:lnTo>
                  <a:lnTo>
                    <a:pt x="583" y="69"/>
                  </a:lnTo>
                  <a:lnTo>
                    <a:pt x="583" y="92"/>
                  </a:lnTo>
                  <a:lnTo>
                    <a:pt x="583" y="95"/>
                  </a:lnTo>
                  <a:lnTo>
                    <a:pt x="583" y="101"/>
                  </a:lnTo>
                  <a:lnTo>
                    <a:pt x="589" y="106"/>
                  </a:lnTo>
                  <a:lnTo>
                    <a:pt x="600" y="104"/>
                  </a:lnTo>
                  <a:lnTo>
                    <a:pt x="603" y="104"/>
                  </a:lnTo>
                  <a:lnTo>
                    <a:pt x="612" y="106"/>
                  </a:lnTo>
                  <a:lnTo>
                    <a:pt x="620" y="101"/>
                  </a:lnTo>
                  <a:lnTo>
                    <a:pt x="623" y="98"/>
                  </a:lnTo>
                  <a:lnTo>
                    <a:pt x="632" y="101"/>
                  </a:lnTo>
                  <a:lnTo>
                    <a:pt x="635" y="106"/>
                  </a:lnTo>
                  <a:lnTo>
                    <a:pt x="643" y="109"/>
                  </a:lnTo>
                  <a:lnTo>
                    <a:pt x="652" y="115"/>
                  </a:lnTo>
                  <a:lnTo>
                    <a:pt x="663" y="124"/>
                  </a:lnTo>
                  <a:lnTo>
                    <a:pt x="663" y="127"/>
                  </a:lnTo>
                  <a:lnTo>
                    <a:pt x="660" y="129"/>
                  </a:lnTo>
                  <a:lnTo>
                    <a:pt x="655" y="129"/>
                  </a:lnTo>
                  <a:lnTo>
                    <a:pt x="652" y="129"/>
                  </a:lnTo>
                  <a:lnTo>
                    <a:pt x="646" y="129"/>
                  </a:lnTo>
                  <a:lnTo>
                    <a:pt x="643" y="127"/>
                  </a:lnTo>
                  <a:lnTo>
                    <a:pt x="632" y="129"/>
                  </a:lnTo>
                  <a:lnTo>
                    <a:pt x="629" y="132"/>
                  </a:lnTo>
                  <a:lnTo>
                    <a:pt x="629" y="129"/>
                  </a:lnTo>
                  <a:lnTo>
                    <a:pt x="626" y="135"/>
                  </a:lnTo>
                  <a:lnTo>
                    <a:pt x="620" y="135"/>
                  </a:lnTo>
                  <a:lnTo>
                    <a:pt x="614" y="135"/>
                  </a:lnTo>
                  <a:lnTo>
                    <a:pt x="614" y="138"/>
                  </a:lnTo>
                  <a:lnTo>
                    <a:pt x="614" y="147"/>
                  </a:lnTo>
                  <a:lnTo>
                    <a:pt x="612" y="149"/>
                  </a:lnTo>
                  <a:lnTo>
                    <a:pt x="603" y="155"/>
                  </a:lnTo>
                  <a:lnTo>
                    <a:pt x="597" y="155"/>
                  </a:lnTo>
                  <a:lnTo>
                    <a:pt x="594" y="155"/>
                  </a:lnTo>
                  <a:lnTo>
                    <a:pt x="586" y="164"/>
                  </a:lnTo>
                  <a:lnTo>
                    <a:pt x="583" y="167"/>
                  </a:lnTo>
                  <a:lnTo>
                    <a:pt x="574" y="164"/>
                  </a:lnTo>
                  <a:lnTo>
                    <a:pt x="568" y="161"/>
                  </a:lnTo>
                  <a:lnTo>
                    <a:pt x="560" y="158"/>
                  </a:lnTo>
                  <a:lnTo>
                    <a:pt x="554" y="161"/>
                  </a:lnTo>
                  <a:lnTo>
                    <a:pt x="554" y="164"/>
                  </a:lnTo>
                  <a:lnTo>
                    <a:pt x="554" y="170"/>
                  </a:lnTo>
                  <a:lnTo>
                    <a:pt x="571" y="181"/>
                  </a:lnTo>
                  <a:lnTo>
                    <a:pt x="560" y="193"/>
                  </a:lnTo>
                  <a:lnTo>
                    <a:pt x="554" y="201"/>
                  </a:lnTo>
                  <a:lnTo>
                    <a:pt x="546" y="207"/>
                  </a:lnTo>
                  <a:lnTo>
                    <a:pt x="540" y="210"/>
                  </a:lnTo>
                  <a:lnTo>
                    <a:pt x="517" y="210"/>
                  </a:lnTo>
                  <a:lnTo>
                    <a:pt x="502" y="213"/>
                  </a:lnTo>
                  <a:lnTo>
                    <a:pt x="494" y="218"/>
                  </a:lnTo>
                  <a:lnTo>
                    <a:pt x="485" y="224"/>
                  </a:lnTo>
                  <a:lnTo>
                    <a:pt x="479" y="227"/>
                  </a:lnTo>
                  <a:lnTo>
                    <a:pt x="477" y="227"/>
                  </a:lnTo>
                  <a:lnTo>
                    <a:pt x="471" y="224"/>
                  </a:lnTo>
                  <a:lnTo>
                    <a:pt x="468" y="221"/>
                  </a:lnTo>
                  <a:lnTo>
                    <a:pt x="459" y="221"/>
                  </a:lnTo>
                  <a:lnTo>
                    <a:pt x="436" y="218"/>
                  </a:lnTo>
                  <a:lnTo>
                    <a:pt x="428" y="216"/>
                  </a:lnTo>
                  <a:lnTo>
                    <a:pt x="422" y="210"/>
                  </a:lnTo>
                  <a:lnTo>
                    <a:pt x="419" y="207"/>
                  </a:lnTo>
                  <a:lnTo>
                    <a:pt x="411" y="207"/>
                  </a:lnTo>
                  <a:lnTo>
                    <a:pt x="405" y="207"/>
                  </a:lnTo>
                  <a:lnTo>
                    <a:pt x="399" y="207"/>
                  </a:lnTo>
                  <a:lnTo>
                    <a:pt x="391" y="207"/>
                  </a:lnTo>
                  <a:lnTo>
                    <a:pt x="385" y="207"/>
                  </a:lnTo>
                  <a:lnTo>
                    <a:pt x="376" y="207"/>
                  </a:lnTo>
                  <a:lnTo>
                    <a:pt x="350" y="204"/>
                  </a:lnTo>
                  <a:lnTo>
                    <a:pt x="342" y="204"/>
                  </a:lnTo>
                  <a:lnTo>
                    <a:pt x="336" y="204"/>
                  </a:lnTo>
                  <a:lnTo>
                    <a:pt x="330" y="201"/>
                  </a:lnTo>
                  <a:lnTo>
                    <a:pt x="322" y="195"/>
                  </a:lnTo>
                  <a:lnTo>
                    <a:pt x="316" y="187"/>
                  </a:lnTo>
                  <a:lnTo>
                    <a:pt x="310" y="181"/>
                  </a:lnTo>
                  <a:lnTo>
                    <a:pt x="307" y="181"/>
                  </a:lnTo>
                  <a:lnTo>
                    <a:pt x="307" y="178"/>
                  </a:lnTo>
                  <a:lnTo>
                    <a:pt x="307" y="175"/>
                  </a:lnTo>
                  <a:lnTo>
                    <a:pt x="302" y="175"/>
                  </a:lnTo>
                  <a:lnTo>
                    <a:pt x="296" y="172"/>
                  </a:lnTo>
                  <a:lnTo>
                    <a:pt x="284" y="167"/>
                  </a:lnTo>
                  <a:lnTo>
                    <a:pt x="279" y="164"/>
                  </a:lnTo>
                  <a:lnTo>
                    <a:pt x="270" y="164"/>
                  </a:lnTo>
                  <a:lnTo>
                    <a:pt x="267" y="164"/>
                  </a:lnTo>
                  <a:lnTo>
                    <a:pt x="256" y="161"/>
                  </a:lnTo>
                  <a:lnTo>
                    <a:pt x="241" y="158"/>
                  </a:lnTo>
                  <a:lnTo>
                    <a:pt x="233" y="158"/>
                  </a:lnTo>
                  <a:lnTo>
                    <a:pt x="224" y="149"/>
                  </a:lnTo>
                  <a:lnTo>
                    <a:pt x="221" y="147"/>
                  </a:lnTo>
                  <a:lnTo>
                    <a:pt x="224" y="141"/>
                  </a:lnTo>
                  <a:lnTo>
                    <a:pt x="221" y="129"/>
                  </a:lnTo>
                  <a:lnTo>
                    <a:pt x="218" y="127"/>
                  </a:lnTo>
                  <a:lnTo>
                    <a:pt x="213" y="121"/>
                  </a:lnTo>
                  <a:lnTo>
                    <a:pt x="207" y="115"/>
                  </a:lnTo>
                  <a:lnTo>
                    <a:pt x="204" y="112"/>
                  </a:lnTo>
                  <a:lnTo>
                    <a:pt x="195" y="109"/>
                  </a:lnTo>
                  <a:lnTo>
                    <a:pt x="192" y="106"/>
                  </a:lnTo>
                  <a:lnTo>
                    <a:pt x="190" y="106"/>
                  </a:lnTo>
                  <a:lnTo>
                    <a:pt x="187" y="104"/>
                  </a:lnTo>
                  <a:lnTo>
                    <a:pt x="175" y="104"/>
                  </a:lnTo>
                  <a:lnTo>
                    <a:pt x="167" y="98"/>
                  </a:lnTo>
                  <a:lnTo>
                    <a:pt x="161" y="92"/>
                  </a:lnTo>
                  <a:lnTo>
                    <a:pt x="152" y="86"/>
                  </a:lnTo>
                  <a:lnTo>
                    <a:pt x="152" y="83"/>
                  </a:lnTo>
                  <a:lnTo>
                    <a:pt x="144" y="83"/>
                  </a:lnTo>
                  <a:lnTo>
                    <a:pt x="141" y="83"/>
                  </a:lnTo>
                  <a:lnTo>
                    <a:pt x="141" y="86"/>
                  </a:lnTo>
                  <a:lnTo>
                    <a:pt x="144" y="89"/>
                  </a:lnTo>
                  <a:lnTo>
                    <a:pt x="141" y="95"/>
                  </a:lnTo>
                  <a:lnTo>
                    <a:pt x="138" y="95"/>
                  </a:lnTo>
                  <a:lnTo>
                    <a:pt x="135" y="95"/>
                  </a:lnTo>
                  <a:lnTo>
                    <a:pt x="132" y="95"/>
                  </a:lnTo>
                  <a:lnTo>
                    <a:pt x="129" y="98"/>
                  </a:lnTo>
                  <a:lnTo>
                    <a:pt x="129" y="101"/>
                  </a:lnTo>
                  <a:lnTo>
                    <a:pt x="132" y="106"/>
                  </a:lnTo>
                  <a:lnTo>
                    <a:pt x="135" y="109"/>
                  </a:lnTo>
                  <a:lnTo>
                    <a:pt x="138" y="112"/>
                  </a:lnTo>
                  <a:lnTo>
                    <a:pt x="141" y="118"/>
                  </a:lnTo>
                  <a:lnTo>
                    <a:pt x="138" y="118"/>
                  </a:lnTo>
                  <a:lnTo>
                    <a:pt x="135" y="121"/>
                  </a:lnTo>
                  <a:lnTo>
                    <a:pt x="132" y="124"/>
                  </a:lnTo>
                  <a:lnTo>
                    <a:pt x="129" y="127"/>
                  </a:lnTo>
                  <a:lnTo>
                    <a:pt x="124" y="124"/>
                  </a:lnTo>
                  <a:lnTo>
                    <a:pt x="118" y="121"/>
                  </a:lnTo>
                  <a:lnTo>
                    <a:pt x="112" y="121"/>
                  </a:lnTo>
                  <a:lnTo>
                    <a:pt x="103" y="121"/>
                  </a:lnTo>
                  <a:lnTo>
                    <a:pt x="98" y="118"/>
                  </a:lnTo>
                  <a:lnTo>
                    <a:pt x="98" y="147"/>
                  </a:lnTo>
                  <a:lnTo>
                    <a:pt x="103" y="149"/>
                  </a:lnTo>
                  <a:lnTo>
                    <a:pt x="103" y="152"/>
                  </a:lnTo>
                  <a:lnTo>
                    <a:pt x="101" y="158"/>
                  </a:lnTo>
                  <a:lnTo>
                    <a:pt x="98" y="158"/>
                  </a:lnTo>
                  <a:lnTo>
                    <a:pt x="89" y="155"/>
                  </a:lnTo>
                  <a:lnTo>
                    <a:pt x="78" y="158"/>
                  </a:lnTo>
                  <a:lnTo>
                    <a:pt x="66" y="161"/>
                  </a:lnTo>
                  <a:lnTo>
                    <a:pt x="75" y="164"/>
                  </a:lnTo>
                  <a:lnTo>
                    <a:pt x="78" y="170"/>
                  </a:lnTo>
                  <a:lnTo>
                    <a:pt x="78" y="178"/>
                  </a:lnTo>
                  <a:lnTo>
                    <a:pt x="86" y="187"/>
                  </a:lnTo>
                  <a:lnTo>
                    <a:pt x="89" y="195"/>
                  </a:lnTo>
                  <a:lnTo>
                    <a:pt x="89" y="198"/>
                  </a:lnTo>
                  <a:lnTo>
                    <a:pt x="86" y="198"/>
                  </a:lnTo>
                  <a:lnTo>
                    <a:pt x="86" y="201"/>
                  </a:lnTo>
                  <a:lnTo>
                    <a:pt x="83" y="207"/>
                  </a:lnTo>
                  <a:lnTo>
                    <a:pt x="83" y="210"/>
                  </a:lnTo>
                  <a:lnTo>
                    <a:pt x="86" y="210"/>
                  </a:lnTo>
                  <a:lnTo>
                    <a:pt x="89" y="216"/>
                  </a:lnTo>
                  <a:lnTo>
                    <a:pt x="89" y="218"/>
                  </a:lnTo>
                  <a:lnTo>
                    <a:pt x="83" y="221"/>
                  </a:lnTo>
                  <a:lnTo>
                    <a:pt x="78" y="224"/>
                  </a:lnTo>
                  <a:lnTo>
                    <a:pt x="75" y="227"/>
                  </a:lnTo>
                  <a:lnTo>
                    <a:pt x="66" y="230"/>
                  </a:lnTo>
                  <a:lnTo>
                    <a:pt x="58" y="233"/>
                  </a:lnTo>
                  <a:lnTo>
                    <a:pt x="55" y="238"/>
                  </a:lnTo>
                  <a:lnTo>
                    <a:pt x="52" y="238"/>
                  </a:lnTo>
                  <a:lnTo>
                    <a:pt x="43" y="238"/>
                  </a:lnTo>
                  <a:lnTo>
                    <a:pt x="40" y="250"/>
                  </a:lnTo>
                  <a:lnTo>
                    <a:pt x="35" y="250"/>
                  </a:lnTo>
                  <a:lnTo>
                    <a:pt x="29" y="250"/>
                  </a:lnTo>
                  <a:lnTo>
                    <a:pt x="26" y="253"/>
                  </a:lnTo>
                  <a:lnTo>
                    <a:pt x="23" y="250"/>
                  </a:lnTo>
                  <a:lnTo>
                    <a:pt x="20" y="247"/>
                  </a:lnTo>
                  <a:lnTo>
                    <a:pt x="12" y="247"/>
                  </a:lnTo>
                  <a:lnTo>
                    <a:pt x="6" y="250"/>
                  </a:lnTo>
                  <a:lnTo>
                    <a:pt x="3" y="259"/>
                  </a:lnTo>
                  <a:lnTo>
                    <a:pt x="0" y="264"/>
                  </a:lnTo>
                  <a:lnTo>
                    <a:pt x="0" y="267"/>
                  </a:lnTo>
                  <a:lnTo>
                    <a:pt x="3" y="267"/>
                  </a:lnTo>
                  <a:lnTo>
                    <a:pt x="0" y="267"/>
                  </a:lnTo>
                  <a:lnTo>
                    <a:pt x="0" y="270"/>
                  </a:lnTo>
                  <a:lnTo>
                    <a:pt x="3" y="273"/>
                  </a:lnTo>
                  <a:lnTo>
                    <a:pt x="3" y="276"/>
                  </a:lnTo>
                  <a:lnTo>
                    <a:pt x="3" y="279"/>
                  </a:lnTo>
                  <a:lnTo>
                    <a:pt x="6" y="282"/>
                  </a:lnTo>
                  <a:lnTo>
                    <a:pt x="9" y="279"/>
                  </a:lnTo>
                  <a:lnTo>
                    <a:pt x="23" y="284"/>
                  </a:lnTo>
                  <a:lnTo>
                    <a:pt x="23" y="287"/>
                  </a:lnTo>
                  <a:lnTo>
                    <a:pt x="20" y="293"/>
                  </a:lnTo>
                  <a:lnTo>
                    <a:pt x="26" y="299"/>
                  </a:lnTo>
                  <a:lnTo>
                    <a:pt x="35" y="307"/>
                  </a:lnTo>
                  <a:lnTo>
                    <a:pt x="32" y="310"/>
                  </a:lnTo>
                  <a:lnTo>
                    <a:pt x="23" y="310"/>
                  </a:lnTo>
                  <a:lnTo>
                    <a:pt x="35" y="313"/>
                  </a:lnTo>
                  <a:lnTo>
                    <a:pt x="40" y="316"/>
                  </a:lnTo>
                  <a:lnTo>
                    <a:pt x="43" y="316"/>
                  </a:lnTo>
                  <a:lnTo>
                    <a:pt x="52" y="325"/>
                  </a:lnTo>
                  <a:lnTo>
                    <a:pt x="52" y="330"/>
                  </a:lnTo>
                  <a:lnTo>
                    <a:pt x="55" y="333"/>
                  </a:lnTo>
                  <a:lnTo>
                    <a:pt x="60" y="333"/>
                  </a:lnTo>
                  <a:lnTo>
                    <a:pt x="63" y="336"/>
                  </a:lnTo>
                  <a:lnTo>
                    <a:pt x="72" y="339"/>
                  </a:lnTo>
                  <a:lnTo>
                    <a:pt x="80" y="342"/>
                  </a:lnTo>
                  <a:lnTo>
                    <a:pt x="86" y="345"/>
                  </a:lnTo>
                  <a:lnTo>
                    <a:pt x="89" y="339"/>
                  </a:lnTo>
                  <a:lnTo>
                    <a:pt x="101" y="333"/>
                  </a:lnTo>
                  <a:lnTo>
                    <a:pt x="109" y="333"/>
                  </a:lnTo>
                  <a:lnTo>
                    <a:pt x="118" y="339"/>
                  </a:lnTo>
                  <a:lnTo>
                    <a:pt x="124" y="342"/>
                  </a:lnTo>
                  <a:lnTo>
                    <a:pt x="126" y="342"/>
                  </a:lnTo>
                  <a:lnTo>
                    <a:pt x="124" y="353"/>
                  </a:lnTo>
                  <a:lnTo>
                    <a:pt x="124" y="359"/>
                  </a:lnTo>
                  <a:lnTo>
                    <a:pt x="121" y="365"/>
                  </a:lnTo>
                  <a:lnTo>
                    <a:pt x="115" y="373"/>
                  </a:lnTo>
                  <a:lnTo>
                    <a:pt x="109" y="373"/>
                  </a:lnTo>
                  <a:lnTo>
                    <a:pt x="109" y="382"/>
                  </a:lnTo>
                  <a:lnTo>
                    <a:pt x="115" y="388"/>
                  </a:lnTo>
                  <a:lnTo>
                    <a:pt x="121" y="388"/>
                  </a:lnTo>
                  <a:lnTo>
                    <a:pt x="126" y="396"/>
                  </a:lnTo>
                  <a:lnTo>
                    <a:pt x="121" y="405"/>
                  </a:lnTo>
                  <a:lnTo>
                    <a:pt x="115" y="405"/>
                  </a:lnTo>
                  <a:lnTo>
                    <a:pt x="112" y="405"/>
                  </a:lnTo>
                  <a:lnTo>
                    <a:pt x="109" y="405"/>
                  </a:lnTo>
                  <a:lnTo>
                    <a:pt x="109" y="402"/>
                  </a:lnTo>
                  <a:lnTo>
                    <a:pt x="112" y="411"/>
                  </a:lnTo>
                  <a:lnTo>
                    <a:pt x="118" y="419"/>
                  </a:lnTo>
                  <a:lnTo>
                    <a:pt x="118" y="422"/>
                  </a:lnTo>
                  <a:lnTo>
                    <a:pt x="124" y="422"/>
                  </a:lnTo>
                  <a:lnTo>
                    <a:pt x="129" y="428"/>
                  </a:lnTo>
                  <a:lnTo>
                    <a:pt x="138" y="431"/>
                  </a:lnTo>
                  <a:lnTo>
                    <a:pt x="144" y="437"/>
                  </a:lnTo>
                  <a:lnTo>
                    <a:pt x="147" y="439"/>
                  </a:lnTo>
                  <a:lnTo>
                    <a:pt x="155" y="445"/>
                  </a:lnTo>
                  <a:lnTo>
                    <a:pt x="161" y="448"/>
                  </a:lnTo>
                  <a:lnTo>
                    <a:pt x="161" y="442"/>
                  </a:lnTo>
                  <a:lnTo>
                    <a:pt x="172" y="442"/>
                  </a:lnTo>
                  <a:lnTo>
                    <a:pt x="181" y="448"/>
                  </a:lnTo>
                  <a:lnTo>
                    <a:pt x="187" y="454"/>
                  </a:lnTo>
                  <a:lnTo>
                    <a:pt x="198" y="457"/>
                  </a:lnTo>
                  <a:lnTo>
                    <a:pt x="204" y="465"/>
                  </a:lnTo>
                  <a:lnTo>
                    <a:pt x="210" y="462"/>
                  </a:lnTo>
                  <a:lnTo>
                    <a:pt x="218" y="471"/>
                  </a:lnTo>
                  <a:lnTo>
                    <a:pt x="224" y="477"/>
                  </a:lnTo>
                  <a:lnTo>
                    <a:pt x="230" y="474"/>
                  </a:lnTo>
                  <a:lnTo>
                    <a:pt x="233" y="477"/>
                  </a:lnTo>
                  <a:lnTo>
                    <a:pt x="233" y="480"/>
                  </a:lnTo>
                  <a:lnTo>
                    <a:pt x="233" y="483"/>
                  </a:lnTo>
                  <a:lnTo>
                    <a:pt x="236" y="480"/>
                  </a:lnTo>
                  <a:lnTo>
                    <a:pt x="241" y="483"/>
                  </a:lnTo>
                  <a:lnTo>
                    <a:pt x="244" y="483"/>
                  </a:lnTo>
                  <a:lnTo>
                    <a:pt x="247" y="485"/>
                  </a:lnTo>
                  <a:lnTo>
                    <a:pt x="247" y="483"/>
                  </a:lnTo>
                  <a:lnTo>
                    <a:pt x="256" y="488"/>
                  </a:lnTo>
                  <a:lnTo>
                    <a:pt x="261" y="485"/>
                  </a:lnTo>
                  <a:lnTo>
                    <a:pt x="264" y="485"/>
                  </a:lnTo>
                  <a:lnTo>
                    <a:pt x="273" y="491"/>
                  </a:lnTo>
                  <a:lnTo>
                    <a:pt x="287" y="488"/>
                  </a:lnTo>
                  <a:lnTo>
                    <a:pt x="293" y="485"/>
                  </a:lnTo>
                  <a:lnTo>
                    <a:pt x="296" y="485"/>
                  </a:lnTo>
                  <a:lnTo>
                    <a:pt x="296" y="491"/>
                  </a:lnTo>
                  <a:lnTo>
                    <a:pt x="296" y="500"/>
                  </a:lnTo>
                  <a:lnTo>
                    <a:pt x="299" y="497"/>
                  </a:lnTo>
                  <a:lnTo>
                    <a:pt x="307" y="483"/>
                  </a:lnTo>
                  <a:lnTo>
                    <a:pt x="319" y="483"/>
                  </a:lnTo>
                  <a:lnTo>
                    <a:pt x="322" y="483"/>
                  </a:lnTo>
                  <a:lnTo>
                    <a:pt x="324" y="485"/>
                  </a:lnTo>
                  <a:lnTo>
                    <a:pt x="327" y="485"/>
                  </a:lnTo>
                  <a:lnTo>
                    <a:pt x="333" y="488"/>
                  </a:lnTo>
                  <a:lnTo>
                    <a:pt x="342" y="485"/>
                  </a:lnTo>
                  <a:lnTo>
                    <a:pt x="342" y="488"/>
                  </a:lnTo>
                  <a:lnTo>
                    <a:pt x="345" y="491"/>
                  </a:lnTo>
                  <a:lnTo>
                    <a:pt x="350" y="491"/>
                  </a:lnTo>
                  <a:lnTo>
                    <a:pt x="356" y="491"/>
                  </a:lnTo>
                  <a:lnTo>
                    <a:pt x="356" y="485"/>
                  </a:lnTo>
                  <a:lnTo>
                    <a:pt x="365" y="474"/>
                  </a:lnTo>
                  <a:lnTo>
                    <a:pt x="368" y="474"/>
                  </a:lnTo>
                  <a:lnTo>
                    <a:pt x="373" y="471"/>
                  </a:lnTo>
                  <a:lnTo>
                    <a:pt x="382" y="462"/>
                  </a:lnTo>
                  <a:lnTo>
                    <a:pt x="385" y="462"/>
                  </a:lnTo>
                  <a:lnTo>
                    <a:pt x="391" y="462"/>
                  </a:lnTo>
                  <a:lnTo>
                    <a:pt x="399" y="465"/>
                  </a:lnTo>
                  <a:lnTo>
                    <a:pt x="405" y="462"/>
                  </a:lnTo>
                  <a:lnTo>
                    <a:pt x="408" y="460"/>
                  </a:lnTo>
                  <a:lnTo>
                    <a:pt x="413" y="462"/>
                  </a:lnTo>
                  <a:lnTo>
                    <a:pt x="416" y="462"/>
                  </a:lnTo>
                  <a:lnTo>
                    <a:pt x="416" y="465"/>
                  </a:lnTo>
                  <a:lnTo>
                    <a:pt x="413" y="468"/>
                  </a:lnTo>
                  <a:lnTo>
                    <a:pt x="419" y="468"/>
                  </a:lnTo>
                  <a:lnTo>
                    <a:pt x="422" y="474"/>
                  </a:lnTo>
                  <a:lnTo>
                    <a:pt x="422" y="480"/>
                  </a:lnTo>
                  <a:lnTo>
                    <a:pt x="425" y="480"/>
                  </a:lnTo>
                  <a:lnTo>
                    <a:pt x="431" y="483"/>
                  </a:lnTo>
                  <a:lnTo>
                    <a:pt x="434" y="483"/>
                  </a:lnTo>
                  <a:lnTo>
                    <a:pt x="434" y="480"/>
                  </a:lnTo>
                  <a:lnTo>
                    <a:pt x="434" y="483"/>
                  </a:lnTo>
                  <a:lnTo>
                    <a:pt x="436" y="477"/>
                  </a:lnTo>
                  <a:lnTo>
                    <a:pt x="445" y="480"/>
                  </a:lnTo>
                  <a:lnTo>
                    <a:pt x="451" y="485"/>
                  </a:lnTo>
                  <a:lnTo>
                    <a:pt x="457" y="497"/>
                  </a:lnTo>
                  <a:lnTo>
                    <a:pt x="462" y="494"/>
                  </a:lnTo>
                  <a:lnTo>
                    <a:pt x="462" y="497"/>
                  </a:lnTo>
                  <a:lnTo>
                    <a:pt x="465" y="511"/>
                  </a:lnTo>
                  <a:lnTo>
                    <a:pt x="468" y="520"/>
                  </a:lnTo>
                  <a:lnTo>
                    <a:pt x="465" y="531"/>
                  </a:lnTo>
                  <a:lnTo>
                    <a:pt x="459" y="537"/>
                  </a:lnTo>
                  <a:lnTo>
                    <a:pt x="457" y="543"/>
                  </a:lnTo>
                  <a:lnTo>
                    <a:pt x="454" y="551"/>
                  </a:lnTo>
                  <a:lnTo>
                    <a:pt x="454" y="554"/>
                  </a:lnTo>
                  <a:lnTo>
                    <a:pt x="457" y="563"/>
                  </a:lnTo>
                  <a:lnTo>
                    <a:pt x="457" y="566"/>
                  </a:lnTo>
                  <a:lnTo>
                    <a:pt x="465" y="566"/>
                  </a:lnTo>
                  <a:lnTo>
                    <a:pt x="474" y="563"/>
                  </a:lnTo>
                  <a:lnTo>
                    <a:pt x="477" y="563"/>
                  </a:lnTo>
                  <a:lnTo>
                    <a:pt x="477" y="566"/>
                  </a:lnTo>
                  <a:lnTo>
                    <a:pt x="477" y="572"/>
                  </a:lnTo>
                  <a:lnTo>
                    <a:pt x="477" y="574"/>
                  </a:lnTo>
                  <a:lnTo>
                    <a:pt x="479" y="577"/>
                  </a:lnTo>
                  <a:lnTo>
                    <a:pt x="479" y="580"/>
                  </a:lnTo>
                  <a:lnTo>
                    <a:pt x="494" y="586"/>
                  </a:lnTo>
                  <a:lnTo>
                    <a:pt x="491" y="589"/>
                  </a:lnTo>
                  <a:lnTo>
                    <a:pt x="488" y="592"/>
                  </a:lnTo>
                  <a:lnTo>
                    <a:pt x="488" y="594"/>
                  </a:lnTo>
                  <a:lnTo>
                    <a:pt x="488" y="603"/>
                  </a:lnTo>
                  <a:lnTo>
                    <a:pt x="494" y="60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74" name="Freeform 275"/>
            <p:cNvSpPr>
              <a:spLocks/>
            </p:cNvSpPr>
            <p:nvPr/>
          </p:nvSpPr>
          <p:spPr bwMode="auto">
            <a:xfrm>
              <a:off x="6630988" y="3149600"/>
              <a:ext cx="82550" cy="41275"/>
            </a:xfrm>
            <a:custGeom>
              <a:avLst/>
              <a:gdLst>
                <a:gd name="T0" fmla="*/ 2147483647 w 51"/>
                <a:gd name="T1" fmla="*/ 2147483647 h 26"/>
                <a:gd name="T2" fmla="*/ 2147483647 w 51"/>
                <a:gd name="T3" fmla="*/ 2147483647 h 26"/>
                <a:gd name="T4" fmla="*/ 2147483647 w 51"/>
                <a:gd name="T5" fmla="*/ 2147483647 h 26"/>
                <a:gd name="T6" fmla="*/ 2147483647 w 51"/>
                <a:gd name="T7" fmla="*/ 2147483647 h 26"/>
                <a:gd name="T8" fmla="*/ 2147483647 w 51"/>
                <a:gd name="T9" fmla="*/ 2147483647 h 26"/>
                <a:gd name="T10" fmla="*/ 2147483647 w 51"/>
                <a:gd name="T11" fmla="*/ 2147483647 h 26"/>
                <a:gd name="T12" fmla="*/ 2147483647 w 51"/>
                <a:gd name="T13" fmla="*/ 2147483647 h 26"/>
                <a:gd name="T14" fmla="*/ 2147483647 w 51"/>
                <a:gd name="T15" fmla="*/ 0 h 26"/>
                <a:gd name="T16" fmla="*/ 2147483647 w 51"/>
                <a:gd name="T17" fmla="*/ 0 h 26"/>
                <a:gd name="T18" fmla="*/ 2147483647 w 51"/>
                <a:gd name="T19" fmla="*/ 0 h 26"/>
                <a:gd name="T20" fmla="*/ 2147483647 w 51"/>
                <a:gd name="T21" fmla="*/ 2147483647 h 26"/>
                <a:gd name="T22" fmla="*/ 2147483647 w 51"/>
                <a:gd name="T23" fmla="*/ 2147483647 h 26"/>
                <a:gd name="T24" fmla="*/ 0 w 51"/>
                <a:gd name="T25" fmla="*/ 2147483647 h 26"/>
                <a:gd name="T26" fmla="*/ 0 w 51"/>
                <a:gd name="T27" fmla="*/ 2147483647 h 26"/>
                <a:gd name="T28" fmla="*/ 2147483647 w 51"/>
                <a:gd name="T29" fmla="*/ 2147483647 h 26"/>
                <a:gd name="T30" fmla="*/ 2147483647 w 51"/>
                <a:gd name="T31" fmla="*/ 2147483647 h 26"/>
                <a:gd name="T32" fmla="*/ 2147483647 w 51"/>
                <a:gd name="T33" fmla="*/ 2147483647 h 26"/>
                <a:gd name="T34" fmla="*/ 2147483647 w 51"/>
                <a:gd name="T35" fmla="*/ 2147483647 h 26"/>
                <a:gd name="T36" fmla="*/ 2147483647 w 51"/>
                <a:gd name="T37" fmla="*/ 2147483647 h 26"/>
                <a:gd name="T38" fmla="*/ 2147483647 w 51"/>
                <a:gd name="T39" fmla="*/ 2147483647 h 26"/>
                <a:gd name="T40" fmla="*/ 2147483647 w 51"/>
                <a:gd name="T41" fmla="*/ 2147483647 h 26"/>
                <a:gd name="T42" fmla="*/ 2147483647 w 51"/>
                <a:gd name="T43" fmla="*/ 2147483647 h 26"/>
                <a:gd name="T44" fmla="*/ 2147483647 w 51"/>
                <a:gd name="T45" fmla="*/ 2147483647 h 2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51"/>
                <a:gd name="T70" fmla="*/ 0 h 26"/>
                <a:gd name="T71" fmla="*/ 51 w 51"/>
                <a:gd name="T72" fmla="*/ 26 h 2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51" h="26">
                  <a:moveTo>
                    <a:pt x="43" y="9"/>
                  </a:moveTo>
                  <a:lnTo>
                    <a:pt x="40" y="6"/>
                  </a:lnTo>
                  <a:lnTo>
                    <a:pt x="34" y="6"/>
                  </a:lnTo>
                  <a:lnTo>
                    <a:pt x="28" y="3"/>
                  </a:lnTo>
                  <a:lnTo>
                    <a:pt x="23" y="3"/>
                  </a:lnTo>
                  <a:lnTo>
                    <a:pt x="20" y="0"/>
                  </a:lnTo>
                  <a:lnTo>
                    <a:pt x="11" y="0"/>
                  </a:lnTo>
                  <a:lnTo>
                    <a:pt x="5" y="12"/>
                  </a:lnTo>
                  <a:lnTo>
                    <a:pt x="0" y="15"/>
                  </a:lnTo>
                  <a:lnTo>
                    <a:pt x="0" y="20"/>
                  </a:lnTo>
                  <a:lnTo>
                    <a:pt x="5" y="23"/>
                  </a:lnTo>
                  <a:lnTo>
                    <a:pt x="14" y="26"/>
                  </a:lnTo>
                  <a:lnTo>
                    <a:pt x="28" y="26"/>
                  </a:lnTo>
                  <a:lnTo>
                    <a:pt x="46" y="26"/>
                  </a:lnTo>
                  <a:lnTo>
                    <a:pt x="51" y="20"/>
                  </a:lnTo>
                  <a:lnTo>
                    <a:pt x="46" y="18"/>
                  </a:lnTo>
                  <a:lnTo>
                    <a:pt x="40" y="12"/>
                  </a:lnTo>
                  <a:lnTo>
                    <a:pt x="43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75" name="Freeform 276"/>
            <p:cNvSpPr>
              <a:spLocks/>
            </p:cNvSpPr>
            <p:nvPr/>
          </p:nvSpPr>
          <p:spPr bwMode="auto">
            <a:xfrm>
              <a:off x="6607175" y="3111500"/>
              <a:ext cx="239713" cy="231775"/>
            </a:xfrm>
            <a:custGeom>
              <a:avLst/>
              <a:gdLst>
                <a:gd name="T0" fmla="*/ 2147483647 w 150"/>
                <a:gd name="T1" fmla="*/ 2147483647 h 144"/>
                <a:gd name="T2" fmla="*/ 2147483647 w 150"/>
                <a:gd name="T3" fmla="*/ 2147483647 h 144"/>
                <a:gd name="T4" fmla="*/ 2147483647 w 150"/>
                <a:gd name="T5" fmla="*/ 2147483647 h 144"/>
                <a:gd name="T6" fmla="*/ 2147483647 w 150"/>
                <a:gd name="T7" fmla="*/ 2147483647 h 144"/>
                <a:gd name="T8" fmla="*/ 2147483647 w 150"/>
                <a:gd name="T9" fmla="*/ 2147483647 h 144"/>
                <a:gd name="T10" fmla="*/ 2147483647 w 150"/>
                <a:gd name="T11" fmla="*/ 2147483647 h 144"/>
                <a:gd name="T12" fmla="*/ 2147483647 w 150"/>
                <a:gd name="T13" fmla="*/ 2147483647 h 144"/>
                <a:gd name="T14" fmla="*/ 2147483647 w 150"/>
                <a:gd name="T15" fmla="*/ 2147483647 h 144"/>
                <a:gd name="T16" fmla="*/ 2147483647 w 150"/>
                <a:gd name="T17" fmla="*/ 2147483647 h 144"/>
                <a:gd name="T18" fmla="*/ 2147483647 w 150"/>
                <a:gd name="T19" fmla="*/ 2147483647 h 144"/>
                <a:gd name="T20" fmla="*/ 2147483647 w 150"/>
                <a:gd name="T21" fmla="*/ 2147483647 h 144"/>
                <a:gd name="T22" fmla="*/ 2147483647 w 150"/>
                <a:gd name="T23" fmla="*/ 2147483647 h 144"/>
                <a:gd name="T24" fmla="*/ 2147483647 w 150"/>
                <a:gd name="T25" fmla="*/ 0 h 144"/>
                <a:gd name="T26" fmla="*/ 2147483647 w 150"/>
                <a:gd name="T27" fmla="*/ 2147483647 h 144"/>
                <a:gd name="T28" fmla="*/ 2147483647 w 150"/>
                <a:gd name="T29" fmla="*/ 2147483647 h 144"/>
                <a:gd name="T30" fmla="*/ 2147483647 w 150"/>
                <a:gd name="T31" fmla="*/ 2147483647 h 144"/>
                <a:gd name="T32" fmla="*/ 2147483647 w 150"/>
                <a:gd name="T33" fmla="*/ 2147483647 h 144"/>
                <a:gd name="T34" fmla="*/ 2147483647 w 150"/>
                <a:gd name="T35" fmla="*/ 2147483647 h 144"/>
                <a:gd name="T36" fmla="*/ 2147483647 w 150"/>
                <a:gd name="T37" fmla="*/ 2147483647 h 144"/>
                <a:gd name="T38" fmla="*/ 2147483647 w 150"/>
                <a:gd name="T39" fmla="*/ 2147483647 h 144"/>
                <a:gd name="T40" fmla="*/ 2147483647 w 150"/>
                <a:gd name="T41" fmla="*/ 2147483647 h 144"/>
                <a:gd name="T42" fmla="*/ 2147483647 w 150"/>
                <a:gd name="T43" fmla="*/ 2147483647 h 144"/>
                <a:gd name="T44" fmla="*/ 2147483647 w 150"/>
                <a:gd name="T45" fmla="*/ 2147483647 h 144"/>
                <a:gd name="T46" fmla="*/ 2147483647 w 150"/>
                <a:gd name="T47" fmla="*/ 2147483647 h 144"/>
                <a:gd name="T48" fmla="*/ 2147483647 w 150"/>
                <a:gd name="T49" fmla="*/ 2147483647 h 144"/>
                <a:gd name="T50" fmla="*/ 2147483647 w 150"/>
                <a:gd name="T51" fmla="*/ 2147483647 h 144"/>
                <a:gd name="T52" fmla="*/ 2147483647 w 150"/>
                <a:gd name="T53" fmla="*/ 2147483647 h 144"/>
                <a:gd name="T54" fmla="*/ 2147483647 w 150"/>
                <a:gd name="T55" fmla="*/ 2147483647 h 144"/>
                <a:gd name="T56" fmla="*/ 2147483647 w 150"/>
                <a:gd name="T57" fmla="*/ 2147483647 h 144"/>
                <a:gd name="T58" fmla="*/ 2147483647 w 150"/>
                <a:gd name="T59" fmla="*/ 2147483647 h 144"/>
                <a:gd name="T60" fmla="*/ 2147483647 w 150"/>
                <a:gd name="T61" fmla="*/ 2147483647 h 144"/>
                <a:gd name="T62" fmla="*/ 2147483647 w 150"/>
                <a:gd name="T63" fmla="*/ 2147483647 h 144"/>
                <a:gd name="T64" fmla="*/ 2147483647 w 150"/>
                <a:gd name="T65" fmla="*/ 2147483647 h 144"/>
                <a:gd name="T66" fmla="*/ 2147483647 w 150"/>
                <a:gd name="T67" fmla="*/ 2147483647 h 144"/>
                <a:gd name="T68" fmla="*/ 2147483647 w 150"/>
                <a:gd name="T69" fmla="*/ 2147483647 h 144"/>
                <a:gd name="T70" fmla="*/ 2147483647 w 150"/>
                <a:gd name="T71" fmla="*/ 2147483647 h 144"/>
                <a:gd name="T72" fmla="*/ 2147483647 w 150"/>
                <a:gd name="T73" fmla="*/ 2147483647 h 144"/>
                <a:gd name="T74" fmla="*/ 2147483647 w 150"/>
                <a:gd name="T75" fmla="*/ 2147483647 h 144"/>
                <a:gd name="T76" fmla="*/ 2147483647 w 150"/>
                <a:gd name="T77" fmla="*/ 2147483647 h 144"/>
                <a:gd name="T78" fmla="*/ 2147483647 w 150"/>
                <a:gd name="T79" fmla="*/ 2147483647 h 144"/>
                <a:gd name="T80" fmla="*/ 2147483647 w 150"/>
                <a:gd name="T81" fmla="*/ 2147483647 h 144"/>
                <a:gd name="T82" fmla="*/ 2147483647 w 150"/>
                <a:gd name="T83" fmla="*/ 2147483647 h 144"/>
                <a:gd name="T84" fmla="*/ 2147483647 w 150"/>
                <a:gd name="T85" fmla="*/ 2147483647 h 144"/>
                <a:gd name="T86" fmla="*/ 2147483647 w 150"/>
                <a:gd name="T87" fmla="*/ 2147483647 h 144"/>
                <a:gd name="T88" fmla="*/ 2147483647 w 150"/>
                <a:gd name="T89" fmla="*/ 2147483647 h 144"/>
                <a:gd name="T90" fmla="*/ 2147483647 w 150"/>
                <a:gd name="T91" fmla="*/ 2147483647 h 144"/>
                <a:gd name="T92" fmla="*/ 2147483647 w 150"/>
                <a:gd name="T93" fmla="*/ 2147483647 h 144"/>
                <a:gd name="T94" fmla="*/ 2147483647 w 150"/>
                <a:gd name="T95" fmla="*/ 2147483647 h 144"/>
                <a:gd name="T96" fmla="*/ 2147483647 w 150"/>
                <a:gd name="T97" fmla="*/ 2147483647 h 144"/>
                <a:gd name="T98" fmla="*/ 2147483647 w 150"/>
                <a:gd name="T99" fmla="*/ 2147483647 h 144"/>
                <a:gd name="T100" fmla="*/ 2147483647 w 150"/>
                <a:gd name="T101" fmla="*/ 2147483647 h 144"/>
                <a:gd name="T102" fmla="*/ 2147483647 w 150"/>
                <a:gd name="T103" fmla="*/ 2147483647 h 144"/>
                <a:gd name="T104" fmla="*/ 2147483647 w 150"/>
                <a:gd name="T105" fmla="*/ 2147483647 h 144"/>
                <a:gd name="T106" fmla="*/ 2147483647 w 150"/>
                <a:gd name="T107" fmla="*/ 2147483647 h 1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50"/>
                <a:gd name="T163" fmla="*/ 0 h 144"/>
                <a:gd name="T164" fmla="*/ 150 w 150"/>
                <a:gd name="T165" fmla="*/ 144 h 1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50" h="144">
                  <a:moveTo>
                    <a:pt x="124" y="49"/>
                  </a:moveTo>
                  <a:lnTo>
                    <a:pt x="124" y="49"/>
                  </a:lnTo>
                  <a:lnTo>
                    <a:pt x="129" y="46"/>
                  </a:lnTo>
                  <a:lnTo>
                    <a:pt x="132" y="43"/>
                  </a:lnTo>
                  <a:lnTo>
                    <a:pt x="135" y="41"/>
                  </a:lnTo>
                  <a:lnTo>
                    <a:pt x="141" y="41"/>
                  </a:lnTo>
                  <a:lnTo>
                    <a:pt x="150" y="43"/>
                  </a:lnTo>
                  <a:lnTo>
                    <a:pt x="150" y="41"/>
                  </a:lnTo>
                  <a:lnTo>
                    <a:pt x="144" y="35"/>
                  </a:lnTo>
                  <a:lnTo>
                    <a:pt x="150" y="23"/>
                  </a:lnTo>
                  <a:lnTo>
                    <a:pt x="147" y="23"/>
                  </a:lnTo>
                  <a:lnTo>
                    <a:pt x="141" y="21"/>
                  </a:lnTo>
                  <a:lnTo>
                    <a:pt x="138" y="21"/>
                  </a:lnTo>
                  <a:lnTo>
                    <a:pt x="135" y="21"/>
                  </a:lnTo>
                  <a:lnTo>
                    <a:pt x="132" y="21"/>
                  </a:lnTo>
                  <a:lnTo>
                    <a:pt x="135" y="12"/>
                  </a:lnTo>
                  <a:lnTo>
                    <a:pt x="132" y="9"/>
                  </a:lnTo>
                  <a:lnTo>
                    <a:pt x="129" y="9"/>
                  </a:lnTo>
                  <a:lnTo>
                    <a:pt x="127" y="9"/>
                  </a:lnTo>
                  <a:lnTo>
                    <a:pt x="127" y="6"/>
                  </a:lnTo>
                  <a:lnTo>
                    <a:pt x="129" y="3"/>
                  </a:lnTo>
                  <a:lnTo>
                    <a:pt x="127" y="3"/>
                  </a:lnTo>
                  <a:lnTo>
                    <a:pt x="124" y="0"/>
                  </a:lnTo>
                  <a:lnTo>
                    <a:pt x="115" y="6"/>
                  </a:lnTo>
                  <a:lnTo>
                    <a:pt x="107" y="6"/>
                  </a:lnTo>
                  <a:lnTo>
                    <a:pt x="101" y="3"/>
                  </a:lnTo>
                  <a:lnTo>
                    <a:pt x="92" y="12"/>
                  </a:lnTo>
                  <a:lnTo>
                    <a:pt x="86" y="15"/>
                  </a:lnTo>
                  <a:lnTo>
                    <a:pt x="81" y="18"/>
                  </a:lnTo>
                  <a:lnTo>
                    <a:pt x="75" y="23"/>
                  </a:lnTo>
                  <a:lnTo>
                    <a:pt x="75" y="32"/>
                  </a:lnTo>
                  <a:lnTo>
                    <a:pt x="66" y="32"/>
                  </a:lnTo>
                  <a:lnTo>
                    <a:pt x="61" y="32"/>
                  </a:lnTo>
                  <a:lnTo>
                    <a:pt x="61" y="35"/>
                  </a:lnTo>
                  <a:lnTo>
                    <a:pt x="63" y="38"/>
                  </a:lnTo>
                  <a:lnTo>
                    <a:pt x="69" y="41"/>
                  </a:lnTo>
                  <a:lnTo>
                    <a:pt x="63" y="52"/>
                  </a:lnTo>
                  <a:lnTo>
                    <a:pt x="43" y="52"/>
                  </a:lnTo>
                  <a:lnTo>
                    <a:pt x="29" y="55"/>
                  </a:lnTo>
                  <a:lnTo>
                    <a:pt x="20" y="52"/>
                  </a:lnTo>
                  <a:lnTo>
                    <a:pt x="12" y="46"/>
                  </a:lnTo>
                  <a:lnTo>
                    <a:pt x="12" y="43"/>
                  </a:lnTo>
                  <a:lnTo>
                    <a:pt x="12" y="41"/>
                  </a:lnTo>
                  <a:lnTo>
                    <a:pt x="12" y="43"/>
                  </a:lnTo>
                  <a:lnTo>
                    <a:pt x="9" y="43"/>
                  </a:lnTo>
                  <a:lnTo>
                    <a:pt x="9" y="41"/>
                  </a:lnTo>
                  <a:lnTo>
                    <a:pt x="9" y="29"/>
                  </a:lnTo>
                  <a:lnTo>
                    <a:pt x="9" y="26"/>
                  </a:lnTo>
                  <a:lnTo>
                    <a:pt x="3" y="29"/>
                  </a:lnTo>
                  <a:lnTo>
                    <a:pt x="0" y="43"/>
                  </a:lnTo>
                  <a:lnTo>
                    <a:pt x="6" y="49"/>
                  </a:lnTo>
                  <a:lnTo>
                    <a:pt x="6" y="52"/>
                  </a:lnTo>
                  <a:lnTo>
                    <a:pt x="18" y="61"/>
                  </a:lnTo>
                  <a:lnTo>
                    <a:pt x="20" y="55"/>
                  </a:lnTo>
                  <a:lnTo>
                    <a:pt x="29" y="64"/>
                  </a:lnTo>
                  <a:lnTo>
                    <a:pt x="29" y="58"/>
                  </a:lnTo>
                  <a:lnTo>
                    <a:pt x="32" y="61"/>
                  </a:lnTo>
                  <a:lnTo>
                    <a:pt x="35" y="64"/>
                  </a:lnTo>
                  <a:lnTo>
                    <a:pt x="35" y="78"/>
                  </a:lnTo>
                  <a:lnTo>
                    <a:pt x="40" y="81"/>
                  </a:lnTo>
                  <a:lnTo>
                    <a:pt x="46" y="81"/>
                  </a:lnTo>
                  <a:lnTo>
                    <a:pt x="58" y="81"/>
                  </a:lnTo>
                  <a:lnTo>
                    <a:pt x="63" y="81"/>
                  </a:lnTo>
                  <a:lnTo>
                    <a:pt x="75" y="78"/>
                  </a:lnTo>
                  <a:lnTo>
                    <a:pt x="84" y="84"/>
                  </a:lnTo>
                  <a:lnTo>
                    <a:pt x="84" y="87"/>
                  </a:lnTo>
                  <a:lnTo>
                    <a:pt x="81" y="89"/>
                  </a:lnTo>
                  <a:lnTo>
                    <a:pt x="75" y="101"/>
                  </a:lnTo>
                  <a:lnTo>
                    <a:pt x="66" y="104"/>
                  </a:lnTo>
                  <a:lnTo>
                    <a:pt x="63" y="110"/>
                  </a:lnTo>
                  <a:lnTo>
                    <a:pt x="72" y="121"/>
                  </a:lnTo>
                  <a:lnTo>
                    <a:pt x="75" y="121"/>
                  </a:lnTo>
                  <a:lnTo>
                    <a:pt x="75" y="112"/>
                  </a:lnTo>
                  <a:lnTo>
                    <a:pt x="78" y="112"/>
                  </a:lnTo>
                  <a:lnTo>
                    <a:pt x="81" y="112"/>
                  </a:lnTo>
                  <a:lnTo>
                    <a:pt x="92" y="141"/>
                  </a:lnTo>
                  <a:lnTo>
                    <a:pt x="95" y="144"/>
                  </a:lnTo>
                  <a:lnTo>
                    <a:pt x="98" y="141"/>
                  </a:lnTo>
                  <a:lnTo>
                    <a:pt x="98" y="135"/>
                  </a:lnTo>
                  <a:lnTo>
                    <a:pt x="98" y="127"/>
                  </a:lnTo>
                  <a:lnTo>
                    <a:pt x="101" y="118"/>
                  </a:lnTo>
                  <a:lnTo>
                    <a:pt x="101" y="115"/>
                  </a:lnTo>
                  <a:lnTo>
                    <a:pt x="98" y="110"/>
                  </a:lnTo>
                  <a:lnTo>
                    <a:pt x="95" y="107"/>
                  </a:lnTo>
                  <a:lnTo>
                    <a:pt x="92" y="101"/>
                  </a:lnTo>
                  <a:lnTo>
                    <a:pt x="109" y="107"/>
                  </a:lnTo>
                  <a:lnTo>
                    <a:pt x="112" y="98"/>
                  </a:lnTo>
                  <a:lnTo>
                    <a:pt x="118" y="87"/>
                  </a:lnTo>
                  <a:lnTo>
                    <a:pt x="115" y="84"/>
                  </a:lnTo>
                  <a:lnTo>
                    <a:pt x="112" y="84"/>
                  </a:lnTo>
                  <a:lnTo>
                    <a:pt x="115" y="81"/>
                  </a:lnTo>
                  <a:lnTo>
                    <a:pt x="118" y="72"/>
                  </a:lnTo>
                  <a:lnTo>
                    <a:pt x="121" y="66"/>
                  </a:lnTo>
                  <a:lnTo>
                    <a:pt x="121" y="64"/>
                  </a:lnTo>
                  <a:lnTo>
                    <a:pt x="118" y="58"/>
                  </a:lnTo>
                  <a:lnTo>
                    <a:pt x="118" y="55"/>
                  </a:lnTo>
                  <a:lnTo>
                    <a:pt x="121" y="49"/>
                  </a:lnTo>
                  <a:lnTo>
                    <a:pt x="124" y="4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76" name="Freeform 277"/>
            <p:cNvSpPr>
              <a:spLocks/>
            </p:cNvSpPr>
            <p:nvPr/>
          </p:nvSpPr>
          <p:spPr bwMode="auto">
            <a:xfrm>
              <a:off x="5438775" y="2794000"/>
              <a:ext cx="14288" cy="20638"/>
            </a:xfrm>
            <a:custGeom>
              <a:avLst/>
              <a:gdLst>
                <a:gd name="T0" fmla="*/ 2147483647 w 9"/>
                <a:gd name="T1" fmla="*/ 2147483647 h 12"/>
                <a:gd name="T2" fmla="*/ 2147483647 w 9"/>
                <a:gd name="T3" fmla="*/ 2147483647 h 12"/>
                <a:gd name="T4" fmla="*/ 2147483647 w 9"/>
                <a:gd name="T5" fmla="*/ 0 h 12"/>
                <a:gd name="T6" fmla="*/ 2147483647 w 9"/>
                <a:gd name="T7" fmla="*/ 0 h 12"/>
                <a:gd name="T8" fmla="*/ 2147483647 w 9"/>
                <a:gd name="T9" fmla="*/ 0 h 12"/>
                <a:gd name="T10" fmla="*/ 0 w 9"/>
                <a:gd name="T11" fmla="*/ 2147483647 h 12"/>
                <a:gd name="T12" fmla="*/ 2147483647 w 9"/>
                <a:gd name="T13" fmla="*/ 2147483647 h 12"/>
                <a:gd name="T14" fmla="*/ 2147483647 w 9"/>
                <a:gd name="T15" fmla="*/ 2147483647 h 12"/>
                <a:gd name="T16" fmla="*/ 2147483647 w 9"/>
                <a:gd name="T17" fmla="*/ 2147483647 h 12"/>
                <a:gd name="T18" fmla="*/ 2147483647 w 9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"/>
                <a:gd name="T31" fmla="*/ 0 h 12"/>
                <a:gd name="T32" fmla="*/ 9 w 9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" h="12">
                  <a:moveTo>
                    <a:pt x="9" y="12"/>
                  </a:moveTo>
                  <a:lnTo>
                    <a:pt x="9" y="6"/>
                  </a:lnTo>
                  <a:lnTo>
                    <a:pt x="9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9" y="9"/>
                  </a:lnTo>
                  <a:lnTo>
                    <a:pt x="9" y="1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77" name="Freeform 278"/>
            <p:cNvSpPr>
              <a:spLocks/>
            </p:cNvSpPr>
            <p:nvPr/>
          </p:nvSpPr>
          <p:spPr bwMode="auto">
            <a:xfrm>
              <a:off x="6388100" y="3084513"/>
              <a:ext cx="223838" cy="115887"/>
            </a:xfrm>
            <a:custGeom>
              <a:avLst/>
              <a:gdLst>
                <a:gd name="T0" fmla="*/ 2147483647 w 140"/>
                <a:gd name="T1" fmla="*/ 2147483647 h 72"/>
                <a:gd name="T2" fmla="*/ 2147483647 w 140"/>
                <a:gd name="T3" fmla="*/ 2147483647 h 72"/>
                <a:gd name="T4" fmla="*/ 2147483647 w 140"/>
                <a:gd name="T5" fmla="*/ 2147483647 h 72"/>
                <a:gd name="T6" fmla="*/ 2147483647 w 140"/>
                <a:gd name="T7" fmla="*/ 2147483647 h 72"/>
                <a:gd name="T8" fmla="*/ 2147483647 w 140"/>
                <a:gd name="T9" fmla="*/ 2147483647 h 72"/>
                <a:gd name="T10" fmla="*/ 2147483647 w 140"/>
                <a:gd name="T11" fmla="*/ 2147483647 h 72"/>
                <a:gd name="T12" fmla="*/ 2147483647 w 140"/>
                <a:gd name="T13" fmla="*/ 2147483647 h 72"/>
                <a:gd name="T14" fmla="*/ 2147483647 w 140"/>
                <a:gd name="T15" fmla="*/ 2147483647 h 72"/>
                <a:gd name="T16" fmla="*/ 2147483647 w 140"/>
                <a:gd name="T17" fmla="*/ 2147483647 h 72"/>
                <a:gd name="T18" fmla="*/ 2147483647 w 140"/>
                <a:gd name="T19" fmla="*/ 2147483647 h 72"/>
                <a:gd name="T20" fmla="*/ 2147483647 w 140"/>
                <a:gd name="T21" fmla="*/ 2147483647 h 72"/>
                <a:gd name="T22" fmla="*/ 2147483647 w 140"/>
                <a:gd name="T23" fmla="*/ 2147483647 h 72"/>
                <a:gd name="T24" fmla="*/ 2147483647 w 140"/>
                <a:gd name="T25" fmla="*/ 2147483647 h 72"/>
                <a:gd name="T26" fmla="*/ 2147483647 w 140"/>
                <a:gd name="T27" fmla="*/ 2147483647 h 72"/>
                <a:gd name="T28" fmla="*/ 2147483647 w 140"/>
                <a:gd name="T29" fmla="*/ 2147483647 h 72"/>
                <a:gd name="T30" fmla="*/ 2147483647 w 140"/>
                <a:gd name="T31" fmla="*/ 2147483647 h 72"/>
                <a:gd name="T32" fmla="*/ 2147483647 w 140"/>
                <a:gd name="T33" fmla="*/ 2147483647 h 72"/>
                <a:gd name="T34" fmla="*/ 2147483647 w 140"/>
                <a:gd name="T35" fmla="*/ 2147483647 h 72"/>
                <a:gd name="T36" fmla="*/ 2147483647 w 140"/>
                <a:gd name="T37" fmla="*/ 2147483647 h 72"/>
                <a:gd name="T38" fmla="*/ 2147483647 w 140"/>
                <a:gd name="T39" fmla="*/ 2147483647 h 72"/>
                <a:gd name="T40" fmla="*/ 2147483647 w 140"/>
                <a:gd name="T41" fmla="*/ 2147483647 h 72"/>
                <a:gd name="T42" fmla="*/ 2147483647 w 140"/>
                <a:gd name="T43" fmla="*/ 2147483647 h 72"/>
                <a:gd name="T44" fmla="*/ 2147483647 w 140"/>
                <a:gd name="T45" fmla="*/ 2147483647 h 72"/>
                <a:gd name="T46" fmla="*/ 2147483647 w 140"/>
                <a:gd name="T47" fmla="*/ 2147483647 h 72"/>
                <a:gd name="T48" fmla="*/ 2147483647 w 140"/>
                <a:gd name="T49" fmla="*/ 2147483647 h 72"/>
                <a:gd name="T50" fmla="*/ 2147483647 w 140"/>
                <a:gd name="T51" fmla="*/ 2147483647 h 72"/>
                <a:gd name="T52" fmla="*/ 2147483647 w 140"/>
                <a:gd name="T53" fmla="*/ 2147483647 h 72"/>
                <a:gd name="T54" fmla="*/ 2147483647 w 140"/>
                <a:gd name="T55" fmla="*/ 2147483647 h 72"/>
                <a:gd name="T56" fmla="*/ 2147483647 w 140"/>
                <a:gd name="T57" fmla="*/ 2147483647 h 72"/>
                <a:gd name="T58" fmla="*/ 2147483647 w 140"/>
                <a:gd name="T59" fmla="*/ 2147483647 h 72"/>
                <a:gd name="T60" fmla="*/ 2147483647 w 140"/>
                <a:gd name="T61" fmla="*/ 2147483647 h 72"/>
                <a:gd name="T62" fmla="*/ 2147483647 w 140"/>
                <a:gd name="T63" fmla="*/ 2147483647 h 72"/>
                <a:gd name="T64" fmla="*/ 2147483647 w 140"/>
                <a:gd name="T65" fmla="*/ 2147483647 h 72"/>
                <a:gd name="T66" fmla="*/ 2147483647 w 140"/>
                <a:gd name="T67" fmla="*/ 2147483647 h 72"/>
                <a:gd name="T68" fmla="*/ 2147483647 w 140"/>
                <a:gd name="T69" fmla="*/ 2147483647 h 72"/>
                <a:gd name="T70" fmla="*/ 2147483647 w 140"/>
                <a:gd name="T71" fmla="*/ 2147483647 h 72"/>
                <a:gd name="T72" fmla="*/ 2147483647 w 140"/>
                <a:gd name="T73" fmla="*/ 0 h 72"/>
                <a:gd name="T74" fmla="*/ 2147483647 w 140"/>
                <a:gd name="T75" fmla="*/ 2147483647 h 72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40"/>
                <a:gd name="T115" fmla="*/ 0 h 72"/>
                <a:gd name="T116" fmla="*/ 140 w 140"/>
                <a:gd name="T117" fmla="*/ 72 h 72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40" h="72">
                  <a:moveTo>
                    <a:pt x="2" y="12"/>
                  </a:moveTo>
                  <a:lnTo>
                    <a:pt x="2" y="23"/>
                  </a:lnTo>
                  <a:lnTo>
                    <a:pt x="0" y="26"/>
                  </a:lnTo>
                  <a:lnTo>
                    <a:pt x="17" y="35"/>
                  </a:lnTo>
                  <a:lnTo>
                    <a:pt x="28" y="43"/>
                  </a:lnTo>
                  <a:lnTo>
                    <a:pt x="37" y="46"/>
                  </a:lnTo>
                  <a:lnTo>
                    <a:pt x="48" y="49"/>
                  </a:lnTo>
                  <a:lnTo>
                    <a:pt x="57" y="55"/>
                  </a:lnTo>
                  <a:lnTo>
                    <a:pt x="74" y="63"/>
                  </a:lnTo>
                  <a:lnTo>
                    <a:pt x="77" y="63"/>
                  </a:lnTo>
                  <a:lnTo>
                    <a:pt x="80" y="66"/>
                  </a:lnTo>
                  <a:lnTo>
                    <a:pt x="89" y="66"/>
                  </a:lnTo>
                  <a:lnTo>
                    <a:pt x="100" y="66"/>
                  </a:lnTo>
                  <a:lnTo>
                    <a:pt x="106" y="69"/>
                  </a:lnTo>
                  <a:lnTo>
                    <a:pt x="117" y="72"/>
                  </a:lnTo>
                  <a:lnTo>
                    <a:pt x="120" y="69"/>
                  </a:lnTo>
                  <a:lnTo>
                    <a:pt x="129" y="72"/>
                  </a:lnTo>
                  <a:lnTo>
                    <a:pt x="137" y="72"/>
                  </a:lnTo>
                  <a:lnTo>
                    <a:pt x="140" y="69"/>
                  </a:lnTo>
                  <a:lnTo>
                    <a:pt x="140" y="66"/>
                  </a:lnTo>
                  <a:lnTo>
                    <a:pt x="134" y="60"/>
                  </a:lnTo>
                  <a:lnTo>
                    <a:pt x="134" y="46"/>
                  </a:lnTo>
                  <a:lnTo>
                    <a:pt x="126" y="49"/>
                  </a:lnTo>
                  <a:lnTo>
                    <a:pt x="120" y="46"/>
                  </a:lnTo>
                  <a:lnTo>
                    <a:pt x="114" y="43"/>
                  </a:lnTo>
                  <a:lnTo>
                    <a:pt x="109" y="46"/>
                  </a:lnTo>
                  <a:lnTo>
                    <a:pt x="103" y="43"/>
                  </a:lnTo>
                  <a:lnTo>
                    <a:pt x="106" y="49"/>
                  </a:lnTo>
                  <a:lnTo>
                    <a:pt x="100" y="46"/>
                  </a:lnTo>
                  <a:lnTo>
                    <a:pt x="94" y="40"/>
                  </a:lnTo>
                  <a:lnTo>
                    <a:pt x="89" y="40"/>
                  </a:lnTo>
                  <a:lnTo>
                    <a:pt x="86" y="40"/>
                  </a:lnTo>
                  <a:lnTo>
                    <a:pt x="83" y="35"/>
                  </a:lnTo>
                  <a:lnTo>
                    <a:pt x="77" y="35"/>
                  </a:lnTo>
                  <a:lnTo>
                    <a:pt x="68" y="26"/>
                  </a:lnTo>
                  <a:lnTo>
                    <a:pt x="63" y="23"/>
                  </a:lnTo>
                  <a:lnTo>
                    <a:pt x="54" y="23"/>
                  </a:lnTo>
                  <a:lnTo>
                    <a:pt x="48" y="15"/>
                  </a:lnTo>
                  <a:lnTo>
                    <a:pt x="40" y="12"/>
                  </a:lnTo>
                  <a:lnTo>
                    <a:pt x="31" y="6"/>
                  </a:lnTo>
                  <a:lnTo>
                    <a:pt x="25" y="0"/>
                  </a:lnTo>
                  <a:lnTo>
                    <a:pt x="17" y="0"/>
                  </a:lnTo>
                  <a:lnTo>
                    <a:pt x="20" y="9"/>
                  </a:lnTo>
                  <a:lnTo>
                    <a:pt x="11" y="6"/>
                  </a:lnTo>
                  <a:lnTo>
                    <a:pt x="2" y="1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78" name="Freeform 279"/>
            <p:cNvSpPr>
              <a:spLocks/>
            </p:cNvSpPr>
            <p:nvPr/>
          </p:nvSpPr>
          <p:spPr bwMode="auto">
            <a:xfrm>
              <a:off x="4959350" y="2878138"/>
              <a:ext cx="14288" cy="9525"/>
            </a:xfrm>
            <a:custGeom>
              <a:avLst/>
              <a:gdLst>
                <a:gd name="T0" fmla="*/ 2147483647 w 8"/>
                <a:gd name="T1" fmla="*/ 2147483647 h 6"/>
                <a:gd name="T2" fmla="*/ 2147483647 w 8"/>
                <a:gd name="T3" fmla="*/ 0 h 6"/>
                <a:gd name="T4" fmla="*/ 2147483647 w 8"/>
                <a:gd name="T5" fmla="*/ 0 h 6"/>
                <a:gd name="T6" fmla="*/ 0 w 8"/>
                <a:gd name="T7" fmla="*/ 2147483647 h 6"/>
                <a:gd name="T8" fmla="*/ 2147483647 w 8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6"/>
                <a:gd name="T17" fmla="*/ 8 w 8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6">
                  <a:moveTo>
                    <a:pt x="5" y="6"/>
                  </a:moveTo>
                  <a:lnTo>
                    <a:pt x="8" y="0"/>
                  </a:lnTo>
                  <a:lnTo>
                    <a:pt x="3" y="0"/>
                  </a:lnTo>
                  <a:lnTo>
                    <a:pt x="0" y="6"/>
                  </a:lnTo>
                  <a:lnTo>
                    <a:pt x="5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79" name="Freeform 280"/>
            <p:cNvSpPr>
              <a:spLocks/>
            </p:cNvSpPr>
            <p:nvPr/>
          </p:nvSpPr>
          <p:spPr bwMode="auto">
            <a:xfrm>
              <a:off x="6948488" y="3776663"/>
              <a:ext cx="12700" cy="12700"/>
            </a:xfrm>
            <a:custGeom>
              <a:avLst/>
              <a:gdLst>
                <a:gd name="T0" fmla="*/ 2147483647 w 8"/>
                <a:gd name="T1" fmla="*/ 2147483647 h 8"/>
                <a:gd name="T2" fmla="*/ 2147483647 w 8"/>
                <a:gd name="T3" fmla="*/ 2147483647 h 8"/>
                <a:gd name="T4" fmla="*/ 2147483647 w 8"/>
                <a:gd name="T5" fmla="*/ 0 h 8"/>
                <a:gd name="T6" fmla="*/ 2147483647 w 8"/>
                <a:gd name="T7" fmla="*/ 0 h 8"/>
                <a:gd name="T8" fmla="*/ 0 w 8"/>
                <a:gd name="T9" fmla="*/ 2147483647 h 8"/>
                <a:gd name="T10" fmla="*/ 2147483647 w 8"/>
                <a:gd name="T11" fmla="*/ 2147483647 h 8"/>
                <a:gd name="T12" fmla="*/ 2147483647 w 8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8"/>
                <a:gd name="T23" fmla="*/ 8 w 8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8">
                  <a:moveTo>
                    <a:pt x="5" y="6"/>
                  </a:moveTo>
                  <a:lnTo>
                    <a:pt x="8" y="6"/>
                  </a:lnTo>
                  <a:lnTo>
                    <a:pt x="8" y="0"/>
                  </a:lnTo>
                  <a:lnTo>
                    <a:pt x="3" y="0"/>
                  </a:lnTo>
                  <a:lnTo>
                    <a:pt x="0" y="6"/>
                  </a:lnTo>
                  <a:lnTo>
                    <a:pt x="3" y="8"/>
                  </a:lnTo>
                  <a:lnTo>
                    <a:pt x="5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80" name="Freeform 281"/>
            <p:cNvSpPr>
              <a:spLocks/>
            </p:cNvSpPr>
            <p:nvPr/>
          </p:nvSpPr>
          <p:spPr bwMode="auto">
            <a:xfrm>
              <a:off x="5645150" y="3222625"/>
              <a:ext cx="125413" cy="98425"/>
            </a:xfrm>
            <a:custGeom>
              <a:avLst/>
              <a:gdLst>
                <a:gd name="T0" fmla="*/ 2147483647 w 78"/>
                <a:gd name="T1" fmla="*/ 0 h 61"/>
                <a:gd name="T2" fmla="*/ 2147483647 w 78"/>
                <a:gd name="T3" fmla="*/ 0 h 61"/>
                <a:gd name="T4" fmla="*/ 2147483647 w 78"/>
                <a:gd name="T5" fmla="*/ 2147483647 h 61"/>
                <a:gd name="T6" fmla="*/ 2147483647 w 78"/>
                <a:gd name="T7" fmla="*/ 2147483647 h 61"/>
                <a:gd name="T8" fmla="*/ 2147483647 w 78"/>
                <a:gd name="T9" fmla="*/ 2147483647 h 61"/>
                <a:gd name="T10" fmla="*/ 2147483647 w 78"/>
                <a:gd name="T11" fmla="*/ 2147483647 h 61"/>
                <a:gd name="T12" fmla="*/ 2147483647 w 78"/>
                <a:gd name="T13" fmla="*/ 2147483647 h 61"/>
                <a:gd name="T14" fmla="*/ 2147483647 w 78"/>
                <a:gd name="T15" fmla="*/ 2147483647 h 61"/>
                <a:gd name="T16" fmla="*/ 2147483647 w 78"/>
                <a:gd name="T17" fmla="*/ 2147483647 h 61"/>
                <a:gd name="T18" fmla="*/ 2147483647 w 78"/>
                <a:gd name="T19" fmla="*/ 2147483647 h 61"/>
                <a:gd name="T20" fmla="*/ 2147483647 w 78"/>
                <a:gd name="T21" fmla="*/ 2147483647 h 61"/>
                <a:gd name="T22" fmla="*/ 2147483647 w 78"/>
                <a:gd name="T23" fmla="*/ 2147483647 h 61"/>
                <a:gd name="T24" fmla="*/ 2147483647 w 78"/>
                <a:gd name="T25" fmla="*/ 2147483647 h 61"/>
                <a:gd name="T26" fmla="*/ 2147483647 w 78"/>
                <a:gd name="T27" fmla="*/ 2147483647 h 61"/>
                <a:gd name="T28" fmla="*/ 2147483647 w 78"/>
                <a:gd name="T29" fmla="*/ 2147483647 h 61"/>
                <a:gd name="T30" fmla="*/ 2147483647 w 78"/>
                <a:gd name="T31" fmla="*/ 2147483647 h 61"/>
                <a:gd name="T32" fmla="*/ 2147483647 w 78"/>
                <a:gd name="T33" fmla="*/ 2147483647 h 61"/>
                <a:gd name="T34" fmla="*/ 2147483647 w 78"/>
                <a:gd name="T35" fmla="*/ 2147483647 h 61"/>
                <a:gd name="T36" fmla="*/ 0 w 78"/>
                <a:gd name="T37" fmla="*/ 2147483647 h 61"/>
                <a:gd name="T38" fmla="*/ 0 w 78"/>
                <a:gd name="T39" fmla="*/ 2147483647 h 61"/>
                <a:gd name="T40" fmla="*/ 0 w 78"/>
                <a:gd name="T41" fmla="*/ 2147483647 h 61"/>
                <a:gd name="T42" fmla="*/ 2147483647 w 78"/>
                <a:gd name="T43" fmla="*/ 2147483647 h 61"/>
                <a:gd name="T44" fmla="*/ 2147483647 w 78"/>
                <a:gd name="T45" fmla="*/ 2147483647 h 61"/>
                <a:gd name="T46" fmla="*/ 2147483647 w 78"/>
                <a:gd name="T47" fmla="*/ 2147483647 h 61"/>
                <a:gd name="T48" fmla="*/ 2147483647 w 78"/>
                <a:gd name="T49" fmla="*/ 2147483647 h 61"/>
                <a:gd name="T50" fmla="*/ 2147483647 w 78"/>
                <a:gd name="T51" fmla="*/ 2147483647 h 61"/>
                <a:gd name="T52" fmla="*/ 2147483647 w 78"/>
                <a:gd name="T53" fmla="*/ 2147483647 h 61"/>
                <a:gd name="T54" fmla="*/ 2147483647 w 78"/>
                <a:gd name="T55" fmla="*/ 2147483647 h 61"/>
                <a:gd name="T56" fmla="*/ 2147483647 w 78"/>
                <a:gd name="T57" fmla="*/ 2147483647 h 61"/>
                <a:gd name="T58" fmla="*/ 2147483647 w 78"/>
                <a:gd name="T59" fmla="*/ 2147483647 h 61"/>
                <a:gd name="T60" fmla="*/ 2147483647 w 78"/>
                <a:gd name="T61" fmla="*/ 2147483647 h 61"/>
                <a:gd name="T62" fmla="*/ 2147483647 w 78"/>
                <a:gd name="T63" fmla="*/ 2147483647 h 61"/>
                <a:gd name="T64" fmla="*/ 2147483647 w 78"/>
                <a:gd name="T65" fmla="*/ 2147483647 h 61"/>
                <a:gd name="T66" fmla="*/ 2147483647 w 78"/>
                <a:gd name="T67" fmla="*/ 2147483647 h 61"/>
                <a:gd name="T68" fmla="*/ 2147483647 w 78"/>
                <a:gd name="T69" fmla="*/ 2147483647 h 61"/>
                <a:gd name="T70" fmla="*/ 2147483647 w 78"/>
                <a:gd name="T71" fmla="*/ 2147483647 h 61"/>
                <a:gd name="T72" fmla="*/ 2147483647 w 78"/>
                <a:gd name="T73" fmla="*/ 2147483647 h 61"/>
                <a:gd name="T74" fmla="*/ 2147483647 w 78"/>
                <a:gd name="T75" fmla="*/ 2147483647 h 61"/>
                <a:gd name="T76" fmla="*/ 2147483647 w 78"/>
                <a:gd name="T77" fmla="*/ 2147483647 h 61"/>
                <a:gd name="T78" fmla="*/ 2147483647 w 78"/>
                <a:gd name="T79" fmla="*/ 2147483647 h 61"/>
                <a:gd name="T80" fmla="*/ 2147483647 w 78"/>
                <a:gd name="T81" fmla="*/ 2147483647 h 61"/>
                <a:gd name="T82" fmla="*/ 2147483647 w 78"/>
                <a:gd name="T83" fmla="*/ 2147483647 h 61"/>
                <a:gd name="T84" fmla="*/ 2147483647 w 78"/>
                <a:gd name="T85" fmla="*/ 2147483647 h 61"/>
                <a:gd name="T86" fmla="*/ 2147483647 w 78"/>
                <a:gd name="T87" fmla="*/ 2147483647 h 61"/>
                <a:gd name="T88" fmla="*/ 2147483647 w 78"/>
                <a:gd name="T89" fmla="*/ 0 h 61"/>
                <a:gd name="T90" fmla="*/ 2147483647 w 78"/>
                <a:gd name="T91" fmla="*/ 0 h 6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78"/>
                <a:gd name="T139" fmla="*/ 0 h 61"/>
                <a:gd name="T140" fmla="*/ 78 w 78"/>
                <a:gd name="T141" fmla="*/ 61 h 61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78" h="61">
                  <a:moveTo>
                    <a:pt x="66" y="0"/>
                  </a:moveTo>
                  <a:lnTo>
                    <a:pt x="66" y="0"/>
                  </a:lnTo>
                  <a:lnTo>
                    <a:pt x="58" y="12"/>
                  </a:lnTo>
                  <a:lnTo>
                    <a:pt x="46" y="26"/>
                  </a:lnTo>
                  <a:lnTo>
                    <a:pt x="41" y="32"/>
                  </a:lnTo>
                  <a:lnTo>
                    <a:pt x="38" y="32"/>
                  </a:lnTo>
                  <a:lnTo>
                    <a:pt x="35" y="32"/>
                  </a:lnTo>
                  <a:lnTo>
                    <a:pt x="29" y="35"/>
                  </a:lnTo>
                  <a:lnTo>
                    <a:pt x="23" y="38"/>
                  </a:lnTo>
                  <a:lnTo>
                    <a:pt x="20" y="32"/>
                  </a:lnTo>
                  <a:lnTo>
                    <a:pt x="18" y="32"/>
                  </a:lnTo>
                  <a:lnTo>
                    <a:pt x="9" y="38"/>
                  </a:lnTo>
                  <a:lnTo>
                    <a:pt x="3" y="35"/>
                  </a:lnTo>
                  <a:lnTo>
                    <a:pt x="0" y="29"/>
                  </a:lnTo>
                  <a:lnTo>
                    <a:pt x="0" y="32"/>
                  </a:lnTo>
                  <a:lnTo>
                    <a:pt x="3" y="41"/>
                  </a:lnTo>
                  <a:lnTo>
                    <a:pt x="18" y="58"/>
                  </a:lnTo>
                  <a:lnTo>
                    <a:pt x="61" y="61"/>
                  </a:lnTo>
                  <a:lnTo>
                    <a:pt x="58" y="55"/>
                  </a:lnTo>
                  <a:lnTo>
                    <a:pt x="58" y="52"/>
                  </a:lnTo>
                  <a:lnTo>
                    <a:pt x="61" y="52"/>
                  </a:lnTo>
                  <a:lnTo>
                    <a:pt x="61" y="46"/>
                  </a:lnTo>
                  <a:lnTo>
                    <a:pt x="64" y="41"/>
                  </a:lnTo>
                  <a:lnTo>
                    <a:pt x="61" y="32"/>
                  </a:lnTo>
                  <a:lnTo>
                    <a:pt x="64" y="32"/>
                  </a:lnTo>
                  <a:lnTo>
                    <a:pt x="69" y="32"/>
                  </a:lnTo>
                  <a:lnTo>
                    <a:pt x="66" y="29"/>
                  </a:lnTo>
                  <a:lnTo>
                    <a:pt x="66" y="15"/>
                  </a:lnTo>
                  <a:lnTo>
                    <a:pt x="69" y="15"/>
                  </a:lnTo>
                  <a:lnTo>
                    <a:pt x="72" y="18"/>
                  </a:lnTo>
                  <a:lnTo>
                    <a:pt x="75" y="18"/>
                  </a:lnTo>
                  <a:lnTo>
                    <a:pt x="78" y="15"/>
                  </a:lnTo>
                  <a:lnTo>
                    <a:pt x="72" y="6"/>
                  </a:lnTo>
                  <a:lnTo>
                    <a:pt x="66" y="3"/>
                  </a:lnTo>
                  <a:lnTo>
                    <a:pt x="6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81" name="Freeform 282"/>
            <p:cNvSpPr>
              <a:spLocks/>
            </p:cNvSpPr>
            <p:nvPr/>
          </p:nvSpPr>
          <p:spPr bwMode="auto">
            <a:xfrm>
              <a:off x="5414963" y="3590925"/>
              <a:ext cx="4762" cy="11113"/>
            </a:xfrm>
            <a:custGeom>
              <a:avLst/>
              <a:gdLst>
                <a:gd name="T0" fmla="*/ 2147483647 w 3"/>
                <a:gd name="T1" fmla="*/ 0 h 6"/>
                <a:gd name="T2" fmla="*/ 0 w 3"/>
                <a:gd name="T3" fmla="*/ 0 h 6"/>
                <a:gd name="T4" fmla="*/ 2147483647 w 3"/>
                <a:gd name="T5" fmla="*/ 2147483647 h 6"/>
                <a:gd name="T6" fmla="*/ 2147483647 w 3"/>
                <a:gd name="T7" fmla="*/ 2147483647 h 6"/>
                <a:gd name="T8" fmla="*/ 2147483647 w 3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3" y="0"/>
                  </a:moveTo>
                  <a:lnTo>
                    <a:pt x="0" y="0"/>
                  </a:lnTo>
                  <a:lnTo>
                    <a:pt x="3" y="6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82" name="Freeform 283"/>
            <p:cNvSpPr>
              <a:spLocks/>
            </p:cNvSpPr>
            <p:nvPr/>
          </p:nvSpPr>
          <p:spPr bwMode="auto">
            <a:xfrm>
              <a:off x="5248275" y="3471863"/>
              <a:ext cx="176213" cy="171450"/>
            </a:xfrm>
            <a:custGeom>
              <a:avLst/>
              <a:gdLst>
                <a:gd name="T0" fmla="*/ 2147483647 w 110"/>
                <a:gd name="T1" fmla="*/ 2147483647 h 107"/>
                <a:gd name="T2" fmla="*/ 2147483647 w 110"/>
                <a:gd name="T3" fmla="*/ 2147483647 h 107"/>
                <a:gd name="T4" fmla="*/ 2147483647 w 110"/>
                <a:gd name="T5" fmla="*/ 2147483647 h 107"/>
                <a:gd name="T6" fmla="*/ 2147483647 w 110"/>
                <a:gd name="T7" fmla="*/ 2147483647 h 107"/>
                <a:gd name="T8" fmla="*/ 2147483647 w 110"/>
                <a:gd name="T9" fmla="*/ 2147483647 h 107"/>
                <a:gd name="T10" fmla="*/ 2147483647 w 110"/>
                <a:gd name="T11" fmla="*/ 2147483647 h 107"/>
                <a:gd name="T12" fmla="*/ 2147483647 w 110"/>
                <a:gd name="T13" fmla="*/ 2147483647 h 107"/>
                <a:gd name="T14" fmla="*/ 2147483647 w 110"/>
                <a:gd name="T15" fmla="*/ 2147483647 h 107"/>
                <a:gd name="T16" fmla="*/ 2147483647 w 110"/>
                <a:gd name="T17" fmla="*/ 2147483647 h 107"/>
                <a:gd name="T18" fmla="*/ 2147483647 w 110"/>
                <a:gd name="T19" fmla="*/ 2147483647 h 107"/>
                <a:gd name="T20" fmla="*/ 2147483647 w 110"/>
                <a:gd name="T21" fmla="*/ 2147483647 h 107"/>
                <a:gd name="T22" fmla="*/ 2147483647 w 110"/>
                <a:gd name="T23" fmla="*/ 0 h 107"/>
                <a:gd name="T24" fmla="*/ 2147483647 w 110"/>
                <a:gd name="T25" fmla="*/ 0 h 107"/>
                <a:gd name="T26" fmla="*/ 2147483647 w 110"/>
                <a:gd name="T27" fmla="*/ 2147483647 h 107"/>
                <a:gd name="T28" fmla="*/ 2147483647 w 110"/>
                <a:gd name="T29" fmla="*/ 2147483647 h 107"/>
                <a:gd name="T30" fmla="*/ 2147483647 w 110"/>
                <a:gd name="T31" fmla="*/ 2147483647 h 107"/>
                <a:gd name="T32" fmla="*/ 0 w 110"/>
                <a:gd name="T33" fmla="*/ 2147483647 h 107"/>
                <a:gd name="T34" fmla="*/ 2147483647 w 110"/>
                <a:gd name="T35" fmla="*/ 2147483647 h 107"/>
                <a:gd name="T36" fmla="*/ 2147483647 w 110"/>
                <a:gd name="T37" fmla="*/ 2147483647 h 107"/>
                <a:gd name="T38" fmla="*/ 2147483647 w 110"/>
                <a:gd name="T39" fmla="*/ 2147483647 h 107"/>
                <a:gd name="T40" fmla="*/ 2147483647 w 110"/>
                <a:gd name="T41" fmla="*/ 2147483647 h 107"/>
                <a:gd name="T42" fmla="*/ 2147483647 w 110"/>
                <a:gd name="T43" fmla="*/ 2147483647 h 107"/>
                <a:gd name="T44" fmla="*/ 2147483647 w 110"/>
                <a:gd name="T45" fmla="*/ 2147483647 h 107"/>
                <a:gd name="T46" fmla="*/ 2147483647 w 110"/>
                <a:gd name="T47" fmla="*/ 2147483647 h 107"/>
                <a:gd name="T48" fmla="*/ 2147483647 w 110"/>
                <a:gd name="T49" fmla="*/ 2147483647 h 107"/>
                <a:gd name="T50" fmla="*/ 2147483647 w 110"/>
                <a:gd name="T51" fmla="*/ 2147483647 h 107"/>
                <a:gd name="T52" fmla="*/ 2147483647 w 110"/>
                <a:gd name="T53" fmla="*/ 2147483647 h 107"/>
                <a:gd name="T54" fmla="*/ 2147483647 w 110"/>
                <a:gd name="T55" fmla="*/ 2147483647 h 107"/>
                <a:gd name="T56" fmla="*/ 2147483647 w 110"/>
                <a:gd name="T57" fmla="*/ 2147483647 h 107"/>
                <a:gd name="T58" fmla="*/ 2147483647 w 110"/>
                <a:gd name="T59" fmla="*/ 2147483647 h 107"/>
                <a:gd name="T60" fmla="*/ 2147483647 w 110"/>
                <a:gd name="T61" fmla="*/ 2147483647 h 107"/>
                <a:gd name="T62" fmla="*/ 2147483647 w 110"/>
                <a:gd name="T63" fmla="*/ 2147483647 h 107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10"/>
                <a:gd name="T97" fmla="*/ 0 h 107"/>
                <a:gd name="T98" fmla="*/ 110 w 110"/>
                <a:gd name="T99" fmla="*/ 107 h 107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10" h="107">
                  <a:moveTo>
                    <a:pt x="84" y="66"/>
                  </a:moveTo>
                  <a:lnTo>
                    <a:pt x="84" y="66"/>
                  </a:lnTo>
                  <a:lnTo>
                    <a:pt x="72" y="61"/>
                  </a:lnTo>
                  <a:lnTo>
                    <a:pt x="61" y="55"/>
                  </a:lnTo>
                  <a:lnTo>
                    <a:pt x="61" y="52"/>
                  </a:lnTo>
                  <a:lnTo>
                    <a:pt x="61" y="49"/>
                  </a:lnTo>
                  <a:lnTo>
                    <a:pt x="55" y="49"/>
                  </a:lnTo>
                  <a:lnTo>
                    <a:pt x="52" y="49"/>
                  </a:lnTo>
                  <a:lnTo>
                    <a:pt x="49" y="46"/>
                  </a:lnTo>
                  <a:lnTo>
                    <a:pt x="49" y="41"/>
                  </a:lnTo>
                  <a:lnTo>
                    <a:pt x="46" y="35"/>
                  </a:lnTo>
                  <a:lnTo>
                    <a:pt x="44" y="23"/>
                  </a:lnTo>
                  <a:lnTo>
                    <a:pt x="44" y="20"/>
                  </a:lnTo>
                  <a:lnTo>
                    <a:pt x="41" y="15"/>
                  </a:lnTo>
                  <a:lnTo>
                    <a:pt x="38" y="6"/>
                  </a:lnTo>
                  <a:lnTo>
                    <a:pt x="35" y="0"/>
                  </a:lnTo>
                  <a:lnTo>
                    <a:pt x="29" y="9"/>
                  </a:lnTo>
                  <a:lnTo>
                    <a:pt x="18" y="12"/>
                  </a:lnTo>
                  <a:lnTo>
                    <a:pt x="15" y="18"/>
                  </a:lnTo>
                  <a:lnTo>
                    <a:pt x="9" y="20"/>
                  </a:lnTo>
                  <a:lnTo>
                    <a:pt x="6" y="29"/>
                  </a:lnTo>
                  <a:lnTo>
                    <a:pt x="9" y="32"/>
                  </a:lnTo>
                  <a:lnTo>
                    <a:pt x="3" y="46"/>
                  </a:lnTo>
                  <a:lnTo>
                    <a:pt x="0" y="58"/>
                  </a:lnTo>
                  <a:lnTo>
                    <a:pt x="3" y="69"/>
                  </a:lnTo>
                  <a:lnTo>
                    <a:pt x="9" y="69"/>
                  </a:lnTo>
                  <a:lnTo>
                    <a:pt x="12" y="66"/>
                  </a:lnTo>
                  <a:lnTo>
                    <a:pt x="18" y="69"/>
                  </a:lnTo>
                  <a:lnTo>
                    <a:pt x="23" y="58"/>
                  </a:lnTo>
                  <a:lnTo>
                    <a:pt x="32" y="66"/>
                  </a:lnTo>
                  <a:lnTo>
                    <a:pt x="41" y="66"/>
                  </a:lnTo>
                  <a:lnTo>
                    <a:pt x="44" y="58"/>
                  </a:lnTo>
                  <a:lnTo>
                    <a:pt x="44" y="61"/>
                  </a:lnTo>
                  <a:lnTo>
                    <a:pt x="46" y="66"/>
                  </a:lnTo>
                  <a:lnTo>
                    <a:pt x="49" y="64"/>
                  </a:lnTo>
                  <a:lnTo>
                    <a:pt x="52" y="64"/>
                  </a:lnTo>
                  <a:lnTo>
                    <a:pt x="64" y="66"/>
                  </a:lnTo>
                  <a:lnTo>
                    <a:pt x="72" y="72"/>
                  </a:lnTo>
                  <a:lnTo>
                    <a:pt x="78" y="81"/>
                  </a:lnTo>
                  <a:lnTo>
                    <a:pt x="89" y="86"/>
                  </a:lnTo>
                  <a:lnTo>
                    <a:pt x="98" y="98"/>
                  </a:lnTo>
                  <a:lnTo>
                    <a:pt x="104" y="107"/>
                  </a:lnTo>
                  <a:lnTo>
                    <a:pt x="107" y="104"/>
                  </a:lnTo>
                  <a:lnTo>
                    <a:pt x="110" y="101"/>
                  </a:lnTo>
                  <a:lnTo>
                    <a:pt x="107" y="98"/>
                  </a:lnTo>
                  <a:lnTo>
                    <a:pt x="98" y="86"/>
                  </a:lnTo>
                  <a:lnTo>
                    <a:pt x="92" y="81"/>
                  </a:lnTo>
                  <a:lnTo>
                    <a:pt x="84" y="6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83" name="Freeform 284"/>
            <p:cNvSpPr>
              <a:spLocks/>
            </p:cNvSpPr>
            <p:nvPr/>
          </p:nvSpPr>
          <p:spPr bwMode="auto">
            <a:xfrm>
              <a:off x="5618163" y="3214688"/>
              <a:ext cx="26987" cy="44450"/>
            </a:xfrm>
            <a:custGeom>
              <a:avLst/>
              <a:gdLst>
                <a:gd name="T0" fmla="*/ 2147483647 w 17"/>
                <a:gd name="T1" fmla="*/ 2147483647 h 28"/>
                <a:gd name="T2" fmla="*/ 2147483647 w 17"/>
                <a:gd name="T3" fmla="*/ 2147483647 h 28"/>
                <a:gd name="T4" fmla="*/ 2147483647 w 17"/>
                <a:gd name="T5" fmla="*/ 2147483647 h 28"/>
                <a:gd name="T6" fmla="*/ 2147483647 w 17"/>
                <a:gd name="T7" fmla="*/ 0 h 28"/>
                <a:gd name="T8" fmla="*/ 2147483647 w 17"/>
                <a:gd name="T9" fmla="*/ 0 h 28"/>
                <a:gd name="T10" fmla="*/ 2147483647 w 17"/>
                <a:gd name="T11" fmla="*/ 0 h 28"/>
                <a:gd name="T12" fmla="*/ 0 w 17"/>
                <a:gd name="T13" fmla="*/ 2147483647 h 28"/>
                <a:gd name="T14" fmla="*/ 0 w 17"/>
                <a:gd name="T15" fmla="*/ 2147483647 h 28"/>
                <a:gd name="T16" fmla="*/ 0 w 17"/>
                <a:gd name="T17" fmla="*/ 2147483647 h 28"/>
                <a:gd name="T18" fmla="*/ 0 w 17"/>
                <a:gd name="T19" fmla="*/ 2147483647 h 28"/>
                <a:gd name="T20" fmla="*/ 0 w 17"/>
                <a:gd name="T21" fmla="*/ 2147483647 h 28"/>
                <a:gd name="T22" fmla="*/ 2147483647 w 17"/>
                <a:gd name="T23" fmla="*/ 2147483647 h 28"/>
                <a:gd name="T24" fmla="*/ 2147483647 w 17"/>
                <a:gd name="T25" fmla="*/ 2147483647 h 28"/>
                <a:gd name="T26" fmla="*/ 2147483647 w 17"/>
                <a:gd name="T27" fmla="*/ 2147483647 h 28"/>
                <a:gd name="T28" fmla="*/ 2147483647 w 17"/>
                <a:gd name="T29" fmla="*/ 2147483647 h 28"/>
                <a:gd name="T30" fmla="*/ 2147483647 w 17"/>
                <a:gd name="T31" fmla="*/ 2147483647 h 28"/>
                <a:gd name="T32" fmla="*/ 2147483647 w 17"/>
                <a:gd name="T33" fmla="*/ 2147483647 h 28"/>
                <a:gd name="T34" fmla="*/ 2147483647 w 17"/>
                <a:gd name="T35" fmla="*/ 2147483647 h 2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7"/>
                <a:gd name="T55" fmla="*/ 0 h 28"/>
                <a:gd name="T56" fmla="*/ 17 w 17"/>
                <a:gd name="T57" fmla="*/ 28 h 28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7" h="28">
                  <a:moveTo>
                    <a:pt x="14" y="11"/>
                  </a:moveTo>
                  <a:lnTo>
                    <a:pt x="12" y="2"/>
                  </a:lnTo>
                  <a:lnTo>
                    <a:pt x="9" y="0"/>
                  </a:lnTo>
                  <a:lnTo>
                    <a:pt x="6" y="0"/>
                  </a:lnTo>
                  <a:lnTo>
                    <a:pt x="0" y="8"/>
                  </a:lnTo>
                  <a:lnTo>
                    <a:pt x="0" y="17"/>
                  </a:lnTo>
                  <a:lnTo>
                    <a:pt x="0" y="20"/>
                  </a:lnTo>
                  <a:lnTo>
                    <a:pt x="3" y="25"/>
                  </a:lnTo>
                  <a:lnTo>
                    <a:pt x="9" y="28"/>
                  </a:lnTo>
                  <a:lnTo>
                    <a:pt x="12" y="28"/>
                  </a:lnTo>
                  <a:lnTo>
                    <a:pt x="12" y="23"/>
                  </a:lnTo>
                  <a:lnTo>
                    <a:pt x="17" y="23"/>
                  </a:lnTo>
                  <a:lnTo>
                    <a:pt x="14" y="14"/>
                  </a:lnTo>
                  <a:lnTo>
                    <a:pt x="14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84" name="Freeform 285"/>
            <p:cNvSpPr>
              <a:spLocks/>
            </p:cNvSpPr>
            <p:nvPr/>
          </p:nvSpPr>
          <p:spPr bwMode="auto">
            <a:xfrm>
              <a:off x="5283200" y="2863850"/>
              <a:ext cx="265113" cy="252413"/>
            </a:xfrm>
            <a:custGeom>
              <a:avLst/>
              <a:gdLst>
                <a:gd name="T0" fmla="*/ 2147483647 w 166"/>
                <a:gd name="T1" fmla="*/ 2147483647 h 158"/>
                <a:gd name="T2" fmla="*/ 2147483647 w 166"/>
                <a:gd name="T3" fmla="*/ 2147483647 h 158"/>
                <a:gd name="T4" fmla="*/ 2147483647 w 166"/>
                <a:gd name="T5" fmla="*/ 2147483647 h 158"/>
                <a:gd name="T6" fmla="*/ 2147483647 w 166"/>
                <a:gd name="T7" fmla="*/ 2147483647 h 158"/>
                <a:gd name="T8" fmla="*/ 2147483647 w 166"/>
                <a:gd name="T9" fmla="*/ 2147483647 h 158"/>
                <a:gd name="T10" fmla="*/ 2147483647 w 166"/>
                <a:gd name="T11" fmla="*/ 2147483647 h 158"/>
                <a:gd name="T12" fmla="*/ 2147483647 w 166"/>
                <a:gd name="T13" fmla="*/ 2147483647 h 158"/>
                <a:gd name="T14" fmla="*/ 2147483647 w 166"/>
                <a:gd name="T15" fmla="*/ 2147483647 h 158"/>
                <a:gd name="T16" fmla="*/ 2147483647 w 166"/>
                <a:gd name="T17" fmla="*/ 2147483647 h 158"/>
                <a:gd name="T18" fmla="*/ 2147483647 w 166"/>
                <a:gd name="T19" fmla="*/ 2147483647 h 158"/>
                <a:gd name="T20" fmla="*/ 2147483647 w 166"/>
                <a:gd name="T21" fmla="*/ 2147483647 h 158"/>
                <a:gd name="T22" fmla="*/ 2147483647 w 166"/>
                <a:gd name="T23" fmla="*/ 2147483647 h 158"/>
                <a:gd name="T24" fmla="*/ 2147483647 w 166"/>
                <a:gd name="T25" fmla="*/ 2147483647 h 158"/>
                <a:gd name="T26" fmla="*/ 2147483647 w 166"/>
                <a:gd name="T27" fmla="*/ 2147483647 h 158"/>
                <a:gd name="T28" fmla="*/ 2147483647 w 166"/>
                <a:gd name="T29" fmla="*/ 2147483647 h 158"/>
                <a:gd name="T30" fmla="*/ 2147483647 w 166"/>
                <a:gd name="T31" fmla="*/ 2147483647 h 158"/>
                <a:gd name="T32" fmla="*/ 0 w 166"/>
                <a:gd name="T33" fmla="*/ 2147483647 h 158"/>
                <a:gd name="T34" fmla="*/ 2147483647 w 166"/>
                <a:gd name="T35" fmla="*/ 2147483647 h 158"/>
                <a:gd name="T36" fmla="*/ 2147483647 w 166"/>
                <a:gd name="T37" fmla="*/ 2147483647 h 158"/>
                <a:gd name="T38" fmla="*/ 2147483647 w 166"/>
                <a:gd name="T39" fmla="*/ 2147483647 h 158"/>
                <a:gd name="T40" fmla="*/ 2147483647 w 166"/>
                <a:gd name="T41" fmla="*/ 2147483647 h 158"/>
                <a:gd name="T42" fmla="*/ 2147483647 w 166"/>
                <a:gd name="T43" fmla="*/ 2147483647 h 158"/>
                <a:gd name="T44" fmla="*/ 2147483647 w 166"/>
                <a:gd name="T45" fmla="*/ 2147483647 h 158"/>
                <a:gd name="T46" fmla="*/ 2147483647 w 166"/>
                <a:gd name="T47" fmla="*/ 2147483647 h 158"/>
                <a:gd name="T48" fmla="*/ 2147483647 w 166"/>
                <a:gd name="T49" fmla="*/ 2147483647 h 158"/>
                <a:gd name="T50" fmla="*/ 2147483647 w 166"/>
                <a:gd name="T51" fmla="*/ 2147483647 h 158"/>
                <a:gd name="T52" fmla="*/ 2147483647 w 166"/>
                <a:gd name="T53" fmla="*/ 2147483647 h 158"/>
                <a:gd name="T54" fmla="*/ 2147483647 w 166"/>
                <a:gd name="T55" fmla="*/ 2147483647 h 158"/>
                <a:gd name="T56" fmla="*/ 2147483647 w 166"/>
                <a:gd name="T57" fmla="*/ 2147483647 h 158"/>
                <a:gd name="T58" fmla="*/ 2147483647 w 166"/>
                <a:gd name="T59" fmla="*/ 2147483647 h 158"/>
                <a:gd name="T60" fmla="*/ 2147483647 w 166"/>
                <a:gd name="T61" fmla="*/ 2147483647 h 158"/>
                <a:gd name="T62" fmla="*/ 2147483647 w 166"/>
                <a:gd name="T63" fmla="*/ 2147483647 h 158"/>
                <a:gd name="T64" fmla="*/ 2147483647 w 166"/>
                <a:gd name="T65" fmla="*/ 2147483647 h 158"/>
                <a:gd name="T66" fmla="*/ 2147483647 w 166"/>
                <a:gd name="T67" fmla="*/ 2147483647 h 158"/>
                <a:gd name="T68" fmla="*/ 2147483647 w 166"/>
                <a:gd name="T69" fmla="*/ 2147483647 h 158"/>
                <a:gd name="T70" fmla="*/ 2147483647 w 166"/>
                <a:gd name="T71" fmla="*/ 2147483647 h 158"/>
                <a:gd name="T72" fmla="*/ 2147483647 w 166"/>
                <a:gd name="T73" fmla="*/ 2147483647 h 158"/>
                <a:gd name="T74" fmla="*/ 2147483647 w 166"/>
                <a:gd name="T75" fmla="*/ 2147483647 h 158"/>
                <a:gd name="T76" fmla="*/ 2147483647 w 166"/>
                <a:gd name="T77" fmla="*/ 2147483647 h 158"/>
                <a:gd name="T78" fmla="*/ 2147483647 w 166"/>
                <a:gd name="T79" fmla="*/ 2147483647 h 158"/>
                <a:gd name="T80" fmla="*/ 2147483647 w 166"/>
                <a:gd name="T81" fmla="*/ 2147483647 h 158"/>
                <a:gd name="T82" fmla="*/ 2147483647 w 166"/>
                <a:gd name="T83" fmla="*/ 2147483647 h 158"/>
                <a:gd name="T84" fmla="*/ 2147483647 w 166"/>
                <a:gd name="T85" fmla="*/ 2147483647 h 158"/>
                <a:gd name="T86" fmla="*/ 2147483647 w 166"/>
                <a:gd name="T87" fmla="*/ 2147483647 h 158"/>
                <a:gd name="T88" fmla="*/ 2147483647 w 166"/>
                <a:gd name="T89" fmla="*/ 2147483647 h 158"/>
                <a:gd name="T90" fmla="*/ 2147483647 w 166"/>
                <a:gd name="T91" fmla="*/ 2147483647 h 158"/>
                <a:gd name="T92" fmla="*/ 2147483647 w 166"/>
                <a:gd name="T93" fmla="*/ 2147483647 h 158"/>
                <a:gd name="T94" fmla="*/ 2147483647 w 166"/>
                <a:gd name="T95" fmla="*/ 2147483647 h 158"/>
                <a:gd name="T96" fmla="*/ 2147483647 w 166"/>
                <a:gd name="T97" fmla="*/ 2147483647 h 158"/>
                <a:gd name="T98" fmla="*/ 2147483647 w 166"/>
                <a:gd name="T99" fmla="*/ 2147483647 h 158"/>
                <a:gd name="T100" fmla="*/ 2147483647 w 166"/>
                <a:gd name="T101" fmla="*/ 2147483647 h 158"/>
                <a:gd name="T102" fmla="*/ 2147483647 w 166"/>
                <a:gd name="T103" fmla="*/ 2147483647 h 158"/>
                <a:gd name="T104" fmla="*/ 2147483647 w 166"/>
                <a:gd name="T105" fmla="*/ 2147483647 h 158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66"/>
                <a:gd name="T160" fmla="*/ 0 h 158"/>
                <a:gd name="T161" fmla="*/ 166 w 166"/>
                <a:gd name="T162" fmla="*/ 158 h 158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66" h="158">
                  <a:moveTo>
                    <a:pt x="112" y="32"/>
                  </a:moveTo>
                  <a:lnTo>
                    <a:pt x="106" y="32"/>
                  </a:lnTo>
                  <a:lnTo>
                    <a:pt x="103" y="29"/>
                  </a:lnTo>
                  <a:lnTo>
                    <a:pt x="97" y="26"/>
                  </a:lnTo>
                  <a:lnTo>
                    <a:pt x="94" y="23"/>
                  </a:lnTo>
                  <a:lnTo>
                    <a:pt x="89" y="15"/>
                  </a:lnTo>
                  <a:lnTo>
                    <a:pt x="86" y="6"/>
                  </a:lnTo>
                  <a:lnTo>
                    <a:pt x="80" y="12"/>
                  </a:lnTo>
                  <a:lnTo>
                    <a:pt x="77" y="12"/>
                  </a:lnTo>
                  <a:lnTo>
                    <a:pt x="77" y="9"/>
                  </a:lnTo>
                  <a:lnTo>
                    <a:pt x="74" y="3"/>
                  </a:lnTo>
                  <a:lnTo>
                    <a:pt x="71" y="3"/>
                  </a:lnTo>
                  <a:lnTo>
                    <a:pt x="63" y="3"/>
                  </a:lnTo>
                  <a:lnTo>
                    <a:pt x="54" y="0"/>
                  </a:lnTo>
                  <a:lnTo>
                    <a:pt x="48" y="9"/>
                  </a:lnTo>
                  <a:lnTo>
                    <a:pt x="43" y="15"/>
                  </a:lnTo>
                  <a:lnTo>
                    <a:pt x="34" y="18"/>
                  </a:lnTo>
                  <a:lnTo>
                    <a:pt x="34" y="23"/>
                  </a:lnTo>
                  <a:lnTo>
                    <a:pt x="37" y="32"/>
                  </a:lnTo>
                  <a:lnTo>
                    <a:pt x="34" y="38"/>
                  </a:lnTo>
                  <a:lnTo>
                    <a:pt x="37" y="46"/>
                  </a:lnTo>
                  <a:lnTo>
                    <a:pt x="34" y="52"/>
                  </a:lnTo>
                  <a:lnTo>
                    <a:pt x="28" y="61"/>
                  </a:lnTo>
                  <a:lnTo>
                    <a:pt x="23" y="64"/>
                  </a:lnTo>
                  <a:lnTo>
                    <a:pt x="14" y="69"/>
                  </a:lnTo>
                  <a:lnTo>
                    <a:pt x="0" y="81"/>
                  </a:lnTo>
                  <a:lnTo>
                    <a:pt x="2" y="89"/>
                  </a:lnTo>
                  <a:lnTo>
                    <a:pt x="5" y="95"/>
                  </a:lnTo>
                  <a:lnTo>
                    <a:pt x="5" y="98"/>
                  </a:lnTo>
                  <a:lnTo>
                    <a:pt x="11" y="98"/>
                  </a:lnTo>
                  <a:lnTo>
                    <a:pt x="14" y="104"/>
                  </a:lnTo>
                  <a:lnTo>
                    <a:pt x="20" y="101"/>
                  </a:lnTo>
                  <a:lnTo>
                    <a:pt x="31" y="107"/>
                  </a:lnTo>
                  <a:lnTo>
                    <a:pt x="40" y="112"/>
                  </a:lnTo>
                  <a:lnTo>
                    <a:pt x="48" y="115"/>
                  </a:lnTo>
                  <a:lnTo>
                    <a:pt x="57" y="121"/>
                  </a:lnTo>
                  <a:lnTo>
                    <a:pt x="63" y="127"/>
                  </a:lnTo>
                  <a:lnTo>
                    <a:pt x="71" y="135"/>
                  </a:lnTo>
                  <a:lnTo>
                    <a:pt x="77" y="138"/>
                  </a:lnTo>
                  <a:lnTo>
                    <a:pt x="86" y="144"/>
                  </a:lnTo>
                  <a:lnTo>
                    <a:pt x="103" y="158"/>
                  </a:lnTo>
                  <a:lnTo>
                    <a:pt x="129" y="158"/>
                  </a:lnTo>
                  <a:lnTo>
                    <a:pt x="132" y="155"/>
                  </a:lnTo>
                  <a:lnTo>
                    <a:pt x="137" y="150"/>
                  </a:lnTo>
                  <a:lnTo>
                    <a:pt x="140" y="141"/>
                  </a:lnTo>
                  <a:lnTo>
                    <a:pt x="152" y="141"/>
                  </a:lnTo>
                  <a:lnTo>
                    <a:pt x="160" y="150"/>
                  </a:lnTo>
                  <a:lnTo>
                    <a:pt x="163" y="150"/>
                  </a:lnTo>
                  <a:lnTo>
                    <a:pt x="166" y="150"/>
                  </a:lnTo>
                  <a:lnTo>
                    <a:pt x="160" y="147"/>
                  </a:lnTo>
                  <a:lnTo>
                    <a:pt x="157" y="141"/>
                  </a:lnTo>
                  <a:lnTo>
                    <a:pt x="155" y="138"/>
                  </a:lnTo>
                  <a:lnTo>
                    <a:pt x="155" y="132"/>
                  </a:lnTo>
                  <a:lnTo>
                    <a:pt x="155" y="130"/>
                  </a:lnTo>
                  <a:lnTo>
                    <a:pt x="152" y="127"/>
                  </a:lnTo>
                  <a:lnTo>
                    <a:pt x="143" y="121"/>
                  </a:lnTo>
                  <a:lnTo>
                    <a:pt x="146" y="109"/>
                  </a:lnTo>
                  <a:lnTo>
                    <a:pt x="137" y="98"/>
                  </a:lnTo>
                  <a:lnTo>
                    <a:pt x="134" y="98"/>
                  </a:lnTo>
                  <a:lnTo>
                    <a:pt x="126" y="89"/>
                  </a:lnTo>
                  <a:lnTo>
                    <a:pt x="114" y="87"/>
                  </a:lnTo>
                  <a:lnTo>
                    <a:pt x="114" y="84"/>
                  </a:lnTo>
                  <a:lnTo>
                    <a:pt x="114" y="81"/>
                  </a:lnTo>
                  <a:lnTo>
                    <a:pt x="106" y="72"/>
                  </a:lnTo>
                  <a:lnTo>
                    <a:pt x="103" y="69"/>
                  </a:lnTo>
                  <a:lnTo>
                    <a:pt x="103" y="64"/>
                  </a:lnTo>
                  <a:lnTo>
                    <a:pt x="103" y="58"/>
                  </a:lnTo>
                  <a:lnTo>
                    <a:pt x="100" y="58"/>
                  </a:lnTo>
                  <a:lnTo>
                    <a:pt x="103" y="55"/>
                  </a:lnTo>
                  <a:lnTo>
                    <a:pt x="106" y="55"/>
                  </a:lnTo>
                  <a:lnTo>
                    <a:pt x="106" y="49"/>
                  </a:lnTo>
                  <a:lnTo>
                    <a:pt x="106" y="46"/>
                  </a:lnTo>
                  <a:lnTo>
                    <a:pt x="112" y="43"/>
                  </a:lnTo>
                  <a:lnTo>
                    <a:pt x="109" y="38"/>
                  </a:lnTo>
                  <a:lnTo>
                    <a:pt x="109" y="35"/>
                  </a:lnTo>
                  <a:lnTo>
                    <a:pt x="112" y="3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85" name="Freeform 286"/>
            <p:cNvSpPr>
              <a:spLocks/>
            </p:cNvSpPr>
            <p:nvPr/>
          </p:nvSpPr>
          <p:spPr bwMode="auto">
            <a:xfrm>
              <a:off x="4930775" y="2717800"/>
              <a:ext cx="484188" cy="192088"/>
            </a:xfrm>
            <a:custGeom>
              <a:avLst/>
              <a:gdLst>
                <a:gd name="T0" fmla="*/ 2147483647 w 302"/>
                <a:gd name="T1" fmla="*/ 2147483647 h 120"/>
                <a:gd name="T2" fmla="*/ 2147483647 w 302"/>
                <a:gd name="T3" fmla="*/ 2147483647 h 120"/>
                <a:gd name="T4" fmla="*/ 2147483647 w 302"/>
                <a:gd name="T5" fmla="*/ 2147483647 h 120"/>
                <a:gd name="T6" fmla="*/ 2147483647 w 302"/>
                <a:gd name="T7" fmla="*/ 2147483647 h 120"/>
                <a:gd name="T8" fmla="*/ 2147483647 w 302"/>
                <a:gd name="T9" fmla="*/ 2147483647 h 120"/>
                <a:gd name="T10" fmla="*/ 2147483647 w 302"/>
                <a:gd name="T11" fmla="*/ 2147483647 h 120"/>
                <a:gd name="T12" fmla="*/ 2147483647 w 302"/>
                <a:gd name="T13" fmla="*/ 2147483647 h 120"/>
                <a:gd name="T14" fmla="*/ 2147483647 w 302"/>
                <a:gd name="T15" fmla="*/ 2147483647 h 120"/>
                <a:gd name="T16" fmla="*/ 2147483647 w 302"/>
                <a:gd name="T17" fmla="*/ 2147483647 h 120"/>
                <a:gd name="T18" fmla="*/ 2147483647 w 302"/>
                <a:gd name="T19" fmla="*/ 2147483647 h 120"/>
                <a:gd name="T20" fmla="*/ 2147483647 w 302"/>
                <a:gd name="T21" fmla="*/ 2147483647 h 120"/>
                <a:gd name="T22" fmla="*/ 2147483647 w 302"/>
                <a:gd name="T23" fmla="*/ 2147483647 h 120"/>
                <a:gd name="T24" fmla="*/ 2147483647 w 302"/>
                <a:gd name="T25" fmla="*/ 2147483647 h 120"/>
                <a:gd name="T26" fmla="*/ 2147483647 w 302"/>
                <a:gd name="T27" fmla="*/ 2147483647 h 120"/>
                <a:gd name="T28" fmla="*/ 2147483647 w 302"/>
                <a:gd name="T29" fmla="*/ 2147483647 h 120"/>
                <a:gd name="T30" fmla="*/ 2147483647 w 302"/>
                <a:gd name="T31" fmla="*/ 2147483647 h 120"/>
                <a:gd name="T32" fmla="*/ 2147483647 w 302"/>
                <a:gd name="T33" fmla="*/ 2147483647 h 120"/>
                <a:gd name="T34" fmla="*/ 2147483647 w 302"/>
                <a:gd name="T35" fmla="*/ 2147483647 h 120"/>
                <a:gd name="T36" fmla="*/ 2147483647 w 302"/>
                <a:gd name="T37" fmla="*/ 2147483647 h 120"/>
                <a:gd name="T38" fmla="*/ 2147483647 w 302"/>
                <a:gd name="T39" fmla="*/ 2147483647 h 120"/>
                <a:gd name="T40" fmla="*/ 2147483647 w 302"/>
                <a:gd name="T41" fmla="*/ 2147483647 h 120"/>
                <a:gd name="T42" fmla="*/ 2147483647 w 302"/>
                <a:gd name="T43" fmla="*/ 2147483647 h 120"/>
                <a:gd name="T44" fmla="*/ 2147483647 w 302"/>
                <a:gd name="T45" fmla="*/ 2147483647 h 120"/>
                <a:gd name="T46" fmla="*/ 2147483647 w 302"/>
                <a:gd name="T47" fmla="*/ 2147483647 h 120"/>
                <a:gd name="T48" fmla="*/ 2147483647 w 302"/>
                <a:gd name="T49" fmla="*/ 2147483647 h 120"/>
                <a:gd name="T50" fmla="*/ 2147483647 w 302"/>
                <a:gd name="T51" fmla="*/ 2147483647 h 120"/>
                <a:gd name="T52" fmla="*/ 2147483647 w 302"/>
                <a:gd name="T53" fmla="*/ 2147483647 h 120"/>
                <a:gd name="T54" fmla="*/ 2147483647 w 302"/>
                <a:gd name="T55" fmla="*/ 2147483647 h 120"/>
                <a:gd name="T56" fmla="*/ 2147483647 w 302"/>
                <a:gd name="T57" fmla="*/ 2147483647 h 120"/>
                <a:gd name="T58" fmla="*/ 2147483647 w 302"/>
                <a:gd name="T59" fmla="*/ 2147483647 h 120"/>
                <a:gd name="T60" fmla="*/ 2147483647 w 302"/>
                <a:gd name="T61" fmla="*/ 2147483647 h 120"/>
                <a:gd name="T62" fmla="*/ 2147483647 w 302"/>
                <a:gd name="T63" fmla="*/ 2147483647 h 120"/>
                <a:gd name="T64" fmla="*/ 2147483647 w 302"/>
                <a:gd name="T65" fmla="*/ 2147483647 h 120"/>
                <a:gd name="T66" fmla="*/ 2147483647 w 302"/>
                <a:gd name="T67" fmla="*/ 2147483647 h 120"/>
                <a:gd name="T68" fmla="*/ 2147483647 w 302"/>
                <a:gd name="T69" fmla="*/ 2147483647 h 120"/>
                <a:gd name="T70" fmla="*/ 2147483647 w 302"/>
                <a:gd name="T71" fmla="*/ 2147483647 h 120"/>
                <a:gd name="T72" fmla="*/ 2147483647 w 302"/>
                <a:gd name="T73" fmla="*/ 2147483647 h 120"/>
                <a:gd name="T74" fmla="*/ 2147483647 w 302"/>
                <a:gd name="T75" fmla="*/ 2147483647 h 120"/>
                <a:gd name="T76" fmla="*/ 2147483647 w 302"/>
                <a:gd name="T77" fmla="*/ 2147483647 h 120"/>
                <a:gd name="T78" fmla="*/ 2147483647 w 302"/>
                <a:gd name="T79" fmla="*/ 2147483647 h 120"/>
                <a:gd name="T80" fmla="*/ 2147483647 w 302"/>
                <a:gd name="T81" fmla="*/ 2147483647 h 120"/>
                <a:gd name="T82" fmla="*/ 2147483647 w 302"/>
                <a:gd name="T83" fmla="*/ 2147483647 h 120"/>
                <a:gd name="T84" fmla="*/ 2147483647 w 302"/>
                <a:gd name="T85" fmla="*/ 2147483647 h 120"/>
                <a:gd name="T86" fmla="*/ 2147483647 w 302"/>
                <a:gd name="T87" fmla="*/ 2147483647 h 120"/>
                <a:gd name="T88" fmla="*/ 2147483647 w 302"/>
                <a:gd name="T89" fmla="*/ 2147483647 h 120"/>
                <a:gd name="T90" fmla="*/ 2147483647 w 302"/>
                <a:gd name="T91" fmla="*/ 2147483647 h 120"/>
                <a:gd name="T92" fmla="*/ 2147483647 w 302"/>
                <a:gd name="T93" fmla="*/ 2147483647 h 120"/>
                <a:gd name="T94" fmla="*/ 2147483647 w 302"/>
                <a:gd name="T95" fmla="*/ 2147483647 h 120"/>
                <a:gd name="T96" fmla="*/ 2147483647 w 302"/>
                <a:gd name="T97" fmla="*/ 2147483647 h 120"/>
                <a:gd name="T98" fmla="*/ 2147483647 w 302"/>
                <a:gd name="T99" fmla="*/ 2147483647 h 120"/>
                <a:gd name="T100" fmla="*/ 2147483647 w 302"/>
                <a:gd name="T101" fmla="*/ 2147483647 h 120"/>
                <a:gd name="T102" fmla="*/ 2147483647 w 302"/>
                <a:gd name="T103" fmla="*/ 2147483647 h 120"/>
                <a:gd name="T104" fmla="*/ 2147483647 w 302"/>
                <a:gd name="T105" fmla="*/ 2147483647 h 120"/>
                <a:gd name="T106" fmla="*/ 2147483647 w 302"/>
                <a:gd name="T107" fmla="*/ 2147483647 h 120"/>
                <a:gd name="T108" fmla="*/ 2147483647 w 302"/>
                <a:gd name="T109" fmla="*/ 2147483647 h 120"/>
                <a:gd name="T110" fmla="*/ 2147483647 w 302"/>
                <a:gd name="T111" fmla="*/ 2147483647 h 120"/>
                <a:gd name="T112" fmla="*/ 2147483647 w 302"/>
                <a:gd name="T113" fmla="*/ 2147483647 h 120"/>
                <a:gd name="T114" fmla="*/ 2147483647 w 302"/>
                <a:gd name="T115" fmla="*/ 2147483647 h 12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2"/>
                <a:gd name="T175" fmla="*/ 0 h 120"/>
                <a:gd name="T176" fmla="*/ 302 w 302"/>
                <a:gd name="T177" fmla="*/ 120 h 12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2" h="120">
                  <a:moveTo>
                    <a:pt x="293" y="45"/>
                  </a:moveTo>
                  <a:lnTo>
                    <a:pt x="287" y="40"/>
                  </a:lnTo>
                  <a:lnTo>
                    <a:pt x="279" y="40"/>
                  </a:lnTo>
                  <a:lnTo>
                    <a:pt x="276" y="31"/>
                  </a:lnTo>
                  <a:lnTo>
                    <a:pt x="273" y="20"/>
                  </a:lnTo>
                  <a:lnTo>
                    <a:pt x="270" y="20"/>
                  </a:lnTo>
                  <a:lnTo>
                    <a:pt x="262" y="11"/>
                  </a:lnTo>
                  <a:lnTo>
                    <a:pt x="259" y="11"/>
                  </a:lnTo>
                  <a:lnTo>
                    <a:pt x="250" y="14"/>
                  </a:lnTo>
                  <a:lnTo>
                    <a:pt x="239" y="14"/>
                  </a:lnTo>
                  <a:lnTo>
                    <a:pt x="239" y="11"/>
                  </a:lnTo>
                  <a:lnTo>
                    <a:pt x="236" y="17"/>
                  </a:lnTo>
                  <a:lnTo>
                    <a:pt x="210" y="20"/>
                  </a:lnTo>
                  <a:lnTo>
                    <a:pt x="193" y="22"/>
                  </a:lnTo>
                  <a:lnTo>
                    <a:pt x="173" y="17"/>
                  </a:lnTo>
                  <a:lnTo>
                    <a:pt x="150" y="8"/>
                  </a:lnTo>
                  <a:lnTo>
                    <a:pt x="138" y="0"/>
                  </a:lnTo>
                  <a:lnTo>
                    <a:pt x="121" y="2"/>
                  </a:lnTo>
                  <a:lnTo>
                    <a:pt x="101" y="5"/>
                  </a:lnTo>
                  <a:lnTo>
                    <a:pt x="89" y="11"/>
                  </a:lnTo>
                  <a:lnTo>
                    <a:pt x="81" y="17"/>
                  </a:lnTo>
                  <a:lnTo>
                    <a:pt x="72" y="17"/>
                  </a:lnTo>
                  <a:lnTo>
                    <a:pt x="58" y="17"/>
                  </a:lnTo>
                  <a:lnTo>
                    <a:pt x="46" y="17"/>
                  </a:lnTo>
                  <a:lnTo>
                    <a:pt x="32" y="11"/>
                  </a:lnTo>
                  <a:lnTo>
                    <a:pt x="29" y="5"/>
                  </a:lnTo>
                  <a:lnTo>
                    <a:pt x="18" y="5"/>
                  </a:lnTo>
                  <a:lnTo>
                    <a:pt x="15" y="2"/>
                  </a:lnTo>
                  <a:lnTo>
                    <a:pt x="6" y="5"/>
                  </a:lnTo>
                  <a:lnTo>
                    <a:pt x="9" y="8"/>
                  </a:lnTo>
                  <a:lnTo>
                    <a:pt x="9" y="11"/>
                  </a:lnTo>
                  <a:lnTo>
                    <a:pt x="9" y="14"/>
                  </a:lnTo>
                  <a:lnTo>
                    <a:pt x="3" y="20"/>
                  </a:lnTo>
                  <a:lnTo>
                    <a:pt x="6" y="22"/>
                  </a:lnTo>
                  <a:lnTo>
                    <a:pt x="0" y="28"/>
                  </a:lnTo>
                  <a:lnTo>
                    <a:pt x="3" y="28"/>
                  </a:lnTo>
                  <a:lnTo>
                    <a:pt x="9" y="28"/>
                  </a:lnTo>
                  <a:lnTo>
                    <a:pt x="18" y="28"/>
                  </a:lnTo>
                  <a:lnTo>
                    <a:pt x="21" y="22"/>
                  </a:lnTo>
                  <a:lnTo>
                    <a:pt x="26" y="22"/>
                  </a:lnTo>
                  <a:lnTo>
                    <a:pt x="38" y="20"/>
                  </a:lnTo>
                  <a:lnTo>
                    <a:pt x="46" y="22"/>
                  </a:lnTo>
                  <a:lnTo>
                    <a:pt x="55" y="25"/>
                  </a:lnTo>
                  <a:lnTo>
                    <a:pt x="55" y="28"/>
                  </a:lnTo>
                  <a:lnTo>
                    <a:pt x="46" y="28"/>
                  </a:lnTo>
                  <a:lnTo>
                    <a:pt x="43" y="31"/>
                  </a:lnTo>
                  <a:lnTo>
                    <a:pt x="46" y="34"/>
                  </a:lnTo>
                  <a:lnTo>
                    <a:pt x="35" y="31"/>
                  </a:lnTo>
                  <a:lnTo>
                    <a:pt x="15" y="31"/>
                  </a:lnTo>
                  <a:lnTo>
                    <a:pt x="9" y="37"/>
                  </a:lnTo>
                  <a:lnTo>
                    <a:pt x="3" y="37"/>
                  </a:lnTo>
                  <a:lnTo>
                    <a:pt x="0" y="45"/>
                  </a:lnTo>
                  <a:lnTo>
                    <a:pt x="0" y="48"/>
                  </a:lnTo>
                  <a:lnTo>
                    <a:pt x="3" y="51"/>
                  </a:lnTo>
                  <a:lnTo>
                    <a:pt x="12" y="48"/>
                  </a:lnTo>
                  <a:lnTo>
                    <a:pt x="12" y="54"/>
                  </a:lnTo>
                  <a:lnTo>
                    <a:pt x="15" y="60"/>
                  </a:lnTo>
                  <a:lnTo>
                    <a:pt x="12" y="66"/>
                  </a:lnTo>
                  <a:lnTo>
                    <a:pt x="12" y="71"/>
                  </a:lnTo>
                  <a:lnTo>
                    <a:pt x="18" y="71"/>
                  </a:lnTo>
                  <a:lnTo>
                    <a:pt x="12" y="74"/>
                  </a:lnTo>
                  <a:lnTo>
                    <a:pt x="12" y="68"/>
                  </a:lnTo>
                  <a:lnTo>
                    <a:pt x="6" y="66"/>
                  </a:lnTo>
                  <a:lnTo>
                    <a:pt x="6" y="68"/>
                  </a:lnTo>
                  <a:lnTo>
                    <a:pt x="9" y="71"/>
                  </a:lnTo>
                  <a:lnTo>
                    <a:pt x="6" y="74"/>
                  </a:lnTo>
                  <a:lnTo>
                    <a:pt x="9" y="77"/>
                  </a:lnTo>
                  <a:lnTo>
                    <a:pt x="12" y="77"/>
                  </a:lnTo>
                  <a:lnTo>
                    <a:pt x="12" y="74"/>
                  </a:lnTo>
                  <a:lnTo>
                    <a:pt x="18" y="77"/>
                  </a:lnTo>
                  <a:lnTo>
                    <a:pt x="23" y="83"/>
                  </a:lnTo>
                  <a:lnTo>
                    <a:pt x="21" y="86"/>
                  </a:lnTo>
                  <a:lnTo>
                    <a:pt x="18" y="83"/>
                  </a:lnTo>
                  <a:lnTo>
                    <a:pt x="12" y="83"/>
                  </a:lnTo>
                  <a:lnTo>
                    <a:pt x="21" y="89"/>
                  </a:lnTo>
                  <a:lnTo>
                    <a:pt x="23" y="91"/>
                  </a:lnTo>
                  <a:lnTo>
                    <a:pt x="26" y="94"/>
                  </a:lnTo>
                  <a:lnTo>
                    <a:pt x="23" y="97"/>
                  </a:lnTo>
                  <a:lnTo>
                    <a:pt x="21" y="100"/>
                  </a:lnTo>
                  <a:lnTo>
                    <a:pt x="29" y="97"/>
                  </a:lnTo>
                  <a:lnTo>
                    <a:pt x="41" y="97"/>
                  </a:lnTo>
                  <a:lnTo>
                    <a:pt x="38" y="100"/>
                  </a:lnTo>
                  <a:lnTo>
                    <a:pt x="43" y="103"/>
                  </a:lnTo>
                  <a:lnTo>
                    <a:pt x="49" y="106"/>
                  </a:lnTo>
                  <a:lnTo>
                    <a:pt x="61" y="117"/>
                  </a:lnTo>
                  <a:lnTo>
                    <a:pt x="72" y="114"/>
                  </a:lnTo>
                  <a:lnTo>
                    <a:pt x="78" y="109"/>
                  </a:lnTo>
                  <a:lnTo>
                    <a:pt x="84" y="103"/>
                  </a:lnTo>
                  <a:lnTo>
                    <a:pt x="92" y="106"/>
                  </a:lnTo>
                  <a:lnTo>
                    <a:pt x="104" y="111"/>
                  </a:lnTo>
                  <a:lnTo>
                    <a:pt x="107" y="114"/>
                  </a:lnTo>
                  <a:lnTo>
                    <a:pt x="112" y="114"/>
                  </a:lnTo>
                  <a:lnTo>
                    <a:pt x="127" y="114"/>
                  </a:lnTo>
                  <a:lnTo>
                    <a:pt x="135" y="109"/>
                  </a:lnTo>
                  <a:lnTo>
                    <a:pt x="144" y="103"/>
                  </a:lnTo>
                  <a:lnTo>
                    <a:pt x="153" y="103"/>
                  </a:lnTo>
                  <a:lnTo>
                    <a:pt x="158" y="103"/>
                  </a:lnTo>
                  <a:lnTo>
                    <a:pt x="161" y="103"/>
                  </a:lnTo>
                  <a:lnTo>
                    <a:pt x="164" y="100"/>
                  </a:lnTo>
                  <a:lnTo>
                    <a:pt x="164" y="111"/>
                  </a:lnTo>
                  <a:lnTo>
                    <a:pt x="164" y="117"/>
                  </a:lnTo>
                  <a:lnTo>
                    <a:pt x="167" y="120"/>
                  </a:lnTo>
                  <a:lnTo>
                    <a:pt x="170" y="114"/>
                  </a:lnTo>
                  <a:lnTo>
                    <a:pt x="170" y="111"/>
                  </a:lnTo>
                  <a:lnTo>
                    <a:pt x="173" y="111"/>
                  </a:lnTo>
                  <a:lnTo>
                    <a:pt x="176" y="111"/>
                  </a:lnTo>
                  <a:lnTo>
                    <a:pt x="173" y="100"/>
                  </a:lnTo>
                  <a:lnTo>
                    <a:pt x="176" y="100"/>
                  </a:lnTo>
                  <a:lnTo>
                    <a:pt x="184" y="103"/>
                  </a:lnTo>
                  <a:lnTo>
                    <a:pt x="196" y="100"/>
                  </a:lnTo>
                  <a:lnTo>
                    <a:pt x="198" y="100"/>
                  </a:lnTo>
                  <a:lnTo>
                    <a:pt x="204" y="97"/>
                  </a:lnTo>
                  <a:lnTo>
                    <a:pt x="204" y="100"/>
                  </a:lnTo>
                  <a:lnTo>
                    <a:pt x="210" y="103"/>
                  </a:lnTo>
                  <a:lnTo>
                    <a:pt x="213" y="103"/>
                  </a:lnTo>
                  <a:lnTo>
                    <a:pt x="230" y="100"/>
                  </a:lnTo>
                  <a:lnTo>
                    <a:pt x="244" y="94"/>
                  </a:lnTo>
                  <a:lnTo>
                    <a:pt x="259" y="94"/>
                  </a:lnTo>
                  <a:lnTo>
                    <a:pt x="265" y="89"/>
                  </a:lnTo>
                  <a:lnTo>
                    <a:pt x="265" y="91"/>
                  </a:lnTo>
                  <a:lnTo>
                    <a:pt x="267" y="94"/>
                  </a:lnTo>
                  <a:lnTo>
                    <a:pt x="270" y="89"/>
                  </a:lnTo>
                  <a:lnTo>
                    <a:pt x="282" y="91"/>
                  </a:lnTo>
                  <a:lnTo>
                    <a:pt x="290" y="91"/>
                  </a:lnTo>
                  <a:lnTo>
                    <a:pt x="293" y="89"/>
                  </a:lnTo>
                  <a:lnTo>
                    <a:pt x="296" y="91"/>
                  </a:lnTo>
                  <a:lnTo>
                    <a:pt x="296" y="94"/>
                  </a:lnTo>
                  <a:lnTo>
                    <a:pt x="299" y="97"/>
                  </a:lnTo>
                  <a:lnTo>
                    <a:pt x="302" y="94"/>
                  </a:lnTo>
                  <a:lnTo>
                    <a:pt x="299" y="91"/>
                  </a:lnTo>
                  <a:lnTo>
                    <a:pt x="296" y="83"/>
                  </a:lnTo>
                  <a:lnTo>
                    <a:pt x="293" y="80"/>
                  </a:lnTo>
                  <a:lnTo>
                    <a:pt x="296" y="71"/>
                  </a:lnTo>
                  <a:lnTo>
                    <a:pt x="290" y="60"/>
                  </a:lnTo>
                  <a:lnTo>
                    <a:pt x="287" y="54"/>
                  </a:lnTo>
                  <a:lnTo>
                    <a:pt x="293" y="48"/>
                  </a:lnTo>
                  <a:lnTo>
                    <a:pt x="293" y="4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86" name="Freeform 287"/>
            <p:cNvSpPr>
              <a:spLocks/>
            </p:cNvSpPr>
            <p:nvPr/>
          </p:nvSpPr>
          <p:spPr bwMode="auto">
            <a:xfrm>
              <a:off x="4217988" y="2570163"/>
              <a:ext cx="4762" cy="7937"/>
            </a:xfrm>
            <a:custGeom>
              <a:avLst/>
              <a:gdLst>
                <a:gd name="T0" fmla="*/ 0 w 3"/>
                <a:gd name="T1" fmla="*/ 0 h 5"/>
                <a:gd name="T2" fmla="*/ 0 w 3"/>
                <a:gd name="T3" fmla="*/ 2147483647 h 5"/>
                <a:gd name="T4" fmla="*/ 2147483647 w 3"/>
                <a:gd name="T5" fmla="*/ 2147483647 h 5"/>
                <a:gd name="T6" fmla="*/ 0 w 3"/>
                <a:gd name="T7" fmla="*/ 0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5"/>
                <a:gd name="T14" fmla="*/ 3 w 3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5">
                  <a:moveTo>
                    <a:pt x="0" y="0"/>
                  </a:moveTo>
                  <a:lnTo>
                    <a:pt x="0" y="5"/>
                  </a:lnTo>
                  <a:lnTo>
                    <a:pt x="3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87" name="Freeform 288"/>
            <p:cNvSpPr>
              <a:spLocks/>
            </p:cNvSpPr>
            <p:nvPr/>
          </p:nvSpPr>
          <p:spPr bwMode="auto">
            <a:xfrm>
              <a:off x="5605463" y="3209925"/>
              <a:ext cx="7937" cy="17463"/>
            </a:xfrm>
            <a:custGeom>
              <a:avLst/>
              <a:gdLst>
                <a:gd name="T0" fmla="*/ 2147483647 w 5"/>
                <a:gd name="T1" fmla="*/ 2147483647 h 11"/>
                <a:gd name="T2" fmla="*/ 2147483647 w 5"/>
                <a:gd name="T3" fmla="*/ 2147483647 h 11"/>
                <a:gd name="T4" fmla="*/ 2147483647 w 5"/>
                <a:gd name="T5" fmla="*/ 2147483647 h 11"/>
                <a:gd name="T6" fmla="*/ 2147483647 w 5"/>
                <a:gd name="T7" fmla="*/ 0 h 11"/>
                <a:gd name="T8" fmla="*/ 0 w 5"/>
                <a:gd name="T9" fmla="*/ 2147483647 h 11"/>
                <a:gd name="T10" fmla="*/ 0 w 5"/>
                <a:gd name="T11" fmla="*/ 2147483647 h 11"/>
                <a:gd name="T12" fmla="*/ 2147483647 w 5"/>
                <a:gd name="T13" fmla="*/ 2147483647 h 11"/>
                <a:gd name="T14" fmla="*/ 2147483647 w 5"/>
                <a:gd name="T15" fmla="*/ 2147483647 h 11"/>
                <a:gd name="T16" fmla="*/ 2147483647 w 5"/>
                <a:gd name="T17" fmla="*/ 2147483647 h 11"/>
                <a:gd name="T18" fmla="*/ 2147483647 w 5"/>
                <a:gd name="T19" fmla="*/ 2147483647 h 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"/>
                <a:gd name="T31" fmla="*/ 0 h 11"/>
                <a:gd name="T32" fmla="*/ 5 w 5"/>
                <a:gd name="T33" fmla="*/ 11 h 1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" h="11">
                  <a:moveTo>
                    <a:pt x="5" y="11"/>
                  </a:moveTo>
                  <a:lnTo>
                    <a:pt x="5" y="11"/>
                  </a:lnTo>
                  <a:lnTo>
                    <a:pt x="5" y="5"/>
                  </a:lnTo>
                  <a:lnTo>
                    <a:pt x="2" y="0"/>
                  </a:lnTo>
                  <a:lnTo>
                    <a:pt x="0" y="3"/>
                  </a:lnTo>
                  <a:lnTo>
                    <a:pt x="2" y="8"/>
                  </a:lnTo>
                  <a:lnTo>
                    <a:pt x="2" y="11"/>
                  </a:lnTo>
                  <a:lnTo>
                    <a:pt x="5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88" name="Freeform 289"/>
            <p:cNvSpPr>
              <a:spLocks/>
            </p:cNvSpPr>
            <p:nvPr/>
          </p:nvSpPr>
          <p:spPr bwMode="auto">
            <a:xfrm>
              <a:off x="5395913" y="3633788"/>
              <a:ext cx="47625" cy="53975"/>
            </a:xfrm>
            <a:custGeom>
              <a:avLst/>
              <a:gdLst>
                <a:gd name="T0" fmla="*/ 2147483647 w 29"/>
                <a:gd name="T1" fmla="*/ 2147483647 h 34"/>
                <a:gd name="T2" fmla="*/ 2147483647 w 29"/>
                <a:gd name="T3" fmla="*/ 2147483647 h 34"/>
                <a:gd name="T4" fmla="*/ 2147483647 w 29"/>
                <a:gd name="T5" fmla="*/ 2147483647 h 34"/>
                <a:gd name="T6" fmla="*/ 2147483647 w 29"/>
                <a:gd name="T7" fmla="*/ 0 h 34"/>
                <a:gd name="T8" fmla="*/ 2147483647 w 29"/>
                <a:gd name="T9" fmla="*/ 2147483647 h 34"/>
                <a:gd name="T10" fmla="*/ 2147483647 w 29"/>
                <a:gd name="T11" fmla="*/ 2147483647 h 34"/>
                <a:gd name="T12" fmla="*/ 2147483647 w 29"/>
                <a:gd name="T13" fmla="*/ 2147483647 h 34"/>
                <a:gd name="T14" fmla="*/ 2147483647 w 29"/>
                <a:gd name="T15" fmla="*/ 2147483647 h 34"/>
                <a:gd name="T16" fmla="*/ 0 w 29"/>
                <a:gd name="T17" fmla="*/ 2147483647 h 34"/>
                <a:gd name="T18" fmla="*/ 2147483647 w 29"/>
                <a:gd name="T19" fmla="*/ 2147483647 h 34"/>
                <a:gd name="T20" fmla="*/ 2147483647 w 29"/>
                <a:gd name="T21" fmla="*/ 2147483647 h 34"/>
                <a:gd name="T22" fmla="*/ 2147483647 w 29"/>
                <a:gd name="T23" fmla="*/ 2147483647 h 34"/>
                <a:gd name="T24" fmla="*/ 2147483647 w 29"/>
                <a:gd name="T25" fmla="*/ 2147483647 h 34"/>
                <a:gd name="T26" fmla="*/ 2147483647 w 29"/>
                <a:gd name="T27" fmla="*/ 2147483647 h 34"/>
                <a:gd name="T28" fmla="*/ 2147483647 w 29"/>
                <a:gd name="T29" fmla="*/ 2147483647 h 34"/>
                <a:gd name="T30" fmla="*/ 2147483647 w 29"/>
                <a:gd name="T31" fmla="*/ 2147483647 h 34"/>
                <a:gd name="T32" fmla="*/ 2147483647 w 29"/>
                <a:gd name="T33" fmla="*/ 2147483647 h 34"/>
                <a:gd name="T34" fmla="*/ 2147483647 w 29"/>
                <a:gd name="T35" fmla="*/ 2147483647 h 34"/>
                <a:gd name="T36" fmla="*/ 2147483647 w 29"/>
                <a:gd name="T37" fmla="*/ 2147483647 h 3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9"/>
                <a:gd name="T58" fmla="*/ 0 h 34"/>
                <a:gd name="T59" fmla="*/ 29 w 29"/>
                <a:gd name="T60" fmla="*/ 34 h 3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9" h="34">
                  <a:moveTo>
                    <a:pt x="29" y="11"/>
                  </a:moveTo>
                  <a:lnTo>
                    <a:pt x="26" y="3"/>
                  </a:lnTo>
                  <a:lnTo>
                    <a:pt x="20" y="0"/>
                  </a:lnTo>
                  <a:lnTo>
                    <a:pt x="18" y="6"/>
                  </a:lnTo>
                  <a:lnTo>
                    <a:pt x="12" y="8"/>
                  </a:lnTo>
                  <a:lnTo>
                    <a:pt x="9" y="6"/>
                  </a:lnTo>
                  <a:lnTo>
                    <a:pt x="0" y="23"/>
                  </a:lnTo>
                  <a:lnTo>
                    <a:pt x="3" y="34"/>
                  </a:lnTo>
                  <a:lnTo>
                    <a:pt x="12" y="31"/>
                  </a:lnTo>
                  <a:lnTo>
                    <a:pt x="18" y="31"/>
                  </a:lnTo>
                  <a:lnTo>
                    <a:pt x="26" y="26"/>
                  </a:lnTo>
                  <a:lnTo>
                    <a:pt x="23" y="23"/>
                  </a:lnTo>
                  <a:lnTo>
                    <a:pt x="6" y="26"/>
                  </a:lnTo>
                  <a:lnTo>
                    <a:pt x="20" y="17"/>
                  </a:lnTo>
                  <a:lnTo>
                    <a:pt x="29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89" name="Freeform 290"/>
            <p:cNvSpPr>
              <a:spLocks/>
            </p:cNvSpPr>
            <p:nvPr/>
          </p:nvSpPr>
          <p:spPr bwMode="auto">
            <a:xfrm>
              <a:off x="7002463" y="3862388"/>
              <a:ext cx="4762" cy="9525"/>
            </a:xfrm>
            <a:custGeom>
              <a:avLst/>
              <a:gdLst>
                <a:gd name="T0" fmla="*/ 0 w 3"/>
                <a:gd name="T1" fmla="*/ 0 h 6"/>
                <a:gd name="T2" fmla="*/ 0 w 3"/>
                <a:gd name="T3" fmla="*/ 2147483647 h 6"/>
                <a:gd name="T4" fmla="*/ 2147483647 w 3"/>
                <a:gd name="T5" fmla="*/ 2147483647 h 6"/>
                <a:gd name="T6" fmla="*/ 2147483647 w 3"/>
                <a:gd name="T7" fmla="*/ 0 h 6"/>
                <a:gd name="T8" fmla="*/ 0 w 3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0" y="0"/>
                  </a:moveTo>
                  <a:lnTo>
                    <a:pt x="0" y="6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90" name="Freeform 291"/>
            <p:cNvSpPr>
              <a:spLocks/>
            </p:cNvSpPr>
            <p:nvPr/>
          </p:nvSpPr>
          <p:spPr bwMode="auto">
            <a:xfrm>
              <a:off x="7002463" y="3825875"/>
              <a:ext cx="120650" cy="166688"/>
            </a:xfrm>
            <a:custGeom>
              <a:avLst/>
              <a:gdLst>
                <a:gd name="T0" fmla="*/ 2147483647 w 75"/>
                <a:gd name="T1" fmla="*/ 2147483647 h 104"/>
                <a:gd name="T2" fmla="*/ 2147483647 w 75"/>
                <a:gd name="T3" fmla="*/ 2147483647 h 104"/>
                <a:gd name="T4" fmla="*/ 2147483647 w 75"/>
                <a:gd name="T5" fmla="*/ 2147483647 h 104"/>
                <a:gd name="T6" fmla="*/ 2147483647 w 75"/>
                <a:gd name="T7" fmla="*/ 2147483647 h 104"/>
                <a:gd name="T8" fmla="*/ 2147483647 w 75"/>
                <a:gd name="T9" fmla="*/ 2147483647 h 104"/>
                <a:gd name="T10" fmla="*/ 2147483647 w 75"/>
                <a:gd name="T11" fmla="*/ 2147483647 h 104"/>
                <a:gd name="T12" fmla="*/ 2147483647 w 75"/>
                <a:gd name="T13" fmla="*/ 2147483647 h 104"/>
                <a:gd name="T14" fmla="*/ 2147483647 w 75"/>
                <a:gd name="T15" fmla="*/ 2147483647 h 104"/>
                <a:gd name="T16" fmla="*/ 2147483647 w 75"/>
                <a:gd name="T17" fmla="*/ 2147483647 h 104"/>
                <a:gd name="T18" fmla="*/ 2147483647 w 75"/>
                <a:gd name="T19" fmla="*/ 2147483647 h 104"/>
                <a:gd name="T20" fmla="*/ 2147483647 w 75"/>
                <a:gd name="T21" fmla="*/ 2147483647 h 104"/>
                <a:gd name="T22" fmla="*/ 2147483647 w 75"/>
                <a:gd name="T23" fmla="*/ 2147483647 h 104"/>
                <a:gd name="T24" fmla="*/ 2147483647 w 75"/>
                <a:gd name="T25" fmla="*/ 2147483647 h 104"/>
                <a:gd name="T26" fmla="*/ 2147483647 w 75"/>
                <a:gd name="T27" fmla="*/ 2147483647 h 104"/>
                <a:gd name="T28" fmla="*/ 2147483647 w 75"/>
                <a:gd name="T29" fmla="*/ 2147483647 h 104"/>
                <a:gd name="T30" fmla="*/ 2147483647 w 75"/>
                <a:gd name="T31" fmla="*/ 2147483647 h 104"/>
                <a:gd name="T32" fmla="*/ 2147483647 w 75"/>
                <a:gd name="T33" fmla="*/ 2147483647 h 104"/>
                <a:gd name="T34" fmla="*/ 2147483647 w 75"/>
                <a:gd name="T35" fmla="*/ 2147483647 h 104"/>
                <a:gd name="T36" fmla="*/ 2147483647 w 75"/>
                <a:gd name="T37" fmla="*/ 2147483647 h 104"/>
                <a:gd name="T38" fmla="*/ 2147483647 w 75"/>
                <a:gd name="T39" fmla="*/ 2147483647 h 104"/>
                <a:gd name="T40" fmla="*/ 2147483647 w 75"/>
                <a:gd name="T41" fmla="*/ 2147483647 h 104"/>
                <a:gd name="T42" fmla="*/ 2147483647 w 75"/>
                <a:gd name="T43" fmla="*/ 2147483647 h 104"/>
                <a:gd name="T44" fmla="*/ 2147483647 w 75"/>
                <a:gd name="T45" fmla="*/ 2147483647 h 104"/>
                <a:gd name="T46" fmla="*/ 2147483647 w 75"/>
                <a:gd name="T47" fmla="*/ 2147483647 h 104"/>
                <a:gd name="T48" fmla="*/ 2147483647 w 75"/>
                <a:gd name="T49" fmla="*/ 2147483647 h 104"/>
                <a:gd name="T50" fmla="*/ 2147483647 w 75"/>
                <a:gd name="T51" fmla="*/ 2147483647 h 104"/>
                <a:gd name="T52" fmla="*/ 2147483647 w 75"/>
                <a:gd name="T53" fmla="*/ 2147483647 h 104"/>
                <a:gd name="T54" fmla="*/ 2147483647 w 75"/>
                <a:gd name="T55" fmla="*/ 2147483647 h 104"/>
                <a:gd name="T56" fmla="*/ 2147483647 w 75"/>
                <a:gd name="T57" fmla="*/ 2147483647 h 104"/>
                <a:gd name="T58" fmla="*/ 2147483647 w 75"/>
                <a:gd name="T59" fmla="*/ 2147483647 h 104"/>
                <a:gd name="T60" fmla="*/ 2147483647 w 75"/>
                <a:gd name="T61" fmla="*/ 2147483647 h 104"/>
                <a:gd name="T62" fmla="*/ 2147483647 w 75"/>
                <a:gd name="T63" fmla="*/ 2147483647 h 104"/>
                <a:gd name="T64" fmla="*/ 0 w 75"/>
                <a:gd name="T65" fmla="*/ 2147483647 h 104"/>
                <a:gd name="T66" fmla="*/ 2147483647 w 75"/>
                <a:gd name="T67" fmla="*/ 2147483647 h 104"/>
                <a:gd name="T68" fmla="*/ 2147483647 w 75"/>
                <a:gd name="T69" fmla="*/ 2147483647 h 104"/>
                <a:gd name="T70" fmla="*/ 2147483647 w 75"/>
                <a:gd name="T71" fmla="*/ 2147483647 h 104"/>
                <a:gd name="T72" fmla="*/ 2147483647 w 75"/>
                <a:gd name="T73" fmla="*/ 2147483647 h 104"/>
                <a:gd name="T74" fmla="*/ 2147483647 w 75"/>
                <a:gd name="T75" fmla="*/ 2147483647 h 104"/>
                <a:gd name="T76" fmla="*/ 2147483647 w 75"/>
                <a:gd name="T77" fmla="*/ 2147483647 h 104"/>
                <a:gd name="T78" fmla="*/ 2147483647 w 75"/>
                <a:gd name="T79" fmla="*/ 2147483647 h 104"/>
                <a:gd name="T80" fmla="*/ 2147483647 w 75"/>
                <a:gd name="T81" fmla="*/ 2147483647 h 104"/>
                <a:gd name="T82" fmla="*/ 2147483647 w 75"/>
                <a:gd name="T83" fmla="*/ 2147483647 h 10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75"/>
                <a:gd name="T127" fmla="*/ 0 h 104"/>
                <a:gd name="T128" fmla="*/ 75 w 75"/>
                <a:gd name="T129" fmla="*/ 104 h 10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75" h="104">
                  <a:moveTo>
                    <a:pt x="15" y="52"/>
                  </a:moveTo>
                  <a:lnTo>
                    <a:pt x="15" y="52"/>
                  </a:lnTo>
                  <a:lnTo>
                    <a:pt x="20" y="61"/>
                  </a:lnTo>
                  <a:lnTo>
                    <a:pt x="23" y="75"/>
                  </a:lnTo>
                  <a:lnTo>
                    <a:pt x="26" y="75"/>
                  </a:lnTo>
                  <a:lnTo>
                    <a:pt x="29" y="78"/>
                  </a:lnTo>
                  <a:lnTo>
                    <a:pt x="35" y="84"/>
                  </a:lnTo>
                  <a:lnTo>
                    <a:pt x="43" y="89"/>
                  </a:lnTo>
                  <a:lnTo>
                    <a:pt x="52" y="95"/>
                  </a:lnTo>
                  <a:lnTo>
                    <a:pt x="63" y="101"/>
                  </a:lnTo>
                  <a:lnTo>
                    <a:pt x="66" y="104"/>
                  </a:lnTo>
                  <a:lnTo>
                    <a:pt x="69" y="101"/>
                  </a:lnTo>
                  <a:lnTo>
                    <a:pt x="72" y="101"/>
                  </a:lnTo>
                  <a:lnTo>
                    <a:pt x="75" y="101"/>
                  </a:lnTo>
                  <a:lnTo>
                    <a:pt x="75" y="98"/>
                  </a:lnTo>
                  <a:lnTo>
                    <a:pt x="75" y="92"/>
                  </a:lnTo>
                  <a:lnTo>
                    <a:pt x="66" y="78"/>
                  </a:lnTo>
                  <a:lnTo>
                    <a:pt x="63" y="72"/>
                  </a:lnTo>
                  <a:lnTo>
                    <a:pt x="60" y="66"/>
                  </a:lnTo>
                  <a:lnTo>
                    <a:pt x="58" y="58"/>
                  </a:lnTo>
                  <a:lnTo>
                    <a:pt x="60" y="52"/>
                  </a:lnTo>
                  <a:lnTo>
                    <a:pt x="60" y="44"/>
                  </a:lnTo>
                  <a:lnTo>
                    <a:pt x="60" y="38"/>
                  </a:lnTo>
                  <a:lnTo>
                    <a:pt x="58" y="29"/>
                  </a:lnTo>
                  <a:lnTo>
                    <a:pt x="52" y="21"/>
                  </a:lnTo>
                  <a:lnTo>
                    <a:pt x="46" y="15"/>
                  </a:lnTo>
                  <a:lnTo>
                    <a:pt x="43" y="9"/>
                  </a:lnTo>
                  <a:lnTo>
                    <a:pt x="37" y="6"/>
                  </a:lnTo>
                  <a:lnTo>
                    <a:pt x="32" y="18"/>
                  </a:lnTo>
                  <a:lnTo>
                    <a:pt x="29" y="18"/>
                  </a:lnTo>
                  <a:lnTo>
                    <a:pt x="26" y="15"/>
                  </a:lnTo>
                  <a:lnTo>
                    <a:pt x="23" y="18"/>
                  </a:lnTo>
                  <a:lnTo>
                    <a:pt x="20" y="21"/>
                  </a:lnTo>
                  <a:lnTo>
                    <a:pt x="20" y="23"/>
                  </a:lnTo>
                  <a:lnTo>
                    <a:pt x="15" y="18"/>
                  </a:lnTo>
                  <a:lnTo>
                    <a:pt x="15" y="15"/>
                  </a:lnTo>
                  <a:lnTo>
                    <a:pt x="15" y="9"/>
                  </a:lnTo>
                  <a:lnTo>
                    <a:pt x="12" y="6"/>
                  </a:lnTo>
                  <a:lnTo>
                    <a:pt x="12" y="3"/>
                  </a:lnTo>
                  <a:lnTo>
                    <a:pt x="9" y="3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6"/>
                  </a:lnTo>
                  <a:lnTo>
                    <a:pt x="3" y="9"/>
                  </a:lnTo>
                  <a:lnTo>
                    <a:pt x="3" y="12"/>
                  </a:lnTo>
                  <a:lnTo>
                    <a:pt x="6" y="18"/>
                  </a:lnTo>
                  <a:lnTo>
                    <a:pt x="6" y="26"/>
                  </a:lnTo>
                  <a:lnTo>
                    <a:pt x="6" y="29"/>
                  </a:lnTo>
                  <a:lnTo>
                    <a:pt x="6" y="32"/>
                  </a:lnTo>
                  <a:lnTo>
                    <a:pt x="9" y="38"/>
                  </a:lnTo>
                  <a:lnTo>
                    <a:pt x="12" y="44"/>
                  </a:lnTo>
                  <a:lnTo>
                    <a:pt x="12" y="46"/>
                  </a:lnTo>
                  <a:lnTo>
                    <a:pt x="15" y="49"/>
                  </a:lnTo>
                  <a:lnTo>
                    <a:pt x="15" y="5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91" name="Freeform 292"/>
            <p:cNvSpPr>
              <a:spLocks/>
            </p:cNvSpPr>
            <p:nvPr/>
          </p:nvSpPr>
          <p:spPr bwMode="auto">
            <a:xfrm>
              <a:off x="6989763" y="3830638"/>
              <a:ext cx="7937" cy="9525"/>
            </a:xfrm>
            <a:custGeom>
              <a:avLst/>
              <a:gdLst>
                <a:gd name="T0" fmla="*/ 2147483647 w 5"/>
                <a:gd name="T1" fmla="*/ 0 h 6"/>
                <a:gd name="T2" fmla="*/ 2147483647 w 5"/>
                <a:gd name="T3" fmla="*/ 0 h 6"/>
                <a:gd name="T4" fmla="*/ 0 w 5"/>
                <a:gd name="T5" fmla="*/ 2147483647 h 6"/>
                <a:gd name="T6" fmla="*/ 2147483647 w 5"/>
                <a:gd name="T7" fmla="*/ 2147483647 h 6"/>
                <a:gd name="T8" fmla="*/ 2147483647 w 5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6"/>
                <a:gd name="T17" fmla="*/ 5 w 5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6">
                  <a:moveTo>
                    <a:pt x="5" y="0"/>
                  </a:moveTo>
                  <a:lnTo>
                    <a:pt x="2" y="0"/>
                  </a:lnTo>
                  <a:lnTo>
                    <a:pt x="0" y="3"/>
                  </a:lnTo>
                  <a:lnTo>
                    <a:pt x="2" y="6"/>
                  </a:ln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92" name="Freeform 293"/>
            <p:cNvSpPr>
              <a:spLocks/>
            </p:cNvSpPr>
            <p:nvPr/>
          </p:nvSpPr>
          <p:spPr bwMode="auto">
            <a:xfrm>
              <a:off x="6985000" y="3822700"/>
              <a:ext cx="7938" cy="3175"/>
            </a:xfrm>
            <a:custGeom>
              <a:avLst/>
              <a:gdLst>
                <a:gd name="T0" fmla="*/ 0 w 5"/>
                <a:gd name="T1" fmla="*/ 2147483647 h 2"/>
                <a:gd name="T2" fmla="*/ 2147483647 w 5"/>
                <a:gd name="T3" fmla="*/ 2147483647 h 2"/>
                <a:gd name="T4" fmla="*/ 2147483647 w 5"/>
                <a:gd name="T5" fmla="*/ 0 h 2"/>
                <a:gd name="T6" fmla="*/ 2147483647 w 5"/>
                <a:gd name="T7" fmla="*/ 0 h 2"/>
                <a:gd name="T8" fmla="*/ 0 w 5"/>
                <a:gd name="T9" fmla="*/ 2147483647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0" y="2"/>
                  </a:moveTo>
                  <a:lnTo>
                    <a:pt x="3" y="2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93" name="Freeform 294"/>
            <p:cNvSpPr>
              <a:spLocks/>
            </p:cNvSpPr>
            <p:nvPr/>
          </p:nvSpPr>
          <p:spPr bwMode="auto">
            <a:xfrm>
              <a:off x="7145338" y="4078288"/>
              <a:ext cx="52387" cy="52387"/>
            </a:xfrm>
            <a:custGeom>
              <a:avLst/>
              <a:gdLst>
                <a:gd name="T0" fmla="*/ 2147483647 w 32"/>
                <a:gd name="T1" fmla="*/ 2147483647 h 32"/>
                <a:gd name="T2" fmla="*/ 2147483647 w 32"/>
                <a:gd name="T3" fmla="*/ 2147483647 h 32"/>
                <a:gd name="T4" fmla="*/ 2147483647 w 32"/>
                <a:gd name="T5" fmla="*/ 2147483647 h 32"/>
                <a:gd name="T6" fmla="*/ 2147483647 w 32"/>
                <a:gd name="T7" fmla="*/ 2147483647 h 32"/>
                <a:gd name="T8" fmla="*/ 2147483647 w 32"/>
                <a:gd name="T9" fmla="*/ 2147483647 h 32"/>
                <a:gd name="T10" fmla="*/ 2147483647 w 32"/>
                <a:gd name="T11" fmla="*/ 2147483647 h 32"/>
                <a:gd name="T12" fmla="*/ 2147483647 w 32"/>
                <a:gd name="T13" fmla="*/ 2147483647 h 32"/>
                <a:gd name="T14" fmla="*/ 2147483647 w 32"/>
                <a:gd name="T15" fmla="*/ 2147483647 h 32"/>
                <a:gd name="T16" fmla="*/ 2147483647 w 32"/>
                <a:gd name="T17" fmla="*/ 2147483647 h 32"/>
                <a:gd name="T18" fmla="*/ 2147483647 w 32"/>
                <a:gd name="T19" fmla="*/ 2147483647 h 32"/>
                <a:gd name="T20" fmla="*/ 2147483647 w 32"/>
                <a:gd name="T21" fmla="*/ 2147483647 h 32"/>
                <a:gd name="T22" fmla="*/ 2147483647 w 32"/>
                <a:gd name="T23" fmla="*/ 2147483647 h 32"/>
                <a:gd name="T24" fmla="*/ 2147483647 w 32"/>
                <a:gd name="T25" fmla="*/ 2147483647 h 32"/>
                <a:gd name="T26" fmla="*/ 2147483647 w 32"/>
                <a:gd name="T27" fmla="*/ 2147483647 h 32"/>
                <a:gd name="T28" fmla="*/ 2147483647 w 32"/>
                <a:gd name="T29" fmla="*/ 2147483647 h 32"/>
                <a:gd name="T30" fmla="*/ 2147483647 w 32"/>
                <a:gd name="T31" fmla="*/ 2147483647 h 32"/>
                <a:gd name="T32" fmla="*/ 2147483647 w 32"/>
                <a:gd name="T33" fmla="*/ 2147483647 h 32"/>
                <a:gd name="T34" fmla="*/ 2147483647 w 32"/>
                <a:gd name="T35" fmla="*/ 2147483647 h 32"/>
                <a:gd name="T36" fmla="*/ 2147483647 w 32"/>
                <a:gd name="T37" fmla="*/ 0 h 32"/>
                <a:gd name="T38" fmla="*/ 2147483647 w 32"/>
                <a:gd name="T39" fmla="*/ 0 h 32"/>
                <a:gd name="T40" fmla="*/ 2147483647 w 32"/>
                <a:gd name="T41" fmla="*/ 0 h 32"/>
                <a:gd name="T42" fmla="*/ 2147483647 w 32"/>
                <a:gd name="T43" fmla="*/ 2147483647 h 32"/>
                <a:gd name="T44" fmla="*/ 2147483647 w 32"/>
                <a:gd name="T45" fmla="*/ 2147483647 h 32"/>
                <a:gd name="T46" fmla="*/ 2147483647 w 32"/>
                <a:gd name="T47" fmla="*/ 0 h 32"/>
                <a:gd name="T48" fmla="*/ 2147483647 w 32"/>
                <a:gd name="T49" fmla="*/ 0 h 32"/>
                <a:gd name="T50" fmla="*/ 2147483647 w 32"/>
                <a:gd name="T51" fmla="*/ 0 h 32"/>
                <a:gd name="T52" fmla="*/ 2147483647 w 32"/>
                <a:gd name="T53" fmla="*/ 0 h 32"/>
                <a:gd name="T54" fmla="*/ 2147483647 w 32"/>
                <a:gd name="T55" fmla="*/ 2147483647 h 32"/>
                <a:gd name="T56" fmla="*/ 2147483647 w 32"/>
                <a:gd name="T57" fmla="*/ 2147483647 h 32"/>
                <a:gd name="T58" fmla="*/ 2147483647 w 32"/>
                <a:gd name="T59" fmla="*/ 2147483647 h 32"/>
                <a:gd name="T60" fmla="*/ 2147483647 w 32"/>
                <a:gd name="T61" fmla="*/ 2147483647 h 32"/>
                <a:gd name="T62" fmla="*/ 2147483647 w 32"/>
                <a:gd name="T63" fmla="*/ 2147483647 h 32"/>
                <a:gd name="T64" fmla="*/ 0 w 32"/>
                <a:gd name="T65" fmla="*/ 2147483647 h 32"/>
                <a:gd name="T66" fmla="*/ 2147483647 w 32"/>
                <a:gd name="T67" fmla="*/ 2147483647 h 32"/>
                <a:gd name="T68" fmla="*/ 2147483647 w 32"/>
                <a:gd name="T69" fmla="*/ 2147483647 h 32"/>
                <a:gd name="T70" fmla="*/ 2147483647 w 32"/>
                <a:gd name="T71" fmla="*/ 2147483647 h 32"/>
                <a:gd name="T72" fmla="*/ 2147483647 w 32"/>
                <a:gd name="T73" fmla="*/ 2147483647 h 32"/>
                <a:gd name="T74" fmla="*/ 2147483647 w 32"/>
                <a:gd name="T75" fmla="*/ 2147483647 h 32"/>
                <a:gd name="T76" fmla="*/ 2147483647 w 32"/>
                <a:gd name="T77" fmla="*/ 2147483647 h 32"/>
                <a:gd name="T78" fmla="*/ 2147483647 w 32"/>
                <a:gd name="T79" fmla="*/ 2147483647 h 32"/>
                <a:gd name="T80" fmla="*/ 2147483647 w 32"/>
                <a:gd name="T81" fmla="*/ 2147483647 h 32"/>
                <a:gd name="T82" fmla="*/ 2147483647 w 32"/>
                <a:gd name="T83" fmla="*/ 2147483647 h 32"/>
                <a:gd name="T84" fmla="*/ 2147483647 w 32"/>
                <a:gd name="T85" fmla="*/ 2147483647 h 32"/>
                <a:gd name="T86" fmla="*/ 2147483647 w 32"/>
                <a:gd name="T87" fmla="*/ 2147483647 h 3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"/>
                <a:gd name="T133" fmla="*/ 0 h 32"/>
                <a:gd name="T134" fmla="*/ 32 w 32"/>
                <a:gd name="T135" fmla="*/ 32 h 3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" h="32">
                  <a:moveTo>
                    <a:pt x="17" y="26"/>
                  </a:moveTo>
                  <a:lnTo>
                    <a:pt x="17" y="26"/>
                  </a:lnTo>
                  <a:lnTo>
                    <a:pt x="20" y="26"/>
                  </a:lnTo>
                  <a:lnTo>
                    <a:pt x="23" y="29"/>
                  </a:lnTo>
                  <a:lnTo>
                    <a:pt x="23" y="32"/>
                  </a:lnTo>
                  <a:lnTo>
                    <a:pt x="29" y="32"/>
                  </a:lnTo>
                  <a:lnTo>
                    <a:pt x="32" y="26"/>
                  </a:lnTo>
                  <a:lnTo>
                    <a:pt x="26" y="26"/>
                  </a:lnTo>
                  <a:lnTo>
                    <a:pt x="32" y="20"/>
                  </a:lnTo>
                  <a:lnTo>
                    <a:pt x="23" y="18"/>
                  </a:lnTo>
                  <a:lnTo>
                    <a:pt x="20" y="12"/>
                  </a:lnTo>
                  <a:lnTo>
                    <a:pt x="17" y="3"/>
                  </a:lnTo>
                  <a:lnTo>
                    <a:pt x="15" y="0"/>
                  </a:lnTo>
                  <a:lnTo>
                    <a:pt x="12" y="3"/>
                  </a:lnTo>
                  <a:lnTo>
                    <a:pt x="12" y="0"/>
                  </a:lnTo>
                  <a:lnTo>
                    <a:pt x="9" y="0"/>
                  </a:lnTo>
                  <a:lnTo>
                    <a:pt x="6" y="0"/>
                  </a:lnTo>
                  <a:lnTo>
                    <a:pt x="6" y="3"/>
                  </a:lnTo>
                  <a:lnTo>
                    <a:pt x="3" y="6"/>
                  </a:lnTo>
                  <a:lnTo>
                    <a:pt x="0" y="12"/>
                  </a:lnTo>
                  <a:lnTo>
                    <a:pt x="3" y="12"/>
                  </a:lnTo>
                  <a:lnTo>
                    <a:pt x="9" y="12"/>
                  </a:lnTo>
                  <a:lnTo>
                    <a:pt x="12" y="15"/>
                  </a:lnTo>
                  <a:lnTo>
                    <a:pt x="15" y="18"/>
                  </a:lnTo>
                  <a:lnTo>
                    <a:pt x="15" y="20"/>
                  </a:lnTo>
                  <a:lnTo>
                    <a:pt x="15" y="26"/>
                  </a:lnTo>
                  <a:lnTo>
                    <a:pt x="17" y="2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94" name="Freeform 295"/>
            <p:cNvSpPr>
              <a:spLocks/>
            </p:cNvSpPr>
            <p:nvPr/>
          </p:nvSpPr>
          <p:spPr bwMode="auto">
            <a:xfrm>
              <a:off x="6902450" y="3397250"/>
              <a:ext cx="230188" cy="457200"/>
            </a:xfrm>
            <a:custGeom>
              <a:avLst/>
              <a:gdLst>
                <a:gd name="T0" fmla="*/ 2147483647 w 144"/>
                <a:gd name="T1" fmla="*/ 2147483647 h 285"/>
                <a:gd name="T2" fmla="*/ 2147483647 w 144"/>
                <a:gd name="T3" fmla="*/ 2147483647 h 285"/>
                <a:gd name="T4" fmla="*/ 2147483647 w 144"/>
                <a:gd name="T5" fmla="*/ 2147483647 h 285"/>
                <a:gd name="T6" fmla="*/ 2147483647 w 144"/>
                <a:gd name="T7" fmla="*/ 2147483647 h 285"/>
                <a:gd name="T8" fmla="*/ 2147483647 w 144"/>
                <a:gd name="T9" fmla="*/ 2147483647 h 285"/>
                <a:gd name="T10" fmla="*/ 2147483647 w 144"/>
                <a:gd name="T11" fmla="*/ 2147483647 h 285"/>
                <a:gd name="T12" fmla="*/ 2147483647 w 144"/>
                <a:gd name="T13" fmla="*/ 2147483647 h 285"/>
                <a:gd name="T14" fmla="*/ 2147483647 w 144"/>
                <a:gd name="T15" fmla="*/ 2147483647 h 285"/>
                <a:gd name="T16" fmla="*/ 2147483647 w 144"/>
                <a:gd name="T17" fmla="*/ 2147483647 h 285"/>
                <a:gd name="T18" fmla="*/ 2147483647 w 144"/>
                <a:gd name="T19" fmla="*/ 2147483647 h 285"/>
                <a:gd name="T20" fmla="*/ 2147483647 w 144"/>
                <a:gd name="T21" fmla="*/ 2147483647 h 285"/>
                <a:gd name="T22" fmla="*/ 2147483647 w 144"/>
                <a:gd name="T23" fmla="*/ 2147483647 h 285"/>
                <a:gd name="T24" fmla="*/ 2147483647 w 144"/>
                <a:gd name="T25" fmla="*/ 2147483647 h 285"/>
                <a:gd name="T26" fmla="*/ 2147483647 w 144"/>
                <a:gd name="T27" fmla="*/ 2147483647 h 285"/>
                <a:gd name="T28" fmla="*/ 2147483647 w 144"/>
                <a:gd name="T29" fmla="*/ 2147483647 h 285"/>
                <a:gd name="T30" fmla="*/ 2147483647 w 144"/>
                <a:gd name="T31" fmla="*/ 2147483647 h 285"/>
                <a:gd name="T32" fmla="*/ 2147483647 w 144"/>
                <a:gd name="T33" fmla="*/ 2147483647 h 285"/>
                <a:gd name="T34" fmla="*/ 2147483647 w 144"/>
                <a:gd name="T35" fmla="*/ 2147483647 h 285"/>
                <a:gd name="T36" fmla="*/ 2147483647 w 144"/>
                <a:gd name="T37" fmla="*/ 2147483647 h 285"/>
                <a:gd name="T38" fmla="*/ 2147483647 w 144"/>
                <a:gd name="T39" fmla="*/ 2147483647 h 285"/>
                <a:gd name="T40" fmla="*/ 2147483647 w 144"/>
                <a:gd name="T41" fmla="*/ 2147483647 h 285"/>
                <a:gd name="T42" fmla="*/ 2147483647 w 144"/>
                <a:gd name="T43" fmla="*/ 2147483647 h 285"/>
                <a:gd name="T44" fmla="*/ 2147483647 w 144"/>
                <a:gd name="T45" fmla="*/ 2147483647 h 285"/>
                <a:gd name="T46" fmla="*/ 2147483647 w 144"/>
                <a:gd name="T47" fmla="*/ 2147483647 h 285"/>
                <a:gd name="T48" fmla="*/ 2147483647 w 144"/>
                <a:gd name="T49" fmla="*/ 2147483647 h 285"/>
                <a:gd name="T50" fmla="*/ 2147483647 w 144"/>
                <a:gd name="T51" fmla="*/ 2147483647 h 285"/>
                <a:gd name="T52" fmla="*/ 2147483647 w 144"/>
                <a:gd name="T53" fmla="*/ 2147483647 h 285"/>
                <a:gd name="T54" fmla="*/ 2147483647 w 144"/>
                <a:gd name="T55" fmla="*/ 2147483647 h 285"/>
                <a:gd name="T56" fmla="*/ 2147483647 w 144"/>
                <a:gd name="T57" fmla="*/ 2147483647 h 285"/>
                <a:gd name="T58" fmla="*/ 2147483647 w 144"/>
                <a:gd name="T59" fmla="*/ 2147483647 h 285"/>
                <a:gd name="T60" fmla="*/ 2147483647 w 144"/>
                <a:gd name="T61" fmla="*/ 2147483647 h 285"/>
                <a:gd name="T62" fmla="*/ 2147483647 w 144"/>
                <a:gd name="T63" fmla="*/ 2147483647 h 285"/>
                <a:gd name="T64" fmla="*/ 2147483647 w 144"/>
                <a:gd name="T65" fmla="*/ 2147483647 h 285"/>
                <a:gd name="T66" fmla="*/ 2147483647 w 144"/>
                <a:gd name="T67" fmla="*/ 2147483647 h 285"/>
                <a:gd name="T68" fmla="*/ 2147483647 w 144"/>
                <a:gd name="T69" fmla="*/ 2147483647 h 285"/>
                <a:gd name="T70" fmla="*/ 2147483647 w 144"/>
                <a:gd name="T71" fmla="*/ 2147483647 h 285"/>
                <a:gd name="T72" fmla="*/ 2147483647 w 144"/>
                <a:gd name="T73" fmla="*/ 0 h 285"/>
                <a:gd name="T74" fmla="*/ 2147483647 w 144"/>
                <a:gd name="T75" fmla="*/ 2147483647 h 285"/>
                <a:gd name="T76" fmla="*/ 2147483647 w 144"/>
                <a:gd name="T77" fmla="*/ 2147483647 h 285"/>
                <a:gd name="T78" fmla="*/ 2147483647 w 144"/>
                <a:gd name="T79" fmla="*/ 2147483647 h 285"/>
                <a:gd name="T80" fmla="*/ 2147483647 w 144"/>
                <a:gd name="T81" fmla="*/ 2147483647 h 285"/>
                <a:gd name="T82" fmla="*/ 2147483647 w 144"/>
                <a:gd name="T83" fmla="*/ 2147483647 h 285"/>
                <a:gd name="T84" fmla="*/ 2147483647 w 144"/>
                <a:gd name="T85" fmla="*/ 2147483647 h 285"/>
                <a:gd name="T86" fmla="*/ 2147483647 w 144"/>
                <a:gd name="T87" fmla="*/ 2147483647 h 285"/>
                <a:gd name="T88" fmla="*/ 2147483647 w 144"/>
                <a:gd name="T89" fmla="*/ 2147483647 h 285"/>
                <a:gd name="T90" fmla="*/ 2147483647 w 144"/>
                <a:gd name="T91" fmla="*/ 2147483647 h 285"/>
                <a:gd name="T92" fmla="*/ 2147483647 w 144"/>
                <a:gd name="T93" fmla="*/ 2147483647 h 285"/>
                <a:gd name="T94" fmla="*/ 2147483647 w 144"/>
                <a:gd name="T95" fmla="*/ 2147483647 h 285"/>
                <a:gd name="T96" fmla="*/ 2147483647 w 144"/>
                <a:gd name="T97" fmla="*/ 2147483647 h 285"/>
                <a:gd name="T98" fmla="*/ 2147483647 w 144"/>
                <a:gd name="T99" fmla="*/ 2147483647 h 285"/>
                <a:gd name="T100" fmla="*/ 2147483647 w 144"/>
                <a:gd name="T101" fmla="*/ 2147483647 h 285"/>
                <a:gd name="T102" fmla="*/ 2147483647 w 144"/>
                <a:gd name="T103" fmla="*/ 2147483647 h 285"/>
                <a:gd name="T104" fmla="*/ 2147483647 w 144"/>
                <a:gd name="T105" fmla="*/ 2147483647 h 285"/>
                <a:gd name="T106" fmla="*/ 2147483647 w 144"/>
                <a:gd name="T107" fmla="*/ 2147483647 h 285"/>
                <a:gd name="T108" fmla="*/ 2147483647 w 144"/>
                <a:gd name="T109" fmla="*/ 2147483647 h 285"/>
                <a:gd name="T110" fmla="*/ 2147483647 w 144"/>
                <a:gd name="T111" fmla="*/ 2147483647 h 28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"/>
                <a:gd name="T169" fmla="*/ 0 h 285"/>
                <a:gd name="T170" fmla="*/ 144 w 144"/>
                <a:gd name="T171" fmla="*/ 285 h 285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" h="285">
                  <a:moveTo>
                    <a:pt x="60" y="267"/>
                  </a:moveTo>
                  <a:lnTo>
                    <a:pt x="63" y="262"/>
                  </a:lnTo>
                  <a:lnTo>
                    <a:pt x="72" y="267"/>
                  </a:lnTo>
                  <a:lnTo>
                    <a:pt x="75" y="265"/>
                  </a:lnTo>
                  <a:lnTo>
                    <a:pt x="78" y="267"/>
                  </a:lnTo>
                  <a:lnTo>
                    <a:pt x="78" y="273"/>
                  </a:lnTo>
                  <a:lnTo>
                    <a:pt x="80" y="273"/>
                  </a:lnTo>
                  <a:lnTo>
                    <a:pt x="80" y="276"/>
                  </a:lnTo>
                  <a:lnTo>
                    <a:pt x="80" y="282"/>
                  </a:lnTo>
                  <a:lnTo>
                    <a:pt x="83" y="285"/>
                  </a:lnTo>
                  <a:lnTo>
                    <a:pt x="86" y="279"/>
                  </a:lnTo>
                  <a:lnTo>
                    <a:pt x="89" y="276"/>
                  </a:lnTo>
                  <a:lnTo>
                    <a:pt x="92" y="279"/>
                  </a:lnTo>
                  <a:lnTo>
                    <a:pt x="92" y="282"/>
                  </a:lnTo>
                  <a:lnTo>
                    <a:pt x="98" y="273"/>
                  </a:lnTo>
                  <a:lnTo>
                    <a:pt x="95" y="265"/>
                  </a:lnTo>
                  <a:lnTo>
                    <a:pt x="92" y="262"/>
                  </a:lnTo>
                  <a:lnTo>
                    <a:pt x="89" y="259"/>
                  </a:lnTo>
                  <a:lnTo>
                    <a:pt x="83" y="262"/>
                  </a:lnTo>
                  <a:lnTo>
                    <a:pt x="80" y="262"/>
                  </a:lnTo>
                  <a:lnTo>
                    <a:pt x="75" y="262"/>
                  </a:lnTo>
                  <a:lnTo>
                    <a:pt x="72" y="259"/>
                  </a:lnTo>
                  <a:lnTo>
                    <a:pt x="72" y="253"/>
                  </a:lnTo>
                  <a:lnTo>
                    <a:pt x="69" y="244"/>
                  </a:lnTo>
                  <a:lnTo>
                    <a:pt x="66" y="239"/>
                  </a:lnTo>
                  <a:lnTo>
                    <a:pt x="63" y="233"/>
                  </a:lnTo>
                  <a:lnTo>
                    <a:pt x="60" y="230"/>
                  </a:lnTo>
                  <a:lnTo>
                    <a:pt x="57" y="222"/>
                  </a:lnTo>
                  <a:lnTo>
                    <a:pt x="57" y="219"/>
                  </a:lnTo>
                  <a:lnTo>
                    <a:pt x="57" y="213"/>
                  </a:lnTo>
                  <a:lnTo>
                    <a:pt x="55" y="213"/>
                  </a:lnTo>
                  <a:lnTo>
                    <a:pt x="52" y="213"/>
                  </a:lnTo>
                  <a:lnTo>
                    <a:pt x="46" y="216"/>
                  </a:lnTo>
                  <a:lnTo>
                    <a:pt x="46" y="207"/>
                  </a:lnTo>
                  <a:lnTo>
                    <a:pt x="43" y="207"/>
                  </a:lnTo>
                  <a:lnTo>
                    <a:pt x="43" y="201"/>
                  </a:lnTo>
                  <a:lnTo>
                    <a:pt x="46" y="187"/>
                  </a:lnTo>
                  <a:lnTo>
                    <a:pt x="49" y="184"/>
                  </a:lnTo>
                  <a:lnTo>
                    <a:pt x="52" y="181"/>
                  </a:lnTo>
                  <a:lnTo>
                    <a:pt x="52" y="176"/>
                  </a:lnTo>
                  <a:lnTo>
                    <a:pt x="52" y="173"/>
                  </a:lnTo>
                  <a:lnTo>
                    <a:pt x="52" y="164"/>
                  </a:lnTo>
                  <a:lnTo>
                    <a:pt x="55" y="155"/>
                  </a:lnTo>
                  <a:lnTo>
                    <a:pt x="55" y="144"/>
                  </a:lnTo>
                  <a:lnTo>
                    <a:pt x="55" y="135"/>
                  </a:lnTo>
                  <a:lnTo>
                    <a:pt x="57" y="130"/>
                  </a:lnTo>
                  <a:lnTo>
                    <a:pt x="60" y="130"/>
                  </a:lnTo>
                  <a:lnTo>
                    <a:pt x="63" y="130"/>
                  </a:lnTo>
                  <a:lnTo>
                    <a:pt x="66" y="132"/>
                  </a:lnTo>
                  <a:lnTo>
                    <a:pt x="69" y="135"/>
                  </a:lnTo>
                  <a:lnTo>
                    <a:pt x="69" y="141"/>
                  </a:lnTo>
                  <a:lnTo>
                    <a:pt x="66" y="144"/>
                  </a:lnTo>
                  <a:lnTo>
                    <a:pt x="66" y="147"/>
                  </a:lnTo>
                  <a:lnTo>
                    <a:pt x="75" y="150"/>
                  </a:lnTo>
                  <a:lnTo>
                    <a:pt x="78" y="150"/>
                  </a:lnTo>
                  <a:lnTo>
                    <a:pt x="78" y="147"/>
                  </a:lnTo>
                  <a:lnTo>
                    <a:pt x="83" y="150"/>
                  </a:lnTo>
                  <a:lnTo>
                    <a:pt x="89" y="153"/>
                  </a:lnTo>
                  <a:lnTo>
                    <a:pt x="95" y="155"/>
                  </a:lnTo>
                  <a:lnTo>
                    <a:pt x="98" y="164"/>
                  </a:lnTo>
                  <a:lnTo>
                    <a:pt x="103" y="170"/>
                  </a:lnTo>
                  <a:lnTo>
                    <a:pt x="103" y="167"/>
                  </a:lnTo>
                  <a:lnTo>
                    <a:pt x="100" y="158"/>
                  </a:lnTo>
                  <a:lnTo>
                    <a:pt x="98" y="150"/>
                  </a:lnTo>
                  <a:lnTo>
                    <a:pt x="92" y="138"/>
                  </a:lnTo>
                  <a:lnTo>
                    <a:pt x="92" y="130"/>
                  </a:lnTo>
                  <a:lnTo>
                    <a:pt x="95" y="127"/>
                  </a:lnTo>
                  <a:lnTo>
                    <a:pt x="100" y="118"/>
                  </a:lnTo>
                  <a:lnTo>
                    <a:pt x="106" y="115"/>
                  </a:lnTo>
                  <a:lnTo>
                    <a:pt x="112" y="112"/>
                  </a:lnTo>
                  <a:lnTo>
                    <a:pt x="115" y="112"/>
                  </a:lnTo>
                  <a:lnTo>
                    <a:pt x="121" y="112"/>
                  </a:lnTo>
                  <a:lnTo>
                    <a:pt x="123" y="112"/>
                  </a:lnTo>
                  <a:lnTo>
                    <a:pt x="129" y="110"/>
                  </a:lnTo>
                  <a:lnTo>
                    <a:pt x="138" y="115"/>
                  </a:lnTo>
                  <a:lnTo>
                    <a:pt x="144" y="110"/>
                  </a:lnTo>
                  <a:lnTo>
                    <a:pt x="141" y="101"/>
                  </a:lnTo>
                  <a:lnTo>
                    <a:pt x="144" y="92"/>
                  </a:lnTo>
                  <a:lnTo>
                    <a:pt x="138" y="87"/>
                  </a:lnTo>
                  <a:lnTo>
                    <a:pt x="132" y="81"/>
                  </a:lnTo>
                  <a:lnTo>
                    <a:pt x="126" y="75"/>
                  </a:lnTo>
                  <a:lnTo>
                    <a:pt x="123" y="66"/>
                  </a:lnTo>
                  <a:lnTo>
                    <a:pt x="126" y="58"/>
                  </a:lnTo>
                  <a:lnTo>
                    <a:pt x="123" y="55"/>
                  </a:lnTo>
                  <a:lnTo>
                    <a:pt x="121" y="55"/>
                  </a:lnTo>
                  <a:lnTo>
                    <a:pt x="109" y="43"/>
                  </a:lnTo>
                  <a:lnTo>
                    <a:pt x="100" y="38"/>
                  </a:lnTo>
                  <a:lnTo>
                    <a:pt x="95" y="49"/>
                  </a:lnTo>
                  <a:lnTo>
                    <a:pt x="86" y="49"/>
                  </a:lnTo>
                  <a:lnTo>
                    <a:pt x="78" y="43"/>
                  </a:lnTo>
                  <a:lnTo>
                    <a:pt x="75" y="46"/>
                  </a:lnTo>
                  <a:lnTo>
                    <a:pt x="72" y="49"/>
                  </a:lnTo>
                  <a:lnTo>
                    <a:pt x="63" y="58"/>
                  </a:lnTo>
                  <a:lnTo>
                    <a:pt x="57" y="58"/>
                  </a:lnTo>
                  <a:lnTo>
                    <a:pt x="60" y="41"/>
                  </a:lnTo>
                  <a:lnTo>
                    <a:pt x="57" y="35"/>
                  </a:lnTo>
                  <a:lnTo>
                    <a:pt x="60" y="29"/>
                  </a:lnTo>
                  <a:lnTo>
                    <a:pt x="60" y="18"/>
                  </a:lnTo>
                  <a:lnTo>
                    <a:pt x="55" y="15"/>
                  </a:lnTo>
                  <a:lnTo>
                    <a:pt x="49" y="15"/>
                  </a:lnTo>
                  <a:lnTo>
                    <a:pt x="43" y="15"/>
                  </a:lnTo>
                  <a:lnTo>
                    <a:pt x="43" y="12"/>
                  </a:lnTo>
                  <a:lnTo>
                    <a:pt x="43" y="3"/>
                  </a:lnTo>
                  <a:lnTo>
                    <a:pt x="43" y="0"/>
                  </a:lnTo>
                  <a:lnTo>
                    <a:pt x="40" y="0"/>
                  </a:lnTo>
                  <a:lnTo>
                    <a:pt x="32" y="3"/>
                  </a:lnTo>
                  <a:lnTo>
                    <a:pt x="29" y="6"/>
                  </a:lnTo>
                  <a:lnTo>
                    <a:pt x="26" y="6"/>
                  </a:lnTo>
                  <a:lnTo>
                    <a:pt x="23" y="6"/>
                  </a:lnTo>
                  <a:lnTo>
                    <a:pt x="23" y="12"/>
                  </a:lnTo>
                  <a:lnTo>
                    <a:pt x="6" y="12"/>
                  </a:lnTo>
                  <a:lnTo>
                    <a:pt x="6" y="15"/>
                  </a:lnTo>
                  <a:lnTo>
                    <a:pt x="3" y="23"/>
                  </a:lnTo>
                  <a:lnTo>
                    <a:pt x="3" y="26"/>
                  </a:lnTo>
                  <a:lnTo>
                    <a:pt x="6" y="35"/>
                  </a:lnTo>
                  <a:lnTo>
                    <a:pt x="0" y="35"/>
                  </a:lnTo>
                  <a:lnTo>
                    <a:pt x="3" y="41"/>
                  </a:lnTo>
                  <a:lnTo>
                    <a:pt x="6" y="49"/>
                  </a:lnTo>
                  <a:lnTo>
                    <a:pt x="17" y="58"/>
                  </a:lnTo>
                  <a:lnTo>
                    <a:pt x="23" y="69"/>
                  </a:lnTo>
                  <a:lnTo>
                    <a:pt x="23" y="72"/>
                  </a:lnTo>
                  <a:lnTo>
                    <a:pt x="32" y="72"/>
                  </a:lnTo>
                  <a:lnTo>
                    <a:pt x="29" y="81"/>
                  </a:lnTo>
                  <a:lnTo>
                    <a:pt x="29" y="84"/>
                  </a:lnTo>
                  <a:lnTo>
                    <a:pt x="26" y="84"/>
                  </a:lnTo>
                  <a:lnTo>
                    <a:pt x="26" y="95"/>
                  </a:lnTo>
                  <a:lnTo>
                    <a:pt x="20" y="101"/>
                  </a:lnTo>
                  <a:lnTo>
                    <a:pt x="26" y="112"/>
                  </a:lnTo>
                  <a:lnTo>
                    <a:pt x="32" y="118"/>
                  </a:lnTo>
                  <a:lnTo>
                    <a:pt x="37" y="121"/>
                  </a:lnTo>
                  <a:lnTo>
                    <a:pt x="40" y="127"/>
                  </a:lnTo>
                  <a:lnTo>
                    <a:pt x="40" y="130"/>
                  </a:lnTo>
                  <a:lnTo>
                    <a:pt x="40" y="135"/>
                  </a:lnTo>
                  <a:lnTo>
                    <a:pt x="40" y="138"/>
                  </a:lnTo>
                  <a:lnTo>
                    <a:pt x="43" y="147"/>
                  </a:lnTo>
                  <a:lnTo>
                    <a:pt x="46" y="150"/>
                  </a:lnTo>
                  <a:lnTo>
                    <a:pt x="49" y="158"/>
                  </a:lnTo>
                  <a:lnTo>
                    <a:pt x="52" y="158"/>
                  </a:lnTo>
                  <a:lnTo>
                    <a:pt x="52" y="161"/>
                  </a:lnTo>
                  <a:lnTo>
                    <a:pt x="52" y="164"/>
                  </a:lnTo>
                  <a:lnTo>
                    <a:pt x="49" y="170"/>
                  </a:lnTo>
                  <a:lnTo>
                    <a:pt x="46" y="178"/>
                  </a:lnTo>
                  <a:lnTo>
                    <a:pt x="37" y="184"/>
                  </a:lnTo>
                  <a:lnTo>
                    <a:pt x="37" y="196"/>
                  </a:lnTo>
                  <a:lnTo>
                    <a:pt x="32" y="204"/>
                  </a:lnTo>
                  <a:lnTo>
                    <a:pt x="32" y="222"/>
                  </a:lnTo>
                  <a:lnTo>
                    <a:pt x="29" y="233"/>
                  </a:lnTo>
                  <a:lnTo>
                    <a:pt x="32" y="236"/>
                  </a:lnTo>
                  <a:lnTo>
                    <a:pt x="34" y="233"/>
                  </a:lnTo>
                  <a:lnTo>
                    <a:pt x="37" y="233"/>
                  </a:lnTo>
                  <a:lnTo>
                    <a:pt x="40" y="239"/>
                  </a:lnTo>
                  <a:lnTo>
                    <a:pt x="46" y="244"/>
                  </a:lnTo>
                  <a:lnTo>
                    <a:pt x="49" y="247"/>
                  </a:lnTo>
                  <a:lnTo>
                    <a:pt x="52" y="253"/>
                  </a:lnTo>
                  <a:lnTo>
                    <a:pt x="55" y="253"/>
                  </a:lnTo>
                  <a:lnTo>
                    <a:pt x="57" y="256"/>
                  </a:lnTo>
                  <a:lnTo>
                    <a:pt x="57" y="262"/>
                  </a:lnTo>
                  <a:lnTo>
                    <a:pt x="60" y="265"/>
                  </a:lnTo>
                  <a:lnTo>
                    <a:pt x="60" y="26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95" name="Freeform 296"/>
            <p:cNvSpPr>
              <a:spLocks/>
            </p:cNvSpPr>
            <p:nvPr/>
          </p:nvSpPr>
          <p:spPr bwMode="auto">
            <a:xfrm>
              <a:off x="7013575" y="3306763"/>
              <a:ext cx="233363" cy="454025"/>
            </a:xfrm>
            <a:custGeom>
              <a:avLst/>
              <a:gdLst>
                <a:gd name="T0" fmla="*/ 2147483647 w 146"/>
                <a:gd name="T1" fmla="*/ 2147483647 h 284"/>
                <a:gd name="T2" fmla="*/ 2147483647 w 146"/>
                <a:gd name="T3" fmla="*/ 2147483647 h 284"/>
                <a:gd name="T4" fmla="*/ 2147483647 w 146"/>
                <a:gd name="T5" fmla="*/ 2147483647 h 284"/>
                <a:gd name="T6" fmla="*/ 2147483647 w 146"/>
                <a:gd name="T7" fmla="*/ 2147483647 h 284"/>
                <a:gd name="T8" fmla="*/ 2147483647 w 146"/>
                <a:gd name="T9" fmla="*/ 2147483647 h 284"/>
                <a:gd name="T10" fmla="*/ 2147483647 w 146"/>
                <a:gd name="T11" fmla="*/ 2147483647 h 284"/>
                <a:gd name="T12" fmla="*/ 2147483647 w 146"/>
                <a:gd name="T13" fmla="*/ 2147483647 h 284"/>
                <a:gd name="T14" fmla="*/ 2147483647 w 146"/>
                <a:gd name="T15" fmla="*/ 2147483647 h 284"/>
                <a:gd name="T16" fmla="*/ 2147483647 w 146"/>
                <a:gd name="T17" fmla="*/ 2147483647 h 284"/>
                <a:gd name="T18" fmla="*/ 2147483647 w 146"/>
                <a:gd name="T19" fmla="*/ 2147483647 h 284"/>
                <a:gd name="T20" fmla="*/ 2147483647 w 146"/>
                <a:gd name="T21" fmla="*/ 2147483647 h 284"/>
                <a:gd name="T22" fmla="*/ 2147483647 w 146"/>
                <a:gd name="T23" fmla="*/ 2147483647 h 284"/>
                <a:gd name="T24" fmla="*/ 2147483647 w 146"/>
                <a:gd name="T25" fmla="*/ 2147483647 h 284"/>
                <a:gd name="T26" fmla="*/ 2147483647 w 146"/>
                <a:gd name="T27" fmla="*/ 2147483647 h 284"/>
                <a:gd name="T28" fmla="*/ 2147483647 w 146"/>
                <a:gd name="T29" fmla="*/ 2147483647 h 284"/>
                <a:gd name="T30" fmla="*/ 2147483647 w 146"/>
                <a:gd name="T31" fmla="*/ 2147483647 h 284"/>
                <a:gd name="T32" fmla="*/ 2147483647 w 146"/>
                <a:gd name="T33" fmla="*/ 2147483647 h 284"/>
                <a:gd name="T34" fmla="*/ 2147483647 w 146"/>
                <a:gd name="T35" fmla="*/ 2147483647 h 284"/>
                <a:gd name="T36" fmla="*/ 2147483647 w 146"/>
                <a:gd name="T37" fmla="*/ 2147483647 h 284"/>
                <a:gd name="T38" fmla="*/ 2147483647 w 146"/>
                <a:gd name="T39" fmla="*/ 2147483647 h 284"/>
                <a:gd name="T40" fmla="*/ 2147483647 w 146"/>
                <a:gd name="T41" fmla="*/ 2147483647 h 284"/>
                <a:gd name="T42" fmla="*/ 2147483647 w 146"/>
                <a:gd name="T43" fmla="*/ 2147483647 h 284"/>
                <a:gd name="T44" fmla="*/ 2147483647 w 146"/>
                <a:gd name="T45" fmla="*/ 2147483647 h 284"/>
                <a:gd name="T46" fmla="*/ 2147483647 w 146"/>
                <a:gd name="T47" fmla="*/ 2147483647 h 284"/>
                <a:gd name="T48" fmla="*/ 2147483647 w 146"/>
                <a:gd name="T49" fmla="*/ 2147483647 h 284"/>
                <a:gd name="T50" fmla="*/ 2147483647 w 146"/>
                <a:gd name="T51" fmla="*/ 2147483647 h 284"/>
                <a:gd name="T52" fmla="*/ 2147483647 w 146"/>
                <a:gd name="T53" fmla="*/ 2147483647 h 284"/>
                <a:gd name="T54" fmla="*/ 2147483647 w 146"/>
                <a:gd name="T55" fmla="*/ 2147483647 h 284"/>
                <a:gd name="T56" fmla="*/ 2147483647 w 146"/>
                <a:gd name="T57" fmla="*/ 2147483647 h 284"/>
                <a:gd name="T58" fmla="*/ 2147483647 w 146"/>
                <a:gd name="T59" fmla="*/ 2147483647 h 284"/>
                <a:gd name="T60" fmla="*/ 2147483647 w 146"/>
                <a:gd name="T61" fmla="*/ 2147483647 h 284"/>
                <a:gd name="T62" fmla="*/ 2147483647 w 146"/>
                <a:gd name="T63" fmla="*/ 2147483647 h 284"/>
                <a:gd name="T64" fmla="*/ 2147483647 w 146"/>
                <a:gd name="T65" fmla="*/ 2147483647 h 284"/>
                <a:gd name="T66" fmla="*/ 2147483647 w 146"/>
                <a:gd name="T67" fmla="*/ 2147483647 h 284"/>
                <a:gd name="T68" fmla="*/ 2147483647 w 146"/>
                <a:gd name="T69" fmla="*/ 2147483647 h 284"/>
                <a:gd name="T70" fmla="*/ 2147483647 w 146"/>
                <a:gd name="T71" fmla="*/ 2147483647 h 284"/>
                <a:gd name="T72" fmla="*/ 2147483647 w 146"/>
                <a:gd name="T73" fmla="*/ 2147483647 h 284"/>
                <a:gd name="T74" fmla="*/ 2147483647 w 146"/>
                <a:gd name="T75" fmla="*/ 2147483647 h 284"/>
                <a:gd name="T76" fmla="*/ 2147483647 w 146"/>
                <a:gd name="T77" fmla="*/ 2147483647 h 284"/>
                <a:gd name="T78" fmla="*/ 2147483647 w 146"/>
                <a:gd name="T79" fmla="*/ 2147483647 h 284"/>
                <a:gd name="T80" fmla="*/ 2147483647 w 146"/>
                <a:gd name="T81" fmla="*/ 2147483647 h 284"/>
                <a:gd name="T82" fmla="*/ 2147483647 w 146"/>
                <a:gd name="T83" fmla="*/ 2147483647 h 284"/>
                <a:gd name="T84" fmla="*/ 2147483647 w 146"/>
                <a:gd name="T85" fmla="*/ 2147483647 h 284"/>
                <a:gd name="T86" fmla="*/ 2147483647 w 146"/>
                <a:gd name="T87" fmla="*/ 2147483647 h 284"/>
                <a:gd name="T88" fmla="*/ 2147483647 w 146"/>
                <a:gd name="T89" fmla="*/ 2147483647 h 284"/>
                <a:gd name="T90" fmla="*/ 2147483647 w 146"/>
                <a:gd name="T91" fmla="*/ 2147483647 h 284"/>
                <a:gd name="T92" fmla="*/ 2147483647 w 146"/>
                <a:gd name="T93" fmla="*/ 2147483647 h 284"/>
                <a:gd name="T94" fmla="*/ 2147483647 w 146"/>
                <a:gd name="T95" fmla="*/ 2147483647 h 284"/>
                <a:gd name="T96" fmla="*/ 2147483647 w 146"/>
                <a:gd name="T97" fmla="*/ 2147483647 h 284"/>
                <a:gd name="T98" fmla="*/ 2147483647 w 146"/>
                <a:gd name="T99" fmla="*/ 2147483647 h 284"/>
                <a:gd name="T100" fmla="*/ 2147483647 w 146"/>
                <a:gd name="T101" fmla="*/ 2147483647 h 28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46"/>
                <a:gd name="T154" fmla="*/ 0 h 284"/>
                <a:gd name="T155" fmla="*/ 146 w 146"/>
                <a:gd name="T156" fmla="*/ 284 h 28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46" h="284">
                  <a:moveTo>
                    <a:pt x="146" y="204"/>
                  </a:moveTo>
                  <a:lnTo>
                    <a:pt x="146" y="195"/>
                  </a:lnTo>
                  <a:lnTo>
                    <a:pt x="143" y="187"/>
                  </a:lnTo>
                  <a:lnTo>
                    <a:pt x="143" y="178"/>
                  </a:lnTo>
                  <a:lnTo>
                    <a:pt x="138" y="169"/>
                  </a:lnTo>
                  <a:lnTo>
                    <a:pt x="138" y="158"/>
                  </a:lnTo>
                  <a:lnTo>
                    <a:pt x="129" y="152"/>
                  </a:lnTo>
                  <a:lnTo>
                    <a:pt x="123" y="144"/>
                  </a:lnTo>
                  <a:lnTo>
                    <a:pt x="115" y="135"/>
                  </a:lnTo>
                  <a:lnTo>
                    <a:pt x="103" y="129"/>
                  </a:lnTo>
                  <a:lnTo>
                    <a:pt x="95" y="118"/>
                  </a:lnTo>
                  <a:lnTo>
                    <a:pt x="86" y="109"/>
                  </a:lnTo>
                  <a:lnTo>
                    <a:pt x="86" y="100"/>
                  </a:lnTo>
                  <a:lnTo>
                    <a:pt x="80" y="95"/>
                  </a:lnTo>
                  <a:lnTo>
                    <a:pt x="72" y="89"/>
                  </a:lnTo>
                  <a:lnTo>
                    <a:pt x="66" y="80"/>
                  </a:lnTo>
                  <a:lnTo>
                    <a:pt x="69" y="75"/>
                  </a:lnTo>
                  <a:lnTo>
                    <a:pt x="69" y="66"/>
                  </a:lnTo>
                  <a:lnTo>
                    <a:pt x="75" y="60"/>
                  </a:lnTo>
                  <a:lnTo>
                    <a:pt x="77" y="57"/>
                  </a:lnTo>
                  <a:lnTo>
                    <a:pt x="80" y="49"/>
                  </a:lnTo>
                  <a:lnTo>
                    <a:pt x="80" y="43"/>
                  </a:lnTo>
                  <a:lnTo>
                    <a:pt x="83" y="40"/>
                  </a:lnTo>
                  <a:lnTo>
                    <a:pt x="89" y="43"/>
                  </a:lnTo>
                  <a:lnTo>
                    <a:pt x="95" y="37"/>
                  </a:lnTo>
                  <a:lnTo>
                    <a:pt x="95" y="34"/>
                  </a:lnTo>
                  <a:lnTo>
                    <a:pt x="95" y="32"/>
                  </a:lnTo>
                  <a:lnTo>
                    <a:pt x="86" y="29"/>
                  </a:lnTo>
                  <a:lnTo>
                    <a:pt x="75" y="23"/>
                  </a:lnTo>
                  <a:lnTo>
                    <a:pt x="69" y="11"/>
                  </a:lnTo>
                  <a:lnTo>
                    <a:pt x="72" y="11"/>
                  </a:lnTo>
                  <a:lnTo>
                    <a:pt x="72" y="6"/>
                  </a:lnTo>
                  <a:lnTo>
                    <a:pt x="63" y="6"/>
                  </a:lnTo>
                  <a:lnTo>
                    <a:pt x="54" y="3"/>
                  </a:lnTo>
                  <a:lnTo>
                    <a:pt x="49" y="0"/>
                  </a:lnTo>
                  <a:lnTo>
                    <a:pt x="43" y="3"/>
                  </a:lnTo>
                  <a:lnTo>
                    <a:pt x="46" y="9"/>
                  </a:lnTo>
                  <a:lnTo>
                    <a:pt x="34" y="14"/>
                  </a:lnTo>
                  <a:lnTo>
                    <a:pt x="31" y="11"/>
                  </a:lnTo>
                  <a:lnTo>
                    <a:pt x="29" y="14"/>
                  </a:lnTo>
                  <a:lnTo>
                    <a:pt x="23" y="11"/>
                  </a:lnTo>
                  <a:lnTo>
                    <a:pt x="20" y="14"/>
                  </a:lnTo>
                  <a:lnTo>
                    <a:pt x="20" y="11"/>
                  </a:lnTo>
                  <a:lnTo>
                    <a:pt x="17" y="11"/>
                  </a:lnTo>
                  <a:lnTo>
                    <a:pt x="14" y="17"/>
                  </a:lnTo>
                  <a:lnTo>
                    <a:pt x="3" y="11"/>
                  </a:lnTo>
                  <a:lnTo>
                    <a:pt x="0" y="14"/>
                  </a:lnTo>
                  <a:lnTo>
                    <a:pt x="6" y="23"/>
                  </a:lnTo>
                  <a:lnTo>
                    <a:pt x="9" y="26"/>
                  </a:lnTo>
                  <a:lnTo>
                    <a:pt x="14" y="23"/>
                  </a:lnTo>
                  <a:lnTo>
                    <a:pt x="14" y="29"/>
                  </a:lnTo>
                  <a:lnTo>
                    <a:pt x="17" y="37"/>
                  </a:lnTo>
                  <a:lnTo>
                    <a:pt x="20" y="43"/>
                  </a:lnTo>
                  <a:lnTo>
                    <a:pt x="23" y="46"/>
                  </a:lnTo>
                  <a:lnTo>
                    <a:pt x="29" y="49"/>
                  </a:lnTo>
                  <a:lnTo>
                    <a:pt x="34" y="43"/>
                  </a:lnTo>
                  <a:lnTo>
                    <a:pt x="43" y="46"/>
                  </a:lnTo>
                  <a:lnTo>
                    <a:pt x="46" y="55"/>
                  </a:lnTo>
                  <a:lnTo>
                    <a:pt x="49" y="57"/>
                  </a:lnTo>
                  <a:lnTo>
                    <a:pt x="54" y="60"/>
                  </a:lnTo>
                  <a:lnTo>
                    <a:pt x="49" y="72"/>
                  </a:lnTo>
                  <a:lnTo>
                    <a:pt x="46" y="72"/>
                  </a:lnTo>
                  <a:lnTo>
                    <a:pt x="40" y="69"/>
                  </a:lnTo>
                  <a:lnTo>
                    <a:pt x="37" y="78"/>
                  </a:lnTo>
                  <a:lnTo>
                    <a:pt x="49" y="80"/>
                  </a:lnTo>
                  <a:lnTo>
                    <a:pt x="57" y="83"/>
                  </a:lnTo>
                  <a:lnTo>
                    <a:pt x="63" y="92"/>
                  </a:lnTo>
                  <a:lnTo>
                    <a:pt x="75" y="103"/>
                  </a:lnTo>
                  <a:lnTo>
                    <a:pt x="80" y="112"/>
                  </a:lnTo>
                  <a:lnTo>
                    <a:pt x="86" y="121"/>
                  </a:lnTo>
                  <a:lnTo>
                    <a:pt x="92" y="129"/>
                  </a:lnTo>
                  <a:lnTo>
                    <a:pt x="100" y="135"/>
                  </a:lnTo>
                  <a:lnTo>
                    <a:pt x="109" y="141"/>
                  </a:lnTo>
                  <a:lnTo>
                    <a:pt x="103" y="146"/>
                  </a:lnTo>
                  <a:lnTo>
                    <a:pt x="115" y="155"/>
                  </a:lnTo>
                  <a:lnTo>
                    <a:pt x="106" y="164"/>
                  </a:lnTo>
                  <a:lnTo>
                    <a:pt x="109" y="167"/>
                  </a:lnTo>
                  <a:lnTo>
                    <a:pt x="109" y="169"/>
                  </a:lnTo>
                  <a:lnTo>
                    <a:pt x="109" y="172"/>
                  </a:lnTo>
                  <a:lnTo>
                    <a:pt x="109" y="175"/>
                  </a:lnTo>
                  <a:lnTo>
                    <a:pt x="109" y="178"/>
                  </a:lnTo>
                  <a:lnTo>
                    <a:pt x="115" y="187"/>
                  </a:lnTo>
                  <a:lnTo>
                    <a:pt x="115" y="189"/>
                  </a:lnTo>
                  <a:lnTo>
                    <a:pt x="115" y="195"/>
                  </a:lnTo>
                  <a:lnTo>
                    <a:pt x="115" y="198"/>
                  </a:lnTo>
                  <a:lnTo>
                    <a:pt x="118" y="210"/>
                  </a:lnTo>
                  <a:lnTo>
                    <a:pt x="115" y="212"/>
                  </a:lnTo>
                  <a:lnTo>
                    <a:pt x="112" y="215"/>
                  </a:lnTo>
                  <a:lnTo>
                    <a:pt x="109" y="212"/>
                  </a:lnTo>
                  <a:lnTo>
                    <a:pt x="109" y="215"/>
                  </a:lnTo>
                  <a:lnTo>
                    <a:pt x="103" y="218"/>
                  </a:lnTo>
                  <a:lnTo>
                    <a:pt x="98" y="221"/>
                  </a:lnTo>
                  <a:lnTo>
                    <a:pt x="98" y="233"/>
                  </a:lnTo>
                  <a:lnTo>
                    <a:pt x="95" y="230"/>
                  </a:lnTo>
                  <a:lnTo>
                    <a:pt x="92" y="227"/>
                  </a:lnTo>
                  <a:lnTo>
                    <a:pt x="89" y="227"/>
                  </a:lnTo>
                  <a:lnTo>
                    <a:pt x="86" y="227"/>
                  </a:lnTo>
                  <a:lnTo>
                    <a:pt x="92" y="233"/>
                  </a:lnTo>
                  <a:lnTo>
                    <a:pt x="95" y="235"/>
                  </a:lnTo>
                  <a:lnTo>
                    <a:pt x="98" y="238"/>
                  </a:lnTo>
                  <a:lnTo>
                    <a:pt x="95" y="241"/>
                  </a:lnTo>
                  <a:lnTo>
                    <a:pt x="95" y="244"/>
                  </a:lnTo>
                  <a:lnTo>
                    <a:pt x="92" y="244"/>
                  </a:lnTo>
                  <a:lnTo>
                    <a:pt x="83" y="238"/>
                  </a:lnTo>
                  <a:lnTo>
                    <a:pt x="77" y="241"/>
                  </a:lnTo>
                  <a:lnTo>
                    <a:pt x="72" y="247"/>
                  </a:lnTo>
                  <a:lnTo>
                    <a:pt x="66" y="250"/>
                  </a:lnTo>
                  <a:lnTo>
                    <a:pt x="66" y="253"/>
                  </a:lnTo>
                  <a:lnTo>
                    <a:pt x="69" y="253"/>
                  </a:lnTo>
                  <a:lnTo>
                    <a:pt x="75" y="258"/>
                  </a:lnTo>
                  <a:lnTo>
                    <a:pt x="75" y="267"/>
                  </a:lnTo>
                  <a:lnTo>
                    <a:pt x="75" y="284"/>
                  </a:lnTo>
                  <a:lnTo>
                    <a:pt x="83" y="281"/>
                  </a:lnTo>
                  <a:lnTo>
                    <a:pt x="92" y="273"/>
                  </a:lnTo>
                  <a:lnTo>
                    <a:pt x="98" y="264"/>
                  </a:lnTo>
                  <a:lnTo>
                    <a:pt x="100" y="267"/>
                  </a:lnTo>
                  <a:lnTo>
                    <a:pt x="103" y="264"/>
                  </a:lnTo>
                  <a:lnTo>
                    <a:pt x="103" y="258"/>
                  </a:lnTo>
                  <a:lnTo>
                    <a:pt x="106" y="256"/>
                  </a:lnTo>
                  <a:lnTo>
                    <a:pt x="103" y="250"/>
                  </a:lnTo>
                  <a:lnTo>
                    <a:pt x="106" y="247"/>
                  </a:lnTo>
                  <a:lnTo>
                    <a:pt x="109" y="244"/>
                  </a:lnTo>
                  <a:lnTo>
                    <a:pt x="112" y="247"/>
                  </a:lnTo>
                  <a:lnTo>
                    <a:pt x="112" y="250"/>
                  </a:lnTo>
                  <a:lnTo>
                    <a:pt x="115" y="250"/>
                  </a:lnTo>
                  <a:lnTo>
                    <a:pt x="120" y="247"/>
                  </a:lnTo>
                  <a:lnTo>
                    <a:pt x="123" y="244"/>
                  </a:lnTo>
                  <a:lnTo>
                    <a:pt x="126" y="241"/>
                  </a:lnTo>
                  <a:lnTo>
                    <a:pt x="132" y="238"/>
                  </a:lnTo>
                  <a:lnTo>
                    <a:pt x="138" y="235"/>
                  </a:lnTo>
                  <a:lnTo>
                    <a:pt x="138" y="233"/>
                  </a:lnTo>
                  <a:lnTo>
                    <a:pt x="143" y="233"/>
                  </a:lnTo>
                  <a:lnTo>
                    <a:pt x="143" y="227"/>
                  </a:lnTo>
                  <a:lnTo>
                    <a:pt x="143" y="218"/>
                  </a:lnTo>
                  <a:lnTo>
                    <a:pt x="146" y="20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96" name="Freeform 297"/>
            <p:cNvSpPr>
              <a:spLocks/>
            </p:cNvSpPr>
            <p:nvPr/>
          </p:nvSpPr>
          <p:spPr bwMode="auto">
            <a:xfrm>
              <a:off x="7205663" y="4108450"/>
              <a:ext cx="28575" cy="26988"/>
            </a:xfrm>
            <a:custGeom>
              <a:avLst/>
              <a:gdLst>
                <a:gd name="T0" fmla="*/ 2147483647 w 18"/>
                <a:gd name="T1" fmla="*/ 2147483647 h 17"/>
                <a:gd name="T2" fmla="*/ 2147483647 w 18"/>
                <a:gd name="T3" fmla="*/ 2147483647 h 17"/>
                <a:gd name="T4" fmla="*/ 2147483647 w 18"/>
                <a:gd name="T5" fmla="*/ 2147483647 h 17"/>
                <a:gd name="T6" fmla="*/ 2147483647 w 18"/>
                <a:gd name="T7" fmla="*/ 2147483647 h 17"/>
                <a:gd name="T8" fmla="*/ 2147483647 w 18"/>
                <a:gd name="T9" fmla="*/ 2147483647 h 17"/>
                <a:gd name="T10" fmla="*/ 2147483647 w 18"/>
                <a:gd name="T11" fmla="*/ 2147483647 h 17"/>
                <a:gd name="T12" fmla="*/ 2147483647 w 18"/>
                <a:gd name="T13" fmla="*/ 2147483647 h 17"/>
                <a:gd name="T14" fmla="*/ 2147483647 w 18"/>
                <a:gd name="T15" fmla="*/ 2147483647 h 17"/>
                <a:gd name="T16" fmla="*/ 2147483647 w 18"/>
                <a:gd name="T17" fmla="*/ 2147483647 h 17"/>
                <a:gd name="T18" fmla="*/ 2147483647 w 18"/>
                <a:gd name="T19" fmla="*/ 0 h 17"/>
                <a:gd name="T20" fmla="*/ 2147483647 w 18"/>
                <a:gd name="T21" fmla="*/ 2147483647 h 17"/>
                <a:gd name="T22" fmla="*/ 2147483647 w 18"/>
                <a:gd name="T23" fmla="*/ 2147483647 h 17"/>
                <a:gd name="T24" fmla="*/ 2147483647 w 18"/>
                <a:gd name="T25" fmla="*/ 2147483647 h 17"/>
                <a:gd name="T26" fmla="*/ 2147483647 w 18"/>
                <a:gd name="T27" fmla="*/ 2147483647 h 17"/>
                <a:gd name="T28" fmla="*/ 0 w 18"/>
                <a:gd name="T29" fmla="*/ 2147483647 h 17"/>
                <a:gd name="T30" fmla="*/ 2147483647 w 18"/>
                <a:gd name="T31" fmla="*/ 2147483647 h 17"/>
                <a:gd name="T32" fmla="*/ 2147483647 w 18"/>
                <a:gd name="T33" fmla="*/ 2147483647 h 17"/>
                <a:gd name="T34" fmla="*/ 2147483647 w 18"/>
                <a:gd name="T35" fmla="*/ 2147483647 h 17"/>
                <a:gd name="T36" fmla="*/ 2147483647 w 18"/>
                <a:gd name="T37" fmla="*/ 2147483647 h 17"/>
                <a:gd name="T38" fmla="*/ 2147483647 w 18"/>
                <a:gd name="T39" fmla="*/ 2147483647 h 17"/>
                <a:gd name="T40" fmla="*/ 2147483647 w 18"/>
                <a:gd name="T41" fmla="*/ 2147483647 h 17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8"/>
                <a:gd name="T64" fmla="*/ 0 h 17"/>
                <a:gd name="T65" fmla="*/ 18 w 18"/>
                <a:gd name="T66" fmla="*/ 17 h 17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8" h="17">
                  <a:moveTo>
                    <a:pt x="6" y="17"/>
                  </a:moveTo>
                  <a:lnTo>
                    <a:pt x="6" y="17"/>
                  </a:lnTo>
                  <a:lnTo>
                    <a:pt x="12" y="17"/>
                  </a:lnTo>
                  <a:lnTo>
                    <a:pt x="15" y="14"/>
                  </a:lnTo>
                  <a:lnTo>
                    <a:pt x="18" y="11"/>
                  </a:lnTo>
                  <a:lnTo>
                    <a:pt x="18" y="5"/>
                  </a:lnTo>
                  <a:lnTo>
                    <a:pt x="12" y="2"/>
                  </a:lnTo>
                  <a:lnTo>
                    <a:pt x="9" y="0"/>
                  </a:lnTo>
                  <a:lnTo>
                    <a:pt x="9" y="2"/>
                  </a:lnTo>
                  <a:lnTo>
                    <a:pt x="3" y="8"/>
                  </a:lnTo>
                  <a:lnTo>
                    <a:pt x="0" y="8"/>
                  </a:lnTo>
                  <a:lnTo>
                    <a:pt x="3" y="11"/>
                  </a:lnTo>
                  <a:lnTo>
                    <a:pt x="6" y="11"/>
                  </a:lnTo>
                  <a:lnTo>
                    <a:pt x="3" y="14"/>
                  </a:lnTo>
                  <a:lnTo>
                    <a:pt x="6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97" name="Freeform 298"/>
            <p:cNvSpPr>
              <a:spLocks/>
            </p:cNvSpPr>
            <p:nvPr/>
          </p:nvSpPr>
          <p:spPr bwMode="auto">
            <a:xfrm>
              <a:off x="6970713" y="3789363"/>
              <a:ext cx="4762" cy="9525"/>
            </a:xfrm>
            <a:custGeom>
              <a:avLst/>
              <a:gdLst>
                <a:gd name="T0" fmla="*/ 2147483647 w 3"/>
                <a:gd name="T1" fmla="*/ 2147483647 h 6"/>
                <a:gd name="T2" fmla="*/ 2147483647 w 3"/>
                <a:gd name="T3" fmla="*/ 2147483647 h 6"/>
                <a:gd name="T4" fmla="*/ 0 w 3"/>
                <a:gd name="T5" fmla="*/ 0 h 6"/>
                <a:gd name="T6" fmla="*/ 0 w 3"/>
                <a:gd name="T7" fmla="*/ 2147483647 h 6"/>
                <a:gd name="T8" fmla="*/ 2147483647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3" y="6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98" name="Freeform 299"/>
            <p:cNvSpPr>
              <a:spLocks/>
            </p:cNvSpPr>
            <p:nvPr/>
          </p:nvSpPr>
          <p:spPr bwMode="auto">
            <a:xfrm>
              <a:off x="5180013" y="3025775"/>
              <a:ext cx="576262" cy="492125"/>
            </a:xfrm>
            <a:custGeom>
              <a:avLst/>
              <a:gdLst>
                <a:gd name="T0" fmla="*/ 2147483647 w 359"/>
                <a:gd name="T1" fmla="*/ 2147483647 h 307"/>
                <a:gd name="T2" fmla="*/ 2147483647 w 359"/>
                <a:gd name="T3" fmla="*/ 2147483647 h 307"/>
                <a:gd name="T4" fmla="*/ 2147483647 w 359"/>
                <a:gd name="T5" fmla="*/ 2147483647 h 307"/>
                <a:gd name="T6" fmla="*/ 2147483647 w 359"/>
                <a:gd name="T7" fmla="*/ 2147483647 h 307"/>
                <a:gd name="T8" fmla="*/ 2147483647 w 359"/>
                <a:gd name="T9" fmla="*/ 2147483647 h 307"/>
                <a:gd name="T10" fmla="*/ 2147483647 w 359"/>
                <a:gd name="T11" fmla="*/ 2147483647 h 307"/>
                <a:gd name="T12" fmla="*/ 2147483647 w 359"/>
                <a:gd name="T13" fmla="*/ 2147483647 h 307"/>
                <a:gd name="T14" fmla="*/ 2147483647 w 359"/>
                <a:gd name="T15" fmla="*/ 2147483647 h 307"/>
                <a:gd name="T16" fmla="*/ 2147483647 w 359"/>
                <a:gd name="T17" fmla="*/ 0 h 307"/>
                <a:gd name="T18" fmla="*/ 2147483647 w 359"/>
                <a:gd name="T19" fmla="*/ 2147483647 h 307"/>
                <a:gd name="T20" fmla="*/ 2147483647 w 359"/>
                <a:gd name="T21" fmla="*/ 2147483647 h 307"/>
                <a:gd name="T22" fmla="*/ 2147483647 w 359"/>
                <a:gd name="T23" fmla="*/ 2147483647 h 307"/>
                <a:gd name="T24" fmla="*/ 2147483647 w 359"/>
                <a:gd name="T25" fmla="*/ 2147483647 h 307"/>
                <a:gd name="T26" fmla="*/ 2147483647 w 359"/>
                <a:gd name="T27" fmla="*/ 2147483647 h 307"/>
                <a:gd name="T28" fmla="*/ 2147483647 w 359"/>
                <a:gd name="T29" fmla="*/ 2147483647 h 307"/>
                <a:gd name="T30" fmla="*/ 2147483647 w 359"/>
                <a:gd name="T31" fmla="*/ 2147483647 h 307"/>
                <a:gd name="T32" fmla="*/ 0 w 359"/>
                <a:gd name="T33" fmla="*/ 2147483647 h 307"/>
                <a:gd name="T34" fmla="*/ 2147483647 w 359"/>
                <a:gd name="T35" fmla="*/ 2147483647 h 307"/>
                <a:gd name="T36" fmla="*/ 2147483647 w 359"/>
                <a:gd name="T37" fmla="*/ 2147483647 h 307"/>
                <a:gd name="T38" fmla="*/ 2147483647 w 359"/>
                <a:gd name="T39" fmla="*/ 2147483647 h 307"/>
                <a:gd name="T40" fmla="*/ 2147483647 w 359"/>
                <a:gd name="T41" fmla="*/ 2147483647 h 307"/>
                <a:gd name="T42" fmla="*/ 2147483647 w 359"/>
                <a:gd name="T43" fmla="*/ 2147483647 h 307"/>
                <a:gd name="T44" fmla="*/ 2147483647 w 359"/>
                <a:gd name="T45" fmla="*/ 2147483647 h 307"/>
                <a:gd name="T46" fmla="*/ 2147483647 w 359"/>
                <a:gd name="T47" fmla="*/ 2147483647 h 307"/>
                <a:gd name="T48" fmla="*/ 2147483647 w 359"/>
                <a:gd name="T49" fmla="*/ 2147483647 h 307"/>
                <a:gd name="T50" fmla="*/ 2147483647 w 359"/>
                <a:gd name="T51" fmla="*/ 2147483647 h 307"/>
                <a:gd name="T52" fmla="*/ 2147483647 w 359"/>
                <a:gd name="T53" fmla="*/ 2147483647 h 307"/>
                <a:gd name="T54" fmla="*/ 2147483647 w 359"/>
                <a:gd name="T55" fmla="*/ 2147483647 h 307"/>
                <a:gd name="T56" fmla="*/ 2147483647 w 359"/>
                <a:gd name="T57" fmla="*/ 2147483647 h 307"/>
                <a:gd name="T58" fmla="*/ 2147483647 w 359"/>
                <a:gd name="T59" fmla="*/ 2147483647 h 307"/>
                <a:gd name="T60" fmla="*/ 2147483647 w 359"/>
                <a:gd name="T61" fmla="*/ 2147483647 h 307"/>
                <a:gd name="T62" fmla="*/ 2147483647 w 359"/>
                <a:gd name="T63" fmla="*/ 2147483647 h 307"/>
                <a:gd name="T64" fmla="*/ 2147483647 w 359"/>
                <a:gd name="T65" fmla="*/ 2147483647 h 307"/>
                <a:gd name="T66" fmla="*/ 2147483647 w 359"/>
                <a:gd name="T67" fmla="*/ 2147483647 h 307"/>
                <a:gd name="T68" fmla="*/ 2147483647 w 359"/>
                <a:gd name="T69" fmla="*/ 2147483647 h 307"/>
                <a:gd name="T70" fmla="*/ 2147483647 w 359"/>
                <a:gd name="T71" fmla="*/ 2147483647 h 307"/>
                <a:gd name="T72" fmla="*/ 2147483647 w 359"/>
                <a:gd name="T73" fmla="*/ 2147483647 h 307"/>
                <a:gd name="T74" fmla="*/ 2147483647 w 359"/>
                <a:gd name="T75" fmla="*/ 2147483647 h 307"/>
                <a:gd name="T76" fmla="*/ 2147483647 w 359"/>
                <a:gd name="T77" fmla="*/ 2147483647 h 307"/>
                <a:gd name="T78" fmla="*/ 2147483647 w 359"/>
                <a:gd name="T79" fmla="*/ 2147483647 h 307"/>
                <a:gd name="T80" fmla="*/ 2147483647 w 359"/>
                <a:gd name="T81" fmla="*/ 2147483647 h 307"/>
                <a:gd name="T82" fmla="*/ 2147483647 w 359"/>
                <a:gd name="T83" fmla="*/ 2147483647 h 307"/>
                <a:gd name="T84" fmla="*/ 2147483647 w 359"/>
                <a:gd name="T85" fmla="*/ 2147483647 h 307"/>
                <a:gd name="T86" fmla="*/ 2147483647 w 359"/>
                <a:gd name="T87" fmla="*/ 2147483647 h 307"/>
                <a:gd name="T88" fmla="*/ 2147483647 w 359"/>
                <a:gd name="T89" fmla="*/ 2147483647 h 307"/>
                <a:gd name="T90" fmla="*/ 2147483647 w 359"/>
                <a:gd name="T91" fmla="*/ 2147483647 h 307"/>
                <a:gd name="T92" fmla="*/ 2147483647 w 359"/>
                <a:gd name="T93" fmla="*/ 2147483647 h 307"/>
                <a:gd name="T94" fmla="*/ 2147483647 w 359"/>
                <a:gd name="T95" fmla="*/ 2147483647 h 307"/>
                <a:gd name="T96" fmla="*/ 2147483647 w 359"/>
                <a:gd name="T97" fmla="*/ 2147483647 h 307"/>
                <a:gd name="T98" fmla="*/ 2147483647 w 359"/>
                <a:gd name="T99" fmla="*/ 2147483647 h 307"/>
                <a:gd name="T100" fmla="*/ 2147483647 w 359"/>
                <a:gd name="T101" fmla="*/ 2147483647 h 307"/>
                <a:gd name="T102" fmla="*/ 2147483647 w 359"/>
                <a:gd name="T103" fmla="*/ 2147483647 h 307"/>
                <a:gd name="T104" fmla="*/ 2147483647 w 359"/>
                <a:gd name="T105" fmla="*/ 2147483647 h 307"/>
                <a:gd name="T106" fmla="*/ 2147483647 w 359"/>
                <a:gd name="T107" fmla="*/ 2147483647 h 30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59"/>
                <a:gd name="T163" fmla="*/ 0 h 307"/>
                <a:gd name="T164" fmla="*/ 359 w 359"/>
                <a:gd name="T165" fmla="*/ 307 h 307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59" h="307">
                  <a:moveTo>
                    <a:pt x="236" y="80"/>
                  </a:moveTo>
                  <a:lnTo>
                    <a:pt x="236" y="80"/>
                  </a:lnTo>
                  <a:lnTo>
                    <a:pt x="230" y="75"/>
                  </a:lnTo>
                  <a:lnTo>
                    <a:pt x="230" y="72"/>
                  </a:lnTo>
                  <a:lnTo>
                    <a:pt x="227" y="75"/>
                  </a:lnTo>
                  <a:lnTo>
                    <a:pt x="216" y="72"/>
                  </a:lnTo>
                  <a:lnTo>
                    <a:pt x="213" y="69"/>
                  </a:lnTo>
                  <a:lnTo>
                    <a:pt x="210" y="66"/>
                  </a:lnTo>
                  <a:lnTo>
                    <a:pt x="207" y="63"/>
                  </a:lnTo>
                  <a:lnTo>
                    <a:pt x="196" y="60"/>
                  </a:lnTo>
                  <a:lnTo>
                    <a:pt x="164" y="60"/>
                  </a:lnTo>
                  <a:lnTo>
                    <a:pt x="147" y="46"/>
                  </a:lnTo>
                  <a:lnTo>
                    <a:pt x="141" y="40"/>
                  </a:lnTo>
                  <a:lnTo>
                    <a:pt x="132" y="37"/>
                  </a:lnTo>
                  <a:lnTo>
                    <a:pt x="124" y="29"/>
                  </a:lnTo>
                  <a:lnTo>
                    <a:pt x="118" y="23"/>
                  </a:lnTo>
                  <a:lnTo>
                    <a:pt x="110" y="20"/>
                  </a:lnTo>
                  <a:lnTo>
                    <a:pt x="101" y="14"/>
                  </a:lnTo>
                  <a:lnTo>
                    <a:pt x="92" y="8"/>
                  </a:lnTo>
                  <a:lnTo>
                    <a:pt x="84" y="6"/>
                  </a:lnTo>
                  <a:lnTo>
                    <a:pt x="75" y="6"/>
                  </a:lnTo>
                  <a:lnTo>
                    <a:pt x="72" y="0"/>
                  </a:lnTo>
                  <a:lnTo>
                    <a:pt x="66" y="0"/>
                  </a:lnTo>
                  <a:lnTo>
                    <a:pt x="66" y="6"/>
                  </a:lnTo>
                  <a:lnTo>
                    <a:pt x="52" y="11"/>
                  </a:lnTo>
                  <a:lnTo>
                    <a:pt x="43" y="14"/>
                  </a:lnTo>
                  <a:lnTo>
                    <a:pt x="43" y="20"/>
                  </a:lnTo>
                  <a:lnTo>
                    <a:pt x="49" y="26"/>
                  </a:lnTo>
                  <a:lnTo>
                    <a:pt x="46" y="31"/>
                  </a:lnTo>
                  <a:lnTo>
                    <a:pt x="49" y="43"/>
                  </a:lnTo>
                  <a:lnTo>
                    <a:pt x="46" y="43"/>
                  </a:lnTo>
                  <a:lnTo>
                    <a:pt x="43" y="46"/>
                  </a:lnTo>
                  <a:lnTo>
                    <a:pt x="35" y="46"/>
                  </a:lnTo>
                  <a:lnTo>
                    <a:pt x="32" y="52"/>
                  </a:lnTo>
                  <a:lnTo>
                    <a:pt x="23" y="60"/>
                  </a:lnTo>
                  <a:lnTo>
                    <a:pt x="15" y="57"/>
                  </a:lnTo>
                  <a:lnTo>
                    <a:pt x="6" y="57"/>
                  </a:lnTo>
                  <a:lnTo>
                    <a:pt x="3" y="63"/>
                  </a:lnTo>
                  <a:lnTo>
                    <a:pt x="0" y="77"/>
                  </a:lnTo>
                  <a:lnTo>
                    <a:pt x="0" y="83"/>
                  </a:lnTo>
                  <a:lnTo>
                    <a:pt x="3" y="80"/>
                  </a:lnTo>
                  <a:lnTo>
                    <a:pt x="6" y="80"/>
                  </a:lnTo>
                  <a:lnTo>
                    <a:pt x="9" y="80"/>
                  </a:lnTo>
                  <a:lnTo>
                    <a:pt x="15" y="89"/>
                  </a:lnTo>
                  <a:lnTo>
                    <a:pt x="23" y="103"/>
                  </a:lnTo>
                  <a:lnTo>
                    <a:pt x="29" y="112"/>
                  </a:lnTo>
                  <a:lnTo>
                    <a:pt x="32" y="112"/>
                  </a:lnTo>
                  <a:lnTo>
                    <a:pt x="41" y="126"/>
                  </a:lnTo>
                  <a:lnTo>
                    <a:pt x="49" y="141"/>
                  </a:lnTo>
                  <a:lnTo>
                    <a:pt x="46" y="143"/>
                  </a:lnTo>
                  <a:lnTo>
                    <a:pt x="52" y="152"/>
                  </a:lnTo>
                  <a:lnTo>
                    <a:pt x="61" y="158"/>
                  </a:lnTo>
                  <a:lnTo>
                    <a:pt x="69" y="164"/>
                  </a:lnTo>
                  <a:lnTo>
                    <a:pt x="69" y="166"/>
                  </a:lnTo>
                  <a:lnTo>
                    <a:pt x="75" y="181"/>
                  </a:lnTo>
                  <a:lnTo>
                    <a:pt x="81" y="192"/>
                  </a:lnTo>
                  <a:lnTo>
                    <a:pt x="81" y="198"/>
                  </a:lnTo>
                  <a:lnTo>
                    <a:pt x="81" y="201"/>
                  </a:lnTo>
                  <a:lnTo>
                    <a:pt x="81" y="207"/>
                  </a:lnTo>
                  <a:lnTo>
                    <a:pt x="84" y="212"/>
                  </a:lnTo>
                  <a:lnTo>
                    <a:pt x="84" y="218"/>
                  </a:lnTo>
                  <a:lnTo>
                    <a:pt x="87" y="224"/>
                  </a:lnTo>
                  <a:lnTo>
                    <a:pt x="92" y="232"/>
                  </a:lnTo>
                  <a:lnTo>
                    <a:pt x="107" y="241"/>
                  </a:lnTo>
                  <a:lnTo>
                    <a:pt x="112" y="247"/>
                  </a:lnTo>
                  <a:lnTo>
                    <a:pt x="115" y="253"/>
                  </a:lnTo>
                  <a:lnTo>
                    <a:pt x="118" y="261"/>
                  </a:lnTo>
                  <a:lnTo>
                    <a:pt x="127" y="275"/>
                  </a:lnTo>
                  <a:lnTo>
                    <a:pt x="141" y="290"/>
                  </a:lnTo>
                  <a:lnTo>
                    <a:pt x="147" y="301"/>
                  </a:lnTo>
                  <a:lnTo>
                    <a:pt x="150" y="307"/>
                  </a:lnTo>
                  <a:lnTo>
                    <a:pt x="153" y="301"/>
                  </a:lnTo>
                  <a:lnTo>
                    <a:pt x="153" y="290"/>
                  </a:lnTo>
                  <a:lnTo>
                    <a:pt x="158" y="284"/>
                  </a:lnTo>
                  <a:lnTo>
                    <a:pt x="167" y="287"/>
                  </a:lnTo>
                  <a:lnTo>
                    <a:pt x="173" y="287"/>
                  </a:lnTo>
                  <a:lnTo>
                    <a:pt x="184" y="284"/>
                  </a:lnTo>
                  <a:lnTo>
                    <a:pt x="198" y="287"/>
                  </a:lnTo>
                  <a:lnTo>
                    <a:pt x="216" y="287"/>
                  </a:lnTo>
                  <a:lnTo>
                    <a:pt x="219" y="290"/>
                  </a:lnTo>
                  <a:lnTo>
                    <a:pt x="221" y="293"/>
                  </a:lnTo>
                  <a:lnTo>
                    <a:pt x="224" y="290"/>
                  </a:lnTo>
                  <a:lnTo>
                    <a:pt x="230" y="287"/>
                  </a:lnTo>
                  <a:lnTo>
                    <a:pt x="239" y="273"/>
                  </a:lnTo>
                  <a:lnTo>
                    <a:pt x="247" y="267"/>
                  </a:lnTo>
                  <a:lnTo>
                    <a:pt x="259" y="261"/>
                  </a:lnTo>
                  <a:lnTo>
                    <a:pt x="276" y="261"/>
                  </a:lnTo>
                  <a:lnTo>
                    <a:pt x="296" y="255"/>
                  </a:lnTo>
                  <a:lnTo>
                    <a:pt x="302" y="255"/>
                  </a:lnTo>
                  <a:lnTo>
                    <a:pt x="310" y="253"/>
                  </a:lnTo>
                  <a:lnTo>
                    <a:pt x="336" y="241"/>
                  </a:lnTo>
                  <a:lnTo>
                    <a:pt x="351" y="235"/>
                  </a:lnTo>
                  <a:lnTo>
                    <a:pt x="359" y="198"/>
                  </a:lnTo>
                  <a:lnTo>
                    <a:pt x="351" y="186"/>
                  </a:lnTo>
                  <a:lnTo>
                    <a:pt x="308" y="184"/>
                  </a:lnTo>
                  <a:lnTo>
                    <a:pt x="293" y="164"/>
                  </a:lnTo>
                  <a:lnTo>
                    <a:pt x="285" y="158"/>
                  </a:lnTo>
                  <a:lnTo>
                    <a:pt x="287" y="152"/>
                  </a:lnTo>
                  <a:lnTo>
                    <a:pt x="285" y="152"/>
                  </a:lnTo>
                  <a:lnTo>
                    <a:pt x="285" y="149"/>
                  </a:lnTo>
                  <a:lnTo>
                    <a:pt x="282" y="149"/>
                  </a:lnTo>
                  <a:lnTo>
                    <a:pt x="273" y="146"/>
                  </a:lnTo>
                  <a:lnTo>
                    <a:pt x="270" y="138"/>
                  </a:lnTo>
                  <a:lnTo>
                    <a:pt x="270" y="132"/>
                  </a:lnTo>
                  <a:lnTo>
                    <a:pt x="267" y="129"/>
                  </a:lnTo>
                  <a:lnTo>
                    <a:pt x="262" y="126"/>
                  </a:lnTo>
                  <a:lnTo>
                    <a:pt x="262" y="120"/>
                  </a:lnTo>
                  <a:lnTo>
                    <a:pt x="262" y="115"/>
                  </a:lnTo>
                  <a:lnTo>
                    <a:pt x="259" y="106"/>
                  </a:lnTo>
                  <a:lnTo>
                    <a:pt x="253" y="103"/>
                  </a:lnTo>
                  <a:lnTo>
                    <a:pt x="250" y="97"/>
                  </a:lnTo>
                  <a:lnTo>
                    <a:pt x="244" y="97"/>
                  </a:lnTo>
                  <a:lnTo>
                    <a:pt x="244" y="92"/>
                  </a:lnTo>
                  <a:lnTo>
                    <a:pt x="242" y="89"/>
                  </a:lnTo>
                  <a:lnTo>
                    <a:pt x="239" y="86"/>
                  </a:lnTo>
                  <a:lnTo>
                    <a:pt x="236" y="8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99" name="Freeform 300"/>
            <p:cNvSpPr>
              <a:spLocks/>
            </p:cNvSpPr>
            <p:nvPr/>
          </p:nvSpPr>
          <p:spPr bwMode="auto">
            <a:xfrm>
              <a:off x="4116388" y="2219325"/>
              <a:ext cx="46037" cy="55563"/>
            </a:xfrm>
            <a:custGeom>
              <a:avLst/>
              <a:gdLst>
                <a:gd name="T0" fmla="*/ 2147483647 w 29"/>
                <a:gd name="T1" fmla="*/ 2147483647 h 35"/>
                <a:gd name="T2" fmla="*/ 2147483647 w 29"/>
                <a:gd name="T3" fmla="*/ 2147483647 h 35"/>
                <a:gd name="T4" fmla="*/ 2147483647 w 29"/>
                <a:gd name="T5" fmla="*/ 2147483647 h 35"/>
                <a:gd name="T6" fmla="*/ 0 w 29"/>
                <a:gd name="T7" fmla="*/ 2147483647 h 35"/>
                <a:gd name="T8" fmla="*/ 2147483647 w 29"/>
                <a:gd name="T9" fmla="*/ 2147483647 h 35"/>
                <a:gd name="T10" fmla="*/ 2147483647 w 29"/>
                <a:gd name="T11" fmla="*/ 2147483647 h 35"/>
                <a:gd name="T12" fmla="*/ 2147483647 w 29"/>
                <a:gd name="T13" fmla="*/ 2147483647 h 35"/>
                <a:gd name="T14" fmla="*/ 2147483647 w 29"/>
                <a:gd name="T15" fmla="*/ 2147483647 h 35"/>
                <a:gd name="T16" fmla="*/ 2147483647 w 29"/>
                <a:gd name="T17" fmla="*/ 2147483647 h 35"/>
                <a:gd name="T18" fmla="*/ 2147483647 w 29"/>
                <a:gd name="T19" fmla="*/ 0 h 35"/>
                <a:gd name="T20" fmla="*/ 2147483647 w 29"/>
                <a:gd name="T21" fmla="*/ 2147483647 h 35"/>
                <a:gd name="T22" fmla="*/ 2147483647 w 29"/>
                <a:gd name="T23" fmla="*/ 2147483647 h 3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9"/>
                <a:gd name="T37" fmla="*/ 0 h 35"/>
                <a:gd name="T38" fmla="*/ 29 w 29"/>
                <a:gd name="T39" fmla="*/ 35 h 3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9" h="35">
                  <a:moveTo>
                    <a:pt x="15" y="15"/>
                  </a:moveTo>
                  <a:lnTo>
                    <a:pt x="9" y="18"/>
                  </a:lnTo>
                  <a:lnTo>
                    <a:pt x="9" y="23"/>
                  </a:lnTo>
                  <a:lnTo>
                    <a:pt x="0" y="35"/>
                  </a:lnTo>
                  <a:lnTo>
                    <a:pt x="9" y="32"/>
                  </a:lnTo>
                  <a:lnTo>
                    <a:pt x="12" y="21"/>
                  </a:lnTo>
                  <a:lnTo>
                    <a:pt x="18" y="15"/>
                  </a:lnTo>
                  <a:lnTo>
                    <a:pt x="23" y="12"/>
                  </a:lnTo>
                  <a:lnTo>
                    <a:pt x="29" y="6"/>
                  </a:lnTo>
                  <a:lnTo>
                    <a:pt x="29" y="0"/>
                  </a:lnTo>
                  <a:lnTo>
                    <a:pt x="15" y="9"/>
                  </a:lnTo>
                  <a:lnTo>
                    <a:pt x="15" y="1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00" name="Freeform 301"/>
            <p:cNvSpPr>
              <a:spLocks/>
            </p:cNvSpPr>
            <p:nvPr/>
          </p:nvSpPr>
          <p:spPr bwMode="auto">
            <a:xfrm>
              <a:off x="4148138" y="2279650"/>
              <a:ext cx="4762" cy="4763"/>
            </a:xfrm>
            <a:custGeom>
              <a:avLst/>
              <a:gdLst>
                <a:gd name="T0" fmla="*/ 2147483647 w 3"/>
                <a:gd name="T1" fmla="*/ 0 h 3"/>
                <a:gd name="T2" fmla="*/ 2147483647 w 3"/>
                <a:gd name="T3" fmla="*/ 0 h 3"/>
                <a:gd name="T4" fmla="*/ 0 w 3"/>
                <a:gd name="T5" fmla="*/ 2147483647 h 3"/>
                <a:gd name="T6" fmla="*/ 2147483647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01" name="Freeform 302"/>
            <p:cNvSpPr>
              <a:spLocks/>
            </p:cNvSpPr>
            <p:nvPr/>
          </p:nvSpPr>
          <p:spPr bwMode="auto">
            <a:xfrm>
              <a:off x="4152900" y="2274888"/>
              <a:ext cx="4763" cy="4762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2147483647 h 3"/>
                <a:gd name="T4" fmla="*/ 2147483647 w 3"/>
                <a:gd name="T5" fmla="*/ 0 h 3"/>
                <a:gd name="T6" fmla="*/ 0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02" name="Freeform 303"/>
            <p:cNvSpPr>
              <a:spLocks/>
            </p:cNvSpPr>
            <p:nvPr/>
          </p:nvSpPr>
          <p:spPr bwMode="auto">
            <a:xfrm>
              <a:off x="4144963" y="2252663"/>
              <a:ext cx="3175" cy="7937"/>
            </a:xfrm>
            <a:custGeom>
              <a:avLst/>
              <a:gdLst>
                <a:gd name="T0" fmla="*/ 2147483647 w 2"/>
                <a:gd name="T1" fmla="*/ 0 h 5"/>
                <a:gd name="T2" fmla="*/ 0 w 2"/>
                <a:gd name="T3" fmla="*/ 2147483647 h 5"/>
                <a:gd name="T4" fmla="*/ 0 w 2"/>
                <a:gd name="T5" fmla="*/ 2147483647 h 5"/>
                <a:gd name="T6" fmla="*/ 2147483647 w 2"/>
                <a:gd name="T7" fmla="*/ 2147483647 h 5"/>
                <a:gd name="T8" fmla="*/ 2147483647 w 2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5"/>
                <a:gd name="T17" fmla="*/ 2 w 2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5">
                  <a:moveTo>
                    <a:pt x="2" y="0"/>
                  </a:moveTo>
                  <a:lnTo>
                    <a:pt x="0" y="2"/>
                  </a:lnTo>
                  <a:lnTo>
                    <a:pt x="0" y="5"/>
                  </a:lnTo>
                  <a:lnTo>
                    <a:pt x="2" y="5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03" name="Freeform 304"/>
            <p:cNvSpPr>
              <a:spLocks/>
            </p:cNvSpPr>
            <p:nvPr/>
          </p:nvSpPr>
          <p:spPr bwMode="auto">
            <a:xfrm>
              <a:off x="4040188" y="2322513"/>
              <a:ext cx="107950" cy="109537"/>
            </a:xfrm>
            <a:custGeom>
              <a:avLst/>
              <a:gdLst>
                <a:gd name="T0" fmla="*/ 0 w 68"/>
                <a:gd name="T1" fmla="*/ 2147483647 h 69"/>
                <a:gd name="T2" fmla="*/ 2147483647 w 68"/>
                <a:gd name="T3" fmla="*/ 2147483647 h 69"/>
                <a:gd name="T4" fmla="*/ 2147483647 w 68"/>
                <a:gd name="T5" fmla="*/ 2147483647 h 69"/>
                <a:gd name="T6" fmla="*/ 2147483647 w 68"/>
                <a:gd name="T7" fmla="*/ 2147483647 h 69"/>
                <a:gd name="T8" fmla="*/ 2147483647 w 68"/>
                <a:gd name="T9" fmla="*/ 2147483647 h 69"/>
                <a:gd name="T10" fmla="*/ 2147483647 w 68"/>
                <a:gd name="T11" fmla="*/ 2147483647 h 69"/>
                <a:gd name="T12" fmla="*/ 2147483647 w 68"/>
                <a:gd name="T13" fmla="*/ 2147483647 h 69"/>
                <a:gd name="T14" fmla="*/ 2147483647 w 68"/>
                <a:gd name="T15" fmla="*/ 2147483647 h 69"/>
                <a:gd name="T16" fmla="*/ 2147483647 w 68"/>
                <a:gd name="T17" fmla="*/ 2147483647 h 69"/>
                <a:gd name="T18" fmla="*/ 2147483647 w 68"/>
                <a:gd name="T19" fmla="*/ 2147483647 h 69"/>
                <a:gd name="T20" fmla="*/ 2147483647 w 68"/>
                <a:gd name="T21" fmla="*/ 2147483647 h 69"/>
                <a:gd name="T22" fmla="*/ 2147483647 w 68"/>
                <a:gd name="T23" fmla="*/ 2147483647 h 69"/>
                <a:gd name="T24" fmla="*/ 2147483647 w 68"/>
                <a:gd name="T25" fmla="*/ 2147483647 h 69"/>
                <a:gd name="T26" fmla="*/ 2147483647 w 68"/>
                <a:gd name="T27" fmla="*/ 2147483647 h 69"/>
                <a:gd name="T28" fmla="*/ 2147483647 w 68"/>
                <a:gd name="T29" fmla="*/ 2147483647 h 69"/>
                <a:gd name="T30" fmla="*/ 2147483647 w 68"/>
                <a:gd name="T31" fmla="*/ 2147483647 h 69"/>
                <a:gd name="T32" fmla="*/ 2147483647 w 68"/>
                <a:gd name="T33" fmla="*/ 2147483647 h 69"/>
                <a:gd name="T34" fmla="*/ 2147483647 w 68"/>
                <a:gd name="T35" fmla="*/ 2147483647 h 69"/>
                <a:gd name="T36" fmla="*/ 2147483647 w 68"/>
                <a:gd name="T37" fmla="*/ 2147483647 h 69"/>
                <a:gd name="T38" fmla="*/ 2147483647 w 68"/>
                <a:gd name="T39" fmla="*/ 0 h 69"/>
                <a:gd name="T40" fmla="*/ 2147483647 w 68"/>
                <a:gd name="T41" fmla="*/ 2147483647 h 69"/>
                <a:gd name="T42" fmla="*/ 2147483647 w 68"/>
                <a:gd name="T43" fmla="*/ 2147483647 h 69"/>
                <a:gd name="T44" fmla="*/ 2147483647 w 68"/>
                <a:gd name="T45" fmla="*/ 2147483647 h 69"/>
                <a:gd name="T46" fmla="*/ 2147483647 w 68"/>
                <a:gd name="T47" fmla="*/ 2147483647 h 69"/>
                <a:gd name="T48" fmla="*/ 2147483647 w 68"/>
                <a:gd name="T49" fmla="*/ 2147483647 h 69"/>
                <a:gd name="T50" fmla="*/ 2147483647 w 68"/>
                <a:gd name="T51" fmla="*/ 2147483647 h 69"/>
                <a:gd name="T52" fmla="*/ 2147483647 w 68"/>
                <a:gd name="T53" fmla="*/ 2147483647 h 69"/>
                <a:gd name="T54" fmla="*/ 2147483647 w 68"/>
                <a:gd name="T55" fmla="*/ 2147483647 h 69"/>
                <a:gd name="T56" fmla="*/ 2147483647 w 68"/>
                <a:gd name="T57" fmla="*/ 2147483647 h 69"/>
                <a:gd name="T58" fmla="*/ 2147483647 w 68"/>
                <a:gd name="T59" fmla="*/ 2147483647 h 69"/>
                <a:gd name="T60" fmla="*/ 2147483647 w 68"/>
                <a:gd name="T61" fmla="*/ 2147483647 h 69"/>
                <a:gd name="T62" fmla="*/ 2147483647 w 68"/>
                <a:gd name="T63" fmla="*/ 2147483647 h 69"/>
                <a:gd name="T64" fmla="*/ 2147483647 w 68"/>
                <a:gd name="T65" fmla="*/ 2147483647 h 6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68"/>
                <a:gd name="T100" fmla="*/ 0 h 69"/>
                <a:gd name="T101" fmla="*/ 68 w 68"/>
                <a:gd name="T102" fmla="*/ 69 h 69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68" h="69">
                  <a:moveTo>
                    <a:pt x="8" y="48"/>
                  </a:moveTo>
                  <a:lnTo>
                    <a:pt x="0" y="57"/>
                  </a:lnTo>
                  <a:lnTo>
                    <a:pt x="5" y="66"/>
                  </a:lnTo>
                  <a:lnTo>
                    <a:pt x="11" y="60"/>
                  </a:lnTo>
                  <a:lnTo>
                    <a:pt x="11" y="66"/>
                  </a:lnTo>
                  <a:lnTo>
                    <a:pt x="20" y="69"/>
                  </a:lnTo>
                  <a:lnTo>
                    <a:pt x="31" y="66"/>
                  </a:lnTo>
                  <a:lnTo>
                    <a:pt x="40" y="60"/>
                  </a:lnTo>
                  <a:lnTo>
                    <a:pt x="45" y="57"/>
                  </a:lnTo>
                  <a:lnTo>
                    <a:pt x="48" y="54"/>
                  </a:lnTo>
                  <a:lnTo>
                    <a:pt x="57" y="54"/>
                  </a:lnTo>
                  <a:lnTo>
                    <a:pt x="60" y="54"/>
                  </a:lnTo>
                  <a:lnTo>
                    <a:pt x="66" y="43"/>
                  </a:lnTo>
                  <a:lnTo>
                    <a:pt x="68" y="37"/>
                  </a:lnTo>
                  <a:lnTo>
                    <a:pt x="66" y="31"/>
                  </a:lnTo>
                  <a:lnTo>
                    <a:pt x="66" y="23"/>
                  </a:lnTo>
                  <a:lnTo>
                    <a:pt x="63" y="20"/>
                  </a:lnTo>
                  <a:lnTo>
                    <a:pt x="57" y="20"/>
                  </a:lnTo>
                  <a:lnTo>
                    <a:pt x="57" y="17"/>
                  </a:lnTo>
                  <a:lnTo>
                    <a:pt x="54" y="20"/>
                  </a:lnTo>
                  <a:lnTo>
                    <a:pt x="45" y="23"/>
                  </a:lnTo>
                  <a:lnTo>
                    <a:pt x="40" y="20"/>
                  </a:lnTo>
                  <a:lnTo>
                    <a:pt x="40" y="17"/>
                  </a:lnTo>
                  <a:lnTo>
                    <a:pt x="40" y="14"/>
                  </a:lnTo>
                  <a:lnTo>
                    <a:pt x="43" y="8"/>
                  </a:lnTo>
                  <a:lnTo>
                    <a:pt x="48" y="5"/>
                  </a:lnTo>
                  <a:lnTo>
                    <a:pt x="48" y="0"/>
                  </a:lnTo>
                  <a:lnTo>
                    <a:pt x="40" y="0"/>
                  </a:lnTo>
                  <a:lnTo>
                    <a:pt x="37" y="2"/>
                  </a:lnTo>
                  <a:lnTo>
                    <a:pt x="31" y="8"/>
                  </a:lnTo>
                  <a:lnTo>
                    <a:pt x="34" y="11"/>
                  </a:lnTo>
                  <a:lnTo>
                    <a:pt x="34" y="14"/>
                  </a:lnTo>
                  <a:lnTo>
                    <a:pt x="34" y="17"/>
                  </a:lnTo>
                  <a:lnTo>
                    <a:pt x="28" y="17"/>
                  </a:lnTo>
                  <a:lnTo>
                    <a:pt x="20" y="17"/>
                  </a:lnTo>
                  <a:lnTo>
                    <a:pt x="14" y="17"/>
                  </a:lnTo>
                  <a:lnTo>
                    <a:pt x="11" y="20"/>
                  </a:lnTo>
                  <a:lnTo>
                    <a:pt x="11" y="23"/>
                  </a:lnTo>
                  <a:lnTo>
                    <a:pt x="11" y="28"/>
                  </a:lnTo>
                  <a:lnTo>
                    <a:pt x="14" y="34"/>
                  </a:lnTo>
                  <a:lnTo>
                    <a:pt x="20" y="37"/>
                  </a:lnTo>
                  <a:lnTo>
                    <a:pt x="22" y="37"/>
                  </a:lnTo>
                  <a:lnTo>
                    <a:pt x="17" y="43"/>
                  </a:lnTo>
                  <a:lnTo>
                    <a:pt x="11" y="46"/>
                  </a:lnTo>
                  <a:lnTo>
                    <a:pt x="20" y="46"/>
                  </a:lnTo>
                  <a:lnTo>
                    <a:pt x="14" y="51"/>
                  </a:lnTo>
                  <a:lnTo>
                    <a:pt x="8" y="4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04" name="Freeform 305"/>
            <p:cNvSpPr>
              <a:spLocks/>
            </p:cNvSpPr>
            <p:nvPr/>
          </p:nvSpPr>
          <p:spPr bwMode="auto">
            <a:xfrm>
              <a:off x="4019550" y="1685925"/>
              <a:ext cx="15875" cy="9525"/>
            </a:xfrm>
            <a:custGeom>
              <a:avLst/>
              <a:gdLst>
                <a:gd name="T0" fmla="*/ 2147483647 w 9"/>
                <a:gd name="T1" fmla="*/ 0 h 6"/>
                <a:gd name="T2" fmla="*/ 0 w 9"/>
                <a:gd name="T3" fmla="*/ 2147483647 h 6"/>
                <a:gd name="T4" fmla="*/ 2147483647 w 9"/>
                <a:gd name="T5" fmla="*/ 2147483647 h 6"/>
                <a:gd name="T6" fmla="*/ 2147483647 w 9"/>
                <a:gd name="T7" fmla="*/ 0 h 6"/>
                <a:gd name="T8" fmla="*/ 2147483647 w 9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6"/>
                <a:gd name="T17" fmla="*/ 9 w 9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6">
                  <a:moveTo>
                    <a:pt x="6" y="0"/>
                  </a:moveTo>
                  <a:lnTo>
                    <a:pt x="0" y="3"/>
                  </a:lnTo>
                  <a:lnTo>
                    <a:pt x="3" y="6"/>
                  </a:lnTo>
                  <a:lnTo>
                    <a:pt x="9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05" name="Freeform 306"/>
            <p:cNvSpPr>
              <a:spLocks/>
            </p:cNvSpPr>
            <p:nvPr/>
          </p:nvSpPr>
          <p:spPr bwMode="auto">
            <a:xfrm>
              <a:off x="4019550" y="1709738"/>
              <a:ext cx="15875" cy="9525"/>
            </a:xfrm>
            <a:custGeom>
              <a:avLst/>
              <a:gdLst>
                <a:gd name="T0" fmla="*/ 2147483647 w 9"/>
                <a:gd name="T1" fmla="*/ 2147483647 h 6"/>
                <a:gd name="T2" fmla="*/ 2147483647 w 9"/>
                <a:gd name="T3" fmla="*/ 0 h 6"/>
                <a:gd name="T4" fmla="*/ 2147483647 w 9"/>
                <a:gd name="T5" fmla="*/ 0 h 6"/>
                <a:gd name="T6" fmla="*/ 0 w 9"/>
                <a:gd name="T7" fmla="*/ 2147483647 h 6"/>
                <a:gd name="T8" fmla="*/ 2147483647 w 9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6"/>
                <a:gd name="T17" fmla="*/ 9 w 9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6">
                  <a:moveTo>
                    <a:pt x="6" y="6"/>
                  </a:moveTo>
                  <a:lnTo>
                    <a:pt x="9" y="0"/>
                  </a:lnTo>
                  <a:lnTo>
                    <a:pt x="6" y="0"/>
                  </a:lnTo>
                  <a:lnTo>
                    <a:pt x="0" y="3"/>
                  </a:ln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06" name="Freeform 307"/>
            <p:cNvSpPr>
              <a:spLocks/>
            </p:cNvSpPr>
            <p:nvPr/>
          </p:nvSpPr>
          <p:spPr bwMode="auto">
            <a:xfrm>
              <a:off x="4135438" y="2274888"/>
              <a:ext cx="12700" cy="9525"/>
            </a:xfrm>
            <a:custGeom>
              <a:avLst/>
              <a:gdLst>
                <a:gd name="T0" fmla="*/ 0 w 8"/>
                <a:gd name="T1" fmla="*/ 2147483647 h 6"/>
                <a:gd name="T2" fmla="*/ 2147483647 w 8"/>
                <a:gd name="T3" fmla="*/ 2147483647 h 6"/>
                <a:gd name="T4" fmla="*/ 2147483647 w 8"/>
                <a:gd name="T5" fmla="*/ 2147483647 h 6"/>
                <a:gd name="T6" fmla="*/ 2147483647 w 8"/>
                <a:gd name="T7" fmla="*/ 0 h 6"/>
                <a:gd name="T8" fmla="*/ 2147483647 w 8"/>
                <a:gd name="T9" fmla="*/ 0 h 6"/>
                <a:gd name="T10" fmla="*/ 0 w 8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0" y="6"/>
                  </a:moveTo>
                  <a:lnTo>
                    <a:pt x="3" y="6"/>
                  </a:lnTo>
                  <a:lnTo>
                    <a:pt x="6" y="3"/>
                  </a:lnTo>
                  <a:lnTo>
                    <a:pt x="8" y="0"/>
                  </a:lnTo>
                  <a:lnTo>
                    <a:pt x="6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07" name="Freeform 308"/>
            <p:cNvSpPr>
              <a:spLocks/>
            </p:cNvSpPr>
            <p:nvPr/>
          </p:nvSpPr>
          <p:spPr bwMode="auto">
            <a:xfrm>
              <a:off x="4157663" y="2528888"/>
              <a:ext cx="9525" cy="9525"/>
            </a:xfrm>
            <a:custGeom>
              <a:avLst/>
              <a:gdLst>
                <a:gd name="T0" fmla="*/ 2147483647 w 6"/>
                <a:gd name="T1" fmla="*/ 0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6" y="0"/>
                  </a:moveTo>
                  <a:lnTo>
                    <a:pt x="0" y="3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08" name="Freeform 309"/>
            <p:cNvSpPr>
              <a:spLocks/>
            </p:cNvSpPr>
            <p:nvPr/>
          </p:nvSpPr>
          <p:spPr bwMode="auto">
            <a:xfrm>
              <a:off x="4152900" y="2260600"/>
              <a:ext cx="4763" cy="4763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0 h 3"/>
                <a:gd name="T4" fmla="*/ 0 w 3"/>
                <a:gd name="T5" fmla="*/ 2147483647 h 3"/>
                <a:gd name="T6" fmla="*/ 0 w 3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3"/>
                  </a:move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09" name="Freeform 310"/>
            <p:cNvSpPr>
              <a:spLocks/>
            </p:cNvSpPr>
            <p:nvPr/>
          </p:nvSpPr>
          <p:spPr bwMode="auto">
            <a:xfrm>
              <a:off x="4108450" y="2317750"/>
              <a:ext cx="53975" cy="41275"/>
            </a:xfrm>
            <a:custGeom>
              <a:avLst/>
              <a:gdLst>
                <a:gd name="T0" fmla="*/ 0 w 34"/>
                <a:gd name="T1" fmla="*/ 2147483647 h 26"/>
                <a:gd name="T2" fmla="*/ 0 w 34"/>
                <a:gd name="T3" fmla="*/ 2147483647 h 26"/>
                <a:gd name="T4" fmla="*/ 2147483647 w 34"/>
                <a:gd name="T5" fmla="*/ 2147483647 h 26"/>
                <a:gd name="T6" fmla="*/ 2147483647 w 34"/>
                <a:gd name="T7" fmla="*/ 2147483647 h 26"/>
                <a:gd name="T8" fmla="*/ 2147483647 w 34"/>
                <a:gd name="T9" fmla="*/ 2147483647 h 26"/>
                <a:gd name="T10" fmla="*/ 2147483647 w 34"/>
                <a:gd name="T11" fmla="*/ 2147483647 h 26"/>
                <a:gd name="T12" fmla="*/ 2147483647 w 34"/>
                <a:gd name="T13" fmla="*/ 2147483647 h 26"/>
                <a:gd name="T14" fmla="*/ 2147483647 w 34"/>
                <a:gd name="T15" fmla="*/ 2147483647 h 26"/>
                <a:gd name="T16" fmla="*/ 2147483647 w 34"/>
                <a:gd name="T17" fmla="*/ 2147483647 h 26"/>
                <a:gd name="T18" fmla="*/ 2147483647 w 34"/>
                <a:gd name="T19" fmla="*/ 2147483647 h 26"/>
                <a:gd name="T20" fmla="*/ 2147483647 w 34"/>
                <a:gd name="T21" fmla="*/ 2147483647 h 26"/>
                <a:gd name="T22" fmla="*/ 2147483647 w 34"/>
                <a:gd name="T23" fmla="*/ 2147483647 h 26"/>
                <a:gd name="T24" fmla="*/ 2147483647 w 34"/>
                <a:gd name="T25" fmla="*/ 2147483647 h 26"/>
                <a:gd name="T26" fmla="*/ 2147483647 w 34"/>
                <a:gd name="T27" fmla="*/ 2147483647 h 26"/>
                <a:gd name="T28" fmla="*/ 2147483647 w 34"/>
                <a:gd name="T29" fmla="*/ 2147483647 h 26"/>
                <a:gd name="T30" fmla="*/ 2147483647 w 34"/>
                <a:gd name="T31" fmla="*/ 2147483647 h 26"/>
                <a:gd name="T32" fmla="*/ 2147483647 w 34"/>
                <a:gd name="T33" fmla="*/ 2147483647 h 26"/>
                <a:gd name="T34" fmla="*/ 2147483647 w 34"/>
                <a:gd name="T35" fmla="*/ 2147483647 h 26"/>
                <a:gd name="T36" fmla="*/ 2147483647 w 34"/>
                <a:gd name="T37" fmla="*/ 2147483647 h 26"/>
                <a:gd name="T38" fmla="*/ 2147483647 w 34"/>
                <a:gd name="T39" fmla="*/ 2147483647 h 26"/>
                <a:gd name="T40" fmla="*/ 2147483647 w 34"/>
                <a:gd name="T41" fmla="*/ 2147483647 h 26"/>
                <a:gd name="T42" fmla="*/ 2147483647 w 34"/>
                <a:gd name="T43" fmla="*/ 2147483647 h 26"/>
                <a:gd name="T44" fmla="*/ 2147483647 w 34"/>
                <a:gd name="T45" fmla="*/ 2147483647 h 26"/>
                <a:gd name="T46" fmla="*/ 2147483647 w 34"/>
                <a:gd name="T47" fmla="*/ 0 h 26"/>
                <a:gd name="T48" fmla="*/ 2147483647 w 34"/>
                <a:gd name="T49" fmla="*/ 2147483647 h 26"/>
                <a:gd name="T50" fmla="*/ 2147483647 w 34"/>
                <a:gd name="T51" fmla="*/ 0 h 26"/>
                <a:gd name="T52" fmla="*/ 2147483647 w 34"/>
                <a:gd name="T53" fmla="*/ 2147483647 h 26"/>
                <a:gd name="T54" fmla="*/ 2147483647 w 34"/>
                <a:gd name="T55" fmla="*/ 2147483647 h 26"/>
                <a:gd name="T56" fmla="*/ 2147483647 w 34"/>
                <a:gd name="T57" fmla="*/ 2147483647 h 26"/>
                <a:gd name="T58" fmla="*/ 0 w 34"/>
                <a:gd name="T59" fmla="*/ 2147483647 h 2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34"/>
                <a:gd name="T91" fmla="*/ 0 h 26"/>
                <a:gd name="T92" fmla="*/ 34 w 34"/>
                <a:gd name="T93" fmla="*/ 26 h 2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34" h="26">
                  <a:moveTo>
                    <a:pt x="0" y="17"/>
                  </a:moveTo>
                  <a:lnTo>
                    <a:pt x="0" y="17"/>
                  </a:lnTo>
                  <a:lnTo>
                    <a:pt x="2" y="23"/>
                  </a:lnTo>
                  <a:lnTo>
                    <a:pt x="8" y="20"/>
                  </a:lnTo>
                  <a:lnTo>
                    <a:pt x="14" y="14"/>
                  </a:lnTo>
                  <a:lnTo>
                    <a:pt x="17" y="20"/>
                  </a:lnTo>
                  <a:lnTo>
                    <a:pt x="20" y="20"/>
                  </a:lnTo>
                  <a:lnTo>
                    <a:pt x="23" y="20"/>
                  </a:lnTo>
                  <a:lnTo>
                    <a:pt x="23" y="23"/>
                  </a:lnTo>
                  <a:lnTo>
                    <a:pt x="25" y="26"/>
                  </a:lnTo>
                  <a:lnTo>
                    <a:pt x="31" y="20"/>
                  </a:lnTo>
                  <a:lnTo>
                    <a:pt x="34" y="20"/>
                  </a:lnTo>
                  <a:lnTo>
                    <a:pt x="34" y="17"/>
                  </a:lnTo>
                  <a:lnTo>
                    <a:pt x="34" y="8"/>
                  </a:lnTo>
                  <a:lnTo>
                    <a:pt x="25" y="0"/>
                  </a:lnTo>
                  <a:lnTo>
                    <a:pt x="17" y="3"/>
                  </a:lnTo>
                  <a:lnTo>
                    <a:pt x="11" y="0"/>
                  </a:lnTo>
                  <a:lnTo>
                    <a:pt x="8" y="3"/>
                  </a:lnTo>
                  <a:lnTo>
                    <a:pt x="8" y="8"/>
                  </a:lnTo>
                  <a:lnTo>
                    <a:pt x="2" y="14"/>
                  </a:lnTo>
                  <a:lnTo>
                    <a:pt x="0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10" name="Freeform 311"/>
            <p:cNvSpPr>
              <a:spLocks/>
            </p:cNvSpPr>
            <p:nvPr/>
          </p:nvSpPr>
          <p:spPr bwMode="auto">
            <a:xfrm>
              <a:off x="3983038" y="1763713"/>
              <a:ext cx="31750" cy="19050"/>
            </a:xfrm>
            <a:custGeom>
              <a:avLst/>
              <a:gdLst>
                <a:gd name="T0" fmla="*/ 2147483647 w 20"/>
                <a:gd name="T1" fmla="*/ 2147483647 h 12"/>
                <a:gd name="T2" fmla="*/ 2147483647 w 20"/>
                <a:gd name="T3" fmla="*/ 2147483647 h 12"/>
                <a:gd name="T4" fmla="*/ 2147483647 w 20"/>
                <a:gd name="T5" fmla="*/ 2147483647 h 12"/>
                <a:gd name="T6" fmla="*/ 2147483647 w 20"/>
                <a:gd name="T7" fmla="*/ 2147483647 h 12"/>
                <a:gd name="T8" fmla="*/ 2147483647 w 20"/>
                <a:gd name="T9" fmla="*/ 0 h 12"/>
                <a:gd name="T10" fmla="*/ 2147483647 w 20"/>
                <a:gd name="T11" fmla="*/ 2147483647 h 12"/>
                <a:gd name="T12" fmla="*/ 2147483647 w 20"/>
                <a:gd name="T13" fmla="*/ 2147483647 h 12"/>
                <a:gd name="T14" fmla="*/ 0 w 20"/>
                <a:gd name="T15" fmla="*/ 2147483647 h 12"/>
                <a:gd name="T16" fmla="*/ 2147483647 w 20"/>
                <a:gd name="T17" fmla="*/ 2147483647 h 12"/>
                <a:gd name="T18" fmla="*/ 2147483647 w 20"/>
                <a:gd name="T19" fmla="*/ 2147483647 h 12"/>
                <a:gd name="T20" fmla="*/ 2147483647 w 20"/>
                <a:gd name="T21" fmla="*/ 2147483647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0"/>
                <a:gd name="T34" fmla="*/ 0 h 12"/>
                <a:gd name="T35" fmla="*/ 20 w 20"/>
                <a:gd name="T36" fmla="*/ 12 h 1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0" h="12">
                  <a:moveTo>
                    <a:pt x="14" y="12"/>
                  </a:moveTo>
                  <a:lnTo>
                    <a:pt x="20" y="9"/>
                  </a:lnTo>
                  <a:lnTo>
                    <a:pt x="17" y="6"/>
                  </a:lnTo>
                  <a:lnTo>
                    <a:pt x="14" y="6"/>
                  </a:lnTo>
                  <a:lnTo>
                    <a:pt x="14" y="0"/>
                  </a:lnTo>
                  <a:lnTo>
                    <a:pt x="14" y="3"/>
                  </a:lnTo>
                  <a:lnTo>
                    <a:pt x="6" y="3"/>
                  </a:lnTo>
                  <a:lnTo>
                    <a:pt x="0" y="6"/>
                  </a:lnTo>
                  <a:lnTo>
                    <a:pt x="6" y="12"/>
                  </a:lnTo>
                  <a:lnTo>
                    <a:pt x="12" y="9"/>
                  </a:lnTo>
                  <a:lnTo>
                    <a:pt x="14" y="1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11" name="Freeform 312"/>
            <p:cNvSpPr>
              <a:spLocks/>
            </p:cNvSpPr>
            <p:nvPr/>
          </p:nvSpPr>
          <p:spPr bwMode="auto">
            <a:xfrm>
              <a:off x="4195763" y="2551113"/>
              <a:ext cx="9525" cy="9525"/>
            </a:xfrm>
            <a:custGeom>
              <a:avLst/>
              <a:gdLst>
                <a:gd name="T0" fmla="*/ 2147483647 w 6"/>
                <a:gd name="T1" fmla="*/ 0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12" name="Freeform 313"/>
            <p:cNvSpPr>
              <a:spLocks/>
            </p:cNvSpPr>
            <p:nvPr/>
          </p:nvSpPr>
          <p:spPr bwMode="auto">
            <a:xfrm>
              <a:off x="4043363" y="2667000"/>
              <a:ext cx="309562" cy="238125"/>
            </a:xfrm>
            <a:custGeom>
              <a:avLst/>
              <a:gdLst>
                <a:gd name="T0" fmla="*/ 2147483647 w 193"/>
                <a:gd name="T1" fmla="*/ 2147483647 h 149"/>
                <a:gd name="T2" fmla="*/ 2147483647 w 193"/>
                <a:gd name="T3" fmla="*/ 2147483647 h 149"/>
                <a:gd name="T4" fmla="*/ 2147483647 w 193"/>
                <a:gd name="T5" fmla="*/ 0 h 149"/>
                <a:gd name="T6" fmla="*/ 2147483647 w 193"/>
                <a:gd name="T7" fmla="*/ 0 h 149"/>
                <a:gd name="T8" fmla="*/ 2147483647 w 193"/>
                <a:gd name="T9" fmla="*/ 2147483647 h 149"/>
                <a:gd name="T10" fmla="*/ 2147483647 w 193"/>
                <a:gd name="T11" fmla="*/ 2147483647 h 149"/>
                <a:gd name="T12" fmla="*/ 0 w 193"/>
                <a:gd name="T13" fmla="*/ 2147483647 h 149"/>
                <a:gd name="T14" fmla="*/ 2147483647 w 193"/>
                <a:gd name="T15" fmla="*/ 2147483647 h 149"/>
                <a:gd name="T16" fmla="*/ 2147483647 w 193"/>
                <a:gd name="T17" fmla="*/ 2147483647 h 149"/>
                <a:gd name="T18" fmla="*/ 2147483647 w 193"/>
                <a:gd name="T19" fmla="*/ 2147483647 h 149"/>
                <a:gd name="T20" fmla="*/ 2147483647 w 193"/>
                <a:gd name="T21" fmla="*/ 2147483647 h 149"/>
                <a:gd name="T22" fmla="*/ 2147483647 w 193"/>
                <a:gd name="T23" fmla="*/ 2147483647 h 149"/>
                <a:gd name="T24" fmla="*/ 2147483647 w 193"/>
                <a:gd name="T25" fmla="*/ 2147483647 h 149"/>
                <a:gd name="T26" fmla="*/ 2147483647 w 193"/>
                <a:gd name="T27" fmla="*/ 2147483647 h 149"/>
                <a:gd name="T28" fmla="*/ 2147483647 w 193"/>
                <a:gd name="T29" fmla="*/ 2147483647 h 149"/>
                <a:gd name="T30" fmla="*/ 2147483647 w 193"/>
                <a:gd name="T31" fmla="*/ 2147483647 h 149"/>
                <a:gd name="T32" fmla="*/ 2147483647 w 193"/>
                <a:gd name="T33" fmla="*/ 2147483647 h 149"/>
                <a:gd name="T34" fmla="*/ 2147483647 w 193"/>
                <a:gd name="T35" fmla="*/ 2147483647 h 149"/>
                <a:gd name="T36" fmla="*/ 2147483647 w 193"/>
                <a:gd name="T37" fmla="*/ 2147483647 h 149"/>
                <a:gd name="T38" fmla="*/ 2147483647 w 193"/>
                <a:gd name="T39" fmla="*/ 2147483647 h 149"/>
                <a:gd name="T40" fmla="*/ 2147483647 w 193"/>
                <a:gd name="T41" fmla="*/ 2147483647 h 149"/>
                <a:gd name="T42" fmla="*/ 2147483647 w 193"/>
                <a:gd name="T43" fmla="*/ 2147483647 h 149"/>
                <a:gd name="T44" fmla="*/ 2147483647 w 193"/>
                <a:gd name="T45" fmla="*/ 2147483647 h 149"/>
                <a:gd name="T46" fmla="*/ 2147483647 w 193"/>
                <a:gd name="T47" fmla="*/ 2147483647 h 149"/>
                <a:gd name="T48" fmla="*/ 2147483647 w 193"/>
                <a:gd name="T49" fmla="*/ 2147483647 h 149"/>
                <a:gd name="T50" fmla="*/ 2147483647 w 193"/>
                <a:gd name="T51" fmla="*/ 2147483647 h 149"/>
                <a:gd name="T52" fmla="*/ 2147483647 w 193"/>
                <a:gd name="T53" fmla="*/ 2147483647 h 149"/>
                <a:gd name="T54" fmla="*/ 2147483647 w 193"/>
                <a:gd name="T55" fmla="*/ 2147483647 h 149"/>
                <a:gd name="T56" fmla="*/ 2147483647 w 193"/>
                <a:gd name="T57" fmla="*/ 2147483647 h 149"/>
                <a:gd name="T58" fmla="*/ 2147483647 w 193"/>
                <a:gd name="T59" fmla="*/ 2147483647 h 149"/>
                <a:gd name="T60" fmla="*/ 2147483647 w 193"/>
                <a:gd name="T61" fmla="*/ 2147483647 h 149"/>
                <a:gd name="T62" fmla="*/ 2147483647 w 193"/>
                <a:gd name="T63" fmla="*/ 2147483647 h 149"/>
                <a:gd name="T64" fmla="*/ 2147483647 w 193"/>
                <a:gd name="T65" fmla="*/ 2147483647 h 149"/>
                <a:gd name="T66" fmla="*/ 2147483647 w 193"/>
                <a:gd name="T67" fmla="*/ 2147483647 h 149"/>
                <a:gd name="T68" fmla="*/ 2147483647 w 193"/>
                <a:gd name="T69" fmla="*/ 2147483647 h 149"/>
                <a:gd name="T70" fmla="*/ 2147483647 w 193"/>
                <a:gd name="T71" fmla="*/ 2147483647 h 149"/>
                <a:gd name="T72" fmla="*/ 2147483647 w 193"/>
                <a:gd name="T73" fmla="*/ 2147483647 h 149"/>
                <a:gd name="T74" fmla="*/ 2147483647 w 193"/>
                <a:gd name="T75" fmla="*/ 2147483647 h 149"/>
                <a:gd name="T76" fmla="*/ 2147483647 w 193"/>
                <a:gd name="T77" fmla="*/ 2147483647 h 149"/>
                <a:gd name="T78" fmla="*/ 2147483647 w 193"/>
                <a:gd name="T79" fmla="*/ 2147483647 h 149"/>
                <a:gd name="T80" fmla="*/ 2147483647 w 193"/>
                <a:gd name="T81" fmla="*/ 2147483647 h 149"/>
                <a:gd name="T82" fmla="*/ 2147483647 w 193"/>
                <a:gd name="T83" fmla="*/ 2147483647 h 149"/>
                <a:gd name="T84" fmla="*/ 2147483647 w 193"/>
                <a:gd name="T85" fmla="*/ 2147483647 h 149"/>
                <a:gd name="T86" fmla="*/ 2147483647 w 193"/>
                <a:gd name="T87" fmla="*/ 2147483647 h 149"/>
                <a:gd name="T88" fmla="*/ 2147483647 w 193"/>
                <a:gd name="T89" fmla="*/ 2147483647 h 149"/>
                <a:gd name="T90" fmla="*/ 2147483647 w 193"/>
                <a:gd name="T91" fmla="*/ 2147483647 h 149"/>
                <a:gd name="T92" fmla="*/ 2147483647 w 193"/>
                <a:gd name="T93" fmla="*/ 2147483647 h 149"/>
                <a:gd name="T94" fmla="*/ 2147483647 w 193"/>
                <a:gd name="T95" fmla="*/ 2147483647 h 149"/>
                <a:gd name="T96" fmla="*/ 2147483647 w 193"/>
                <a:gd name="T97" fmla="*/ 2147483647 h 149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93"/>
                <a:gd name="T148" fmla="*/ 0 h 149"/>
                <a:gd name="T149" fmla="*/ 193 w 193"/>
                <a:gd name="T150" fmla="*/ 149 h 149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93" h="149">
                  <a:moveTo>
                    <a:pt x="58" y="3"/>
                  </a:moveTo>
                  <a:lnTo>
                    <a:pt x="58" y="3"/>
                  </a:lnTo>
                  <a:lnTo>
                    <a:pt x="52" y="3"/>
                  </a:lnTo>
                  <a:lnTo>
                    <a:pt x="49" y="3"/>
                  </a:lnTo>
                  <a:lnTo>
                    <a:pt x="38" y="3"/>
                  </a:lnTo>
                  <a:lnTo>
                    <a:pt x="32" y="3"/>
                  </a:lnTo>
                  <a:lnTo>
                    <a:pt x="29" y="0"/>
                  </a:lnTo>
                  <a:lnTo>
                    <a:pt x="26" y="0"/>
                  </a:lnTo>
                  <a:lnTo>
                    <a:pt x="23" y="0"/>
                  </a:lnTo>
                  <a:lnTo>
                    <a:pt x="20" y="0"/>
                  </a:lnTo>
                  <a:lnTo>
                    <a:pt x="15" y="6"/>
                  </a:lnTo>
                  <a:lnTo>
                    <a:pt x="12" y="9"/>
                  </a:lnTo>
                  <a:lnTo>
                    <a:pt x="3" y="9"/>
                  </a:lnTo>
                  <a:lnTo>
                    <a:pt x="0" y="11"/>
                  </a:lnTo>
                  <a:lnTo>
                    <a:pt x="0" y="14"/>
                  </a:lnTo>
                  <a:lnTo>
                    <a:pt x="0" y="20"/>
                  </a:lnTo>
                  <a:lnTo>
                    <a:pt x="6" y="26"/>
                  </a:lnTo>
                  <a:lnTo>
                    <a:pt x="6" y="29"/>
                  </a:lnTo>
                  <a:lnTo>
                    <a:pt x="3" y="29"/>
                  </a:lnTo>
                  <a:lnTo>
                    <a:pt x="3" y="32"/>
                  </a:lnTo>
                  <a:lnTo>
                    <a:pt x="3" y="34"/>
                  </a:lnTo>
                  <a:lnTo>
                    <a:pt x="15" y="29"/>
                  </a:lnTo>
                  <a:lnTo>
                    <a:pt x="15" y="32"/>
                  </a:lnTo>
                  <a:lnTo>
                    <a:pt x="18" y="37"/>
                  </a:lnTo>
                  <a:lnTo>
                    <a:pt x="20" y="34"/>
                  </a:lnTo>
                  <a:lnTo>
                    <a:pt x="23" y="34"/>
                  </a:lnTo>
                  <a:lnTo>
                    <a:pt x="26" y="37"/>
                  </a:lnTo>
                  <a:lnTo>
                    <a:pt x="29" y="34"/>
                  </a:lnTo>
                  <a:lnTo>
                    <a:pt x="41" y="34"/>
                  </a:lnTo>
                  <a:lnTo>
                    <a:pt x="46" y="43"/>
                  </a:lnTo>
                  <a:lnTo>
                    <a:pt x="38" y="52"/>
                  </a:lnTo>
                  <a:lnTo>
                    <a:pt x="35" y="63"/>
                  </a:lnTo>
                  <a:lnTo>
                    <a:pt x="32" y="69"/>
                  </a:lnTo>
                  <a:lnTo>
                    <a:pt x="32" y="75"/>
                  </a:lnTo>
                  <a:lnTo>
                    <a:pt x="23" y="80"/>
                  </a:lnTo>
                  <a:lnTo>
                    <a:pt x="29" y="92"/>
                  </a:lnTo>
                  <a:lnTo>
                    <a:pt x="26" y="100"/>
                  </a:lnTo>
                  <a:lnTo>
                    <a:pt x="29" y="109"/>
                  </a:lnTo>
                  <a:lnTo>
                    <a:pt x="20" y="118"/>
                  </a:lnTo>
                  <a:lnTo>
                    <a:pt x="20" y="121"/>
                  </a:lnTo>
                  <a:lnTo>
                    <a:pt x="23" y="126"/>
                  </a:lnTo>
                  <a:lnTo>
                    <a:pt x="26" y="126"/>
                  </a:lnTo>
                  <a:lnTo>
                    <a:pt x="32" y="129"/>
                  </a:lnTo>
                  <a:lnTo>
                    <a:pt x="35" y="135"/>
                  </a:lnTo>
                  <a:lnTo>
                    <a:pt x="38" y="141"/>
                  </a:lnTo>
                  <a:lnTo>
                    <a:pt x="41" y="146"/>
                  </a:lnTo>
                  <a:lnTo>
                    <a:pt x="46" y="149"/>
                  </a:lnTo>
                  <a:lnTo>
                    <a:pt x="55" y="146"/>
                  </a:lnTo>
                  <a:lnTo>
                    <a:pt x="66" y="138"/>
                  </a:lnTo>
                  <a:lnTo>
                    <a:pt x="72" y="138"/>
                  </a:lnTo>
                  <a:lnTo>
                    <a:pt x="84" y="135"/>
                  </a:lnTo>
                  <a:lnTo>
                    <a:pt x="95" y="138"/>
                  </a:lnTo>
                  <a:lnTo>
                    <a:pt x="101" y="135"/>
                  </a:lnTo>
                  <a:lnTo>
                    <a:pt x="104" y="135"/>
                  </a:lnTo>
                  <a:lnTo>
                    <a:pt x="109" y="132"/>
                  </a:lnTo>
                  <a:lnTo>
                    <a:pt x="112" y="126"/>
                  </a:lnTo>
                  <a:lnTo>
                    <a:pt x="118" y="121"/>
                  </a:lnTo>
                  <a:lnTo>
                    <a:pt x="127" y="121"/>
                  </a:lnTo>
                  <a:lnTo>
                    <a:pt x="130" y="112"/>
                  </a:lnTo>
                  <a:lnTo>
                    <a:pt x="130" y="109"/>
                  </a:lnTo>
                  <a:lnTo>
                    <a:pt x="135" y="103"/>
                  </a:lnTo>
                  <a:lnTo>
                    <a:pt x="144" y="98"/>
                  </a:lnTo>
                  <a:lnTo>
                    <a:pt x="141" y="92"/>
                  </a:lnTo>
                  <a:lnTo>
                    <a:pt x="138" y="89"/>
                  </a:lnTo>
                  <a:lnTo>
                    <a:pt x="135" y="86"/>
                  </a:lnTo>
                  <a:lnTo>
                    <a:pt x="138" y="77"/>
                  </a:lnTo>
                  <a:lnTo>
                    <a:pt x="144" y="69"/>
                  </a:lnTo>
                  <a:lnTo>
                    <a:pt x="153" y="63"/>
                  </a:lnTo>
                  <a:lnTo>
                    <a:pt x="155" y="60"/>
                  </a:lnTo>
                  <a:lnTo>
                    <a:pt x="155" y="57"/>
                  </a:lnTo>
                  <a:lnTo>
                    <a:pt x="155" y="54"/>
                  </a:lnTo>
                  <a:lnTo>
                    <a:pt x="167" y="49"/>
                  </a:lnTo>
                  <a:lnTo>
                    <a:pt x="181" y="43"/>
                  </a:lnTo>
                  <a:lnTo>
                    <a:pt x="193" y="37"/>
                  </a:lnTo>
                  <a:lnTo>
                    <a:pt x="190" y="29"/>
                  </a:lnTo>
                  <a:lnTo>
                    <a:pt x="193" y="29"/>
                  </a:lnTo>
                  <a:lnTo>
                    <a:pt x="190" y="26"/>
                  </a:lnTo>
                  <a:lnTo>
                    <a:pt x="181" y="29"/>
                  </a:lnTo>
                  <a:lnTo>
                    <a:pt x="178" y="26"/>
                  </a:lnTo>
                  <a:lnTo>
                    <a:pt x="176" y="29"/>
                  </a:lnTo>
                  <a:lnTo>
                    <a:pt x="173" y="26"/>
                  </a:lnTo>
                  <a:lnTo>
                    <a:pt x="170" y="29"/>
                  </a:lnTo>
                  <a:lnTo>
                    <a:pt x="167" y="29"/>
                  </a:lnTo>
                  <a:lnTo>
                    <a:pt x="164" y="29"/>
                  </a:lnTo>
                  <a:lnTo>
                    <a:pt x="161" y="20"/>
                  </a:lnTo>
                  <a:lnTo>
                    <a:pt x="158" y="14"/>
                  </a:lnTo>
                  <a:lnTo>
                    <a:pt x="155" y="20"/>
                  </a:lnTo>
                  <a:lnTo>
                    <a:pt x="141" y="20"/>
                  </a:lnTo>
                  <a:lnTo>
                    <a:pt x="138" y="17"/>
                  </a:lnTo>
                  <a:lnTo>
                    <a:pt x="135" y="17"/>
                  </a:lnTo>
                  <a:lnTo>
                    <a:pt x="124" y="17"/>
                  </a:lnTo>
                  <a:lnTo>
                    <a:pt x="118" y="11"/>
                  </a:lnTo>
                  <a:lnTo>
                    <a:pt x="112" y="9"/>
                  </a:lnTo>
                  <a:lnTo>
                    <a:pt x="104" y="9"/>
                  </a:lnTo>
                  <a:lnTo>
                    <a:pt x="98" y="9"/>
                  </a:lnTo>
                  <a:lnTo>
                    <a:pt x="92" y="6"/>
                  </a:lnTo>
                  <a:lnTo>
                    <a:pt x="87" y="6"/>
                  </a:lnTo>
                  <a:lnTo>
                    <a:pt x="84" y="6"/>
                  </a:lnTo>
                  <a:lnTo>
                    <a:pt x="75" y="6"/>
                  </a:lnTo>
                  <a:lnTo>
                    <a:pt x="69" y="3"/>
                  </a:lnTo>
                  <a:lnTo>
                    <a:pt x="61" y="3"/>
                  </a:lnTo>
                  <a:lnTo>
                    <a:pt x="58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13" name="Freeform 314"/>
            <p:cNvSpPr>
              <a:spLocks/>
            </p:cNvSpPr>
            <p:nvPr/>
          </p:nvSpPr>
          <p:spPr bwMode="auto">
            <a:xfrm>
              <a:off x="4152900" y="2247900"/>
              <a:ext cx="4763" cy="4763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0 h 3"/>
                <a:gd name="T4" fmla="*/ 0 w 3"/>
                <a:gd name="T5" fmla="*/ 2147483647 h 3"/>
                <a:gd name="T6" fmla="*/ 2147483647 w 3"/>
                <a:gd name="T7" fmla="*/ 0 h 3"/>
                <a:gd name="T8" fmla="*/ 0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14" name="Freeform 315"/>
            <p:cNvSpPr>
              <a:spLocks/>
            </p:cNvSpPr>
            <p:nvPr/>
          </p:nvSpPr>
          <p:spPr bwMode="auto">
            <a:xfrm>
              <a:off x="4148138" y="2255838"/>
              <a:ext cx="9525" cy="9525"/>
            </a:xfrm>
            <a:custGeom>
              <a:avLst/>
              <a:gdLst>
                <a:gd name="T0" fmla="*/ 0 w 6"/>
                <a:gd name="T1" fmla="*/ 0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w 6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0"/>
                  </a:moveTo>
                  <a:lnTo>
                    <a:pt x="0" y="6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15" name="Rectangle 316"/>
            <p:cNvSpPr>
              <a:spLocks noChangeArrowheads="1"/>
            </p:cNvSpPr>
            <p:nvPr/>
          </p:nvSpPr>
          <p:spPr bwMode="auto">
            <a:xfrm>
              <a:off x="4148138" y="2265363"/>
              <a:ext cx="4762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16" name="Rectangle 317"/>
            <p:cNvSpPr>
              <a:spLocks noChangeArrowheads="1"/>
            </p:cNvSpPr>
            <p:nvPr/>
          </p:nvSpPr>
          <p:spPr bwMode="auto">
            <a:xfrm>
              <a:off x="4157663" y="2252663"/>
              <a:ext cx="4762" cy="7937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17" name="Freeform 318"/>
            <p:cNvSpPr>
              <a:spLocks/>
            </p:cNvSpPr>
            <p:nvPr/>
          </p:nvSpPr>
          <p:spPr bwMode="auto">
            <a:xfrm>
              <a:off x="4792663" y="4591050"/>
              <a:ext cx="244475" cy="279400"/>
            </a:xfrm>
            <a:custGeom>
              <a:avLst/>
              <a:gdLst>
                <a:gd name="T0" fmla="*/ 2147483647 w 152"/>
                <a:gd name="T1" fmla="*/ 2147483647 h 175"/>
                <a:gd name="T2" fmla="*/ 2147483647 w 152"/>
                <a:gd name="T3" fmla="*/ 2147483647 h 175"/>
                <a:gd name="T4" fmla="*/ 2147483647 w 152"/>
                <a:gd name="T5" fmla="*/ 2147483647 h 175"/>
                <a:gd name="T6" fmla="*/ 2147483647 w 152"/>
                <a:gd name="T7" fmla="*/ 2147483647 h 175"/>
                <a:gd name="T8" fmla="*/ 2147483647 w 152"/>
                <a:gd name="T9" fmla="*/ 2147483647 h 175"/>
                <a:gd name="T10" fmla="*/ 2147483647 w 152"/>
                <a:gd name="T11" fmla="*/ 2147483647 h 175"/>
                <a:gd name="T12" fmla="*/ 2147483647 w 152"/>
                <a:gd name="T13" fmla="*/ 2147483647 h 175"/>
                <a:gd name="T14" fmla="*/ 2147483647 w 152"/>
                <a:gd name="T15" fmla="*/ 2147483647 h 175"/>
                <a:gd name="T16" fmla="*/ 2147483647 w 152"/>
                <a:gd name="T17" fmla="*/ 2147483647 h 175"/>
                <a:gd name="T18" fmla="*/ 2147483647 w 152"/>
                <a:gd name="T19" fmla="*/ 2147483647 h 175"/>
                <a:gd name="T20" fmla="*/ 2147483647 w 152"/>
                <a:gd name="T21" fmla="*/ 2147483647 h 175"/>
                <a:gd name="T22" fmla="*/ 2147483647 w 152"/>
                <a:gd name="T23" fmla="*/ 2147483647 h 175"/>
                <a:gd name="T24" fmla="*/ 2147483647 w 152"/>
                <a:gd name="T25" fmla="*/ 2147483647 h 175"/>
                <a:gd name="T26" fmla="*/ 2147483647 w 152"/>
                <a:gd name="T27" fmla="*/ 2147483647 h 175"/>
                <a:gd name="T28" fmla="*/ 2147483647 w 152"/>
                <a:gd name="T29" fmla="*/ 2147483647 h 175"/>
                <a:gd name="T30" fmla="*/ 2147483647 w 152"/>
                <a:gd name="T31" fmla="*/ 2147483647 h 175"/>
                <a:gd name="T32" fmla="*/ 2147483647 w 152"/>
                <a:gd name="T33" fmla="*/ 2147483647 h 175"/>
                <a:gd name="T34" fmla="*/ 2147483647 w 152"/>
                <a:gd name="T35" fmla="*/ 2147483647 h 175"/>
                <a:gd name="T36" fmla="*/ 2147483647 w 152"/>
                <a:gd name="T37" fmla="*/ 2147483647 h 175"/>
                <a:gd name="T38" fmla="*/ 2147483647 w 152"/>
                <a:gd name="T39" fmla="*/ 2147483647 h 175"/>
                <a:gd name="T40" fmla="*/ 2147483647 w 152"/>
                <a:gd name="T41" fmla="*/ 0 h 175"/>
                <a:gd name="T42" fmla="*/ 2147483647 w 152"/>
                <a:gd name="T43" fmla="*/ 2147483647 h 175"/>
                <a:gd name="T44" fmla="*/ 2147483647 w 152"/>
                <a:gd name="T45" fmla="*/ 2147483647 h 175"/>
                <a:gd name="T46" fmla="*/ 2147483647 w 152"/>
                <a:gd name="T47" fmla="*/ 2147483647 h 175"/>
                <a:gd name="T48" fmla="*/ 2147483647 w 152"/>
                <a:gd name="T49" fmla="*/ 2147483647 h 175"/>
                <a:gd name="T50" fmla="*/ 2147483647 w 152"/>
                <a:gd name="T51" fmla="*/ 2147483647 h 175"/>
                <a:gd name="T52" fmla="*/ 2147483647 w 152"/>
                <a:gd name="T53" fmla="*/ 2147483647 h 175"/>
                <a:gd name="T54" fmla="*/ 2147483647 w 152"/>
                <a:gd name="T55" fmla="*/ 2147483647 h 175"/>
                <a:gd name="T56" fmla="*/ 2147483647 w 152"/>
                <a:gd name="T57" fmla="*/ 2147483647 h 175"/>
                <a:gd name="T58" fmla="*/ 2147483647 w 152"/>
                <a:gd name="T59" fmla="*/ 2147483647 h 175"/>
                <a:gd name="T60" fmla="*/ 2147483647 w 152"/>
                <a:gd name="T61" fmla="*/ 2147483647 h 175"/>
                <a:gd name="T62" fmla="*/ 2147483647 w 152"/>
                <a:gd name="T63" fmla="*/ 2147483647 h 175"/>
                <a:gd name="T64" fmla="*/ 2147483647 w 152"/>
                <a:gd name="T65" fmla="*/ 2147483647 h 17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52"/>
                <a:gd name="T100" fmla="*/ 0 h 175"/>
                <a:gd name="T101" fmla="*/ 152 w 152"/>
                <a:gd name="T102" fmla="*/ 175 h 175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52" h="175">
                  <a:moveTo>
                    <a:pt x="43" y="158"/>
                  </a:moveTo>
                  <a:lnTo>
                    <a:pt x="43" y="158"/>
                  </a:lnTo>
                  <a:lnTo>
                    <a:pt x="46" y="152"/>
                  </a:lnTo>
                  <a:lnTo>
                    <a:pt x="46" y="146"/>
                  </a:lnTo>
                  <a:lnTo>
                    <a:pt x="49" y="144"/>
                  </a:lnTo>
                  <a:lnTo>
                    <a:pt x="55" y="141"/>
                  </a:lnTo>
                  <a:lnTo>
                    <a:pt x="61" y="144"/>
                  </a:lnTo>
                  <a:lnTo>
                    <a:pt x="72" y="152"/>
                  </a:lnTo>
                  <a:lnTo>
                    <a:pt x="75" y="152"/>
                  </a:lnTo>
                  <a:lnTo>
                    <a:pt x="81" y="155"/>
                  </a:lnTo>
                  <a:lnTo>
                    <a:pt x="81" y="152"/>
                  </a:lnTo>
                  <a:lnTo>
                    <a:pt x="92" y="152"/>
                  </a:lnTo>
                  <a:lnTo>
                    <a:pt x="95" y="135"/>
                  </a:lnTo>
                  <a:lnTo>
                    <a:pt x="109" y="126"/>
                  </a:lnTo>
                  <a:lnTo>
                    <a:pt x="115" y="115"/>
                  </a:lnTo>
                  <a:lnTo>
                    <a:pt x="127" y="106"/>
                  </a:lnTo>
                  <a:lnTo>
                    <a:pt x="135" y="92"/>
                  </a:lnTo>
                  <a:lnTo>
                    <a:pt x="150" y="89"/>
                  </a:lnTo>
                  <a:lnTo>
                    <a:pt x="152" y="80"/>
                  </a:lnTo>
                  <a:lnTo>
                    <a:pt x="152" y="78"/>
                  </a:lnTo>
                  <a:lnTo>
                    <a:pt x="147" y="75"/>
                  </a:lnTo>
                  <a:lnTo>
                    <a:pt x="132" y="75"/>
                  </a:lnTo>
                  <a:lnTo>
                    <a:pt x="129" y="63"/>
                  </a:lnTo>
                  <a:lnTo>
                    <a:pt x="129" y="55"/>
                  </a:lnTo>
                  <a:lnTo>
                    <a:pt x="124" y="55"/>
                  </a:lnTo>
                  <a:lnTo>
                    <a:pt x="124" y="43"/>
                  </a:lnTo>
                  <a:lnTo>
                    <a:pt x="115" y="43"/>
                  </a:lnTo>
                  <a:lnTo>
                    <a:pt x="104" y="32"/>
                  </a:lnTo>
                  <a:lnTo>
                    <a:pt x="101" y="17"/>
                  </a:lnTo>
                  <a:lnTo>
                    <a:pt x="92" y="3"/>
                  </a:lnTo>
                  <a:lnTo>
                    <a:pt x="89" y="0"/>
                  </a:lnTo>
                  <a:lnTo>
                    <a:pt x="78" y="6"/>
                  </a:lnTo>
                  <a:lnTo>
                    <a:pt x="72" y="9"/>
                  </a:lnTo>
                  <a:lnTo>
                    <a:pt x="63" y="17"/>
                  </a:lnTo>
                  <a:lnTo>
                    <a:pt x="58" y="6"/>
                  </a:lnTo>
                  <a:lnTo>
                    <a:pt x="20" y="12"/>
                  </a:lnTo>
                  <a:lnTo>
                    <a:pt x="18" y="83"/>
                  </a:lnTo>
                  <a:lnTo>
                    <a:pt x="3" y="83"/>
                  </a:lnTo>
                  <a:lnTo>
                    <a:pt x="0" y="135"/>
                  </a:lnTo>
                  <a:lnTo>
                    <a:pt x="6" y="141"/>
                  </a:lnTo>
                  <a:lnTo>
                    <a:pt x="12" y="149"/>
                  </a:lnTo>
                  <a:lnTo>
                    <a:pt x="15" y="161"/>
                  </a:lnTo>
                  <a:lnTo>
                    <a:pt x="9" y="172"/>
                  </a:lnTo>
                  <a:lnTo>
                    <a:pt x="15" y="175"/>
                  </a:lnTo>
                  <a:lnTo>
                    <a:pt x="26" y="172"/>
                  </a:lnTo>
                  <a:lnTo>
                    <a:pt x="32" y="167"/>
                  </a:lnTo>
                  <a:lnTo>
                    <a:pt x="40" y="161"/>
                  </a:lnTo>
                  <a:lnTo>
                    <a:pt x="43" y="15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18" name="Freeform 319"/>
            <p:cNvSpPr>
              <a:spLocks/>
            </p:cNvSpPr>
            <p:nvPr/>
          </p:nvSpPr>
          <p:spPr bwMode="auto">
            <a:xfrm>
              <a:off x="5208588" y="4557713"/>
              <a:ext cx="4762" cy="11112"/>
            </a:xfrm>
            <a:custGeom>
              <a:avLst/>
              <a:gdLst>
                <a:gd name="T0" fmla="*/ 0 w 3"/>
                <a:gd name="T1" fmla="*/ 0 h 6"/>
                <a:gd name="T2" fmla="*/ 0 w 3"/>
                <a:gd name="T3" fmla="*/ 2147483647 h 6"/>
                <a:gd name="T4" fmla="*/ 2147483647 w 3"/>
                <a:gd name="T5" fmla="*/ 2147483647 h 6"/>
                <a:gd name="T6" fmla="*/ 0 w 3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6"/>
                <a:gd name="T14" fmla="*/ 3 w 3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6">
                  <a:moveTo>
                    <a:pt x="0" y="0"/>
                  </a:moveTo>
                  <a:lnTo>
                    <a:pt x="0" y="6"/>
                  </a:lnTo>
                  <a:lnTo>
                    <a:pt x="3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19" name="Freeform 320"/>
            <p:cNvSpPr>
              <a:spLocks/>
            </p:cNvSpPr>
            <p:nvPr/>
          </p:nvSpPr>
          <p:spPr bwMode="auto">
            <a:xfrm>
              <a:off x="5148263" y="4327525"/>
              <a:ext cx="77787" cy="230188"/>
            </a:xfrm>
            <a:custGeom>
              <a:avLst/>
              <a:gdLst>
                <a:gd name="T0" fmla="*/ 2147483647 w 49"/>
                <a:gd name="T1" fmla="*/ 2147483647 h 144"/>
                <a:gd name="T2" fmla="*/ 2147483647 w 49"/>
                <a:gd name="T3" fmla="*/ 2147483647 h 144"/>
                <a:gd name="T4" fmla="*/ 2147483647 w 49"/>
                <a:gd name="T5" fmla="*/ 0 h 144"/>
                <a:gd name="T6" fmla="*/ 2147483647 w 49"/>
                <a:gd name="T7" fmla="*/ 2147483647 h 144"/>
                <a:gd name="T8" fmla="*/ 2147483647 w 49"/>
                <a:gd name="T9" fmla="*/ 0 h 144"/>
                <a:gd name="T10" fmla="*/ 2147483647 w 49"/>
                <a:gd name="T11" fmla="*/ 2147483647 h 144"/>
                <a:gd name="T12" fmla="*/ 2147483647 w 49"/>
                <a:gd name="T13" fmla="*/ 2147483647 h 144"/>
                <a:gd name="T14" fmla="*/ 2147483647 w 49"/>
                <a:gd name="T15" fmla="*/ 2147483647 h 144"/>
                <a:gd name="T16" fmla="*/ 2147483647 w 49"/>
                <a:gd name="T17" fmla="*/ 2147483647 h 144"/>
                <a:gd name="T18" fmla="*/ 2147483647 w 49"/>
                <a:gd name="T19" fmla="*/ 2147483647 h 144"/>
                <a:gd name="T20" fmla="*/ 2147483647 w 49"/>
                <a:gd name="T21" fmla="*/ 2147483647 h 144"/>
                <a:gd name="T22" fmla="*/ 2147483647 w 49"/>
                <a:gd name="T23" fmla="*/ 2147483647 h 144"/>
                <a:gd name="T24" fmla="*/ 2147483647 w 49"/>
                <a:gd name="T25" fmla="*/ 2147483647 h 144"/>
                <a:gd name="T26" fmla="*/ 2147483647 w 49"/>
                <a:gd name="T27" fmla="*/ 2147483647 h 144"/>
                <a:gd name="T28" fmla="*/ 2147483647 w 49"/>
                <a:gd name="T29" fmla="*/ 2147483647 h 144"/>
                <a:gd name="T30" fmla="*/ 2147483647 w 49"/>
                <a:gd name="T31" fmla="*/ 2147483647 h 144"/>
                <a:gd name="T32" fmla="*/ 2147483647 w 49"/>
                <a:gd name="T33" fmla="*/ 2147483647 h 144"/>
                <a:gd name="T34" fmla="*/ 2147483647 w 49"/>
                <a:gd name="T35" fmla="*/ 2147483647 h 144"/>
                <a:gd name="T36" fmla="*/ 2147483647 w 49"/>
                <a:gd name="T37" fmla="*/ 2147483647 h 144"/>
                <a:gd name="T38" fmla="*/ 2147483647 w 49"/>
                <a:gd name="T39" fmla="*/ 2147483647 h 144"/>
                <a:gd name="T40" fmla="*/ 2147483647 w 49"/>
                <a:gd name="T41" fmla="*/ 2147483647 h 144"/>
                <a:gd name="T42" fmla="*/ 2147483647 w 49"/>
                <a:gd name="T43" fmla="*/ 2147483647 h 144"/>
                <a:gd name="T44" fmla="*/ 2147483647 w 49"/>
                <a:gd name="T45" fmla="*/ 2147483647 h 144"/>
                <a:gd name="T46" fmla="*/ 2147483647 w 49"/>
                <a:gd name="T47" fmla="*/ 2147483647 h 144"/>
                <a:gd name="T48" fmla="*/ 2147483647 w 49"/>
                <a:gd name="T49" fmla="*/ 2147483647 h 144"/>
                <a:gd name="T50" fmla="*/ 0 w 49"/>
                <a:gd name="T51" fmla="*/ 2147483647 h 144"/>
                <a:gd name="T52" fmla="*/ 2147483647 w 49"/>
                <a:gd name="T53" fmla="*/ 2147483647 h 144"/>
                <a:gd name="T54" fmla="*/ 2147483647 w 49"/>
                <a:gd name="T55" fmla="*/ 2147483647 h 144"/>
                <a:gd name="T56" fmla="*/ 2147483647 w 49"/>
                <a:gd name="T57" fmla="*/ 2147483647 h 144"/>
                <a:gd name="T58" fmla="*/ 2147483647 w 49"/>
                <a:gd name="T59" fmla="*/ 2147483647 h 144"/>
                <a:gd name="T60" fmla="*/ 2147483647 w 49"/>
                <a:gd name="T61" fmla="*/ 2147483647 h 144"/>
                <a:gd name="T62" fmla="*/ 2147483647 w 49"/>
                <a:gd name="T63" fmla="*/ 2147483647 h 144"/>
                <a:gd name="T64" fmla="*/ 2147483647 w 49"/>
                <a:gd name="T65" fmla="*/ 2147483647 h 144"/>
                <a:gd name="T66" fmla="*/ 2147483647 w 49"/>
                <a:gd name="T67" fmla="*/ 2147483647 h 144"/>
                <a:gd name="T68" fmla="*/ 2147483647 w 49"/>
                <a:gd name="T69" fmla="*/ 2147483647 h 144"/>
                <a:gd name="T70" fmla="*/ 2147483647 w 49"/>
                <a:gd name="T71" fmla="*/ 2147483647 h 144"/>
                <a:gd name="T72" fmla="*/ 2147483647 w 49"/>
                <a:gd name="T73" fmla="*/ 2147483647 h 144"/>
                <a:gd name="T74" fmla="*/ 2147483647 w 49"/>
                <a:gd name="T75" fmla="*/ 2147483647 h 144"/>
                <a:gd name="T76" fmla="*/ 2147483647 w 49"/>
                <a:gd name="T77" fmla="*/ 2147483647 h 144"/>
                <a:gd name="T78" fmla="*/ 2147483647 w 49"/>
                <a:gd name="T79" fmla="*/ 2147483647 h 144"/>
                <a:gd name="T80" fmla="*/ 2147483647 w 49"/>
                <a:gd name="T81" fmla="*/ 2147483647 h 144"/>
                <a:gd name="T82" fmla="*/ 2147483647 w 49"/>
                <a:gd name="T83" fmla="*/ 2147483647 h 144"/>
                <a:gd name="T84" fmla="*/ 2147483647 w 49"/>
                <a:gd name="T85" fmla="*/ 2147483647 h 144"/>
                <a:gd name="T86" fmla="*/ 2147483647 w 49"/>
                <a:gd name="T87" fmla="*/ 2147483647 h 144"/>
                <a:gd name="T88" fmla="*/ 2147483647 w 49"/>
                <a:gd name="T89" fmla="*/ 2147483647 h 144"/>
                <a:gd name="T90" fmla="*/ 2147483647 w 49"/>
                <a:gd name="T91" fmla="*/ 2147483647 h 144"/>
                <a:gd name="T92" fmla="*/ 2147483647 w 49"/>
                <a:gd name="T93" fmla="*/ 2147483647 h 144"/>
                <a:gd name="T94" fmla="*/ 2147483647 w 49"/>
                <a:gd name="T95" fmla="*/ 2147483647 h 144"/>
                <a:gd name="T96" fmla="*/ 2147483647 w 49"/>
                <a:gd name="T97" fmla="*/ 2147483647 h 144"/>
                <a:gd name="T98" fmla="*/ 2147483647 w 49"/>
                <a:gd name="T99" fmla="*/ 2147483647 h 144"/>
                <a:gd name="T100" fmla="*/ 2147483647 w 49"/>
                <a:gd name="T101" fmla="*/ 2147483647 h 144"/>
                <a:gd name="T102" fmla="*/ 2147483647 w 49"/>
                <a:gd name="T103" fmla="*/ 2147483647 h 144"/>
                <a:gd name="T104" fmla="*/ 2147483647 w 49"/>
                <a:gd name="T105" fmla="*/ 2147483647 h 144"/>
                <a:gd name="T106" fmla="*/ 2147483647 w 49"/>
                <a:gd name="T107" fmla="*/ 2147483647 h 144"/>
                <a:gd name="T108" fmla="*/ 2147483647 w 49"/>
                <a:gd name="T109" fmla="*/ 2147483647 h 144"/>
                <a:gd name="T110" fmla="*/ 2147483647 w 49"/>
                <a:gd name="T111" fmla="*/ 2147483647 h 144"/>
                <a:gd name="T112" fmla="*/ 2147483647 w 49"/>
                <a:gd name="T113" fmla="*/ 2147483647 h 14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49"/>
                <a:gd name="T172" fmla="*/ 0 h 144"/>
                <a:gd name="T173" fmla="*/ 49 w 49"/>
                <a:gd name="T174" fmla="*/ 144 h 14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49" h="144">
                  <a:moveTo>
                    <a:pt x="32" y="23"/>
                  </a:moveTo>
                  <a:lnTo>
                    <a:pt x="29" y="6"/>
                  </a:lnTo>
                  <a:lnTo>
                    <a:pt x="20" y="0"/>
                  </a:lnTo>
                  <a:lnTo>
                    <a:pt x="9" y="3"/>
                  </a:lnTo>
                  <a:lnTo>
                    <a:pt x="6" y="0"/>
                  </a:lnTo>
                  <a:lnTo>
                    <a:pt x="6" y="3"/>
                  </a:lnTo>
                  <a:lnTo>
                    <a:pt x="15" y="6"/>
                  </a:lnTo>
                  <a:lnTo>
                    <a:pt x="15" y="9"/>
                  </a:lnTo>
                  <a:lnTo>
                    <a:pt x="12" y="12"/>
                  </a:lnTo>
                  <a:lnTo>
                    <a:pt x="18" y="18"/>
                  </a:lnTo>
                  <a:lnTo>
                    <a:pt x="20" y="20"/>
                  </a:lnTo>
                  <a:lnTo>
                    <a:pt x="18" y="23"/>
                  </a:lnTo>
                  <a:lnTo>
                    <a:pt x="12" y="32"/>
                  </a:lnTo>
                  <a:lnTo>
                    <a:pt x="12" y="41"/>
                  </a:lnTo>
                  <a:lnTo>
                    <a:pt x="12" y="43"/>
                  </a:lnTo>
                  <a:lnTo>
                    <a:pt x="12" y="52"/>
                  </a:lnTo>
                  <a:lnTo>
                    <a:pt x="15" y="58"/>
                  </a:lnTo>
                  <a:lnTo>
                    <a:pt x="6" y="66"/>
                  </a:lnTo>
                  <a:lnTo>
                    <a:pt x="6" y="78"/>
                  </a:lnTo>
                  <a:lnTo>
                    <a:pt x="0" y="81"/>
                  </a:lnTo>
                  <a:lnTo>
                    <a:pt x="6" y="87"/>
                  </a:lnTo>
                  <a:lnTo>
                    <a:pt x="9" y="87"/>
                  </a:lnTo>
                  <a:lnTo>
                    <a:pt x="18" y="95"/>
                  </a:lnTo>
                  <a:lnTo>
                    <a:pt x="29" y="95"/>
                  </a:lnTo>
                  <a:lnTo>
                    <a:pt x="32" y="107"/>
                  </a:lnTo>
                  <a:lnTo>
                    <a:pt x="29" y="121"/>
                  </a:lnTo>
                  <a:lnTo>
                    <a:pt x="26" y="127"/>
                  </a:lnTo>
                  <a:lnTo>
                    <a:pt x="35" y="138"/>
                  </a:lnTo>
                  <a:lnTo>
                    <a:pt x="38" y="144"/>
                  </a:lnTo>
                  <a:lnTo>
                    <a:pt x="38" y="138"/>
                  </a:lnTo>
                  <a:lnTo>
                    <a:pt x="41" y="127"/>
                  </a:lnTo>
                  <a:lnTo>
                    <a:pt x="49" y="127"/>
                  </a:lnTo>
                  <a:lnTo>
                    <a:pt x="49" y="98"/>
                  </a:lnTo>
                  <a:lnTo>
                    <a:pt x="46" y="95"/>
                  </a:lnTo>
                  <a:lnTo>
                    <a:pt x="41" y="89"/>
                  </a:lnTo>
                  <a:lnTo>
                    <a:pt x="29" y="78"/>
                  </a:lnTo>
                  <a:lnTo>
                    <a:pt x="26" y="58"/>
                  </a:lnTo>
                  <a:lnTo>
                    <a:pt x="26" y="52"/>
                  </a:lnTo>
                  <a:lnTo>
                    <a:pt x="26" y="49"/>
                  </a:lnTo>
                  <a:lnTo>
                    <a:pt x="35" y="41"/>
                  </a:lnTo>
                  <a:lnTo>
                    <a:pt x="32" y="2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20" name="Freeform 321"/>
            <p:cNvSpPr>
              <a:spLocks/>
            </p:cNvSpPr>
            <p:nvPr/>
          </p:nvSpPr>
          <p:spPr bwMode="auto">
            <a:xfrm>
              <a:off x="5162550" y="3573463"/>
              <a:ext cx="400050" cy="350837"/>
            </a:xfrm>
            <a:custGeom>
              <a:avLst/>
              <a:gdLst>
                <a:gd name="T0" fmla="*/ 2147483647 w 250"/>
                <a:gd name="T1" fmla="*/ 2147483647 h 218"/>
                <a:gd name="T2" fmla="*/ 2147483647 w 250"/>
                <a:gd name="T3" fmla="*/ 2147483647 h 218"/>
                <a:gd name="T4" fmla="*/ 2147483647 w 250"/>
                <a:gd name="T5" fmla="*/ 2147483647 h 218"/>
                <a:gd name="T6" fmla="*/ 2147483647 w 250"/>
                <a:gd name="T7" fmla="*/ 2147483647 h 218"/>
                <a:gd name="T8" fmla="*/ 2147483647 w 250"/>
                <a:gd name="T9" fmla="*/ 2147483647 h 218"/>
                <a:gd name="T10" fmla="*/ 2147483647 w 250"/>
                <a:gd name="T11" fmla="*/ 2147483647 h 218"/>
                <a:gd name="T12" fmla="*/ 2147483647 w 250"/>
                <a:gd name="T13" fmla="*/ 2147483647 h 218"/>
                <a:gd name="T14" fmla="*/ 2147483647 w 250"/>
                <a:gd name="T15" fmla="*/ 2147483647 h 218"/>
                <a:gd name="T16" fmla="*/ 2147483647 w 250"/>
                <a:gd name="T17" fmla="*/ 2147483647 h 218"/>
                <a:gd name="T18" fmla="*/ 2147483647 w 250"/>
                <a:gd name="T19" fmla="*/ 2147483647 h 218"/>
                <a:gd name="T20" fmla="*/ 2147483647 w 250"/>
                <a:gd name="T21" fmla="*/ 2147483647 h 218"/>
                <a:gd name="T22" fmla="*/ 2147483647 w 250"/>
                <a:gd name="T23" fmla="*/ 2147483647 h 218"/>
                <a:gd name="T24" fmla="*/ 2147483647 w 250"/>
                <a:gd name="T25" fmla="*/ 2147483647 h 218"/>
                <a:gd name="T26" fmla="*/ 2147483647 w 250"/>
                <a:gd name="T27" fmla="*/ 2147483647 h 218"/>
                <a:gd name="T28" fmla="*/ 2147483647 w 250"/>
                <a:gd name="T29" fmla="*/ 2147483647 h 218"/>
                <a:gd name="T30" fmla="*/ 2147483647 w 250"/>
                <a:gd name="T31" fmla="*/ 2147483647 h 218"/>
                <a:gd name="T32" fmla="*/ 2147483647 w 250"/>
                <a:gd name="T33" fmla="*/ 2147483647 h 218"/>
                <a:gd name="T34" fmla="*/ 2147483647 w 250"/>
                <a:gd name="T35" fmla="*/ 2147483647 h 218"/>
                <a:gd name="T36" fmla="*/ 2147483647 w 250"/>
                <a:gd name="T37" fmla="*/ 2147483647 h 218"/>
                <a:gd name="T38" fmla="*/ 2147483647 w 250"/>
                <a:gd name="T39" fmla="*/ 2147483647 h 218"/>
                <a:gd name="T40" fmla="*/ 2147483647 w 250"/>
                <a:gd name="T41" fmla="*/ 2147483647 h 218"/>
                <a:gd name="T42" fmla="*/ 2147483647 w 250"/>
                <a:gd name="T43" fmla="*/ 2147483647 h 218"/>
                <a:gd name="T44" fmla="*/ 2147483647 w 250"/>
                <a:gd name="T45" fmla="*/ 2147483647 h 218"/>
                <a:gd name="T46" fmla="*/ 2147483647 w 250"/>
                <a:gd name="T47" fmla="*/ 2147483647 h 218"/>
                <a:gd name="T48" fmla="*/ 2147483647 w 250"/>
                <a:gd name="T49" fmla="*/ 2147483647 h 218"/>
                <a:gd name="T50" fmla="*/ 2147483647 w 250"/>
                <a:gd name="T51" fmla="*/ 2147483647 h 218"/>
                <a:gd name="T52" fmla="*/ 2147483647 w 250"/>
                <a:gd name="T53" fmla="*/ 2147483647 h 218"/>
                <a:gd name="T54" fmla="*/ 2147483647 w 250"/>
                <a:gd name="T55" fmla="*/ 2147483647 h 218"/>
                <a:gd name="T56" fmla="*/ 2147483647 w 250"/>
                <a:gd name="T57" fmla="*/ 2147483647 h 218"/>
                <a:gd name="T58" fmla="*/ 2147483647 w 250"/>
                <a:gd name="T59" fmla="*/ 2147483647 h 218"/>
                <a:gd name="T60" fmla="*/ 2147483647 w 250"/>
                <a:gd name="T61" fmla="*/ 2147483647 h 218"/>
                <a:gd name="T62" fmla="*/ 2147483647 w 250"/>
                <a:gd name="T63" fmla="*/ 2147483647 h 218"/>
                <a:gd name="T64" fmla="*/ 2147483647 w 250"/>
                <a:gd name="T65" fmla="*/ 2147483647 h 218"/>
                <a:gd name="T66" fmla="*/ 2147483647 w 250"/>
                <a:gd name="T67" fmla="*/ 2147483647 h 218"/>
                <a:gd name="T68" fmla="*/ 2147483647 w 250"/>
                <a:gd name="T69" fmla="*/ 2147483647 h 218"/>
                <a:gd name="T70" fmla="*/ 2147483647 w 250"/>
                <a:gd name="T71" fmla="*/ 2147483647 h 218"/>
                <a:gd name="T72" fmla="*/ 2147483647 w 250"/>
                <a:gd name="T73" fmla="*/ 2147483647 h 218"/>
                <a:gd name="T74" fmla="*/ 2147483647 w 250"/>
                <a:gd name="T75" fmla="*/ 2147483647 h 218"/>
                <a:gd name="T76" fmla="*/ 2147483647 w 250"/>
                <a:gd name="T77" fmla="*/ 2147483647 h 218"/>
                <a:gd name="T78" fmla="*/ 2147483647 w 250"/>
                <a:gd name="T79" fmla="*/ 2147483647 h 218"/>
                <a:gd name="T80" fmla="*/ 2147483647 w 250"/>
                <a:gd name="T81" fmla="*/ 2147483647 h 218"/>
                <a:gd name="T82" fmla="*/ 2147483647 w 250"/>
                <a:gd name="T83" fmla="*/ 2147483647 h 218"/>
                <a:gd name="T84" fmla="*/ 2147483647 w 250"/>
                <a:gd name="T85" fmla="*/ 2147483647 h 218"/>
                <a:gd name="T86" fmla="*/ 2147483647 w 250"/>
                <a:gd name="T87" fmla="*/ 2147483647 h 218"/>
                <a:gd name="T88" fmla="*/ 2147483647 w 250"/>
                <a:gd name="T89" fmla="*/ 2147483647 h 218"/>
                <a:gd name="T90" fmla="*/ 2147483647 w 250"/>
                <a:gd name="T91" fmla="*/ 2147483647 h 218"/>
                <a:gd name="T92" fmla="*/ 2147483647 w 250"/>
                <a:gd name="T93" fmla="*/ 2147483647 h 218"/>
                <a:gd name="T94" fmla="*/ 2147483647 w 250"/>
                <a:gd name="T95" fmla="*/ 2147483647 h 218"/>
                <a:gd name="T96" fmla="*/ 2147483647 w 250"/>
                <a:gd name="T97" fmla="*/ 2147483647 h 218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250"/>
                <a:gd name="T148" fmla="*/ 0 h 218"/>
                <a:gd name="T149" fmla="*/ 250 w 250"/>
                <a:gd name="T150" fmla="*/ 218 h 218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250" h="218">
                  <a:moveTo>
                    <a:pt x="158" y="74"/>
                  </a:moveTo>
                  <a:lnTo>
                    <a:pt x="143" y="74"/>
                  </a:lnTo>
                  <a:lnTo>
                    <a:pt x="143" y="57"/>
                  </a:lnTo>
                  <a:lnTo>
                    <a:pt x="155" y="40"/>
                  </a:lnTo>
                  <a:lnTo>
                    <a:pt x="149" y="37"/>
                  </a:lnTo>
                  <a:lnTo>
                    <a:pt x="141" y="25"/>
                  </a:lnTo>
                  <a:lnTo>
                    <a:pt x="132" y="17"/>
                  </a:lnTo>
                  <a:lnTo>
                    <a:pt x="123" y="11"/>
                  </a:lnTo>
                  <a:lnTo>
                    <a:pt x="118" y="5"/>
                  </a:lnTo>
                  <a:lnTo>
                    <a:pt x="112" y="5"/>
                  </a:lnTo>
                  <a:lnTo>
                    <a:pt x="106" y="2"/>
                  </a:lnTo>
                  <a:lnTo>
                    <a:pt x="103" y="5"/>
                  </a:lnTo>
                  <a:lnTo>
                    <a:pt x="100" y="5"/>
                  </a:lnTo>
                  <a:lnTo>
                    <a:pt x="98" y="5"/>
                  </a:lnTo>
                  <a:lnTo>
                    <a:pt x="98" y="2"/>
                  </a:lnTo>
                  <a:lnTo>
                    <a:pt x="98" y="5"/>
                  </a:lnTo>
                  <a:lnTo>
                    <a:pt x="83" y="5"/>
                  </a:lnTo>
                  <a:lnTo>
                    <a:pt x="77" y="0"/>
                  </a:lnTo>
                  <a:lnTo>
                    <a:pt x="72" y="11"/>
                  </a:lnTo>
                  <a:lnTo>
                    <a:pt x="69" y="11"/>
                  </a:lnTo>
                  <a:lnTo>
                    <a:pt x="66" y="5"/>
                  </a:lnTo>
                  <a:lnTo>
                    <a:pt x="63" y="8"/>
                  </a:lnTo>
                  <a:lnTo>
                    <a:pt x="57" y="8"/>
                  </a:lnTo>
                  <a:lnTo>
                    <a:pt x="54" y="22"/>
                  </a:lnTo>
                  <a:lnTo>
                    <a:pt x="52" y="31"/>
                  </a:lnTo>
                  <a:lnTo>
                    <a:pt x="52" y="34"/>
                  </a:lnTo>
                  <a:lnTo>
                    <a:pt x="52" y="40"/>
                  </a:lnTo>
                  <a:lnTo>
                    <a:pt x="49" y="43"/>
                  </a:lnTo>
                  <a:lnTo>
                    <a:pt x="40" y="40"/>
                  </a:lnTo>
                  <a:lnTo>
                    <a:pt x="34" y="54"/>
                  </a:lnTo>
                  <a:lnTo>
                    <a:pt x="29" y="80"/>
                  </a:lnTo>
                  <a:lnTo>
                    <a:pt x="23" y="77"/>
                  </a:lnTo>
                  <a:lnTo>
                    <a:pt x="20" y="86"/>
                  </a:lnTo>
                  <a:lnTo>
                    <a:pt x="17" y="100"/>
                  </a:lnTo>
                  <a:lnTo>
                    <a:pt x="17" y="120"/>
                  </a:lnTo>
                  <a:lnTo>
                    <a:pt x="14" y="123"/>
                  </a:lnTo>
                  <a:lnTo>
                    <a:pt x="9" y="126"/>
                  </a:lnTo>
                  <a:lnTo>
                    <a:pt x="6" y="123"/>
                  </a:lnTo>
                  <a:lnTo>
                    <a:pt x="3" y="123"/>
                  </a:lnTo>
                  <a:lnTo>
                    <a:pt x="0" y="132"/>
                  </a:lnTo>
                  <a:lnTo>
                    <a:pt x="11" y="134"/>
                  </a:lnTo>
                  <a:lnTo>
                    <a:pt x="17" y="143"/>
                  </a:lnTo>
                  <a:lnTo>
                    <a:pt x="23" y="149"/>
                  </a:lnTo>
                  <a:lnTo>
                    <a:pt x="29" y="152"/>
                  </a:lnTo>
                  <a:lnTo>
                    <a:pt x="32" y="169"/>
                  </a:lnTo>
                  <a:lnTo>
                    <a:pt x="37" y="180"/>
                  </a:lnTo>
                  <a:lnTo>
                    <a:pt x="49" y="178"/>
                  </a:lnTo>
                  <a:lnTo>
                    <a:pt x="49" y="195"/>
                  </a:lnTo>
                  <a:lnTo>
                    <a:pt x="52" y="198"/>
                  </a:lnTo>
                  <a:lnTo>
                    <a:pt x="66" y="198"/>
                  </a:lnTo>
                  <a:lnTo>
                    <a:pt x="86" y="212"/>
                  </a:lnTo>
                  <a:lnTo>
                    <a:pt x="109" y="218"/>
                  </a:lnTo>
                  <a:lnTo>
                    <a:pt x="115" y="209"/>
                  </a:lnTo>
                  <a:lnTo>
                    <a:pt x="121" y="203"/>
                  </a:lnTo>
                  <a:lnTo>
                    <a:pt x="129" y="201"/>
                  </a:lnTo>
                  <a:lnTo>
                    <a:pt x="132" y="201"/>
                  </a:lnTo>
                  <a:lnTo>
                    <a:pt x="138" y="206"/>
                  </a:lnTo>
                  <a:lnTo>
                    <a:pt x="146" y="206"/>
                  </a:lnTo>
                  <a:lnTo>
                    <a:pt x="155" y="201"/>
                  </a:lnTo>
                  <a:lnTo>
                    <a:pt x="166" y="198"/>
                  </a:lnTo>
                  <a:lnTo>
                    <a:pt x="178" y="189"/>
                  </a:lnTo>
                  <a:lnTo>
                    <a:pt x="195" y="186"/>
                  </a:lnTo>
                  <a:lnTo>
                    <a:pt x="198" y="186"/>
                  </a:lnTo>
                  <a:lnTo>
                    <a:pt x="201" y="186"/>
                  </a:lnTo>
                  <a:lnTo>
                    <a:pt x="250" y="132"/>
                  </a:lnTo>
                  <a:lnTo>
                    <a:pt x="238" y="132"/>
                  </a:lnTo>
                  <a:lnTo>
                    <a:pt x="204" y="120"/>
                  </a:lnTo>
                  <a:lnTo>
                    <a:pt x="181" y="109"/>
                  </a:lnTo>
                  <a:lnTo>
                    <a:pt x="172" y="97"/>
                  </a:lnTo>
                  <a:lnTo>
                    <a:pt x="164" y="89"/>
                  </a:lnTo>
                  <a:lnTo>
                    <a:pt x="161" y="77"/>
                  </a:lnTo>
                  <a:lnTo>
                    <a:pt x="164" y="71"/>
                  </a:lnTo>
                  <a:lnTo>
                    <a:pt x="158" y="7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21" name="Freeform 322"/>
            <p:cNvSpPr>
              <a:spLocks/>
            </p:cNvSpPr>
            <p:nvPr/>
          </p:nvSpPr>
          <p:spPr bwMode="auto">
            <a:xfrm>
              <a:off x="4945063" y="4521200"/>
              <a:ext cx="207962" cy="207963"/>
            </a:xfrm>
            <a:custGeom>
              <a:avLst/>
              <a:gdLst>
                <a:gd name="T0" fmla="*/ 2147483647 w 129"/>
                <a:gd name="T1" fmla="*/ 2147483647 h 129"/>
                <a:gd name="T2" fmla="*/ 2147483647 w 129"/>
                <a:gd name="T3" fmla="*/ 2147483647 h 129"/>
                <a:gd name="T4" fmla="*/ 2147483647 w 129"/>
                <a:gd name="T5" fmla="*/ 2147483647 h 129"/>
                <a:gd name="T6" fmla="*/ 2147483647 w 129"/>
                <a:gd name="T7" fmla="*/ 2147483647 h 129"/>
                <a:gd name="T8" fmla="*/ 2147483647 w 129"/>
                <a:gd name="T9" fmla="*/ 0 h 129"/>
                <a:gd name="T10" fmla="*/ 2147483647 w 129"/>
                <a:gd name="T11" fmla="*/ 2147483647 h 129"/>
                <a:gd name="T12" fmla="*/ 2147483647 w 129"/>
                <a:gd name="T13" fmla="*/ 2147483647 h 129"/>
                <a:gd name="T14" fmla="*/ 2147483647 w 129"/>
                <a:gd name="T15" fmla="*/ 2147483647 h 129"/>
                <a:gd name="T16" fmla="*/ 2147483647 w 129"/>
                <a:gd name="T17" fmla="*/ 2147483647 h 129"/>
                <a:gd name="T18" fmla="*/ 2147483647 w 129"/>
                <a:gd name="T19" fmla="*/ 2147483647 h 129"/>
                <a:gd name="T20" fmla="*/ 2147483647 w 129"/>
                <a:gd name="T21" fmla="*/ 2147483647 h 129"/>
                <a:gd name="T22" fmla="*/ 2147483647 w 129"/>
                <a:gd name="T23" fmla="*/ 2147483647 h 129"/>
                <a:gd name="T24" fmla="*/ 0 w 129"/>
                <a:gd name="T25" fmla="*/ 2147483647 h 129"/>
                <a:gd name="T26" fmla="*/ 2147483647 w 129"/>
                <a:gd name="T27" fmla="*/ 2147483647 h 129"/>
                <a:gd name="T28" fmla="*/ 2147483647 w 129"/>
                <a:gd name="T29" fmla="*/ 2147483647 h 129"/>
                <a:gd name="T30" fmla="*/ 2147483647 w 129"/>
                <a:gd name="T31" fmla="*/ 2147483647 h 129"/>
                <a:gd name="T32" fmla="*/ 2147483647 w 129"/>
                <a:gd name="T33" fmla="*/ 2147483647 h 129"/>
                <a:gd name="T34" fmla="*/ 2147483647 w 129"/>
                <a:gd name="T35" fmla="*/ 2147483647 h 129"/>
                <a:gd name="T36" fmla="*/ 2147483647 w 129"/>
                <a:gd name="T37" fmla="*/ 2147483647 h 129"/>
                <a:gd name="T38" fmla="*/ 2147483647 w 129"/>
                <a:gd name="T39" fmla="*/ 2147483647 h 129"/>
                <a:gd name="T40" fmla="*/ 2147483647 w 129"/>
                <a:gd name="T41" fmla="*/ 2147483647 h 129"/>
                <a:gd name="T42" fmla="*/ 2147483647 w 129"/>
                <a:gd name="T43" fmla="*/ 2147483647 h 129"/>
                <a:gd name="T44" fmla="*/ 2147483647 w 129"/>
                <a:gd name="T45" fmla="*/ 2147483647 h 129"/>
                <a:gd name="T46" fmla="*/ 2147483647 w 129"/>
                <a:gd name="T47" fmla="*/ 2147483647 h 129"/>
                <a:gd name="T48" fmla="*/ 2147483647 w 129"/>
                <a:gd name="T49" fmla="*/ 2147483647 h 129"/>
                <a:gd name="T50" fmla="*/ 2147483647 w 129"/>
                <a:gd name="T51" fmla="*/ 2147483647 h 129"/>
                <a:gd name="T52" fmla="*/ 2147483647 w 129"/>
                <a:gd name="T53" fmla="*/ 2147483647 h 129"/>
                <a:gd name="T54" fmla="*/ 2147483647 w 129"/>
                <a:gd name="T55" fmla="*/ 2147483647 h 129"/>
                <a:gd name="T56" fmla="*/ 2147483647 w 129"/>
                <a:gd name="T57" fmla="*/ 2147483647 h 129"/>
                <a:gd name="T58" fmla="*/ 2147483647 w 129"/>
                <a:gd name="T59" fmla="*/ 2147483647 h 129"/>
                <a:gd name="T60" fmla="*/ 2147483647 w 129"/>
                <a:gd name="T61" fmla="*/ 2147483647 h 129"/>
                <a:gd name="T62" fmla="*/ 2147483647 w 129"/>
                <a:gd name="T63" fmla="*/ 2147483647 h 12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29"/>
                <a:gd name="T97" fmla="*/ 0 h 129"/>
                <a:gd name="T98" fmla="*/ 129 w 129"/>
                <a:gd name="T99" fmla="*/ 129 h 129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29" h="129">
                  <a:moveTo>
                    <a:pt x="126" y="23"/>
                  </a:moveTo>
                  <a:lnTo>
                    <a:pt x="121" y="20"/>
                  </a:lnTo>
                  <a:lnTo>
                    <a:pt x="109" y="14"/>
                  </a:lnTo>
                  <a:lnTo>
                    <a:pt x="103" y="11"/>
                  </a:lnTo>
                  <a:lnTo>
                    <a:pt x="98" y="9"/>
                  </a:lnTo>
                  <a:lnTo>
                    <a:pt x="89" y="9"/>
                  </a:lnTo>
                  <a:lnTo>
                    <a:pt x="83" y="6"/>
                  </a:lnTo>
                  <a:lnTo>
                    <a:pt x="83" y="0"/>
                  </a:lnTo>
                  <a:lnTo>
                    <a:pt x="72" y="0"/>
                  </a:lnTo>
                  <a:lnTo>
                    <a:pt x="63" y="6"/>
                  </a:lnTo>
                  <a:lnTo>
                    <a:pt x="60" y="11"/>
                  </a:lnTo>
                  <a:lnTo>
                    <a:pt x="55" y="20"/>
                  </a:lnTo>
                  <a:lnTo>
                    <a:pt x="46" y="26"/>
                  </a:lnTo>
                  <a:lnTo>
                    <a:pt x="37" y="32"/>
                  </a:lnTo>
                  <a:lnTo>
                    <a:pt x="34" y="40"/>
                  </a:lnTo>
                  <a:lnTo>
                    <a:pt x="32" y="43"/>
                  </a:lnTo>
                  <a:lnTo>
                    <a:pt x="26" y="49"/>
                  </a:lnTo>
                  <a:lnTo>
                    <a:pt x="14" y="46"/>
                  </a:lnTo>
                  <a:lnTo>
                    <a:pt x="12" y="43"/>
                  </a:lnTo>
                  <a:lnTo>
                    <a:pt x="9" y="49"/>
                  </a:lnTo>
                  <a:lnTo>
                    <a:pt x="0" y="43"/>
                  </a:lnTo>
                  <a:lnTo>
                    <a:pt x="9" y="60"/>
                  </a:lnTo>
                  <a:lnTo>
                    <a:pt x="12" y="72"/>
                  </a:lnTo>
                  <a:lnTo>
                    <a:pt x="23" y="80"/>
                  </a:lnTo>
                  <a:lnTo>
                    <a:pt x="32" y="86"/>
                  </a:lnTo>
                  <a:lnTo>
                    <a:pt x="32" y="95"/>
                  </a:lnTo>
                  <a:lnTo>
                    <a:pt x="37" y="92"/>
                  </a:lnTo>
                  <a:lnTo>
                    <a:pt x="37" y="106"/>
                  </a:lnTo>
                  <a:lnTo>
                    <a:pt x="40" y="115"/>
                  </a:lnTo>
                  <a:lnTo>
                    <a:pt x="55" y="115"/>
                  </a:lnTo>
                  <a:lnTo>
                    <a:pt x="60" y="118"/>
                  </a:lnTo>
                  <a:lnTo>
                    <a:pt x="60" y="123"/>
                  </a:lnTo>
                  <a:lnTo>
                    <a:pt x="63" y="126"/>
                  </a:lnTo>
                  <a:lnTo>
                    <a:pt x="75" y="126"/>
                  </a:lnTo>
                  <a:lnTo>
                    <a:pt x="78" y="129"/>
                  </a:lnTo>
                  <a:lnTo>
                    <a:pt x="83" y="129"/>
                  </a:lnTo>
                  <a:lnTo>
                    <a:pt x="92" y="129"/>
                  </a:lnTo>
                  <a:lnTo>
                    <a:pt x="95" y="129"/>
                  </a:lnTo>
                  <a:lnTo>
                    <a:pt x="118" y="109"/>
                  </a:lnTo>
                  <a:lnTo>
                    <a:pt x="118" y="95"/>
                  </a:lnTo>
                  <a:lnTo>
                    <a:pt x="123" y="86"/>
                  </a:lnTo>
                  <a:lnTo>
                    <a:pt x="126" y="80"/>
                  </a:lnTo>
                  <a:lnTo>
                    <a:pt x="121" y="77"/>
                  </a:lnTo>
                  <a:lnTo>
                    <a:pt x="121" y="75"/>
                  </a:lnTo>
                  <a:lnTo>
                    <a:pt x="123" y="69"/>
                  </a:lnTo>
                  <a:lnTo>
                    <a:pt x="121" y="63"/>
                  </a:lnTo>
                  <a:lnTo>
                    <a:pt x="126" y="57"/>
                  </a:lnTo>
                  <a:lnTo>
                    <a:pt x="129" y="52"/>
                  </a:lnTo>
                  <a:lnTo>
                    <a:pt x="126" y="34"/>
                  </a:lnTo>
                  <a:lnTo>
                    <a:pt x="126" y="2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22" name="Freeform 323"/>
            <p:cNvSpPr>
              <a:spLocks/>
            </p:cNvSpPr>
            <p:nvPr/>
          </p:nvSpPr>
          <p:spPr bwMode="auto">
            <a:xfrm>
              <a:off x="3862388" y="1827213"/>
              <a:ext cx="52387" cy="20637"/>
            </a:xfrm>
            <a:custGeom>
              <a:avLst/>
              <a:gdLst>
                <a:gd name="T0" fmla="*/ 2147483647 w 32"/>
                <a:gd name="T1" fmla="*/ 0 h 12"/>
                <a:gd name="T2" fmla="*/ 2147483647 w 32"/>
                <a:gd name="T3" fmla="*/ 0 h 12"/>
                <a:gd name="T4" fmla="*/ 0 w 32"/>
                <a:gd name="T5" fmla="*/ 0 h 12"/>
                <a:gd name="T6" fmla="*/ 0 w 32"/>
                <a:gd name="T7" fmla="*/ 2147483647 h 12"/>
                <a:gd name="T8" fmla="*/ 2147483647 w 32"/>
                <a:gd name="T9" fmla="*/ 2147483647 h 12"/>
                <a:gd name="T10" fmla="*/ 2147483647 w 32"/>
                <a:gd name="T11" fmla="*/ 2147483647 h 12"/>
                <a:gd name="T12" fmla="*/ 2147483647 w 32"/>
                <a:gd name="T13" fmla="*/ 2147483647 h 12"/>
                <a:gd name="T14" fmla="*/ 2147483647 w 32"/>
                <a:gd name="T15" fmla="*/ 2147483647 h 12"/>
                <a:gd name="T16" fmla="*/ 2147483647 w 32"/>
                <a:gd name="T17" fmla="*/ 2147483647 h 12"/>
                <a:gd name="T18" fmla="*/ 2147483647 w 32"/>
                <a:gd name="T19" fmla="*/ 0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2"/>
                <a:gd name="T31" fmla="*/ 0 h 12"/>
                <a:gd name="T32" fmla="*/ 32 w 32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2" h="12">
                  <a:moveTo>
                    <a:pt x="18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9" y="9"/>
                  </a:lnTo>
                  <a:lnTo>
                    <a:pt x="18" y="12"/>
                  </a:lnTo>
                  <a:lnTo>
                    <a:pt x="23" y="12"/>
                  </a:lnTo>
                  <a:lnTo>
                    <a:pt x="29" y="9"/>
                  </a:lnTo>
                  <a:lnTo>
                    <a:pt x="32" y="3"/>
                  </a:lnTo>
                  <a:lnTo>
                    <a:pt x="18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23" name="Freeform 324"/>
            <p:cNvSpPr>
              <a:spLocks/>
            </p:cNvSpPr>
            <p:nvPr/>
          </p:nvSpPr>
          <p:spPr bwMode="auto">
            <a:xfrm>
              <a:off x="4854575" y="4291013"/>
              <a:ext cx="317500" cy="300037"/>
            </a:xfrm>
            <a:custGeom>
              <a:avLst/>
              <a:gdLst>
                <a:gd name="T0" fmla="*/ 2147483647 w 198"/>
                <a:gd name="T1" fmla="*/ 2147483647 h 187"/>
                <a:gd name="T2" fmla="*/ 2147483647 w 198"/>
                <a:gd name="T3" fmla="*/ 2147483647 h 187"/>
                <a:gd name="T4" fmla="*/ 2147483647 w 198"/>
                <a:gd name="T5" fmla="*/ 2147483647 h 187"/>
                <a:gd name="T6" fmla="*/ 2147483647 w 198"/>
                <a:gd name="T7" fmla="*/ 2147483647 h 187"/>
                <a:gd name="T8" fmla="*/ 2147483647 w 198"/>
                <a:gd name="T9" fmla="*/ 2147483647 h 187"/>
                <a:gd name="T10" fmla="*/ 2147483647 w 198"/>
                <a:gd name="T11" fmla="*/ 2147483647 h 187"/>
                <a:gd name="T12" fmla="*/ 2147483647 w 198"/>
                <a:gd name="T13" fmla="*/ 2147483647 h 187"/>
                <a:gd name="T14" fmla="*/ 2147483647 w 198"/>
                <a:gd name="T15" fmla="*/ 2147483647 h 187"/>
                <a:gd name="T16" fmla="*/ 2147483647 w 198"/>
                <a:gd name="T17" fmla="*/ 2147483647 h 187"/>
                <a:gd name="T18" fmla="*/ 2147483647 w 198"/>
                <a:gd name="T19" fmla="*/ 2147483647 h 187"/>
                <a:gd name="T20" fmla="*/ 2147483647 w 198"/>
                <a:gd name="T21" fmla="*/ 2147483647 h 187"/>
                <a:gd name="T22" fmla="*/ 2147483647 w 198"/>
                <a:gd name="T23" fmla="*/ 2147483647 h 187"/>
                <a:gd name="T24" fmla="*/ 2147483647 w 198"/>
                <a:gd name="T25" fmla="*/ 2147483647 h 187"/>
                <a:gd name="T26" fmla="*/ 2147483647 w 198"/>
                <a:gd name="T27" fmla="*/ 2147483647 h 187"/>
                <a:gd name="T28" fmla="*/ 2147483647 w 198"/>
                <a:gd name="T29" fmla="*/ 2147483647 h 187"/>
                <a:gd name="T30" fmla="*/ 2147483647 w 198"/>
                <a:gd name="T31" fmla="*/ 2147483647 h 187"/>
                <a:gd name="T32" fmla="*/ 2147483647 w 198"/>
                <a:gd name="T33" fmla="*/ 2147483647 h 187"/>
                <a:gd name="T34" fmla="*/ 2147483647 w 198"/>
                <a:gd name="T35" fmla="*/ 2147483647 h 187"/>
                <a:gd name="T36" fmla="*/ 2147483647 w 198"/>
                <a:gd name="T37" fmla="*/ 2147483647 h 187"/>
                <a:gd name="T38" fmla="*/ 2147483647 w 198"/>
                <a:gd name="T39" fmla="*/ 2147483647 h 187"/>
                <a:gd name="T40" fmla="*/ 2147483647 w 198"/>
                <a:gd name="T41" fmla="*/ 2147483647 h 187"/>
                <a:gd name="T42" fmla="*/ 2147483647 w 198"/>
                <a:gd name="T43" fmla="*/ 2147483647 h 187"/>
                <a:gd name="T44" fmla="*/ 2147483647 w 198"/>
                <a:gd name="T45" fmla="*/ 2147483647 h 187"/>
                <a:gd name="T46" fmla="*/ 2147483647 w 198"/>
                <a:gd name="T47" fmla="*/ 2147483647 h 187"/>
                <a:gd name="T48" fmla="*/ 2147483647 w 198"/>
                <a:gd name="T49" fmla="*/ 2147483647 h 187"/>
                <a:gd name="T50" fmla="*/ 2147483647 w 198"/>
                <a:gd name="T51" fmla="*/ 2147483647 h 187"/>
                <a:gd name="T52" fmla="*/ 2147483647 w 198"/>
                <a:gd name="T53" fmla="*/ 2147483647 h 187"/>
                <a:gd name="T54" fmla="*/ 2147483647 w 198"/>
                <a:gd name="T55" fmla="*/ 2147483647 h 187"/>
                <a:gd name="T56" fmla="*/ 2147483647 w 198"/>
                <a:gd name="T57" fmla="*/ 2147483647 h 187"/>
                <a:gd name="T58" fmla="*/ 2147483647 w 198"/>
                <a:gd name="T59" fmla="*/ 2147483647 h 187"/>
                <a:gd name="T60" fmla="*/ 2147483647 w 198"/>
                <a:gd name="T61" fmla="*/ 2147483647 h 187"/>
                <a:gd name="T62" fmla="*/ 0 w 198"/>
                <a:gd name="T63" fmla="*/ 2147483647 h 187"/>
                <a:gd name="T64" fmla="*/ 2147483647 w 198"/>
                <a:gd name="T65" fmla="*/ 2147483647 h 187"/>
                <a:gd name="T66" fmla="*/ 2147483647 w 198"/>
                <a:gd name="T67" fmla="*/ 2147483647 h 187"/>
                <a:gd name="T68" fmla="*/ 2147483647 w 198"/>
                <a:gd name="T69" fmla="*/ 2147483647 h 187"/>
                <a:gd name="T70" fmla="*/ 2147483647 w 198"/>
                <a:gd name="T71" fmla="*/ 2147483647 h 187"/>
                <a:gd name="T72" fmla="*/ 2147483647 w 198"/>
                <a:gd name="T73" fmla="*/ 2147483647 h 187"/>
                <a:gd name="T74" fmla="*/ 2147483647 w 198"/>
                <a:gd name="T75" fmla="*/ 2147483647 h 187"/>
                <a:gd name="T76" fmla="*/ 2147483647 w 198"/>
                <a:gd name="T77" fmla="*/ 2147483647 h 187"/>
                <a:gd name="T78" fmla="*/ 2147483647 w 198"/>
                <a:gd name="T79" fmla="*/ 2147483647 h 187"/>
                <a:gd name="T80" fmla="*/ 2147483647 w 198"/>
                <a:gd name="T81" fmla="*/ 2147483647 h 187"/>
                <a:gd name="T82" fmla="*/ 2147483647 w 198"/>
                <a:gd name="T83" fmla="*/ 2147483647 h 187"/>
                <a:gd name="T84" fmla="*/ 2147483647 w 198"/>
                <a:gd name="T85" fmla="*/ 2147483647 h 187"/>
                <a:gd name="T86" fmla="*/ 2147483647 w 198"/>
                <a:gd name="T87" fmla="*/ 2147483647 h 187"/>
                <a:gd name="T88" fmla="*/ 2147483647 w 198"/>
                <a:gd name="T89" fmla="*/ 2147483647 h 187"/>
                <a:gd name="T90" fmla="*/ 2147483647 w 198"/>
                <a:gd name="T91" fmla="*/ 2147483647 h 187"/>
                <a:gd name="T92" fmla="*/ 2147483647 w 198"/>
                <a:gd name="T93" fmla="*/ 2147483647 h 187"/>
                <a:gd name="T94" fmla="*/ 2147483647 w 198"/>
                <a:gd name="T95" fmla="*/ 2147483647 h 18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98"/>
                <a:gd name="T145" fmla="*/ 0 h 187"/>
                <a:gd name="T146" fmla="*/ 198 w 198"/>
                <a:gd name="T147" fmla="*/ 187 h 18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98" h="187">
                  <a:moveTo>
                    <a:pt x="178" y="104"/>
                  </a:moveTo>
                  <a:lnTo>
                    <a:pt x="186" y="98"/>
                  </a:lnTo>
                  <a:lnTo>
                    <a:pt x="186" y="87"/>
                  </a:lnTo>
                  <a:lnTo>
                    <a:pt x="195" y="81"/>
                  </a:lnTo>
                  <a:lnTo>
                    <a:pt x="189" y="78"/>
                  </a:lnTo>
                  <a:lnTo>
                    <a:pt x="189" y="75"/>
                  </a:lnTo>
                  <a:lnTo>
                    <a:pt x="189" y="66"/>
                  </a:lnTo>
                  <a:lnTo>
                    <a:pt x="189" y="61"/>
                  </a:lnTo>
                  <a:lnTo>
                    <a:pt x="192" y="55"/>
                  </a:lnTo>
                  <a:lnTo>
                    <a:pt x="192" y="52"/>
                  </a:lnTo>
                  <a:lnTo>
                    <a:pt x="198" y="43"/>
                  </a:lnTo>
                  <a:lnTo>
                    <a:pt x="198" y="41"/>
                  </a:lnTo>
                  <a:lnTo>
                    <a:pt x="192" y="38"/>
                  </a:lnTo>
                  <a:lnTo>
                    <a:pt x="192" y="32"/>
                  </a:lnTo>
                  <a:lnTo>
                    <a:pt x="186" y="29"/>
                  </a:lnTo>
                  <a:lnTo>
                    <a:pt x="186" y="23"/>
                  </a:lnTo>
                  <a:lnTo>
                    <a:pt x="163" y="12"/>
                  </a:lnTo>
                  <a:lnTo>
                    <a:pt x="149" y="6"/>
                  </a:lnTo>
                  <a:lnTo>
                    <a:pt x="149" y="0"/>
                  </a:lnTo>
                  <a:lnTo>
                    <a:pt x="120" y="3"/>
                  </a:lnTo>
                  <a:lnTo>
                    <a:pt x="120" y="9"/>
                  </a:lnTo>
                  <a:lnTo>
                    <a:pt x="112" y="21"/>
                  </a:lnTo>
                  <a:lnTo>
                    <a:pt x="114" y="35"/>
                  </a:lnTo>
                  <a:lnTo>
                    <a:pt x="114" y="52"/>
                  </a:lnTo>
                  <a:lnTo>
                    <a:pt x="109" y="64"/>
                  </a:lnTo>
                  <a:lnTo>
                    <a:pt x="117" y="72"/>
                  </a:lnTo>
                  <a:lnTo>
                    <a:pt x="126" y="78"/>
                  </a:lnTo>
                  <a:lnTo>
                    <a:pt x="135" y="75"/>
                  </a:lnTo>
                  <a:lnTo>
                    <a:pt x="132" y="107"/>
                  </a:lnTo>
                  <a:lnTo>
                    <a:pt x="129" y="104"/>
                  </a:lnTo>
                  <a:lnTo>
                    <a:pt x="126" y="98"/>
                  </a:lnTo>
                  <a:lnTo>
                    <a:pt x="117" y="101"/>
                  </a:lnTo>
                  <a:lnTo>
                    <a:pt x="112" y="92"/>
                  </a:lnTo>
                  <a:lnTo>
                    <a:pt x="106" y="84"/>
                  </a:lnTo>
                  <a:lnTo>
                    <a:pt x="94" y="81"/>
                  </a:lnTo>
                  <a:lnTo>
                    <a:pt x="86" y="66"/>
                  </a:lnTo>
                  <a:lnTo>
                    <a:pt x="83" y="75"/>
                  </a:lnTo>
                  <a:lnTo>
                    <a:pt x="57" y="66"/>
                  </a:lnTo>
                  <a:lnTo>
                    <a:pt x="54" y="64"/>
                  </a:lnTo>
                  <a:lnTo>
                    <a:pt x="54" y="58"/>
                  </a:lnTo>
                  <a:lnTo>
                    <a:pt x="43" y="64"/>
                  </a:lnTo>
                  <a:lnTo>
                    <a:pt x="37" y="61"/>
                  </a:lnTo>
                  <a:lnTo>
                    <a:pt x="37" y="55"/>
                  </a:lnTo>
                  <a:lnTo>
                    <a:pt x="34" y="55"/>
                  </a:lnTo>
                  <a:lnTo>
                    <a:pt x="34" y="66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34" y="92"/>
                  </a:lnTo>
                  <a:lnTo>
                    <a:pt x="0" y="92"/>
                  </a:lnTo>
                  <a:lnTo>
                    <a:pt x="0" y="153"/>
                  </a:lnTo>
                  <a:lnTo>
                    <a:pt x="20" y="181"/>
                  </a:lnTo>
                  <a:lnTo>
                    <a:pt x="37" y="176"/>
                  </a:lnTo>
                  <a:lnTo>
                    <a:pt x="48" y="178"/>
                  </a:lnTo>
                  <a:lnTo>
                    <a:pt x="51" y="184"/>
                  </a:lnTo>
                  <a:lnTo>
                    <a:pt x="57" y="184"/>
                  </a:lnTo>
                  <a:lnTo>
                    <a:pt x="66" y="187"/>
                  </a:lnTo>
                  <a:lnTo>
                    <a:pt x="66" y="184"/>
                  </a:lnTo>
                  <a:lnTo>
                    <a:pt x="69" y="184"/>
                  </a:lnTo>
                  <a:lnTo>
                    <a:pt x="74" y="187"/>
                  </a:lnTo>
                  <a:lnTo>
                    <a:pt x="83" y="187"/>
                  </a:lnTo>
                  <a:lnTo>
                    <a:pt x="86" y="184"/>
                  </a:lnTo>
                  <a:lnTo>
                    <a:pt x="89" y="184"/>
                  </a:lnTo>
                  <a:lnTo>
                    <a:pt x="91" y="173"/>
                  </a:lnTo>
                  <a:lnTo>
                    <a:pt x="97" y="170"/>
                  </a:lnTo>
                  <a:lnTo>
                    <a:pt x="100" y="167"/>
                  </a:lnTo>
                  <a:lnTo>
                    <a:pt x="109" y="161"/>
                  </a:lnTo>
                  <a:lnTo>
                    <a:pt x="114" y="153"/>
                  </a:lnTo>
                  <a:lnTo>
                    <a:pt x="117" y="150"/>
                  </a:lnTo>
                  <a:lnTo>
                    <a:pt x="126" y="141"/>
                  </a:lnTo>
                  <a:lnTo>
                    <a:pt x="137" y="141"/>
                  </a:lnTo>
                  <a:lnTo>
                    <a:pt x="137" y="132"/>
                  </a:lnTo>
                  <a:lnTo>
                    <a:pt x="186" y="112"/>
                  </a:lnTo>
                  <a:lnTo>
                    <a:pt x="178" y="10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24" name="Freeform 325"/>
            <p:cNvSpPr>
              <a:spLocks/>
            </p:cNvSpPr>
            <p:nvPr/>
          </p:nvSpPr>
          <p:spPr bwMode="auto">
            <a:xfrm>
              <a:off x="4586288" y="3867150"/>
              <a:ext cx="627062" cy="581025"/>
            </a:xfrm>
            <a:custGeom>
              <a:avLst/>
              <a:gdLst>
                <a:gd name="T0" fmla="*/ 2147483647 w 391"/>
                <a:gd name="T1" fmla="*/ 2147483647 h 362"/>
                <a:gd name="T2" fmla="*/ 2147483647 w 391"/>
                <a:gd name="T3" fmla="*/ 2147483647 h 362"/>
                <a:gd name="T4" fmla="*/ 2147483647 w 391"/>
                <a:gd name="T5" fmla="*/ 2147483647 h 362"/>
                <a:gd name="T6" fmla="*/ 2147483647 w 391"/>
                <a:gd name="T7" fmla="*/ 2147483647 h 362"/>
                <a:gd name="T8" fmla="*/ 2147483647 w 391"/>
                <a:gd name="T9" fmla="*/ 2147483647 h 362"/>
                <a:gd name="T10" fmla="*/ 2147483647 w 391"/>
                <a:gd name="T11" fmla="*/ 2147483647 h 362"/>
                <a:gd name="T12" fmla="*/ 2147483647 w 391"/>
                <a:gd name="T13" fmla="*/ 2147483647 h 362"/>
                <a:gd name="T14" fmla="*/ 2147483647 w 391"/>
                <a:gd name="T15" fmla="*/ 2147483647 h 362"/>
                <a:gd name="T16" fmla="*/ 2147483647 w 391"/>
                <a:gd name="T17" fmla="*/ 2147483647 h 362"/>
                <a:gd name="T18" fmla="*/ 2147483647 w 391"/>
                <a:gd name="T19" fmla="*/ 2147483647 h 362"/>
                <a:gd name="T20" fmla="*/ 2147483647 w 391"/>
                <a:gd name="T21" fmla="*/ 2147483647 h 362"/>
                <a:gd name="T22" fmla="*/ 2147483647 w 391"/>
                <a:gd name="T23" fmla="*/ 2147483647 h 362"/>
                <a:gd name="T24" fmla="*/ 2147483647 w 391"/>
                <a:gd name="T25" fmla="*/ 2147483647 h 362"/>
                <a:gd name="T26" fmla="*/ 2147483647 w 391"/>
                <a:gd name="T27" fmla="*/ 2147483647 h 362"/>
                <a:gd name="T28" fmla="*/ 2147483647 w 391"/>
                <a:gd name="T29" fmla="*/ 2147483647 h 362"/>
                <a:gd name="T30" fmla="*/ 2147483647 w 391"/>
                <a:gd name="T31" fmla="*/ 2147483647 h 362"/>
                <a:gd name="T32" fmla="*/ 2147483647 w 391"/>
                <a:gd name="T33" fmla="*/ 2147483647 h 362"/>
                <a:gd name="T34" fmla="*/ 2147483647 w 391"/>
                <a:gd name="T35" fmla="*/ 2147483647 h 362"/>
                <a:gd name="T36" fmla="*/ 2147483647 w 391"/>
                <a:gd name="T37" fmla="*/ 2147483647 h 362"/>
                <a:gd name="T38" fmla="*/ 2147483647 w 391"/>
                <a:gd name="T39" fmla="*/ 2147483647 h 362"/>
                <a:gd name="T40" fmla="*/ 2147483647 w 391"/>
                <a:gd name="T41" fmla="*/ 2147483647 h 362"/>
                <a:gd name="T42" fmla="*/ 2147483647 w 391"/>
                <a:gd name="T43" fmla="*/ 2147483647 h 362"/>
                <a:gd name="T44" fmla="*/ 2147483647 w 391"/>
                <a:gd name="T45" fmla="*/ 2147483647 h 362"/>
                <a:gd name="T46" fmla="*/ 2147483647 w 391"/>
                <a:gd name="T47" fmla="*/ 2147483647 h 362"/>
                <a:gd name="T48" fmla="*/ 2147483647 w 391"/>
                <a:gd name="T49" fmla="*/ 2147483647 h 362"/>
                <a:gd name="T50" fmla="*/ 2147483647 w 391"/>
                <a:gd name="T51" fmla="*/ 2147483647 h 362"/>
                <a:gd name="T52" fmla="*/ 2147483647 w 391"/>
                <a:gd name="T53" fmla="*/ 2147483647 h 362"/>
                <a:gd name="T54" fmla="*/ 0 w 391"/>
                <a:gd name="T55" fmla="*/ 2147483647 h 362"/>
                <a:gd name="T56" fmla="*/ 2147483647 w 391"/>
                <a:gd name="T57" fmla="*/ 2147483647 h 362"/>
                <a:gd name="T58" fmla="*/ 2147483647 w 391"/>
                <a:gd name="T59" fmla="*/ 2147483647 h 362"/>
                <a:gd name="T60" fmla="*/ 2147483647 w 391"/>
                <a:gd name="T61" fmla="*/ 2147483647 h 362"/>
                <a:gd name="T62" fmla="*/ 2147483647 w 391"/>
                <a:gd name="T63" fmla="*/ 2147483647 h 362"/>
                <a:gd name="T64" fmla="*/ 2147483647 w 391"/>
                <a:gd name="T65" fmla="*/ 2147483647 h 362"/>
                <a:gd name="T66" fmla="*/ 2147483647 w 391"/>
                <a:gd name="T67" fmla="*/ 2147483647 h 362"/>
                <a:gd name="T68" fmla="*/ 2147483647 w 391"/>
                <a:gd name="T69" fmla="*/ 2147483647 h 362"/>
                <a:gd name="T70" fmla="*/ 2147483647 w 391"/>
                <a:gd name="T71" fmla="*/ 2147483647 h 362"/>
                <a:gd name="T72" fmla="*/ 2147483647 w 391"/>
                <a:gd name="T73" fmla="*/ 2147483647 h 362"/>
                <a:gd name="T74" fmla="*/ 2147483647 w 391"/>
                <a:gd name="T75" fmla="*/ 2147483647 h 362"/>
                <a:gd name="T76" fmla="*/ 2147483647 w 391"/>
                <a:gd name="T77" fmla="*/ 2147483647 h 362"/>
                <a:gd name="T78" fmla="*/ 2147483647 w 391"/>
                <a:gd name="T79" fmla="*/ 2147483647 h 362"/>
                <a:gd name="T80" fmla="*/ 2147483647 w 391"/>
                <a:gd name="T81" fmla="*/ 2147483647 h 362"/>
                <a:gd name="T82" fmla="*/ 2147483647 w 391"/>
                <a:gd name="T83" fmla="*/ 2147483647 h 362"/>
                <a:gd name="T84" fmla="*/ 2147483647 w 391"/>
                <a:gd name="T85" fmla="*/ 2147483647 h 362"/>
                <a:gd name="T86" fmla="*/ 2147483647 w 391"/>
                <a:gd name="T87" fmla="*/ 2147483647 h 362"/>
                <a:gd name="T88" fmla="*/ 2147483647 w 391"/>
                <a:gd name="T89" fmla="*/ 2147483647 h 362"/>
                <a:gd name="T90" fmla="*/ 2147483647 w 391"/>
                <a:gd name="T91" fmla="*/ 2147483647 h 362"/>
                <a:gd name="T92" fmla="*/ 2147483647 w 391"/>
                <a:gd name="T93" fmla="*/ 2147483647 h 362"/>
                <a:gd name="T94" fmla="*/ 2147483647 w 391"/>
                <a:gd name="T95" fmla="*/ 2147483647 h 362"/>
                <a:gd name="T96" fmla="*/ 2147483647 w 391"/>
                <a:gd name="T97" fmla="*/ 2147483647 h 362"/>
                <a:gd name="T98" fmla="*/ 2147483647 w 391"/>
                <a:gd name="T99" fmla="*/ 2147483647 h 362"/>
                <a:gd name="T100" fmla="*/ 2147483647 w 391"/>
                <a:gd name="T101" fmla="*/ 2147483647 h 362"/>
                <a:gd name="T102" fmla="*/ 2147483647 w 391"/>
                <a:gd name="T103" fmla="*/ 2147483647 h 362"/>
                <a:gd name="T104" fmla="*/ 2147483647 w 391"/>
                <a:gd name="T105" fmla="*/ 2147483647 h 36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391"/>
                <a:gd name="T160" fmla="*/ 0 h 362"/>
                <a:gd name="T161" fmla="*/ 391 w 391"/>
                <a:gd name="T162" fmla="*/ 362 h 36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391" h="362">
                  <a:moveTo>
                    <a:pt x="373" y="20"/>
                  </a:moveTo>
                  <a:lnTo>
                    <a:pt x="365" y="29"/>
                  </a:lnTo>
                  <a:lnTo>
                    <a:pt x="362" y="29"/>
                  </a:lnTo>
                  <a:lnTo>
                    <a:pt x="356" y="29"/>
                  </a:lnTo>
                  <a:lnTo>
                    <a:pt x="345" y="35"/>
                  </a:lnTo>
                  <a:lnTo>
                    <a:pt x="336" y="32"/>
                  </a:lnTo>
                  <a:lnTo>
                    <a:pt x="330" y="29"/>
                  </a:lnTo>
                  <a:lnTo>
                    <a:pt x="327" y="32"/>
                  </a:lnTo>
                  <a:lnTo>
                    <a:pt x="319" y="38"/>
                  </a:lnTo>
                  <a:lnTo>
                    <a:pt x="316" y="38"/>
                  </a:lnTo>
                  <a:lnTo>
                    <a:pt x="313" y="32"/>
                  </a:lnTo>
                  <a:lnTo>
                    <a:pt x="310" y="29"/>
                  </a:lnTo>
                  <a:lnTo>
                    <a:pt x="299" y="15"/>
                  </a:lnTo>
                  <a:lnTo>
                    <a:pt x="293" y="18"/>
                  </a:lnTo>
                  <a:lnTo>
                    <a:pt x="284" y="15"/>
                  </a:lnTo>
                  <a:lnTo>
                    <a:pt x="281" y="20"/>
                  </a:lnTo>
                  <a:lnTo>
                    <a:pt x="276" y="23"/>
                  </a:lnTo>
                  <a:lnTo>
                    <a:pt x="273" y="20"/>
                  </a:lnTo>
                  <a:lnTo>
                    <a:pt x="264" y="12"/>
                  </a:lnTo>
                  <a:lnTo>
                    <a:pt x="258" y="3"/>
                  </a:lnTo>
                  <a:lnTo>
                    <a:pt x="250" y="6"/>
                  </a:lnTo>
                  <a:lnTo>
                    <a:pt x="238" y="3"/>
                  </a:lnTo>
                  <a:lnTo>
                    <a:pt x="233" y="3"/>
                  </a:lnTo>
                  <a:lnTo>
                    <a:pt x="227" y="0"/>
                  </a:lnTo>
                  <a:lnTo>
                    <a:pt x="224" y="6"/>
                  </a:lnTo>
                  <a:lnTo>
                    <a:pt x="213" y="9"/>
                  </a:lnTo>
                  <a:lnTo>
                    <a:pt x="207" y="6"/>
                  </a:lnTo>
                  <a:lnTo>
                    <a:pt x="198" y="12"/>
                  </a:lnTo>
                  <a:lnTo>
                    <a:pt x="192" y="15"/>
                  </a:lnTo>
                  <a:lnTo>
                    <a:pt x="190" y="15"/>
                  </a:lnTo>
                  <a:lnTo>
                    <a:pt x="184" y="12"/>
                  </a:lnTo>
                  <a:lnTo>
                    <a:pt x="175" y="23"/>
                  </a:lnTo>
                  <a:lnTo>
                    <a:pt x="172" y="23"/>
                  </a:lnTo>
                  <a:lnTo>
                    <a:pt x="167" y="23"/>
                  </a:lnTo>
                  <a:lnTo>
                    <a:pt x="161" y="20"/>
                  </a:lnTo>
                  <a:lnTo>
                    <a:pt x="147" y="20"/>
                  </a:lnTo>
                  <a:lnTo>
                    <a:pt x="141" y="18"/>
                  </a:lnTo>
                  <a:lnTo>
                    <a:pt x="129" y="3"/>
                  </a:lnTo>
                  <a:lnTo>
                    <a:pt x="126" y="3"/>
                  </a:lnTo>
                  <a:lnTo>
                    <a:pt x="118" y="6"/>
                  </a:lnTo>
                  <a:lnTo>
                    <a:pt x="112" y="18"/>
                  </a:lnTo>
                  <a:lnTo>
                    <a:pt x="112" y="23"/>
                  </a:lnTo>
                  <a:lnTo>
                    <a:pt x="112" y="32"/>
                  </a:lnTo>
                  <a:lnTo>
                    <a:pt x="109" y="32"/>
                  </a:lnTo>
                  <a:lnTo>
                    <a:pt x="112" y="40"/>
                  </a:lnTo>
                  <a:lnTo>
                    <a:pt x="106" y="52"/>
                  </a:lnTo>
                  <a:lnTo>
                    <a:pt x="103" y="55"/>
                  </a:lnTo>
                  <a:lnTo>
                    <a:pt x="103" y="61"/>
                  </a:lnTo>
                  <a:lnTo>
                    <a:pt x="101" y="69"/>
                  </a:lnTo>
                  <a:lnTo>
                    <a:pt x="98" y="84"/>
                  </a:lnTo>
                  <a:lnTo>
                    <a:pt x="98" y="86"/>
                  </a:lnTo>
                  <a:lnTo>
                    <a:pt x="95" y="107"/>
                  </a:lnTo>
                  <a:lnTo>
                    <a:pt x="95" y="118"/>
                  </a:lnTo>
                  <a:lnTo>
                    <a:pt x="89" y="124"/>
                  </a:lnTo>
                  <a:lnTo>
                    <a:pt x="83" y="127"/>
                  </a:lnTo>
                  <a:lnTo>
                    <a:pt x="78" y="132"/>
                  </a:lnTo>
                  <a:lnTo>
                    <a:pt x="78" y="135"/>
                  </a:lnTo>
                  <a:lnTo>
                    <a:pt x="75" y="138"/>
                  </a:lnTo>
                  <a:lnTo>
                    <a:pt x="72" y="141"/>
                  </a:lnTo>
                  <a:lnTo>
                    <a:pt x="69" y="144"/>
                  </a:lnTo>
                  <a:lnTo>
                    <a:pt x="69" y="150"/>
                  </a:lnTo>
                  <a:lnTo>
                    <a:pt x="69" y="155"/>
                  </a:lnTo>
                  <a:lnTo>
                    <a:pt x="66" y="173"/>
                  </a:lnTo>
                  <a:lnTo>
                    <a:pt x="63" y="178"/>
                  </a:lnTo>
                  <a:lnTo>
                    <a:pt x="58" y="184"/>
                  </a:lnTo>
                  <a:lnTo>
                    <a:pt x="43" y="198"/>
                  </a:lnTo>
                  <a:lnTo>
                    <a:pt x="40" y="198"/>
                  </a:lnTo>
                  <a:lnTo>
                    <a:pt x="37" y="198"/>
                  </a:lnTo>
                  <a:lnTo>
                    <a:pt x="35" y="196"/>
                  </a:lnTo>
                  <a:lnTo>
                    <a:pt x="35" y="190"/>
                  </a:lnTo>
                  <a:lnTo>
                    <a:pt x="32" y="190"/>
                  </a:lnTo>
                  <a:lnTo>
                    <a:pt x="29" y="190"/>
                  </a:lnTo>
                  <a:lnTo>
                    <a:pt x="26" y="196"/>
                  </a:lnTo>
                  <a:lnTo>
                    <a:pt x="26" y="198"/>
                  </a:lnTo>
                  <a:lnTo>
                    <a:pt x="20" y="201"/>
                  </a:lnTo>
                  <a:lnTo>
                    <a:pt x="17" y="198"/>
                  </a:lnTo>
                  <a:lnTo>
                    <a:pt x="14" y="196"/>
                  </a:lnTo>
                  <a:lnTo>
                    <a:pt x="6" y="201"/>
                  </a:lnTo>
                  <a:lnTo>
                    <a:pt x="6" y="210"/>
                  </a:lnTo>
                  <a:lnTo>
                    <a:pt x="6" y="216"/>
                  </a:lnTo>
                  <a:lnTo>
                    <a:pt x="0" y="216"/>
                  </a:lnTo>
                  <a:lnTo>
                    <a:pt x="0" y="221"/>
                  </a:lnTo>
                  <a:lnTo>
                    <a:pt x="6" y="218"/>
                  </a:lnTo>
                  <a:lnTo>
                    <a:pt x="12" y="213"/>
                  </a:lnTo>
                  <a:lnTo>
                    <a:pt x="75" y="216"/>
                  </a:lnTo>
                  <a:lnTo>
                    <a:pt x="75" y="218"/>
                  </a:lnTo>
                  <a:lnTo>
                    <a:pt x="81" y="233"/>
                  </a:lnTo>
                  <a:lnTo>
                    <a:pt x="81" y="244"/>
                  </a:lnTo>
                  <a:lnTo>
                    <a:pt x="92" y="259"/>
                  </a:lnTo>
                  <a:lnTo>
                    <a:pt x="95" y="259"/>
                  </a:lnTo>
                  <a:lnTo>
                    <a:pt x="103" y="259"/>
                  </a:lnTo>
                  <a:lnTo>
                    <a:pt x="106" y="253"/>
                  </a:lnTo>
                  <a:lnTo>
                    <a:pt x="109" y="250"/>
                  </a:lnTo>
                  <a:lnTo>
                    <a:pt x="112" y="253"/>
                  </a:lnTo>
                  <a:lnTo>
                    <a:pt x="118" y="259"/>
                  </a:lnTo>
                  <a:lnTo>
                    <a:pt x="118" y="256"/>
                  </a:lnTo>
                  <a:lnTo>
                    <a:pt x="121" y="250"/>
                  </a:lnTo>
                  <a:lnTo>
                    <a:pt x="121" y="239"/>
                  </a:lnTo>
                  <a:lnTo>
                    <a:pt x="138" y="236"/>
                  </a:lnTo>
                  <a:lnTo>
                    <a:pt x="147" y="236"/>
                  </a:lnTo>
                  <a:lnTo>
                    <a:pt x="147" y="244"/>
                  </a:lnTo>
                  <a:lnTo>
                    <a:pt x="161" y="241"/>
                  </a:lnTo>
                  <a:lnTo>
                    <a:pt x="164" y="241"/>
                  </a:lnTo>
                  <a:lnTo>
                    <a:pt x="164" y="244"/>
                  </a:lnTo>
                  <a:lnTo>
                    <a:pt x="164" y="250"/>
                  </a:lnTo>
                  <a:lnTo>
                    <a:pt x="164" y="256"/>
                  </a:lnTo>
                  <a:lnTo>
                    <a:pt x="167" y="259"/>
                  </a:lnTo>
                  <a:lnTo>
                    <a:pt x="167" y="264"/>
                  </a:lnTo>
                  <a:lnTo>
                    <a:pt x="167" y="282"/>
                  </a:lnTo>
                  <a:lnTo>
                    <a:pt x="167" y="285"/>
                  </a:lnTo>
                  <a:lnTo>
                    <a:pt x="167" y="290"/>
                  </a:lnTo>
                  <a:lnTo>
                    <a:pt x="169" y="296"/>
                  </a:lnTo>
                  <a:lnTo>
                    <a:pt x="172" y="302"/>
                  </a:lnTo>
                  <a:lnTo>
                    <a:pt x="172" y="305"/>
                  </a:lnTo>
                  <a:lnTo>
                    <a:pt x="172" y="310"/>
                  </a:lnTo>
                  <a:lnTo>
                    <a:pt x="169" y="313"/>
                  </a:lnTo>
                  <a:lnTo>
                    <a:pt x="172" y="319"/>
                  </a:lnTo>
                  <a:lnTo>
                    <a:pt x="178" y="316"/>
                  </a:lnTo>
                  <a:lnTo>
                    <a:pt x="187" y="319"/>
                  </a:lnTo>
                  <a:lnTo>
                    <a:pt x="192" y="313"/>
                  </a:lnTo>
                  <a:lnTo>
                    <a:pt x="198" y="316"/>
                  </a:lnTo>
                  <a:lnTo>
                    <a:pt x="198" y="313"/>
                  </a:lnTo>
                  <a:lnTo>
                    <a:pt x="207" y="316"/>
                  </a:lnTo>
                  <a:lnTo>
                    <a:pt x="207" y="319"/>
                  </a:lnTo>
                  <a:lnTo>
                    <a:pt x="207" y="325"/>
                  </a:lnTo>
                  <a:lnTo>
                    <a:pt x="210" y="325"/>
                  </a:lnTo>
                  <a:lnTo>
                    <a:pt x="224" y="316"/>
                  </a:lnTo>
                  <a:lnTo>
                    <a:pt x="227" y="328"/>
                  </a:lnTo>
                  <a:lnTo>
                    <a:pt x="247" y="333"/>
                  </a:lnTo>
                  <a:lnTo>
                    <a:pt x="253" y="325"/>
                  </a:lnTo>
                  <a:lnTo>
                    <a:pt x="264" y="342"/>
                  </a:lnTo>
                  <a:lnTo>
                    <a:pt x="276" y="345"/>
                  </a:lnTo>
                  <a:lnTo>
                    <a:pt x="281" y="353"/>
                  </a:lnTo>
                  <a:lnTo>
                    <a:pt x="287" y="362"/>
                  </a:lnTo>
                  <a:lnTo>
                    <a:pt x="293" y="359"/>
                  </a:lnTo>
                  <a:lnTo>
                    <a:pt x="296" y="359"/>
                  </a:lnTo>
                  <a:lnTo>
                    <a:pt x="296" y="362"/>
                  </a:lnTo>
                  <a:lnTo>
                    <a:pt x="299" y="345"/>
                  </a:lnTo>
                  <a:lnTo>
                    <a:pt x="293" y="345"/>
                  </a:lnTo>
                  <a:lnTo>
                    <a:pt x="281" y="339"/>
                  </a:lnTo>
                  <a:lnTo>
                    <a:pt x="273" y="328"/>
                  </a:lnTo>
                  <a:lnTo>
                    <a:pt x="279" y="313"/>
                  </a:lnTo>
                  <a:lnTo>
                    <a:pt x="279" y="299"/>
                  </a:lnTo>
                  <a:lnTo>
                    <a:pt x="276" y="285"/>
                  </a:lnTo>
                  <a:lnTo>
                    <a:pt x="284" y="273"/>
                  </a:lnTo>
                  <a:lnTo>
                    <a:pt x="284" y="264"/>
                  </a:lnTo>
                  <a:lnTo>
                    <a:pt x="316" y="262"/>
                  </a:lnTo>
                  <a:lnTo>
                    <a:pt x="310" y="247"/>
                  </a:lnTo>
                  <a:lnTo>
                    <a:pt x="304" y="236"/>
                  </a:lnTo>
                  <a:lnTo>
                    <a:pt x="296" y="224"/>
                  </a:lnTo>
                  <a:lnTo>
                    <a:pt x="293" y="216"/>
                  </a:lnTo>
                  <a:lnTo>
                    <a:pt x="296" y="210"/>
                  </a:lnTo>
                  <a:lnTo>
                    <a:pt x="293" y="190"/>
                  </a:lnTo>
                  <a:lnTo>
                    <a:pt x="304" y="187"/>
                  </a:lnTo>
                  <a:lnTo>
                    <a:pt x="310" y="181"/>
                  </a:lnTo>
                  <a:lnTo>
                    <a:pt x="313" y="173"/>
                  </a:lnTo>
                  <a:lnTo>
                    <a:pt x="319" y="167"/>
                  </a:lnTo>
                  <a:lnTo>
                    <a:pt x="319" y="161"/>
                  </a:lnTo>
                  <a:lnTo>
                    <a:pt x="310" y="158"/>
                  </a:lnTo>
                  <a:lnTo>
                    <a:pt x="316" y="147"/>
                  </a:lnTo>
                  <a:lnTo>
                    <a:pt x="319" y="144"/>
                  </a:lnTo>
                  <a:lnTo>
                    <a:pt x="319" y="135"/>
                  </a:lnTo>
                  <a:lnTo>
                    <a:pt x="313" y="132"/>
                  </a:lnTo>
                  <a:lnTo>
                    <a:pt x="316" y="121"/>
                  </a:lnTo>
                  <a:lnTo>
                    <a:pt x="336" y="121"/>
                  </a:lnTo>
                  <a:lnTo>
                    <a:pt x="336" y="115"/>
                  </a:lnTo>
                  <a:lnTo>
                    <a:pt x="336" y="104"/>
                  </a:lnTo>
                  <a:lnTo>
                    <a:pt x="347" y="98"/>
                  </a:lnTo>
                  <a:lnTo>
                    <a:pt x="356" y="98"/>
                  </a:lnTo>
                  <a:lnTo>
                    <a:pt x="362" y="92"/>
                  </a:lnTo>
                  <a:lnTo>
                    <a:pt x="368" y="98"/>
                  </a:lnTo>
                  <a:lnTo>
                    <a:pt x="370" y="101"/>
                  </a:lnTo>
                  <a:lnTo>
                    <a:pt x="373" y="98"/>
                  </a:lnTo>
                  <a:lnTo>
                    <a:pt x="382" y="81"/>
                  </a:lnTo>
                  <a:lnTo>
                    <a:pt x="388" y="78"/>
                  </a:lnTo>
                  <a:lnTo>
                    <a:pt x="391" y="63"/>
                  </a:lnTo>
                  <a:lnTo>
                    <a:pt x="388" y="52"/>
                  </a:lnTo>
                  <a:lnTo>
                    <a:pt x="382" y="43"/>
                  </a:lnTo>
                  <a:lnTo>
                    <a:pt x="382" y="32"/>
                  </a:lnTo>
                  <a:lnTo>
                    <a:pt x="373" y="2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25" name="Freeform 326"/>
            <p:cNvSpPr>
              <a:spLocks/>
            </p:cNvSpPr>
            <p:nvPr/>
          </p:nvSpPr>
          <p:spPr bwMode="auto">
            <a:xfrm>
              <a:off x="5065713" y="4065588"/>
              <a:ext cx="298450" cy="330200"/>
            </a:xfrm>
            <a:custGeom>
              <a:avLst/>
              <a:gdLst>
                <a:gd name="T0" fmla="*/ 2147483647 w 186"/>
                <a:gd name="T1" fmla="*/ 2147483647 h 206"/>
                <a:gd name="T2" fmla="*/ 2147483647 w 186"/>
                <a:gd name="T3" fmla="*/ 2147483647 h 206"/>
                <a:gd name="T4" fmla="*/ 2147483647 w 186"/>
                <a:gd name="T5" fmla="*/ 2147483647 h 206"/>
                <a:gd name="T6" fmla="*/ 2147483647 w 186"/>
                <a:gd name="T7" fmla="*/ 2147483647 h 206"/>
                <a:gd name="T8" fmla="*/ 2147483647 w 186"/>
                <a:gd name="T9" fmla="*/ 2147483647 h 206"/>
                <a:gd name="T10" fmla="*/ 2147483647 w 186"/>
                <a:gd name="T11" fmla="*/ 2147483647 h 206"/>
                <a:gd name="T12" fmla="*/ 2147483647 w 186"/>
                <a:gd name="T13" fmla="*/ 2147483647 h 206"/>
                <a:gd name="T14" fmla="*/ 2147483647 w 186"/>
                <a:gd name="T15" fmla="*/ 2147483647 h 206"/>
                <a:gd name="T16" fmla="*/ 2147483647 w 186"/>
                <a:gd name="T17" fmla="*/ 0 h 206"/>
                <a:gd name="T18" fmla="*/ 2147483647 w 186"/>
                <a:gd name="T19" fmla="*/ 2147483647 h 206"/>
                <a:gd name="T20" fmla="*/ 2147483647 w 186"/>
                <a:gd name="T21" fmla="*/ 2147483647 h 206"/>
                <a:gd name="T22" fmla="*/ 2147483647 w 186"/>
                <a:gd name="T23" fmla="*/ 2147483647 h 206"/>
                <a:gd name="T24" fmla="*/ 2147483647 w 186"/>
                <a:gd name="T25" fmla="*/ 2147483647 h 206"/>
                <a:gd name="T26" fmla="*/ 2147483647 w 186"/>
                <a:gd name="T27" fmla="*/ 2147483647 h 206"/>
                <a:gd name="T28" fmla="*/ 2147483647 w 186"/>
                <a:gd name="T29" fmla="*/ 2147483647 h 206"/>
                <a:gd name="T30" fmla="*/ 0 w 186"/>
                <a:gd name="T31" fmla="*/ 2147483647 h 206"/>
                <a:gd name="T32" fmla="*/ 0 w 186"/>
                <a:gd name="T33" fmla="*/ 2147483647 h 206"/>
                <a:gd name="T34" fmla="*/ 0 w 186"/>
                <a:gd name="T35" fmla="*/ 2147483647 h 206"/>
                <a:gd name="T36" fmla="*/ 2147483647 w 186"/>
                <a:gd name="T37" fmla="*/ 2147483647 h 206"/>
                <a:gd name="T38" fmla="*/ 2147483647 w 186"/>
                <a:gd name="T39" fmla="*/ 2147483647 h 206"/>
                <a:gd name="T40" fmla="*/ 2147483647 w 186"/>
                <a:gd name="T41" fmla="*/ 2147483647 h 206"/>
                <a:gd name="T42" fmla="*/ 2147483647 w 186"/>
                <a:gd name="T43" fmla="*/ 2147483647 h 206"/>
                <a:gd name="T44" fmla="*/ 2147483647 w 186"/>
                <a:gd name="T45" fmla="*/ 2147483647 h 206"/>
                <a:gd name="T46" fmla="*/ 2147483647 w 186"/>
                <a:gd name="T47" fmla="*/ 2147483647 h 206"/>
                <a:gd name="T48" fmla="*/ 2147483647 w 186"/>
                <a:gd name="T49" fmla="*/ 2147483647 h 206"/>
                <a:gd name="T50" fmla="*/ 2147483647 w 186"/>
                <a:gd name="T51" fmla="*/ 2147483647 h 206"/>
                <a:gd name="T52" fmla="*/ 2147483647 w 186"/>
                <a:gd name="T53" fmla="*/ 2147483647 h 206"/>
                <a:gd name="T54" fmla="*/ 2147483647 w 186"/>
                <a:gd name="T55" fmla="*/ 2147483647 h 206"/>
                <a:gd name="T56" fmla="*/ 2147483647 w 186"/>
                <a:gd name="T57" fmla="*/ 2147483647 h 206"/>
                <a:gd name="T58" fmla="*/ 2147483647 w 186"/>
                <a:gd name="T59" fmla="*/ 2147483647 h 206"/>
                <a:gd name="T60" fmla="*/ 2147483647 w 186"/>
                <a:gd name="T61" fmla="*/ 2147483647 h 206"/>
                <a:gd name="T62" fmla="*/ 2147483647 w 186"/>
                <a:gd name="T63" fmla="*/ 2147483647 h 206"/>
                <a:gd name="T64" fmla="*/ 2147483647 w 186"/>
                <a:gd name="T65" fmla="*/ 2147483647 h 206"/>
                <a:gd name="T66" fmla="*/ 2147483647 w 186"/>
                <a:gd name="T67" fmla="*/ 2147483647 h 206"/>
                <a:gd name="T68" fmla="*/ 2147483647 w 186"/>
                <a:gd name="T69" fmla="*/ 2147483647 h 206"/>
                <a:gd name="T70" fmla="*/ 2147483647 w 186"/>
                <a:gd name="T71" fmla="*/ 2147483647 h 206"/>
                <a:gd name="T72" fmla="*/ 2147483647 w 186"/>
                <a:gd name="T73" fmla="*/ 2147483647 h 206"/>
                <a:gd name="T74" fmla="*/ 2147483647 w 186"/>
                <a:gd name="T75" fmla="*/ 2147483647 h 206"/>
                <a:gd name="T76" fmla="*/ 2147483647 w 186"/>
                <a:gd name="T77" fmla="*/ 2147483647 h 206"/>
                <a:gd name="T78" fmla="*/ 2147483647 w 186"/>
                <a:gd name="T79" fmla="*/ 2147483647 h 206"/>
                <a:gd name="T80" fmla="*/ 2147483647 w 186"/>
                <a:gd name="T81" fmla="*/ 2147483647 h 206"/>
                <a:gd name="T82" fmla="*/ 2147483647 w 186"/>
                <a:gd name="T83" fmla="*/ 2147483647 h 20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86"/>
                <a:gd name="T127" fmla="*/ 0 h 206"/>
                <a:gd name="T128" fmla="*/ 186 w 186"/>
                <a:gd name="T129" fmla="*/ 206 h 20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86" h="206">
                  <a:moveTo>
                    <a:pt x="137" y="40"/>
                  </a:moveTo>
                  <a:lnTo>
                    <a:pt x="126" y="31"/>
                  </a:lnTo>
                  <a:lnTo>
                    <a:pt x="74" y="0"/>
                  </a:lnTo>
                  <a:lnTo>
                    <a:pt x="71" y="8"/>
                  </a:lnTo>
                  <a:lnTo>
                    <a:pt x="60" y="17"/>
                  </a:lnTo>
                  <a:lnTo>
                    <a:pt x="71" y="20"/>
                  </a:lnTo>
                  <a:lnTo>
                    <a:pt x="66" y="28"/>
                  </a:lnTo>
                  <a:lnTo>
                    <a:pt x="57" y="26"/>
                  </a:lnTo>
                  <a:lnTo>
                    <a:pt x="54" y="37"/>
                  </a:lnTo>
                  <a:lnTo>
                    <a:pt x="51" y="26"/>
                  </a:lnTo>
                  <a:lnTo>
                    <a:pt x="43" y="23"/>
                  </a:lnTo>
                  <a:lnTo>
                    <a:pt x="40" y="31"/>
                  </a:lnTo>
                  <a:lnTo>
                    <a:pt x="34" y="26"/>
                  </a:lnTo>
                  <a:lnTo>
                    <a:pt x="34" y="17"/>
                  </a:lnTo>
                  <a:lnTo>
                    <a:pt x="34" y="14"/>
                  </a:lnTo>
                  <a:lnTo>
                    <a:pt x="37" y="5"/>
                  </a:lnTo>
                  <a:lnTo>
                    <a:pt x="37" y="0"/>
                  </a:lnTo>
                  <a:lnTo>
                    <a:pt x="20" y="0"/>
                  </a:lnTo>
                  <a:lnTo>
                    <a:pt x="17" y="5"/>
                  </a:lnTo>
                  <a:lnTo>
                    <a:pt x="23" y="11"/>
                  </a:lnTo>
                  <a:lnTo>
                    <a:pt x="26" y="23"/>
                  </a:lnTo>
                  <a:lnTo>
                    <a:pt x="23" y="23"/>
                  </a:lnTo>
                  <a:lnTo>
                    <a:pt x="20" y="26"/>
                  </a:lnTo>
                  <a:lnTo>
                    <a:pt x="17" y="31"/>
                  </a:lnTo>
                  <a:lnTo>
                    <a:pt x="23" y="34"/>
                  </a:lnTo>
                  <a:lnTo>
                    <a:pt x="23" y="43"/>
                  </a:lnTo>
                  <a:lnTo>
                    <a:pt x="17" y="51"/>
                  </a:lnTo>
                  <a:lnTo>
                    <a:pt x="14" y="60"/>
                  </a:lnTo>
                  <a:lnTo>
                    <a:pt x="5" y="66"/>
                  </a:lnTo>
                  <a:lnTo>
                    <a:pt x="0" y="66"/>
                  </a:lnTo>
                  <a:lnTo>
                    <a:pt x="3" y="86"/>
                  </a:lnTo>
                  <a:lnTo>
                    <a:pt x="0" y="86"/>
                  </a:lnTo>
                  <a:lnTo>
                    <a:pt x="0" y="92"/>
                  </a:lnTo>
                  <a:lnTo>
                    <a:pt x="0" y="100"/>
                  </a:lnTo>
                  <a:lnTo>
                    <a:pt x="8" y="109"/>
                  </a:lnTo>
                  <a:lnTo>
                    <a:pt x="14" y="120"/>
                  </a:lnTo>
                  <a:lnTo>
                    <a:pt x="20" y="143"/>
                  </a:lnTo>
                  <a:lnTo>
                    <a:pt x="34" y="149"/>
                  </a:lnTo>
                  <a:lnTo>
                    <a:pt x="57" y="161"/>
                  </a:lnTo>
                  <a:lnTo>
                    <a:pt x="60" y="161"/>
                  </a:lnTo>
                  <a:lnTo>
                    <a:pt x="74" y="161"/>
                  </a:lnTo>
                  <a:lnTo>
                    <a:pt x="83" y="166"/>
                  </a:lnTo>
                  <a:lnTo>
                    <a:pt x="86" y="186"/>
                  </a:lnTo>
                  <a:lnTo>
                    <a:pt x="89" y="201"/>
                  </a:lnTo>
                  <a:lnTo>
                    <a:pt x="97" y="204"/>
                  </a:lnTo>
                  <a:lnTo>
                    <a:pt x="106" y="198"/>
                  </a:lnTo>
                  <a:lnTo>
                    <a:pt x="117" y="206"/>
                  </a:lnTo>
                  <a:lnTo>
                    <a:pt x="123" y="204"/>
                  </a:lnTo>
                  <a:lnTo>
                    <a:pt x="135" y="206"/>
                  </a:lnTo>
                  <a:lnTo>
                    <a:pt x="140" y="198"/>
                  </a:lnTo>
                  <a:lnTo>
                    <a:pt x="149" y="201"/>
                  </a:lnTo>
                  <a:lnTo>
                    <a:pt x="155" y="195"/>
                  </a:lnTo>
                  <a:lnTo>
                    <a:pt x="166" y="192"/>
                  </a:lnTo>
                  <a:lnTo>
                    <a:pt x="186" y="181"/>
                  </a:lnTo>
                  <a:lnTo>
                    <a:pt x="178" y="175"/>
                  </a:lnTo>
                  <a:lnTo>
                    <a:pt x="172" y="169"/>
                  </a:lnTo>
                  <a:lnTo>
                    <a:pt x="169" y="163"/>
                  </a:lnTo>
                  <a:lnTo>
                    <a:pt x="169" y="155"/>
                  </a:lnTo>
                  <a:lnTo>
                    <a:pt x="166" y="149"/>
                  </a:lnTo>
                  <a:lnTo>
                    <a:pt x="166" y="138"/>
                  </a:lnTo>
                  <a:lnTo>
                    <a:pt x="169" y="132"/>
                  </a:lnTo>
                  <a:lnTo>
                    <a:pt x="163" y="123"/>
                  </a:lnTo>
                  <a:lnTo>
                    <a:pt x="169" y="115"/>
                  </a:lnTo>
                  <a:lnTo>
                    <a:pt x="163" y="106"/>
                  </a:lnTo>
                  <a:lnTo>
                    <a:pt x="160" y="103"/>
                  </a:lnTo>
                  <a:lnTo>
                    <a:pt x="158" y="100"/>
                  </a:lnTo>
                  <a:lnTo>
                    <a:pt x="158" y="92"/>
                  </a:lnTo>
                  <a:lnTo>
                    <a:pt x="158" y="89"/>
                  </a:lnTo>
                  <a:lnTo>
                    <a:pt x="160" y="83"/>
                  </a:lnTo>
                  <a:lnTo>
                    <a:pt x="163" y="74"/>
                  </a:lnTo>
                  <a:lnTo>
                    <a:pt x="135" y="49"/>
                  </a:lnTo>
                  <a:lnTo>
                    <a:pt x="135" y="46"/>
                  </a:lnTo>
                  <a:lnTo>
                    <a:pt x="137" y="4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26" name="Freeform 327"/>
            <p:cNvSpPr>
              <a:spLocks/>
            </p:cNvSpPr>
            <p:nvPr/>
          </p:nvSpPr>
          <p:spPr bwMode="auto">
            <a:xfrm>
              <a:off x="3794125" y="3186113"/>
              <a:ext cx="317500" cy="382587"/>
            </a:xfrm>
            <a:custGeom>
              <a:avLst/>
              <a:gdLst>
                <a:gd name="T0" fmla="*/ 2147483647 w 198"/>
                <a:gd name="T1" fmla="*/ 2147483647 h 239"/>
                <a:gd name="T2" fmla="*/ 2147483647 w 198"/>
                <a:gd name="T3" fmla="*/ 2147483647 h 239"/>
                <a:gd name="T4" fmla="*/ 2147483647 w 198"/>
                <a:gd name="T5" fmla="*/ 2147483647 h 239"/>
                <a:gd name="T6" fmla="*/ 2147483647 w 198"/>
                <a:gd name="T7" fmla="*/ 2147483647 h 239"/>
                <a:gd name="T8" fmla="*/ 2147483647 w 198"/>
                <a:gd name="T9" fmla="*/ 2147483647 h 239"/>
                <a:gd name="T10" fmla="*/ 2147483647 w 198"/>
                <a:gd name="T11" fmla="*/ 2147483647 h 239"/>
                <a:gd name="T12" fmla="*/ 2147483647 w 198"/>
                <a:gd name="T13" fmla="*/ 2147483647 h 239"/>
                <a:gd name="T14" fmla="*/ 2147483647 w 198"/>
                <a:gd name="T15" fmla="*/ 2147483647 h 239"/>
                <a:gd name="T16" fmla="*/ 2147483647 w 198"/>
                <a:gd name="T17" fmla="*/ 2147483647 h 239"/>
                <a:gd name="T18" fmla="*/ 2147483647 w 198"/>
                <a:gd name="T19" fmla="*/ 2147483647 h 239"/>
                <a:gd name="T20" fmla="*/ 2147483647 w 198"/>
                <a:gd name="T21" fmla="*/ 2147483647 h 239"/>
                <a:gd name="T22" fmla="*/ 2147483647 w 198"/>
                <a:gd name="T23" fmla="*/ 2147483647 h 239"/>
                <a:gd name="T24" fmla="*/ 2147483647 w 198"/>
                <a:gd name="T25" fmla="*/ 2147483647 h 239"/>
                <a:gd name="T26" fmla="*/ 2147483647 w 198"/>
                <a:gd name="T27" fmla="*/ 2147483647 h 239"/>
                <a:gd name="T28" fmla="*/ 2147483647 w 198"/>
                <a:gd name="T29" fmla="*/ 2147483647 h 239"/>
                <a:gd name="T30" fmla="*/ 2147483647 w 198"/>
                <a:gd name="T31" fmla="*/ 2147483647 h 239"/>
                <a:gd name="T32" fmla="*/ 2147483647 w 198"/>
                <a:gd name="T33" fmla="*/ 2147483647 h 239"/>
                <a:gd name="T34" fmla="*/ 2147483647 w 198"/>
                <a:gd name="T35" fmla="*/ 2147483647 h 239"/>
                <a:gd name="T36" fmla="*/ 2147483647 w 198"/>
                <a:gd name="T37" fmla="*/ 2147483647 h 239"/>
                <a:gd name="T38" fmla="*/ 2147483647 w 198"/>
                <a:gd name="T39" fmla="*/ 2147483647 h 239"/>
                <a:gd name="T40" fmla="*/ 2147483647 w 198"/>
                <a:gd name="T41" fmla="*/ 2147483647 h 239"/>
                <a:gd name="T42" fmla="*/ 2147483647 w 198"/>
                <a:gd name="T43" fmla="*/ 2147483647 h 239"/>
                <a:gd name="T44" fmla="*/ 2147483647 w 198"/>
                <a:gd name="T45" fmla="*/ 2147483647 h 239"/>
                <a:gd name="T46" fmla="*/ 2147483647 w 198"/>
                <a:gd name="T47" fmla="*/ 2147483647 h 239"/>
                <a:gd name="T48" fmla="*/ 2147483647 w 198"/>
                <a:gd name="T49" fmla="*/ 2147483647 h 239"/>
                <a:gd name="T50" fmla="*/ 2147483647 w 198"/>
                <a:gd name="T51" fmla="*/ 2147483647 h 239"/>
                <a:gd name="T52" fmla="*/ 2147483647 w 198"/>
                <a:gd name="T53" fmla="*/ 2147483647 h 239"/>
                <a:gd name="T54" fmla="*/ 0 w 198"/>
                <a:gd name="T55" fmla="*/ 2147483647 h 239"/>
                <a:gd name="T56" fmla="*/ 2147483647 w 198"/>
                <a:gd name="T57" fmla="*/ 2147483647 h 239"/>
                <a:gd name="T58" fmla="*/ 2147483647 w 198"/>
                <a:gd name="T59" fmla="*/ 2147483647 h 239"/>
                <a:gd name="T60" fmla="*/ 2147483647 w 198"/>
                <a:gd name="T61" fmla="*/ 2147483647 h 239"/>
                <a:gd name="T62" fmla="*/ 2147483647 w 198"/>
                <a:gd name="T63" fmla="*/ 2147483647 h 239"/>
                <a:gd name="T64" fmla="*/ 2147483647 w 198"/>
                <a:gd name="T65" fmla="*/ 2147483647 h 239"/>
                <a:gd name="T66" fmla="*/ 2147483647 w 198"/>
                <a:gd name="T67" fmla="*/ 2147483647 h 239"/>
                <a:gd name="T68" fmla="*/ 2147483647 w 198"/>
                <a:gd name="T69" fmla="*/ 2147483647 h 239"/>
                <a:gd name="T70" fmla="*/ 2147483647 w 198"/>
                <a:gd name="T71" fmla="*/ 2147483647 h 239"/>
                <a:gd name="T72" fmla="*/ 2147483647 w 198"/>
                <a:gd name="T73" fmla="*/ 2147483647 h 239"/>
                <a:gd name="T74" fmla="*/ 2147483647 w 198"/>
                <a:gd name="T75" fmla="*/ 2147483647 h 239"/>
                <a:gd name="T76" fmla="*/ 2147483647 w 198"/>
                <a:gd name="T77" fmla="*/ 2147483647 h 239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98"/>
                <a:gd name="T118" fmla="*/ 0 h 239"/>
                <a:gd name="T119" fmla="*/ 198 w 198"/>
                <a:gd name="T120" fmla="*/ 239 h 239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98" h="239">
                  <a:moveTo>
                    <a:pt x="6" y="207"/>
                  </a:moveTo>
                  <a:lnTo>
                    <a:pt x="12" y="204"/>
                  </a:lnTo>
                  <a:lnTo>
                    <a:pt x="23" y="204"/>
                  </a:lnTo>
                  <a:lnTo>
                    <a:pt x="26" y="201"/>
                  </a:lnTo>
                  <a:lnTo>
                    <a:pt x="29" y="201"/>
                  </a:lnTo>
                  <a:lnTo>
                    <a:pt x="41" y="201"/>
                  </a:lnTo>
                  <a:lnTo>
                    <a:pt x="43" y="204"/>
                  </a:lnTo>
                  <a:lnTo>
                    <a:pt x="46" y="207"/>
                  </a:lnTo>
                  <a:lnTo>
                    <a:pt x="49" y="210"/>
                  </a:lnTo>
                  <a:lnTo>
                    <a:pt x="58" y="213"/>
                  </a:lnTo>
                  <a:lnTo>
                    <a:pt x="61" y="221"/>
                  </a:lnTo>
                  <a:lnTo>
                    <a:pt x="66" y="227"/>
                  </a:lnTo>
                  <a:lnTo>
                    <a:pt x="69" y="233"/>
                  </a:lnTo>
                  <a:lnTo>
                    <a:pt x="75" y="239"/>
                  </a:lnTo>
                  <a:lnTo>
                    <a:pt x="81" y="236"/>
                  </a:lnTo>
                  <a:lnTo>
                    <a:pt x="81" y="233"/>
                  </a:lnTo>
                  <a:lnTo>
                    <a:pt x="84" y="224"/>
                  </a:lnTo>
                  <a:lnTo>
                    <a:pt x="89" y="221"/>
                  </a:lnTo>
                  <a:lnTo>
                    <a:pt x="98" y="230"/>
                  </a:lnTo>
                  <a:lnTo>
                    <a:pt x="101" y="224"/>
                  </a:lnTo>
                  <a:lnTo>
                    <a:pt x="118" y="227"/>
                  </a:lnTo>
                  <a:lnTo>
                    <a:pt x="124" y="224"/>
                  </a:lnTo>
                  <a:lnTo>
                    <a:pt x="190" y="224"/>
                  </a:lnTo>
                  <a:lnTo>
                    <a:pt x="193" y="210"/>
                  </a:lnTo>
                  <a:lnTo>
                    <a:pt x="187" y="207"/>
                  </a:lnTo>
                  <a:lnTo>
                    <a:pt x="175" y="38"/>
                  </a:lnTo>
                  <a:lnTo>
                    <a:pt x="198" y="38"/>
                  </a:lnTo>
                  <a:lnTo>
                    <a:pt x="144" y="0"/>
                  </a:lnTo>
                  <a:lnTo>
                    <a:pt x="144" y="23"/>
                  </a:lnTo>
                  <a:lnTo>
                    <a:pt x="89" y="23"/>
                  </a:lnTo>
                  <a:lnTo>
                    <a:pt x="87" y="69"/>
                  </a:lnTo>
                  <a:lnTo>
                    <a:pt x="75" y="78"/>
                  </a:lnTo>
                  <a:lnTo>
                    <a:pt x="66" y="81"/>
                  </a:lnTo>
                  <a:lnTo>
                    <a:pt x="66" y="112"/>
                  </a:lnTo>
                  <a:lnTo>
                    <a:pt x="0" y="112"/>
                  </a:lnTo>
                  <a:lnTo>
                    <a:pt x="3" y="121"/>
                  </a:lnTo>
                  <a:lnTo>
                    <a:pt x="6" y="124"/>
                  </a:lnTo>
                  <a:lnTo>
                    <a:pt x="9" y="127"/>
                  </a:lnTo>
                  <a:lnTo>
                    <a:pt x="12" y="132"/>
                  </a:lnTo>
                  <a:lnTo>
                    <a:pt x="12" y="138"/>
                  </a:lnTo>
                  <a:lnTo>
                    <a:pt x="6" y="144"/>
                  </a:lnTo>
                  <a:lnTo>
                    <a:pt x="6" y="153"/>
                  </a:lnTo>
                  <a:lnTo>
                    <a:pt x="9" y="155"/>
                  </a:lnTo>
                  <a:lnTo>
                    <a:pt x="12" y="161"/>
                  </a:lnTo>
                  <a:lnTo>
                    <a:pt x="12" y="164"/>
                  </a:lnTo>
                  <a:lnTo>
                    <a:pt x="12" y="181"/>
                  </a:lnTo>
                  <a:lnTo>
                    <a:pt x="12" y="187"/>
                  </a:lnTo>
                  <a:lnTo>
                    <a:pt x="9" y="193"/>
                  </a:lnTo>
                  <a:lnTo>
                    <a:pt x="9" y="198"/>
                  </a:lnTo>
                  <a:lnTo>
                    <a:pt x="6" y="20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27" name="Freeform 328"/>
            <p:cNvSpPr>
              <a:spLocks/>
            </p:cNvSpPr>
            <p:nvPr/>
          </p:nvSpPr>
          <p:spPr bwMode="auto">
            <a:xfrm>
              <a:off x="3919538" y="3251200"/>
              <a:ext cx="763587" cy="460375"/>
            </a:xfrm>
            <a:custGeom>
              <a:avLst/>
              <a:gdLst>
                <a:gd name="T0" fmla="*/ 2147483647 w 476"/>
                <a:gd name="T1" fmla="*/ 2147483647 h 287"/>
                <a:gd name="T2" fmla="*/ 2147483647 w 476"/>
                <a:gd name="T3" fmla="*/ 2147483647 h 287"/>
                <a:gd name="T4" fmla="*/ 2147483647 w 476"/>
                <a:gd name="T5" fmla="*/ 2147483647 h 287"/>
                <a:gd name="T6" fmla="*/ 2147483647 w 476"/>
                <a:gd name="T7" fmla="*/ 2147483647 h 287"/>
                <a:gd name="T8" fmla="*/ 2147483647 w 476"/>
                <a:gd name="T9" fmla="*/ 2147483647 h 287"/>
                <a:gd name="T10" fmla="*/ 2147483647 w 476"/>
                <a:gd name="T11" fmla="*/ 2147483647 h 287"/>
                <a:gd name="T12" fmla="*/ 2147483647 w 476"/>
                <a:gd name="T13" fmla="*/ 2147483647 h 287"/>
                <a:gd name="T14" fmla="*/ 2147483647 w 476"/>
                <a:gd name="T15" fmla="*/ 2147483647 h 287"/>
                <a:gd name="T16" fmla="*/ 2147483647 w 476"/>
                <a:gd name="T17" fmla="*/ 2147483647 h 287"/>
                <a:gd name="T18" fmla="*/ 2147483647 w 476"/>
                <a:gd name="T19" fmla="*/ 2147483647 h 287"/>
                <a:gd name="T20" fmla="*/ 2147483647 w 476"/>
                <a:gd name="T21" fmla="*/ 2147483647 h 287"/>
                <a:gd name="T22" fmla="*/ 2147483647 w 476"/>
                <a:gd name="T23" fmla="*/ 2147483647 h 287"/>
                <a:gd name="T24" fmla="*/ 2147483647 w 476"/>
                <a:gd name="T25" fmla="*/ 2147483647 h 287"/>
                <a:gd name="T26" fmla="*/ 2147483647 w 476"/>
                <a:gd name="T27" fmla="*/ 2147483647 h 287"/>
                <a:gd name="T28" fmla="*/ 2147483647 w 476"/>
                <a:gd name="T29" fmla="*/ 2147483647 h 287"/>
                <a:gd name="T30" fmla="*/ 2147483647 w 476"/>
                <a:gd name="T31" fmla="*/ 2147483647 h 287"/>
                <a:gd name="T32" fmla="*/ 0 w 476"/>
                <a:gd name="T33" fmla="*/ 2147483647 h 287"/>
                <a:gd name="T34" fmla="*/ 2147483647 w 476"/>
                <a:gd name="T35" fmla="*/ 2147483647 h 287"/>
                <a:gd name="T36" fmla="*/ 2147483647 w 476"/>
                <a:gd name="T37" fmla="*/ 2147483647 h 287"/>
                <a:gd name="T38" fmla="*/ 2147483647 w 476"/>
                <a:gd name="T39" fmla="*/ 2147483647 h 287"/>
                <a:gd name="T40" fmla="*/ 2147483647 w 476"/>
                <a:gd name="T41" fmla="*/ 2147483647 h 287"/>
                <a:gd name="T42" fmla="*/ 2147483647 w 476"/>
                <a:gd name="T43" fmla="*/ 2147483647 h 287"/>
                <a:gd name="T44" fmla="*/ 2147483647 w 476"/>
                <a:gd name="T45" fmla="*/ 2147483647 h 287"/>
                <a:gd name="T46" fmla="*/ 2147483647 w 476"/>
                <a:gd name="T47" fmla="*/ 2147483647 h 287"/>
                <a:gd name="T48" fmla="*/ 2147483647 w 476"/>
                <a:gd name="T49" fmla="*/ 2147483647 h 287"/>
                <a:gd name="T50" fmla="*/ 2147483647 w 476"/>
                <a:gd name="T51" fmla="*/ 2147483647 h 287"/>
                <a:gd name="T52" fmla="*/ 2147483647 w 476"/>
                <a:gd name="T53" fmla="*/ 2147483647 h 287"/>
                <a:gd name="T54" fmla="*/ 2147483647 w 476"/>
                <a:gd name="T55" fmla="*/ 2147483647 h 287"/>
                <a:gd name="T56" fmla="*/ 2147483647 w 476"/>
                <a:gd name="T57" fmla="*/ 2147483647 h 287"/>
                <a:gd name="T58" fmla="*/ 2147483647 w 476"/>
                <a:gd name="T59" fmla="*/ 2147483647 h 287"/>
                <a:gd name="T60" fmla="*/ 2147483647 w 476"/>
                <a:gd name="T61" fmla="*/ 2147483647 h 287"/>
                <a:gd name="T62" fmla="*/ 2147483647 w 476"/>
                <a:gd name="T63" fmla="*/ 2147483647 h 287"/>
                <a:gd name="T64" fmla="*/ 2147483647 w 476"/>
                <a:gd name="T65" fmla="*/ 2147483647 h 287"/>
                <a:gd name="T66" fmla="*/ 2147483647 w 476"/>
                <a:gd name="T67" fmla="*/ 2147483647 h 287"/>
                <a:gd name="T68" fmla="*/ 2147483647 w 476"/>
                <a:gd name="T69" fmla="*/ 2147483647 h 287"/>
                <a:gd name="T70" fmla="*/ 2147483647 w 476"/>
                <a:gd name="T71" fmla="*/ 2147483647 h 287"/>
                <a:gd name="T72" fmla="*/ 2147483647 w 476"/>
                <a:gd name="T73" fmla="*/ 2147483647 h 287"/>
                <a:gd name="T74" fmla="*/ 2147483647 w 476"/>
                <a:gd name="T75" fmla="*/ 2147483647 h 287"/>
                <a:gd name="T76" fmla="*/ 2147483647 w 476"/>
                <a:gd name="T77" fmla="*/ 2147483647 h 287"/>
                <a:gd name="T78" fmla="*/ 2147483647 w 476"/>
                <a:gd name="T79" fmla="*/ 2147483647 h 287"/>
                <a:gd name="T80" fmla="*/ 2147483647 w 476"/>
                <a:gd name="T81" fmla="*/ 2147483647 h 287"/>
                <a:gd name="T82" fmla="*/ 2147483647 w 476"/>
                <a:gd name="T83" fmla="*/ 2147483647 h 287"/>
                <a:gd name="T84" fmla="*/ 2147483647 w 476"/>
                <a:gd name="T85" fmla="*/ 2147483647 h 287"/>
                <a:gd name="T86" fmla="*/ 2147483647 w 476"/>
                <a:gd name="T87" fmla="*/ 2147483647 h 287"/>
                <a:gd name="T88" fmla="*/ 2147483647 w 476"/>
                <a:gd name="T89" fmla="*/ 2147483647 h 287"/>
                <a:gd name="T90" fmla="*/ 2147483647 w 476"/>
                <a:gd name="T91" fmla="*/ 2147483647 h 287"/>
                <a:gd name="T92" fmla="*/ 2147483647 w 476"/>
                <a:gd name="T93" fmla="*/ 2147483647 h 287"/>
                <a:gd name="T94" fmla="*/ 2147483647 w 476"/>
                <a:gd name="T95" fmla="*/ 2147483647 h 287"/>
                <a:gd name="T96" fmla="*/ 2147483647 w 476"/>
                <a:gd name="T97" fmla="*/ 2147483647 h 287"/>
                <a:gd name="T98" fmla="*/ 2147483647 w 476"/>
                <a:gd name="T99" fmla="*/ 2147483647 h 287"/>
                <a:gd name="T100" fmla="*/ 2147483647 w 476"/>
                <a:gd name="T101" fmla="*/ 2147483647 h 287"/>
                <a:gd name="T102" fmla="*/ 2147483647 w 476"/>
                <a:gd name="T103" fmla="*/ 2147483647 h 287"/>
                <a:gd name="T104" fmla="*/ 2147483647 w 476"/>
                <a:gd name="T105" fmla="*/ 2147483647 h 287"/>
                <a:gd name="T106" fmla="*/ 2147483647 w 476"/>
                <a:gd name="T107" fmla="*/ 2147483647 h 287"/>
                <a:gd name="T108" fmla="*/ 2147483647 w 476"/>
                <a:gd name="T109" fmla="*/ 2147483647 h 287"/>
                <a:gd name="T110" fmla="*/ 2147483647 w 476"/>
                <a:gd name="T111" fmla="*/ 2147483647 h 287"/>
                <a:gd name="T112" fmla="*/ 2147483647 w 476"/>
                <a:gd name="T113" fmla="*/ 2147483647 h 287"/>
                <a:gd name="T114" fmla="*/ 2147483647 w 476"/>
                <a:gd name="T115" fmla="*/ 2147483647 h 287"/>
                <a:gd name="T116" fmla="*/ 2147483647 w 476"/>
                <a:gd name="T117" fmla="*/ 2147483647 h 287"/>
                <a:gd name="T118" fmla="*/ 2147483647 w 476"/>
                <a:gd name="T119" fmla="*/ 2147483647 h 287"/>
                <a:gd name="T120" fmla="*/ 2147483647 w 476"/>
                <a:gd name="T121" fmla="*/ 2147483647 h 287"/>
                <a:gd name="T122" fmla="*/ 2147483647 w 476"/>
                <a:gd name="T123" fmla="*/ 2147483647 h 287"/>
                <a:gd name="T124" fmla="*/ 2147483647 w 476"/>
                <a:gd name="T125" fmla="*/ 2147483647 h 287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76"/>
                <a:gd name="T190" fmla="*/ 0 h 287"/>
                <a:gd name="T191" fmla="*/ 476 w 476"/>
                <a:gd name="T192" fmla="*/ 287 h 287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76" h="287">
                  <a:moveTo>
                    <a:pt x="459" y="169"/>
                  </a:moveTo>
                  <a:lnTo>
                    <a:pt x="459" y="169"/>
                  </a:lnTo>
                  <a:lnTo>
                    <a:pt x="465" y="163"/>
                  </a:lnTo>
                  <a:lnTo>
                    <a:pt x="468" y="155"/>
                  </a:lnTo>
                  <a:lnTo>
                    <a:pt x="471" y="97"/>
                  </a:lnTo>
                  <a:lnTo>
                    <a:pt x="476" y="89"/>
                  </a:lnTo>
                  <a:lnTo>
                    <a:pt x="471" y="83"/>
                  </a:lnTo>
                  <a:lnTo>
                    <a:pt x="468" y="77"/>
                  </a:lnTo>
                  <a:lnTo>
                    <a:pt x="462" y="66"/>
                  </a:lnTo>
                  <a:lnTo>
                    <a:pt x="462" y="43"/>
                  </a:lnTo>
                  <a:lnTo>
                    <a:pt x="451" y="48"/>
                  </a:lnTo>
                  <a:lnTo>
                    <a:pt x="436" y="40"/>
                  </a:lnTo>
                  <a:lnTo>
                    <a:pt x="410" y="28"/>
                  </a:lnTo>
                  <a:lnTo>
                    <a:pt x="379" y="51"/>
                  </a:lnTo>
                  <a:lnTo>
                    <a:pt x="324" y="94"/>
                  </a:lnTo>
                  <a:lnTo>
                    <a:pt x="307" y="112"/>
                  </a:lnTo>
                  <a:lnTo>
                    <a:pt x="264" y="120"/>
                  </a:lnTo>
                  <a:lnTo>
                    <a:pt x="258" y="112"/>
                  </a:lnTo>
                  <a:lnTo>
                    <a:pt x="261" y="103"/>
                  </a:lnTo>
                  <a:lnTo>
                    <a:pt x="253" y="100"/>
                  </a:lnTo>
                  <a:lnTo>
                    <a:pt x="247" y="94"/>
                  </a:lnTo>
                  <a:lnTo>
                    <a:pt x="238" y="94"/>
                  </a:lnTo>
                  <a:lnTo>
                    <a:pt x="232" y="86"/>
                  </a:lnTo>
                  <a:lnTo>
                    <a:pt x="227" y="83"/>
                  </a:lnTo>
                  <a:lnTo>
                    <a:pt x="227" y="77"/>
                  </a:lnTo>
                  <a:lnTo>
                    <a:pt x="123" y="2"/>
                  </a:lnTo>
                  <a:lnTo>
                    <a:pt x="100" y="0"/>
                  </a:lnTo>
                  <a:lnTo>
                    <a:pt x="112" y="163"/>
                  </a:lnTo>
                  <a:lnTo>
                    <a:pt x="118" y="166"/>
                  </a:lnTo>
                  <a:lnTo>
                    <a:pt x="115" y="186"/>
                  </a:lnTo>
                  <a:lnTo>
                    <a:pt x="46" y="186"/>
                  </a:lnTo>
                  <a:lnTo>
                    <a:pt x="43" y="189"/>
                  </a:lnTo>
                  <a:lnTo>
                    <a:pt x="26" y="189"/>
                  </a:lnTo>
                  <a:lnTo>
                    <a:pt x="20" y="195"/>
                  </a:lnTo>
                  <a:lnTo>
                    <a:pt x="11" y="183"/>
                  </a:lnTo>
                  <a:lnTo>
                    <a:pt x="9" y="186"/>
                  </a:lnTo>
                  <a:lnTo>
                    <a:pt x="6" y="192"/>
                  </a:lnTo>
                  <a:lnTo>
                    <a:pt x="6" y="195"/>
                  </a:lnTo>
                  <a:lnTo>
                    <a:pt x="6" y="198"/>
                  </a:lnTo>
                  <a:lnTo>
                    <a:pt x="0" y="201"/>
                  </a:lnTo>
                  <a:lnTo>
                    <a:pt x="0" y="206"/>
                  </a:lnTo>
                  <a:lnTo>
                    <a:pt x="3" y="206"/>
                  </a:lnTo>
                  <a:lnTo>
                    <a:pt x="3" y="209"/>
                  </a:lnTo>
                  <a:lnTo>
                    <a:pt x="3" y="215"/>
                  </a:lnTo>
                  <a:lnTo>
                    <a:pt x="3" y="223"/>
                  </a:lnTo>
                  <a:lnTo>
                    <a:pt x="9" y="223"/>
                  </a:lnTo>
                  <a:lnTo>
                    <a:pt x="14" y="235"/>
                  </a:lnTo>
                  <a:lnTo>
                    <a:pt x="11" y="238"/>
                  </a:lnTo>
                  <a:lnTo>
                    <a:pt x="11" y="246"/>
                  </a:lnTo>
                  <a:lnTo>
                    <a:pt x="11" y="249"/>
                  </a:lnTo>
                  <a:lnTo>
                    <a:pt x="14" y="249"/>
                  </a:lnTo>
                  <a:lnTo>
                    <a:pt x="20" y="246"/>
                  </a:lnTo>
                  <a:lnTo>
                    <a:pt x="23" y="252"/>
                  </a:lnTo>
                  <a:lnTo>
                    <a:pt x="34" y="246"/>
                  </a:lnTo>
                  <a:lnTo>
                    <a:pt x="40" y="249"/>
                  </a:lnTo>
                  <a:lnTo>
                    <a:pt x="46" y="244"/>
                  </a:lnTo>
                  <a:lnTo>
                    <a:pt x="46" y="238"/>
                  </a:lnTo>
                  <a:lnTo>
                    <a:pt x="49" y="241"/>
                  </a:lnTo>
                  <a:lnTo>
                    <a:pt x="52" y="241"/>
                  </a:lnTo>
                  <a:lnTo>
                    <a:pt x="54" y="246"/>
                  </a:lnTo>
                  <a:lnTo>
                    <a:pt x="57" y="255"/>
                  </a:lnTo>
                  <a:lnTo>
                    <a:pt x="57" y="261"/>
                  </a:lnTo>
                  <a:lnTo>
                    <a:pt x="63" y="267"/>
                  </a:lnTo>
                  <a:lnTo>
                    <a:pt x="60" y="269"/>
                  </a:lnTo>
                  <a:lnTo>
                    <a:pt x="66" y="272"/>
                  </a:lnTo>
                  <a:lnTo>
                    <a:pt x="66" y="284"/>
                  </a:lnTo>
                  <a:lnTo>
                    <a:pt x="69" y="284"/>
                  </a:lnTo>
                  <a:lnTo>
                    <a:pt x="75" y="281"/>
                  </a:lnTo>
                  <a:lnTo>
                    <a:pt x="80" y="284"/>
                  </a:lnTo>
                  <a:lnTo>
                    <a:pt x="83" y="287"/>
                  </a:lnTo>
                  <a:lnTo>
                    <a:pt x="86" y="287"/>
                  </a:lnTo>
                  <a:lnTo>
                    <a:pt x="89" y="284"/>
                  </a:lnTo>
                  <a:lnTo>
                    <a:pt x="89" y="272"/>
                  </a:lnTo>
                  <a:lnTo>
                    <a:pt x="92" y="275"/>
                  </a:lnTo>
                  <a:lnTo>
                    <a:pt x="95" y="278"/>
                  </a:lnTo>
                  <a:lnTo>
                    <a:pt x="100" y="272"/>
                  </a:lnTo>
                  <a:lnTo>
                    <a:pt x="100" y="278"/>
                  </a:lnTo>
                  <a:lnTo>
                    <a:pt x="103" y="284"/>
                  </a:lnTo>
                  <a:lnTo>
                    <a:pt x="106" y="284"/>
                  </a:lnTo>
                  <a:lnTo>
                    <a:pt x="109" y="281"/>
                  </a:lnTo>
                  <a:lnTo>
                    <a:pt x="109" y="272"/>
                  </a:lnTo>
                  <a:lnTo>
                    <a:pt x="115" y="264"/>
                  </a:lnTo>
                  <a:lnTo>
                    <a:pt x="112" y="255"/>
                  </a:lnTo>
                  <a:lnTo>
                    <a:pt x="120" y="255"/>
                  </a:lnTo>
                  <a:lnTo>
                    <a:pt x="123" y="255"/>
                  </a:lnTo>
                  <a:lnTo>
                    <a:pt x="126" y="252"/>
                  </a:lnTo>
                  <a:lnTo>
                    <a:pt x="126" y="246"/>
                  </a:lnTo>
                  <a:lnTo>
                    <a:pt x="126" y="238"/>
                  </a:lnTo>
                  <a:lnTo>
                    <a:pt x="129" y="238"/>
                  </a:lnTo>
                  <a:lnTo>
                    <a:pt x="132" y="235"/>
                  </a:lnTo>
                  <a:lnTo>
                    <a:pt x="132" y="229"/>
                  </a:lnTo>
                  <a:lnTo>
                    <a:pt x="138" y="221"/>
                  </a:lnTo>
                  <a:lnTo>
                    <a:pt x="141" y="223"/>
                  </a:lnTo>
                  <a:lnTo>
                    <a:pt x="143" y="226"/>
                  </a:lnTo>
                  <a:lnTo>
                    <a:pt x="146" y="226"/>
                  </a:lnTo>
                  <a:lnTo>
                    <a:pt x="152" y="218"/>
                  </a:lnTo>
                  <a:lnTo>
                    <a:pt x="155" y="218"/>
                  </a:lnTo>
                  <a:lnTo>
                    <a:pt x="161" y="206"/>
                  </a:lnTo>
                  <a:lnTo>
                    <a:pt x="164" y="206"/>
                  </a:lnTo>
                  <a:lnTo>
                    <a:pt x="169" y="209"/>
                  </a:lnTo>
                  <a:lnTo>
                    <a:pt x="172" y="203"/>
                  </a:lnTo>
                  <a:lnTo>
                    <a:pt x="178" y="201"/>
                  </a:lnTo>
                  <a:lnTo>
                    <a:pt x="186" y="198"/>
                  </a:lnTo>
                  <a:lnTo>
                    <a:pt x="195" y="192"/>
                  </a:lnTo>
                  <a:lnTo>
                    <a:pt x="201" y="192"/>
                  </a:lnTo>
                  <a:lnTo>
                    <a:pt x="212" y="195"/>
                  </a:lnTo>
                  <a:lnTo>
                    <a:pt x="212" y="203"/>
                  </a:lnTo>
                  <a:lnTo>
                    <a:pt x="215" y="215"/>
                  </a:lnTo>
                  <a:lnTo>
                    <a:pt x="230" y="226"/>
                  </a:lnTo>
                  <a:lnTo>
                    <a:pt x="227" y="226"/>
                  </a:lnTo>
                  <a:lnTo>
                    <a:pt x="224" y="229"/>
                  </a:lnTo>
                  <a:lnTo>
                    <a:pt x="227" y="232"/>
                  </a:lnTo>
                  <a:lnTo>
                    <a:pt x="235" y="241"/>
                  </a:lnTo>
                  <a:lnTo>
                    <a:pt x="238" y="235"/>
                  </a:lnTo>
                  <a:lnTo>
                    <a:pt x="247" y="241"/>
                  </a:lnTo>
                  <a:lnTo>
                    <a:pt x="247" y="244"/>
                  </a:lnTo>
                  <a:lnTo>
                    <a:pt x="244" y="244"/>
                  </a:lnTo>
                  <a:lnTo>
                    <a:pt x="247" y="249"/>
                  </a:lnTo>
                  <a:lnTo>
                    <a:pt x="247" y="246"/>
                  </a:lnTo>
                  <a:lnTo>
                    <a:pt x="255" y="244"/>
                  </a:lnTo>
                  <a:lnTo>
                    <a:pt x="264" y="249"/>
                  </a:lnTo>
                  <a:lnTo>
                    <a:pt x="267" y="252"/>
                  </a:lnTo>
                  <a:lnTo>
                    <a:pt x="267" y="244"/>
                  </a:lnTo>
                  <a:lnTo>
                    <a:pt x="275" y="235"/>
                  </a:lnTo>
                  <a:lnTo>
                    <a:pt x="278" y="221"/>
                  </a:lnTo>
                  <a:lnTo>
                    <a:pt x="290" y="218"/>
                  </a:lnTo>
                  <a:lnTo>
                    <a:pt x="301" y="215"/>
                  </a:lnTo>
                  <a:lnTo>
                    <a:pt x="310" y="221"/>
                  </a:lnTo>
                  <a:lnTo>
                    <a:pt x="316" y="218"/>
                  </a:lnTo>
                  <a:lnTo>
                    <a:pt x="327" y="232"/>
                  </a:lnTo>
                  <a:lnTo>
                    <a:pt x="336" y="229"/>
                  </a:lnTo>
                  <a:lnTo>
                    <a:pt x="344" y="223"/>
                  </a:lnTo>
                  <a:lnTo>
                    <a:pt x="353" y="232"/>
                  </a:lnTo>
                  <a:lnTo>
                    <a:pt x="364" y="235"/>
                  </a:lnTo>
                  <a:lnTo>
                    <a:pt x="370" y="232"/>
                  </a:lnTo>
                  <a:lnTo>
                    <a:pt x="382" y="226"/>
                  </a:lnTo>
                  <a:lnTo>
                    <a:pt x="396" y="223"/>
                  </a:lnTo>
                  <a:lnTo>
                    <a:pt x="410" y="226"/>
                  </a:lnTo>
                  <a:lnTo>
                    <a:pt x="419" y="229"/>
                  </a:lnTo>
                  <a:lnTo>
                    <a:pt x="425" y="223"/>
                  </a:lnTo>
                  <a:lnTo>
                    <a:pt x="433" y="221"/>
                  </a:lnTo>
                  <a:lnTo>
                    <a:pt x="436" y="218"/>
                  </a:lnTo>
                  <a:lnTo>
                    <a:pt x="433" y="206"/>
                  </a:lnTo>
                  <a:lnTo>
                    <a:pt x="439" y="195"/>
                  </a:lnTo>
                  <a:lnTo>
                    <a:pt x="459" y="16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28" name="Freeform 329"/>
            <p:cNvSpPr>
              <a:spLocks/>
            </p:cNvSpPr>
            <p:nvPr/>
          </p:nvSpPr>
          <p:spPr bwMode="auto">
            <a:xfrm>
              <a:off x="4098925" y="3563938"/>
              <a:ext cx="215900" cy="169862"/>
            </a:xfrm>
            <a:custGeom>
              <a:avLst/>
              <a:gdLst>
                <a:gd name="T0" fmla="*/ 2147483647 w 135"/>
                <a:gd name="T1" fmla="*/ 2147483647 h 106"/>
                <a:gd name="T2" fmla="*/ 2147483647 w 135"/>
                <a:gd name="T3" fmla="*/ 2147483647 h 106"/>
                <a:gd name="T4" fmla="*/ 2147483647 w 135"/>
                <a:gd name="T5" fmla="*/ 2147483647 h 106"/>
                <a:gd name="T6" fmla="*/ 2147483647 w 135"/>
                <a:gd name="T7" fmla="*/ 2147483647 h 106"/>
                <a:gd name="T8" fmla="*/ 2147483647 w 135"/>
                <a:gd name="T9" fmla="*/ 2147483647 h 106"/>
                <a:gd name="T10" fmla="*/ 2147483647 w 135"/>
                <a:gd name="T11" fmla="*/ 2147483647 h 106"/>
                <a:gd name="T12" fmla="*/ 2147483647 w 135"/>
                <a:gd name="T13" fmla="*/ 2147483647 h 106"/>
                <a:gd name="T14" fmla="*/ 2147483647 w 135"/>
                <a:gd name="T15" fmla="*/ 2147483647 h 106"/>
                <a:gd name="T16" fmla="*/ 2147483647 w 135"/>
                <a:gd name="T17" fmla="*/ 2147483647 h 106"/>
                <a:gd name="T18" fmla="*/ 2147483647 w 135"/>
                <a:gd name="T19" fmla="*/ 2147483647 h 106"/>
                <a:gd name="T20" fmla="*/ 2147483647 w 135"/>
                <a:gd name="T21" fmla="*/ 2147483647 h 106"/>
                <a:gd name="T22" fmla="*/ 2147483647 w 135"/>
                <a:gd name="T23" fmla="*/ 2147483647 h 106"/>
                <a:gd name="T24" fmla="*/ 2147483647 w 135"/>
                <a:gd name="T25" fmla="*/ 2147483647 h 106"/>
                <a:gd name="T26" fmla="*/ 2147483647 w 135"/>
                <a:gd name="T27" fmla="*/ 2147483647 h 106"/>
                <a:gd name="T28" fmla="*/ 2147483647 w 135"/>
                <a:gd name="T29" fmla="*/ 2147483647 h 106"/>
                <a:gd name="T30" fmla="*/ 2147483647 w 135"/>
                <a:gd name="T31" fmla="*/ 2147483647 h 106"/>
                <a:gd name="T32" fmla="*/ 2147483647 w 135"/>
                <a:gd name="T33" fmla="*/ 0 h 106"/>
                <a:gd name="T34" fmla="*/ 2147483647 w 135"/>
                <a:gd name="T35" fmla="*/ 2147483647 h 106"/>
                <a:gd name="T36" fmla="*/ 2147483647 w 135"/>
                <a:gd name="T37" fmla="*/ 2147483647 h 106"/>
                <a:gd name="T38" fmla="*/ 2147483647 w 135"/>
                <a:gd name="T39" fmla="*/ 2147483647 h 106"/>
                <a:gd name="T40" fmla="*/ 2147483647 w 135"/>
                <a:gd name="T41" fmla="*/ 2147483647 h 106"/>
                <a:gd name="T42" fmla="*/ 2147483647 w 135"/>
                <a:gd name="T43" fmla="*/ 2147483647 h 106"/>
                <a:gd name="T44" fmla="*/ 2147483647 w 135"/>
                <a:gd name="T45" fmla="*/ 2147483647 h 106"/>
                <a:gd name="T46" fmla="*/ 2147483647 w 135"/>
                <a:gd name="T47" fmla="*/ 2147483647 h 106"/>
                <a:gd name="T48" fmla="*/ 2147483647 w 135"/>
                <a:gd name="T49" fmla="*/ 2147483647 h 106"/>
                <a:gd name="T50" fmla="*/ 2147483647 w 135"/>
                <a:gd name="T51" fmla="*/ 2147483647 h 106"/>
                <a:gd name="T52" fmla="*/ 2147483647 w 135"/>
                <a:gd name="T53" fmla="*/ 2147483647 h 106"/>
                <a:gd name="T54" fmla="*/ 2147483647 w 135"/>
                <a:gd name="T55" fmla="*/ 2147483647 h 106"/>
                <a:gd name="T56" fmla="*/ 2147483647 w 135"/>
                <a:gd name="T57" fmla="*/ 2147483647 h 106"/>
                <a:gd name="T58" fmla="*/ 2147483647 w 135"/>
                <a:gd name="T59" fmla="*/ 2147483647 h 106"/>
                <a:gd name="T60" fmla="*/ 2147483647 w 135"/>
                <a:gd name="T61" fmla="*/ 2147483647 h 106"/>
                <a:gd name="T62" fmla="*/ 2147483647 w 135"/>
                <a:gd name="T63" fmla="*/ 2147483647 h 106"/>
                <a:gd name="T64" fmla="*/ 2147483647 w 135"/>
                <a:gd name="T65" fmla="*/ 2147483647 h 106"/>
                <a:gd name="T66" fmla="*/ 0 w 135"/>
                <a:gd name="T67" fmla="*/ 2147483647 h 106"/>
                <a:gd name="T68" fmla="*/ 2147483647 w 135"/>
                <a:gd name="T69" fmla="*/ 2147483647 h 106"/>
                <a:gd name="T70" fmla="*/ 2147483647 w 135"/>
                <a:gd name="T71" fmla="*/ 2147483647 h 106"/>
                <a:gd name="T72" fmla="*/ 2147483647 w 135"/>
                <a:gd name="T73" fmla="*/ 2147483647 h 106"/>
                <a:gd name="T74" fmla="*/ 2147483647 w 135"/>
                <a:gd name="T75" fmla="*/ 2147483647 h 106"/>
                <a:gd name="T76" fmla="*/ 2147483647 w 135"/>
                <a:gd name="T77" fmla="*/ 2147483647 h 106"/>
                <a:gd name="T78" fmla="*/ 2147483647 w 135"/>
                <a:gd name="T79" fmla="*/ 2147483647 h 10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35"/>
                <a:gd name="T121" fmla="*/ 0 h 106"/>
                <a:gd name="T122" fmla="*/ 135 w 135"/>
                <a:gd name="T123" fmla="*/ 106 h 10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35" h="106">
                  <a:moveTo>
                    <a:pt x="46" y="77"/>
                  </a:moveTo>
                  <a:lnTo>
                    <a:pt x="46" y="77"/>
                  </a:lnTo>
                  <a:lnTo>
                    <a:pt x="63" y="74"/>
                  </a:lnTo>
                  <a:lnTo>
                    <a:pt x="77" y="74"/>
                  </a:lnTo>
                  <a:lnTo>
                    <a:pt x="83" y="74"/>
                  </a:lnTo>
                  <a:lnTo>
                    <a:pt x="89" y="72"/>
                  </a:lnTo>
                  <a:lnTo>
                    <a:pt x="95" y="72"/>
                  </a:lnTo>
                  <a:lnTo>
                    <a:pt x="109" y="74"/>
                  </a:lnTo>
                  <a:lnTo>
                    <a:pt x="118" y="69"/>
                  </a:lnTo>
                  <a:lnTo>
                    <a:pt x="126" y="66"/>
                  </a:lnTo>
                  <a:lnTo>
                    <a:pt x="135" y="60"/>
                  </a:lnTo>
                  <a:lnTo>
                    <a:pt x="132" y="60"/>
                  </a:lnTo>
                  <a:lnTo>
                    <a:pt x="126" y="49"/>
                  </a:lnTo>
                  <a:lnTo>
                    <a:pt x="129" y="49"/>
                  </a:lnTo>
                  <a:lnTo>
                    <a:pt x="129" y="46"/>
                  </a:lnTo>
                  <a:lnTo>
                    <a:pt x="126" y="46"/>
                  </a:lnTo>
                  <a:lnTo>
                    <a:pt x="123" y="49"/>
                  </a:lnTo>
                  <a:lnTo>
                    <a:pt x="120" y="46"/>
                  </a:lnTo>
                  <a:lnTo>
                    <a:pt x="112" y="40"/>
                  </a:lnTo>
                  <a:lnTo>
                    <a:pt x="109" y="34"/>
                  </a:lnTo>
                  <a:lnTo>
                    <a:pt x="112" y="31"/>
                  </a:lnTo>
                  <a:lnTo>
                    <a:pt x="103" y="23"/>
                  </a:lnTo>
                  <a:lnTo>
                    <a:pt x="97" y="11"/>
                  </a:lnTo>
                  <a:lnTo>
                    <a:pt x="97" y="3"/>
                  </a:lnTo>
                  <a:lnTo>
                    <a:pt x="86" y="0"/>
                  </a:lnTo>
                  <a:lnTo>
                    <a:pt x="83" y="0"/>
                  </a:lnTo>
                  <a:lnTo>
                    <a:pt x="77" y="6"/>
                  </a:lnTo>
                  <a:lnTo>
                    <a:pt x="66" y="8"/>
                  </a:lnTo>
                  <a:lnTo>
                    <a:pt x="63" y="11"/>
                  </a:lnTo>
                  <a:lnTo>
                    <a:pt x="60" y="17"/>
                  </a:lnTo>
                  <a:lnTo>
                    <a:pt x="57" y="17"/>
                  </a:lnTo>
                  <a:lnTo>
                    <a:pt x="52" y="17"/>
                  </a:lnTo>
                  <a:lnTo>
                    <a:pt x="46" y="23"/>
                  </a:lnTo>
                  <a:lnTo>
                    <a:pt x="49" y="28"/>
                  </a:lnTo>
                  <a:lnTo>
                    <a:pt x="46" y="28"/>
                  </a:lnTo>
                  <a:lnTo>
                    <a:pt x="40" y="26"/>
                  </a:lnTo>
                  <a:lnTo>
                    <a:pt x="37" y="34"/>
                  </a:lnTo>
                  <a:lnTo>
                    <a:pt x="31" y="37"/>
                  </a:lnTo>
                  <a:lnTo>
                    <a:pt x="31" y="34"/>
                  </a:lnTo>
                  <a:lnTo>
                    <a:pt x="26" y="31"/>
                  </a:lnTo>
                  <a:lnTo>
                    <a:pt x="23" y="37"/>
                  </a:lnTo>
                  <a:lnTo>
                    <a:pt x="23" y="43"/>
                  </a:lnTo>
                  <a:lnTo>
                    <a:pt x="17" y="46"/>
                  </a:lnTo>
                  <a:lnTo>
                    <a:pt x="17" y="54"/>
                  </a:lnTo>
                  <a:lnTo>
                    <a:pt x="17" y="57"/>
                  </a:lnTo>
                  <a:lnTo>
                    <a:pt x="14" y="60"/>
                  </a:lnTo>
                  <a:lnTo>
                    <a:pt x="11" y="63"/>
                  </a:lnTo>
                  <a:lnTo>
                    <a:pt x="8" y="63"/>
                  </a:lnTo>
                  <a:lnTo>
                    <a:pt x="3" y="63"/>
                  </a:lnTo>
                  <a:lnTo>
                    <a:pt x="6" y="69"/>
                  </a:lnTo>
                  <a:lnTo>
                    <a:pt x="0" y="77"/>
                  </a:lnTo>
                  <a:lnTo>
                    <a:pt x="0" y="86"/>
                  </a:lnTo>
                  <a:lnTo>
                    <a:pt x="6" y="92"/>
                  </a:lnTo>
                  <a:lnTo>
                    <a:pt x="11" y="97"/>
                  </a:lnTo>
                  <a:lnTo>
                    <a:pt x="17" y="103"/>
                  </a:lnTo>
                  <a:lnTo>
                    <a:pt x="29" y="97"/>
                  </a:lnTo>
                  <a:lnTo>
                    <a:pt x="40" y="97"/>
                  </a:lnTo>
                  <a:lnTo>
                    <a:pt x="46" y="106"/>
                  </a:lnTo>
                  <a:lnTo>
                    <a:pt x="43" y="86"/>
                  </a:lnTo>
                  <a:lnTo>
                    <a:pt x="46" y="7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29" name="Freeform 330"/>
            <p:cNvSpPr>
              <a:spLocks/>
            </p:cNvSpPr>
            <p:nvPr/>
          </p:nvSpPr>
          <p:spPr bwMode="auto">
            <a:xfrm>
              <a:off x="4573588" y="4213225"/>
              <a:ext cx="334962" cy="382588"/>
            </a:xfrm>
            <a:custGeom>
              <a:avLst/>
              <a:gdLst>
                <a:gd name="T0" fmla="*/ 2147483647 w 209"/>
                <a:gd name="T1" fmla="*/ 2147483647 h 238"/>
                <a:gd name="T2" fmla="*/ 2147483647 w 209"/>
                <a:gd name="T3" fmla="*/ 2147483647 h 238"/>
                <a:gd name="T4" fmla="*/ 2147483647 w 209"/>
                <a:gd name="T5" fmla="*/ 2147483647 h 238"/>
                <a:gd name="T6" fmla="*/ 2147483647 w 209"/>
                <a:gd name="T7" fmla="*/ 2147483647 h 238"/>
                <a:gd name="T8" fmla="*/ 2147483647 w 209"/>
                <a:gd name="T9" fmla="*/ 2147483647 h 238"/>
                <a:gd name="T10" fmla="*/ 2147483647 w 209"/>
                <a:gd name="T11" fmla="*/ 2147483647 h 238"/>
                <a:gd name="T12" fmla="*/ 2147483647 w 209"/>
                <a:gd name="T13" fmla="*/ 2147483647 h 238"/>
                <a:gd name="T14" fmla="*/ 2147483647 w 209"/>
                <a:gd name="T15" fmla="*/ 2147483647 h 238"/>
                <a:gd name="T16" fmla="*/ 2147483647 w 209"/>
                <a:gd name="T17" fmla="*/ 2147483647 h 238"/>
                <a:gd name="T18" fmla="*/ 2147483647 w 209"/>
                <a:gd name="T19" fmla="*/ 2147483647 h 238"/>
                <a:gd name="T20" fmla="*/ 2147483647 w 209"/>
                <a:gd name="T21" fmla="*/ 2147483647 h 238"/>
                <a:gd name="T22" fmla="*/ 2147483647 w 209"/>
                <a:gd name="T23" fmla="*/ 2147483647 h 238"/>
                <a:gd name="T24" fmla="*/ 2147483647 w 209"/>
                <a:gd name="T25" fmla="*/ 2147483647 h 238"/>
                <a:gd name="T26" fmla="*/ 2147483647 w 209"/>
                <a:gd name="T27" fmla="*/ 2147483647 h 238"/>
                <a:gd name="T28" fmla="*/ 2147483647 w 209"/>
                <a:gd name="T29" fmla="*/ 2147483647 h 238"/>
                <a:gd name="T30" fmla="*/ 2147483647 w 209"/>
                <a:gd name="T31" fmla="*/ 2147483647 h 238"/>
                <a:gd name="T32" fmla="*/ 2147483647 w 209"/>
                <a:gd name="T33" fmla="*/ 2147483647 h 238"/>
                <a:gd name="T34" fmla="*/ 2147483647 w 209"/>
                <a:gd name="T35" fmla="*/ 2147483647 h 238"/>
                <a:gd name="T36" fmla="*/ 2147483647 w 209"/>
                <a:gd name="T37" fmla="*/ 2147483647 h 238"/>
                <a:gd name="T38" fmla="*/ 2147483647 w 209"/>
                <a:gd name="T39" fmla="*/ 2147483647 h 238"/>
                <a:gd name="T40" fmla="*/ 2147483647 w 209"/>
                <a:gd name="T41" fmla="*/ 2147483647 h 238"/>
                <a:gd name="T42" fmla="*/ 2147483647 w 209"/>
                <a:gd name="T43" fmla="*/ 2147483647 h 238"/>
                <a:gd name="T44" fmla="*/ 2147483647 w 209"/>
                <a:gd name="T45" fmla="*/ 2147483647 h 238"/>
                <a:gd name="T46" fmla="*/ 2147483647 w 209"/>
                <a:gd name="T47" fmla="*/ 2147483647 h 238"/>
                <a:gd name="T48" fmla="*/ 2147483647 w 209"/>
                <a:gd name="T49" fmla="*/ 2147483647 h 238"/>
                <a:gd name="T50" fmla="*/ 2147483647 w 209"/>
                <a:gd name="T51" fmla="*/ 2147483647 h 238"/>
                <a:gd name="T52" fmla="*/ 2147483647 w 209"/>
                <a:gd name="T53" fmla="*/ 2147483647 h 238"/>
                <a:gd name="T54" fmla="*/ 2147483647 w 209"/>
                <a:gd name="T55" fmla="*/ 2147483647 h 238"/>
                <a:gd name="T56" fmla="*/ 2147483647 w 209"/>
                <a:gd name="T57" fmla="*/ 2147483647 h 238"/>
                <a:gd name="T58" fmla="*/ 2147483647 w 209"/>
                <a:gd name="T59" fmla="*/ 2147483647 h 238"/>
                <a:gd name="T60" fmla="*/ 2147483647 w 209"/>
                <a:gd name="T61" fmla="*/ 2147483647 h 238"/>
                <a:gd name="T62" fmla="*/ 2147483647 w 209"/>
                <a:gd name="T63" fmla="*/ 2147483647 h 238"/>
                <a:gd name="T64" fmla="*/ 2147483647 w 209"/>
                <a:gd name="T65" fmla="*/ 2147483647 h 238"/>
                <a:gd name="T66" fmla="*/ 2147483647 w 209"/>
                <a:gd name="T67" fmla="*/ 2147483647 h 238"/>
                <a:gd name="T68" fmla="*/ 2147483647 w 209"/>
                <a:gd name="T69" fmla="*/ 2147483647 h 238"/>
                <a:gd name="T70" fmla="*/ 2147483647 w 209"/>
                <a:gd name="T71" fmla="*/ 2147483647 h 238"/>
                <a:gd name="T72" fmla="*/ 2147483647 w 209"/>
                <a:gd name="T73" fmla="*/ 2147483647 h 238"/>
                <a:gd name="T74" fmla="*/ 2147483647 w 209"/>
                <a:gd name="T75" fmla="*/ 2147483647 h 238"/>
                <a:gd name="T76" fmla="*/ 2147483647 w 209"/>
                <a:gd name="T77" fmla="*/ 2147483647 h 238"/>
                <a:gd name="T78" fmla="*/ 2147483647 w 209"/>
                <a:gd name="T79" fmla="*/ 2147483647 h 238"/>
                <a:gd name="T80" fmla="*/ 2147483647 w 209"/>
                <a:gd name="T81" fmla="*/ 2147483647 h 238"/>
                <a:gd name="T82" fmla="*/ 2147483647 w 209"/>
                <a:gd name="T83" fmla="*/ 2147483647 h 238"/>
                <a:gd name="T84" fmla="*/ 2147483647 w 209"/>
                <a:gd name="T85" fmla="*/ 0 h 238"/>
                <a:gd name="T86" fmla="*/ 2147483647 w 209"/>
                <a:gd name="T87" fmla="*/ 2147483647 h 238"/>
                <a:gd name="T88" fmla="*/ 2147483647 w 209"/>
                <a:gd name="T89" fmla="*/ 2147483647 h 238"/>
                <a:gd name="T90" fmla="*/ 2147483647 w 209"/>
                <a:gd name="T91" fmla="*/ 2147483647 h 238"/>
                <a:gd name="T92" fmla="*/ 2147483647 w 209"/>
                <a:gd name="T93" fmla="*/ 2147483647 h 238"/>
                <a:gd name="T94" fmla="*/ 2147483647 w 209"/>
                <a:gd name="T95" fmla="*/ 2147483647 h 238"/>
                <a:gd name="T96" fmla="*/ 2147483647 w 209"/>
                <a:gd name="T97" fmla="*/ 2147483647 h 238"/>
                <a:gd name="T98" fmla="*/ 2147483647 w 209"/>
                <a:gd name="T99" fmla="*/ 2147483647 h 238"/>
                <a:gd name="T100" fmla="*/ 2147483647 w 209"/>
                <a:gd name="T101" fmla="*/ 2147483647 h 238"/>
                <a:gd name="T102" fmla="*/ 2147483647 w 209"/>
                <a:gd name="T103" fmla="*/ 2147483647 h 238"/>
                <a:gd name="T104" fmla="*/ 2147483647 w 209"/>
                <a:gd name="T105" fmla="*/ 2147483647 h 238"/>
                <a:gd name="T106" fmla="*/ 2147483647 w 209"/>
                <a:gd name="T107" fmla="*/ 2147483647 h 238"/>
                <a:gd name="T108" fmla="*/ 2147483647 w 209"/>
                <a:gd name="T109" fmla="*/ 2147483647 h 238"/>
                <a:gd name="T110" fmla="*/ 2147483647 w 209"/>
                <a:gd name="T111" fmla="*/ 2147483647 h 238"/>
                <a:gd name="T112" fmla="*/ 2147483647 w 209"/>
                <a:gd name="T113" fmla="*/ 2147483647 h 238"/>
                <a:gd name="T114" fmla="*/ 2147483647 w 209"/>
                <a:gd name="T115" fmla="*/ 2147483647 h 238"/>
                <a:gd name="T116" fmla="*/ 0 w 209"/>
                <a:gd name="T117" fmla="*/ 2147483647 h 238"/>
                <a:gd name="T118" fmla="*/ 0 w 209"/>
                <a:gd name="T119" fmla="*/ 2147483647 h 23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09"/>
                <a:gd name="T181" fmla="*/ 0 h 238"/>
                <a:gd name="T182" fmla="*/ 209 w 209"/>
                <a:gd name="T183" fmla="*/ 238 h 23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09" h="238">
                  <a:moveTo>
                    <a:pt x="0" y="221"/>
                  </a:moveTo>
                  <a:lnTo>
                    <a:pt x="5" y="218"/>
                  </a:lnTo>
                  <a:lnTo>
                    <a:pt x="14" y="221"/>
                  </a:lnTo>
                  <a:lnTo>
                    <a:pt x="22" y="218"/>
                  </a:lnTo>
                  <a:lnTo>
                    <a:pt x="31" y="221"/>
                  </a:lnTo>
                  <a:lnTo>
                    <a:pt x="40" y="226"/>
                  </a:lnTo>
                  <a:lnTo>
                    <a:pt x="114" y="224"/>
                  </a:lnTo>
                  <a:lnTo>
                    <a:pt x="126" y="232"/>
                  </a:lnTo>
                  <a:lnTo>
                    <a:pt x="137" y="235"/>
                  </a:lnTo>
                  <a:lnTo>
                    <a:pt x="143" y="232"/>
                  </a:lnTo>
                  <a:lnTo>
                    <a:pt x="152" y="238"/>
                  </a:lnTo>
                  <a:lnTo>
                    <a:pt x="157" y="232"/>
                  </a:lnTo>
                  <a:lnTo>
                    <a:pt x="160" y="235"/>
                  </a:lnTo>
                  <a:lnTo>
                    <a:pt x="166" y="235"/>
                  </a:lnTo>
                  <a:lnTo>
                    <a:pt x="189" y="229"/>
                  </a:lnTo>
                  <a:lnTo>
                    <a:pt x="172" y="203"/>
                  </a:lnTo>
                  <a:lnTo>
                    <a:pt x="172" y="137"/>
                  </a:lnTo>
                  <a:lnTo>
                    <a:pt x="206" y="137"/>
                  </a:lnTo>
                  <a:lnTo>
                    <a:pt x="209" y="129"/>
                  </a:lnTo>
                  <a:lnTo>
                    <a:pt x="206" y="126"/>
                  </a:lnTo>
                  <a:lnTo>
                    <a:pt x="206" y="114"/>
                  </a:lnTo>
                  <a:lnTo>
                    <a:pt x="206" y="103"/>
                  </a:lnTo>
                  <a:lnTo>
                    <a:pt x="200" y="100"/>
                  </a:lnTo>
                  <a:lnTo>
                    <a:pt x="195" y="106"/>
                  </a:lnTo>
                  <a:lnTo>
                    <a:pt x="186" y="103"/>
                  </a:lnTo>
                  <a:lnTo>
                    <a:pt x="177" y="109"/>
                  </a:lnTo>
                  <a:lnTo>
                    <a:pt x="177" y="106"/>
                  </a:lnTo>
                  <a:lnTo>
                    <a:pt x="175" y="97"/>
                  </a:lnTo>
                  <a:lnTo>
                    <a:pt x="175" y="94"/>
                  </a:lnTo>
                  <a:lnTo>
                    <a:pt x="177" y="89"/>
                  </a:lnTo>
                  <a:lnTo>
                    <a:pt x="177" y="86"/>
                  </a:lnTo>
                  <a:lnTo>
                    <a:pt x="175" y="80"/>
                  </a:lnTo>
                  <a:lnTo>
                    <a:pt x="172" y="77"/>
                  </a:lnTo>
                  <a:lnTo>
                    <a:pt x="169" y="69"/>
                  </a:lnTo>
                  <a:lnTo>
                    <a:pt x="172" y="66"/>
                  </a:lnTo>
                  <a:lnTo>
                    <a:pt x="172" y="48"/>
                  </a:lnTo>
                  <a:lnTo>
                    <a:pt x="172" y="46"/>
                  </a:lnTo>
                  <a:lnTo>
                    <a:pt x="169" y="40"/>
                  </a:lnTo>
                  <a:lnTo>
                    <a:pt x="169" y="34"/>
                  </a:lnTo>
                  <a:lnTo>
                    <a:pt x="169" y="31"/>
                  </a:lnTo>
                  <a:lnTo>
                    <a:pt x="152" y="31"/>
                  </a:lnTo>
                  <a:lnTo>
                    <a:pt x="149" y="31"/>
                  </a:lnTo>
                  <a:lnTo>
                    <a:pt x="149" y="28"/>
                  </a:lnTo>
                  <a:lnTo>
                    <a:pt x="152" y="23"/>
                  </a:lnTo>
                  <a:lnTo>
                    <a:pt x="146" y="23"/>
                  </a:lnTo>
                  <a:lnTo>
                    <a:pt x="132" y="25"/>
                  </a:lnTo>
                  <a:lnTo>
                    <a:pt x="132" y="37"/>
                  </a:lnTo>
                  <a:lnTo>
                    <a:pt x="129" y="43"/>
                  </a:lnTo>
                  <a:lnTo>
                    <a:pt x="126" y="46"/>
                  </a:lnTo>
                  <a:lnTo>
                    <a:pt x="123" y="46"/>
                  </a:lnTo>
                  <a:lnTo>
                    <a:pt x="123" y="43"/>
                  </a:lnTo>
                  <a:lnTo>
                    <a:pt x="117" y="40"/>
                  </a:lnTo>
                  <a:lnTo>
                    <a:pt x="111" y="46"/>
                  </a:lnTo>
                  <a:lnTo>
                    <a:pt x="109" y="46"/>
                  </a:lnTo>
                  <a:lnTo>
                    <a:pt x="103" y="46"/>
                  </a:lnTo>
                  <a:lnTo>
                    <a:pt x="100" y="46"/>
                  </a:lnTo>
                  <a:lnTo>
                    <a:pt x="86" y="28"/>
                  </a:lnTo>
                  <a:lnTo>
                    <a:pt x="86" y="20"/>
                  </a:lnTo>
                  <a:lnTo>
                    <a:pt x="80" y="2"/>
                  </a:lnTo>
                  <a:lnTo>
                    <a:pt x="20" y="0"/>
                  </a:lnTo>
                  <a:lnTo>
                    <a:pt x="14" y="5"/>
                  </a:lnTo>
                  <a:lnTo>
                    <a:pt x="11" y="8"/>
                  </a:lnTo>
                  <a:lnTo>
                    <a:pt x="20" y="31"/>
                  </a:lnTo>
                  <a:lnTo>
                    <a:pt x="25" y="51"/>
                  </a:lnTo>
                  <a:lnTo>
                    <a:pt x="28" y="54"/>
                  </a:lnTo>
                  <a:lnTo>
                    <a:pt x="25" y="60"/>
                  </a:lnTo>
                  <a:lnTo>
                    <a:pt x="20" y="66"/>
                  </a:lnTo>
                  <a:lnTo>
                    <a:pt x="22" y="71"/>
                  </a:lnTo>
                  <a:lnTo>
                    <a:pt x="31" y="89"/>
                  </a:lnTo>
                  <a:lnTo>
                    <a:pt x="34" y="94"/>
                  </a:lnTo>
                  <a:lnTo>
                    <a:pt x="34" y="100"/>
                  </a:lnTo>
                  <a:lnTo>
                    <a:pt x="34" y="117"/>
                  </a:lnTo>
                  <a:lnTo>
                    <a:pt x="34" y="126"/>
                  </a:lnTo>
                  <a:lnTo>
                    <a:pt x="31" y="129"/>
                  </a:lnTo>
                  <a:lnTo>
                    <a:pt x="22" y="132"/>
                  </a:lnTo>
                  <a:lnTo>
                    <a:pt x="20" y="137"/>
                  </a:lnTo>
                  <a:lnTo>
                    <a:pt x="14" y="143"/>
                  </a:lnTo>
                  <a:lnTo>
                    <a:pt x="11" y="149"/>
                  </a:lnTo>
                  <a:lnTo>
                    <a:pt x="8" y="160"/>
                  </a:lnTo>
                  <a:lnTo>
                    <a:pt x="5" y="178"/>
                  </a:lnTo>
                  <a:lnTo>
                    <a:pt x="2" y="186"/>
                  </a:lnTo>
                  <a:lnTo>
                    <a:pt x="0" y="198"/>
                  </a:lnTo>
                  <a:lnTo>
                    <a:pt x="0" y="22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30" name="Freeform 331"/>
            <p:cNvSpPr>
              <a:spLocks/>
            </p:cNvSpPr>
            <p:nvPr/>
          </p:nvSpPr>
          <p:spPr bwMode="auto">
            <a:xfrm>
              <a:off x="3803650" y="1993900"/>
              <a:ext cx="231775" cy="87313"/>
            </a:xfrm>
            <a:custGeom>
              <a:avLst/>
              <a:gdLst>
                <a:gd name="T0" fmla="*/ 2147483647 w 144"/>
                <a:gd name="T1" fmla="*/ 2147483647 h 54"/>
                <a:gd name="T2" fmla="*/ 2147483647 w 144"/>
                <a:gd name="T3" fmla="*/ 2147483647 h 54"/>
                <a:gd name="T4" fmla="*/ 2147483647 w 144"/>
                <a:gd name="T5" fmla="*/ 2147483647 h 54"/>
                <a:gd name="T6" fmla="*/ 2147483647 w 144"/>
                <a:gd name="T7" fmla="*/ 2147483647 h 54"/>
                <a:gd name="T8" fmla="*/ 2147483647 w 144"/>
                <a:gd name="T9" fmla="*/ 2147483647 h 54"/>
                <a:gd name="T10" fmla="*/ 2147483647 w 144"/>
                <a:gd name="T11" fmla="*/ 2147483647 h 54"/>
                <a:gd name="T12" fmla="*/ 2147483647 w 144"/>
                <a:gd name="T13" fmla="*/ 2147483647 h 54"/>
                <a:gd name="T14" fmla="*/ 2147483647 w 144"/>
                <a:gd name="T15" fmla="*/ 2147483647 h 54"/>
                <a:gd name="T16" fmla="*/ 2147483647 w 144"/>
                <a:gd name="T17" fmla="*/ 2147483647 h 54"/>
                <a:gd name="T18" fmla="*/ 2147483647 w 144"/>
                <a:gd name="T19" fmla="*/ 2147483647 h 54"/>
                <a:gd name="T20" fmla="*/ 2147483647 w 144"/>
                <a:gd name="T21" fmla="*/ 2147483647 h 54"/>
                <a:gd name="T22" fmla="*/ 2147483647 w 144"/>
                <a:gd name="T23" fmla="*/ 2147483647 h 54"/>
                <a:gd name="T24" fmla="*/ 2147483647 w 144"/>
                <a:gd name="T25" fmla="*/ 2147483647 h 54"/>
                <a:gd name="T26" fmla="*/ 2147483647 w 144"/>
                <a:gd name="T27" fmla="*/ 2147483647 h 54"/>
                <a:gd name="T28" fmla="*/ 2147483647 w 144"/>
                <a:gd name="T29" fmla="*/ 2147483647 h 54"/>
                <a:gd name="T30" fmla="*/ 2147483647 w 144"/>
                <a:gd name="T31" fmla="*/ 2147483647 h 54"/>
                <a:gd name="T32" fmla="*/ 2147483647 w 144"/>
                <a:gd name="T33" fmla="*/ 2147483647 h 54"/>
                <a:gd name="T34" fmla="*/ 2147483647 w 144"/>
                <a:gd name="T35" fmla="*/ 2147483647 h 54"/>
                <a:gd name="T36" fmla="*/ 2147483647 w 144"/>
                <a:gd name="T37" fmla="*/ 2147483647 h 54"/>
                <a:gd name="T38" fmla="*/ 2147483647 w 144"/>
                <a:gd name="T39" fmla="*/ 2147483647 h 54"/>
                <a:gd name="T40" fmla="*/ 2147483647 w 144"/>
                <a:gd name="T41" fmla="*/ 2147483647 h 54"/>
                <a:gd name="T42" fmla="*/ 2147483647 w 144"/>
                <a:gd name="T43" fmla="*/ 0 h 54"/>
                <a:gd name="T44" fmla="*/ 2147483647 w 144"/>
                <a:gd name="T45" fmla="*/ 2147483647 h 54"/>
                <a:gd name="T46" fmla="*/ 2147483647 w 144"/>
                <a:gd name="T47" fmla="*/ 2147483647 h 54"/>
                <a:gd name="T48" fmla="*/ 2147483647 w 144"/>
                <a:gd name="T49" fmla="*/ 2147483647 h 54"/>
                <a:gd name="T50" fmla="*/ 2147483647 w 144"/>
                <a:gd name="T51" fmla="*/ 2147483647 h 54"/>
                <a:gd name="T52" fmla="*/ 2147483647 w 144"/>
                <a:gd name="T53" fmla="*/ 2147483647 h 54"/>
                <a:gd name="T54" fmla="*/ 2147483647 w 144"/>
                <a:gd name="T55" fmla="*/ 2147483647 h 54"/>
                <a:gd name="T56" fmla="*/ 2147483647 w 144"/>
                <a:gd name="T57" fmla="*/ 2147483647 h 54"/>
                <a:gd name="T58" fmla="*/ 2147483647 w 144"/>
                <a:gd name="T59" fmla="*/ 2147483647 h 54"/>
                <a:gd name="T60" fmla="*/ 2147483647 w 144"/>
                <a:gd name="T61" fmla="*/ 2147483647 h 54"/>
                <a:gd name="T62" fmla="*/ 2147483647 w 144"/>
                <a:gd name="T63" fmla="*/ 2147483647 h 54"/>
                <a:gd name="T64" fmla="*/ 2147483647 w 144"/>
                <a:gd name="T65" fmla="*/ 2147483647 h 54"/>
                <a:gd name="T66" fmla="*/ 2147483647 w 144"/>
                <a:gd name="T67" fmla="*/ 2147483647 h 54"/>
                <a:gd name="T68" fmla="*/ 2147483647 w 144"/>
                <a:gd name="T69" fmla="*/ 2147483647 h 54"/>
                <a:gd name="T70" fmla="*/ 2147483647 w 144"/>
                <a:gd name="T71" fmla="*/ 2147483647 h 54"/>
                <a:gd name="T72" fmla="*/ 2147483647 w 144"/>
                <a:gd name="T73" fmla="*/ 2147483647 h 54"/>
                <a:gd name="T74" fmla="*/ 2147483647 w 144"/>
                <a:gd name="T75" fmla="*/ 2147483647 h 54"/>
                <a:gd name="T76" fmla="*/ 2147483647 w 144"/>
                <a:gd name="T77" fmla="*/ 2147483647 h 54"/>
                <a:gd name="T78" fmla="*/ 2147483647 w 144"/>
                <a:gd name="T79" fmla="*/ 2147483647 h 54"/>
                <a:gd name="T80" fmla="*/ 2147483647 w 144"/>
                <a:gd name="T81" fmla="*/ 2147483647 h 54"/>
                <a:gd name="T82" fmla="*/ 2147483647 w 144"/>
                <a:gd name="T83" fmla="*/ 0 h 54"/>
                <a:gd name="T84" fmla="*/ 2147483647 w 144"/>
                <a:gd name="T85" fmla="*/ 2147483647 h 54"/>
                <a:gd name="T86" fmla="*/ 2147483647 w 144"/>
                <a:gd name="T87" fmla="*/ 2147483647 h 54"/>
                <a:gd name="T88" fmla="*/ 0 w 144"/>
                <a:gd name="T89" fmla="*/ 2147483647 h 54"/>
                <a:gd name="T90" fmla="*/ 2147483647 w 144"/>
                <a:gd name="T91" fmla="*/ 2147483647 h 54"/>
                <a:gd name="T92" fmla="*/ 2147483647 w 144"/>
                <a:gd name="T93" fmla="*/ 2147483647 h 54"/>
                <a:gd name="T94" fmla="*/ 2147483647 w 144"/>
                <a:gd name="T95" fmla="*/ 2147483647 h 5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44"/>
                <a:gd name="T145" fmla="*/ 0 h 54"/>
                <a:gd name="T146" fmla="*/ 144 w 144"/>
                <a:gd name="T147" fmla="*/ 54 h 5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44" h="54">
                  <a:moveTo>
                    <a:pt x="26" y="26"/>
                  </a:moveTo>
                  <a:lnTo>
                    <a:pt x="14" y="26"/>
                  </a:lnTo>
                  <a:lnTo>
                    <a:pt x="0" y="31"/>
                  </a:lnTo>
                  <a:lnTo>
                    <a:pt x="9" y="34"/>
                  </a:lnTo>
                  <a:lnTo>
                    <a:pt x="17" y="31"/>
                  </a:lnTo>
                  <a:lnTo>
                    <a:pt x="23" y="34"/>
                  </a:lnTo>
                  <a:lnTo>
                    <a:pt x="26" y="40"/>
                  </a:lnTo>
                  <a:lnTo>
                    <a:pt x="23" y="46"/>
                  </a:lnTo>
                  <a:lnTo>
                    <a:pt x="14" y="46"/>
                  </a:lnTo>
                  <a:lnTo>
                    <a:pt x="14" y="49"/>
                  </a:lnTo>
                  <a:lnTo>
                    <a:pt x="26" y="49"/>
                  </a:lnTo>
                  <a:lnTo>
                    <a:pt x="35" y="49"/>
                  </a:lnTo>
                  <a:lnTo>
                    <a:pt x="43" y="51"/>
                  </a:lnTo>
                  <a:lnTo>
                    <a:pt x="52" y="54"/>
                  </a:lnTo>
                  <a:lnTo>
                    <a:pt x="66" y="54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6" y="49"/>
                  </a:lnTo>
                  <a:lnTo>
                    <a:pt x="95" y="49"/>
                  </a:lnTo>
                  <a:lnTo>
                    <a:pt x="101" y="46"/>
                  </a:lnTo>
                  <a:lnTo>
                    <a:pt x="112" y="40"/>
                  </a:lnTo>
                  <a:lnTo>
                    <a:pt x="121" y="40"/>
                  </a:lnTo>
                  <a:lnTo>
                    <a:pt x="126" y="34"/>
                  </a:lnTo>
                  <a:lnTo>
                    <a:pt x="132" y="31"/>
                  </a:lnTo>
                  <a:lnTo>
                    <a:pt x="141" y="28"/>
                  </a:lnTo>
                  <a:lnTo>
                    <a:pt x="144" y="26"/>
                  </a:lnTo>
                  <a:lnTo>
                    <a:pt x="144" y="20"/>
                  </a:lnTo>
                  <a:lnTo>
                    <a:pt x="138" y="14"/>
                  </a:lnTo>
                  <a:lnTo>
                    <a:pt x="132" y="14"/>
                  </a:lnTo>
                  <a:lnTo>
                    <a:pt x="126" y="8"/>
                  </a:lnTo>
                  <a:lnTo>
                    <a:pt x="132" y="6"/>
                  </a:lnTo>
                  <a:lnTo>
                    <a:pt x="132" y="3"/>
                  </a:lnTo>
                  <a:lnTo>
                    <a:pt x="121" y="6"/>
                  </a:lnTo>
                  <a:lnTo>
                    <a:pt x="115" y="0"/>
                  </a:lnTo>
                  <a:lnTo>
                    <a:pt x="106" y="3"/>
                  </a:lnTo>
                  <a:lnTo>
                    <a:pt x="103" y="8"/>
                  </a:lnTo>
                  <a:lnTo>
                    <a:pt x="101" y="6"/>
                  </a:lnTo>
                  <a:lnTo>
                    <a:pt x="98" y="6"/>
                  </a:lnTo>
                  <a:lnTo>
                    <a:pt x="92" y="8"/>
                  </a:lnTo>
                  <a:lnTo>
                    <a:pt x="89" y="6"/>
                  </a:lnTo>
                  <a:lnTo>
                    <a:pt x="83" y="6"/>
                  </a:lnTo>
                  <a:lnTo>
                    <a:pt x="83" y="8"/>
                  </a:lnTo>
                  <a:lnTo>
                    <a:pt x="81" y="11"/>
                  </a:lnTo>
                  <a:lnTo>
                    <a:pt x="78" y="8"/>
                  </a:lnTo>
                  <a:lnTo>
                    <a:pt x="69" y="8"/>
                  </a:lnTo>
                  <a:lnTo>
                    <a:pt x="69" y="11"/>
                  </a:lnTo>
                  <a:lnTo>
                    <a:pt x="66" y="14"/>
                  </a:lnTo>
                  <a:lnTo>
                    <a:pt x="63" y="11"/>
                  </a:lnTo>
                  <a:lnTo>
                    <a:pt x="58" y="6"/>
                  </a:lnTo>
                  <a:lnTo>
                    <a:pt x="55" y="14"/>
                  </a:lnTo>
                  <a:lnTo>
                    <a:pt x="52" y="17"/>
                  </a:lnTo>
                  <a:lnTo>
                    <a:pt x="49" y="14"/>
                  </a:lnTo>
                  <a:lnTo>
                    <a:pt x="49" y="17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40" y="17"/>
                  </a:lnTo>
                  <a:lnTo>
                    <a:pt x="43" y="11"/>
                  </a:lnTo>
                  <a:lnTo>
                    <a:pt x="43" y="8"/>
                  </a:lnTo>
                  <a:lnTo>
                    <a:pt x="37" y="6"/>
                  </a:lnTo>
                  <a:lnTo>
                    <a:pt x="32" y="3"/>
                  </a:lnTo>
                  <a:lnTo>
                    <a:pt x="23" y="0"/>
                  </a:lnTo>
                  <a:lnTo>
                    <a:pt x="23" y="6"/>
                  </a:lnTo>
                  <a:lnTo>
                    <a:pt x="23" y="8"/>
                  </a:lnTo>
                  <a:lnTo>
                    <a:pt x="17" y="6"/>
                  </a:lnTo>
                  <a:lnTo>
                    <a:pt x="9" y="11"/>
                  </a:lnTo>
                  <a:lnTo>
                    <a:pt x="3" y="14"/>
                  </a:lnTo>
                  <a:lnTo>
                    <a:pt x="0" y="17"/>
                  </a:lnTo>
                  <a:lnTo>
                    <a:pt x="6" y="20"/>
                  </a:lnTo>
                  <a:lnTo>
                    <a:pt x="14" y="20"/>
                  </a:lnTo>
                  <a:lnTo>
                    <a:pt x="20" y="17"/>
                  </a:lnTo>
                  <a:lnTo>
                    <a:pt x="26" y="20"/>
                  </a:lnTo>
                  <a:lnTo>
                    <a:pt x="26" y="23"/>
                  </a:lnTo>
                  <a:lnTo>
                    <a:pt x="26" y="2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31" name="Freeform 332"/>
            <p:cNvSpPr>
              <a:spLocks/>
            </p:cNvSpPr>
            <p:nvPr/>
          </p:nvSpPr>
          <p:spPr bwMode="auto">
            <a:xfrm>
              <a:off x="4576763" y="4171950"/>
              <a:ext cx="28575" cy="36513"/>
            </a:xfrm>
            <a:custGeom>
              <a:avLst/>
              <a:gdLst>
                <a:gd name="T0" fmla="*/ 2147483647 w 18"/>
                <a:gd name="T1" fmla="*/ 2147483647 h 23"/>
                <a:gd name="T2" fmla="*/ 2147483647 w 18"/>
                <a:gd name="T3" fmla="*/ 2147483647 h 23"/>
                <a:gd name="T4" fmla="*/ 2147483647 w 18"/>
                <a:gd name="T5" fmla="*/ 2147483647 h 23"/>
                <a:gd name="T6" fmla="*/ 2147483647 w 18"/>
                <a:gd name="T7" fmla="*/ 2147483647 h 23"/>
                <a:gd name="T8" fmla="*/ 2147483647 w 18"/>
                <a:gd name="T9" fmla="*/ 0 h 23"/>
                <a:gd name="T10" fmla="*/ 2147483647 w 18"/>
                <a:gd name="T11" fmla="*/ 2147483647 h 23"/>
                <a:gd name="T12" fmla="*/ 0 w 18"/>
                <a:gd name="T13" fmla="*/ 2147483647 h 23"/>
                <a:gd name="T14" fmla="*/ 0 w 18"/>
                <a:gd name="T15" fmla="*/ 2147483647 h 23"/>
                <a:gd name="T16" fmla="*/ 2147483647 w 18"/>
                <a:gd name="T17" fmla="*/ 2147483647 h 23"/>
                <a:gd name="T18" fmla="*/ 2147483647 w 18"/>
                <a:gd name="T19" fmla="*/ 2147483647 h 23"/>
                <a:gd name="T20" fmla="*/ 2147483647 w 18"/>
                <a:gd name="T21" fmla="*/ 2147483647 h 23"/>
                <a:gd name="T22" fmla="*/ 2147483647 w 18"/>
                <a:gd name="T23" fmla="*/ 2147483647 h 2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8"/>
                <a:gd name="T37" fmla="*/ 0 h 23"/>
                <a:gd name="T38" fmla="*/ 18 w 18"/>
                <a:gd name="T39" fmla="*/ 23 h 2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8" h="23">
                  <a:moveTo>
                    <a:pt x="9" y="23"/>
                  </a:moveTo>
                  <a:lnTo>
                    <a:pt x="9" y="20"/>
                  </a:lnTo>
                  <a:lnTo>
                    <a:pt x="9" y="8"/>
                  </a:lnTo>
                  <a:lnTo>
                    <a:pt x="18" y="3"/>
                  </a:lnTo>
                  <a:lnTo>
                    <a:pt x="15" y="0"/>
                  </a:lnTo>
                  <a:lnTo>
                    <a:pt x="9" y="6"/>
                  </a:lnTo>
                  <a:lnTo>
                    <a:pt x="0" y="8"/>
                  </a:lnTo>
                  <a:lnTo>
                    <a:pt x="6" y="17"/>
                  </a:lnTo>
                  <a:lnTo>
                    <a:pt x="6" y="23"/>
                  </a:lnTo>
                  <a:lnTo>
                    <a:pt x="9" y="2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32" name="Freeform 333"/>
            <p:cNvSpPr>
              <a:spLocks/>
            </p:cNvSpPr>
            <p:nvPr/>
          </p:nvSpPr>
          <p:spPr bwMode="auto">
            <a:xfrm>
              <a:off x="4508500" y="3965575"/>
              <a:ext cx="50800" cy="36513"/>
            </a:xfrm>
            <a:custGeom>
              <a:avLst/>
              <a:gdLst>
                <a:gd name="T0" fmla="*/ 2147483647 w 32"/>
                <a:gd name="T1" fmla="*/ 2147483647 h 23"/>
                <a:gd name="T2" fmla="*/ 2147483647 w 32"/>
                <a:gd name="T3" fmla="*/ 2147483647 h 23"/>
                <a:gd name="T4" fmla="*/ 0 w 32"/>
                <a:gd name="T5" fmla="*/ 2147483647 h 23"/>
                <a:gd name="T6" fmla="*/ 0 w 32"/>
                <a:gd name="T7" fmla="*/ 2147483647 h 23"/>
                <a:gd name="T8" fmla="*/ 0 w 32"/>
                <a:gd name="T9" fmla="*/ 2147483647 h 23"/>
                <a:gd name="T10" fmla="*/ 0 w 32"/>
                <a:gd name="T11" fmla="*/ 2147483647 h 23"/>
                <a:gd name="T12" fmla="*/ 2147483647 w 32"/>
                <a:gd name="T13" fmla="*/ 2147483647 h 23"/>
                <a:gd name="T14" fmla="*/ 2147483647 w 32"/>
                <a:gd name="T15" fmla="*/ 0 h 23"/>
                <a:gd name="T16" fmla="*/ 2147483647 w 32"/>
                <a:gd name="T17" fmla="*/ 2147483647 h 23"/>
                <a:gd name="T18" fmla="*/ 2147483647 w 32"/>
                <a:gd name="T19" fmla="*/ 2147483647 h 23"/>
                <a:gd name="T20" fmla="*/ 2147483647 w 32"/>
                <a:gd name="T21" fmla="*/ 2147483647 h 23"/>
                <a:gd name="T22" fmla="*/ 2147483647 w 32"/>
                <a:gd name="T23" fmla="*/ 2147483647 h 2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2"/>
                <a:gd name="T37" fmla="*/ 0 h 23"/>
                <a:gd name="T38" fmla="*/ 32 w 32"/>
                <a:gd name="T39" fmla="*/ 23 h 2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2" h="23">
                  <a:moveTo>
                    <a:pt x="3" y="8"/>
                  </a:moveTo>
                  <a:lnTo>
                    <a:pt x="3" y="8"/>
                  </a:lnTo>
                  <a:lnTo>
                    <a:pt x="0" y="17"/>
                  </a:lnTo>
                  <a:lnTo>
                    <a:pt x="0" y="20"/>
                  </a:lnTo>
                  <a:lnTo>
                    <a:pt x="0" y="23"/>
                  </a:lnTo>
                  <a:lnTo>
                    <a:pt x="32" y="23"/>
                  </a:lnTo>
                  <a:lnTo>
                    <a:pt x="32" y="0"/>
                  </a:lnTo>
                  <a:lnTo>
                    <a:pt x="6" y="2"/>
                  </a:lnTo>
                  <a:lnTo>
                    <a:pt x="3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33" name="Freeform 334"/>
            <p:cNvSpPr>
              <a:spLocks/>
            </p:cNvSpPr>
            <p:nvPr/>
          </p:nvSpPr>
          <p:spPr bwMode="auto">
            <a:xfrm>
              <a:off x="4645025" y="3692525"/>
              <a:ext cx="352425" cy="258763"/>
            </a:xfrm>
            <a:custGeom>
              <a:avLst/>
              <a:gdLst>
                <a:gd name="T0" fmla="*/ 2147483647 w 219"/>
                <a:gd name="T1" fmla="*/ 2147483647 h 161"/>
                <a:gd name="T2" fmla="*/ 2147483647 w 219"/>
                <a:gd name="T3" fmla="*/ 2147483647 h 161"/>
                <a:gd name="T4" fmla="*/ 2147483647 w 219"/>
                <a:gd name="T5" fmla="*/ 2147483647 h 161"/>
                <a:gd name="T6" fmla="*/ 2147483647 w 219"/>
                <a:gd name="T7" fmla="*/ 2147483647 h 161"/>
                <a:gd name="T8" fmla="*/ 2147483647 w 219"/>
                <a:gd name="T9" fmla="*/ 2147483647 h 161"/>
                <a:gd name="T10" fmla="*/ 2147483647 w 219"/>
                <a:gd name="T11" fmla="*/ 2147483647 h 161"/>
                <a:gd name="T12" fmla="*/ 2147483647 w 219"/>
                <a:gd name="T13" fmla="*/ 2147483647 h 161"/>
                <a:gd name="T14" fmla="*/ 2147483647 w 219"/>
                <a:gd name="T15" fmla="*/ 2147483647 h 161"/>
                <a:gd name="T16" fmla="*/ 2147483647 w 219"/>
                <a:gd name="T17" fmla="*/ 2147483647 h 161"/>
                <a:gd name="T18" fmla="*/ 2147483647 w 219"/>
                <a:gd name="T19" fmla="*/ 2147483647 h 161"/>
                <a:gd name="T20" fmla="*/ 2147483647 w 219"/>
                <a:gd name="T21" fmla="*/ 2147483647 h 161"/>
                <a:gd name="T22" fmla="*/ 2147483647 w 219"/>
                <a:gd name="T23" fmla="*/ 2147483647 h 161"/>
                <a:gd name="T24" fmla="*/ 2147483647 w 219"/>
                <a:gd name="T25" fmla="*/ 2147483647 h 161"/>
                <a:gd name="T26" fmla="*/ 2147483647 w 219"/>
                <a:gd name="T27" fmla="*/ 2147483647 h 161"/>
                <a:gd name="T28" fmla="*/ 2147483647 w 219"/>
                <a:gd name="T29" fmla="*/ 2147483647 h 161"/>
                <a:gd name="T30" fmla="*/ 2147483647 w 219"/>
                <a:gd name="T31" fmla="*/ 2147483647 h 161"/>
                <a:gd name="T32" fmla="*/ 2147483647 w 219"/>
                <a:gd name="T33" fmla="*/ 2147483647 h 161"/>
                <a:gd name="T34" fmla="*/ 2147483647 w 219"/>
                <a:gd name="T35" fmla="*/ 2147483647 h 161"/>
                <a:gd name="T36" fmla="*/ 2147483647 w 219"/>
                <a:gd name="T37" fmla="*/ 2147483647 h 161"/>
                <a:gd name="T38" fmla="*/ 2147483647 w 219"/>
                <a:gd name="T39" fmla="*/ 2147483647 h 161"/>
                <a:gd name="T40" fmla="*/ 2147483647 w 219"/>
                <a:gd name="T41" fmla="*/ 2147483647 h 161"/>
                <a:gd name="T42" fmla="*/ 2147483647 w 219"/>
                <a:gd name="T43" fmla="*/ 2147483647 h 161"/>
                <a:gd name="T44" fmla="*/ 2147483647 w 219"/>
                <a:gd name="T45" fmla="*/ 2147483647 h 161"/>
                <a:gd name="T46" fmla="*/ 2147483647 w 219"/>
                <a:gd name="T47" fmla="*/ 2147483647 h 161"/>
                <a:gd name="T48" fmla="*/ 2147483647 w 219"/>
                <a:gd name="T49" fmla="*/ 2147483647 h 161"/>
                <a:gd name="T50" fmla="*/ 2147483647 w 219"/>
                <a:gd name="T51" fmla="*/ 2147483647 h 161"/>
                <a:gd name="T52" fmla="*/ 2147483647 w 219"/>
                <a:gd name="T53" fmla="*/ 2147483647 h 161"/>
                <a:gd name="T54" fmla="*/ 2147483647 w 219"/>
                <a:gd name="T55" fmla="*/ 2147483647 h 161"/>
                <a:gd name="T56" fmla="*/ 2147483647 w 219"/>
                <a:gd name="T57" fmla="*/ 2147483647 h 161"/>
                <a:gd name="T58" fmla="*/ 2147483647 w 219"/>
                <a:gd name="T59" fmla="*/ 2147483647 h 161"/>
                <a:gd name="T60" fmla="*/ 2147483647 w 219"/>
                <a:gd name="T61" fmla="*/ 2147483647 h 161"/>
                <a:gd name="T62" fmla="*/ 2147483647 w 219"/>
                <a:gd name="T63" fmla="*/ 2147483647 h 161"/>
                <a:gd name="T64" fmla="*/ 2147483647 w 219"/>
                <a:gd name="T65" fmla="*/ 2147483647 h 161"/>
                <a:gd name="T66" fmla="*/ 2147483647 w 219"/>
                <a:gd name="T67" fmla="*/ 2147483647 h 161"/>
                <a:gd name="T68" fmla="*/ 0 w 219"/>
                <a:gd name="T69" fmla="*/ 2147483647 h 161"/>
                <a:gd name="T70" fmla="*/ 0 w 219"/>
                <a:gd name="T71" fmla="*/ 2147483647 h 161"/>
                <a:gd name="T72" fmla="*/ 2147483647 w 219"/>
                <a:gd name="T73" fmla="*/ 2147483647 h 161"/>
                <a:gd name="T74" fmla="*/ 2147483647 w 219"/>
                <a:gd name="T75" fmla="*/ 2147483647 h 161"/>
                <a:gd name="T76" fmla="*/ 2147483647 w 219"/>
                <a:gd name="T77" fmla="*/ 2147483647 h 161"/>
                <a:gd name="T78" fmla="*/ 2147483647 w 219"/>
                <a:gd name="T79" fmla="*/ 2147483647 h 161"/>
                <a:gd name="T80" fmla="*/ 2147483647 w 219"/>
                <a:gd name="T81" fmla="*/ 2147483647 h 161"/>
                <a:gd name="T82" fmla="*/ 2147483647 w 219"/>
                <a:gd name="T83" fmla="*/ 2147483647 h 161"/>
                <a:gd name="T84" fmla="*/ 2147483647 w 219"/>
                <a:gd name="T85" fmla="*/ 2147483647 h 161"/>
                <a:gd name="T86" fmla="*/ 2147483647 w 219"/>
                <a:gd name="T87" fmla="*/ 2147483647 h 161"/>
                <a:gd name="T88" fmla="*/ 2147483647 w 219"/>
                <a:gd name="T89" fmla="*/ 2147483647 h 161"/>
                <a:gd name="T90" fmla="*/ 2147483647 w 219"/>
                <a:gd name="T91" fmla="*/ 2147483647 h 161"/>
                <a:gd name="T92" fmla="*/ 2147483647 w 219"/>
                <a:gd name="T93" fmla="*/ 2147483647 h 161"/>
                <a:gd name="T94" fmla="*/ 2147483647 w 219"/>
                <a:gd name="T95" fmla="*/ 2147483647 h 161"/>
                <a:gd name="T96" fmla="*/ 2147483647 w 219"/>
                <a:gd name="T97" fmla="*/ 2147483647 h 161"/>
                <a:gd name="T98" fmla="*/ 2147483647 w 219"/>
                <a:gd name="T99" fmla="*/ 2147483647 h 161"/>
                <a:gd name="T100" fmla="*/ 2147483647 w 219"/>
                <a:gd name="T101" fmla="*/ 2147483647 h 161"/>
                <a:gd name="T102" fmla="*/ 2147483647 w 219"/>
                <a:gd name="T103" fmla="*/ 2147483647 h 161"/>
                <a:gd name="T104" fmla="*/ 2147483647 w 219"/>
                <a:gd name="T105" fmla="*/ 2147483647 h 161"/>
                <a:gd name="T106" fmla="*/ 2147483647 w 219"/>
                <a:gd name="T107" fmla="*/ 2147483647 h 161"/>
                <a:gd name="T108" fmla="*/ 2147483647 w 219"/>
                <a:gd name="T109" fmla="*/ 2147483647 h 161"/>
                <a:gd name="T110" fmla="*/ 2147483647 w 219"/>
                <a:gd name="T111" fmla="*/ 2147483647 h 161"/>
                <a:gd name="T112" fmla="*/ 2147483647 w 219"/>
                <a:gd name="T113" fmla="*/ 2147483647 h 161"/>
                <a:gd name="T114" fmla="*/ 2147483647 w 219"/>
                <a:gd name="T115" fmla="*/ 2147483647 h 161"/>
                <a:gd name="T116" fmla="*/ 2147483647 w 219"/>
                <a:gd name="T117" fmla="*/ 2147483647 h 16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19"/>
                <a:gd name="T178" fmla="*/ 0 h 161"/>
                <a:gd name="T179" fmla="*/ 219 w 219"/>
                <a:gd name="T180" fmla="*/ 161 h 16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19" h="161">
                  <a:moveTo>
                    <a:pt x="78" y="112"/>
                  </a:moveTo>
                  <a:lnTo>
                    <a:pt x="78" y="112"/>
                  </a:lnTo>
                  <a:lnTo>
                    <a:pt x="84" y="109"/>
                  </a:lnTo>
                  <a:lnTo>
                    <a:pt x="89" y="109"/>
                  </a:lnTo>
                  <a:lnTo>
                    <a:pt x="92" y="109"/>
                  </a:lnTo>
                  <a:lnTo>
                    <a:pt x="101" y="118"/>
                  </a:lnTo>
                  <a:lnTo>
                    <a:pt x="107" y="124"/>
                  </a:lnTo>
                  <a:lnTo>
                    <a:pt x="110" y="127"/>
                  </a:lnTo>
                  <a:lnTo>
                    <a:pt x="124" y="127"/>
                  </a:lnTo>
                  <a:lnTo>
                    <a:pt x="135" y="129"/>
                  </a:lnTo>
                  <a:lnTo>
                    <a:pt x="144" y="115"/>
                  </a:lnTo>
                  <a:lnTo>
                    <a:pt x="153" y="121"/>
                  </a:lnTo>
                  <a:lnTo>
                    <a:pt x="161" y="118"/>
                  </a:lnTo>
                  <a:lnTo>
                    <a:pt x="170" y="109"/>
                  </a:lnTo>
                  <a:lnTo>
                    <a:pt x="178" y="115"/>
                  </a:lnTo>
                  <a:lnTo>
                    <a:pt x="187" y="112"/>
                  </a:lnTo>
                  <a:lnTo>
                    <a:pt x="190" y="104"/>
                  </a:lnTo>
                  <a:lnTo>
                    <a:pt x="196" y="109"/>
                  </a:lnTo>
                  <a:lnTo>
                    <a:pt x="204" y="109"/>
                  </a:lnTo>
                  <a:lnTo>
                    <a:pt x="213" y="112"/>
                  </a:lnTo>
                  <a:lnTo>
                    <a:pt x="219" y="109"/>
                  </a:lnTo>
                  <a:lnTo>
                    <a:pt x="219" y="101"/>
                  </a:lnTo>
                  <a:lnTo>
                    <a:pt x="207" y="95"/>
                  </a:lnTo>
                  <a:lnTo>
                    <a:pt x="201" y="86"/>
                  </a:lnTo>
                  <a:lnTo>
                    <a:pt x="204" y="83"/>
                  </a:lnTo>
                  <a:lnTo>
                    <a:pt x="181" y="66"/>
                  </a:lnTo>
                  <a:lnTo>
                    <a:pt x="184" y="63"/>
                  </a:lnTo>
                  <a:lnTo>
                    <a:pt x="184" y="60"/>
                  </a:lnTo>
                  <a:lnTo>
                    <a:pt x="178" y="58"/>
                  </a:lnTo>
                  <a:lnTo>
                    <a:pt x="176" y="52"/>
                  </a:lnTo>
                  <a:lnTo>
                    <a:pt x="164" y="52"/>
                  </a:lnTo>
                  <a:lnTo>
                    <a:pt x="164" y="49"/>
                  </a:lnTo>
                  <a:lnTo>
                    <a:pt x="167" y="43"/>
                  </a:lnTo>
                  <a:lnTo>
                    <a:pt x="153" y="43"/>
                  </a:lnTo>
                  <a:lnTo>
                    <a:pt x="155" y="32"/>
                  </a:lnTo>
                  <a:lnTo>
                    <a:pt x="158" y="23"/>
                  </a:lnTo>
                  <a:lnTo>
                    <a:pt x="155" y="20"/>
                  </a:lnTo>
                  <a:lnTo>
                    <a:pt x="144" y="0"/>
                  </a:lnTo>
                  <a:lnTo>
                    <a:pt x="127" y="6"/>
                  </a:lnTo>
                  <a:lnTo>
                    <a:pt x="124" y="15"/>
                  </a:lnTo>
                  <a:lnTo>
                    <a:pt x="101" y="35"/>
                  </a:lnTo>
                  <a:lnTo>
                    <a:pt x="78" y="40"/>
                  </a:lnTo>
                  <a:lnTo>
                    <a:pt x="84" y="43"/>
                  </a:lnTo>
                  <a:lnTo>
                    <a:pt x="69" y="58"/>
                  </a:lnTo>
                  <a:lnTo>
                    <a:pt x="41" y="66"/>
                  </a:lnTo>
                  <a:lnTo>
                    <a:pt x="38" y="63"/>
                  </a:lnTo>
                  <a:lnTo>
                    <a:pt x="35" y="60"/>
                  </a:lnTo>
                  <a:lnTo>
                    <a:pt x="23" y="66"/>
                  </a:lnTo>
                  <a:lnTo>
                    <a:pt x="21" y="66"/>
                  </a:lnTo>
                  <a:lnTo>
                    <a:pt x="12" y="78"/>
                  </a:lnTo>
                  <a:lnTo>
                    <a:pt x="6" y="89"/>
                  </a:lnTo>
                  <a:lnTo>
                    <a:pt x="0" y="92"/>
                  </a:lnTo>
                  <a:lnTo>
                    <a:pt x="3" y="92"/>
                  </a:lnTo>
                  <a:lnTo>
                    <a:pt x="6" y="95"/>
                  </a:lnTo>
                  <a:lnTo>
                    <a:pt x="3" y="109"/>
                  </a:lnTo>
                  <a:lnTo>
                    <a:pt x="6" y="115"/>
                  </a:lnTo>
                  <a:lnTo>
                    <a:pt x="9" y="121"/>
                  </a:lnTo>
                  <a:lnTo>
                    <a:pt x="15" y="129"/>
                  </a:lnTo>
                  <a:lnTo>
                    <a:pt x="15" y="138"/>
                  </a:lnTo>
                  <a:lnTo>
                    <a:pt x="21" y="144"/>
                  </a:lnTo>
                  <a:lnTo>
                    <a:pt x="23" y="147"/>
                  </a:lnTo>
                  <a:lnTo>
                    <a:pt x="26" y="147"/>
                  </a:lnTo>
                  <a:lnTo>
                    <a:pt x="29" y="149"/>
                  </a:lnTo>
                  <a:lnTo>
                    <a:pt x="29" y="152"/>
                  </a:lnTo>
                  <a:lnTo>
                    <a:pt x="32" y="161"/>
                  </a:lnTo>
                  <a:lnTo>
                    <a:pt x="32" y="158"/>
                  </a:lnTo>
                  <a:lnTo>
                    <a:pt x="35" y="144"/>
                  </a:lnTo>
                  <a:lnTo>
                    <a:pt x="49" y="138"/>
                  </a:lnTo>
                  <a:lnTo>
                    <a:pt x="55" y="138"/>
                  </a:lnTo>
                  <a:lnTo>
                    <a:pt x="64" y="141"/>
                  </a:lnTo>
                  <a:lnTo>
                    <a:pt x="66" y="138"/>
                  </a:lnTo>
                  <a:lnTo>
                    <a:pt x="69" y="138"/>
                  </a:lnTo>
                  <a:lnTo>
                    <a:pt x="69" y="132"/>
                  </a:lnTo>
                  <a:lnTo>
                    <a:pt x="72" y="124"/>
                  </a:lnTo>
                  <a:lnTo>
                    <a:pt x="78" y="11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34" name="Freeform 335"/>
            <p:cNvSpPr>
              <a:spLocks/>
            </p:cNvSpPr>
            <p:nvPr/>
          </p:nvSpPr>
          <p:spPr bwMode="auto">
            <a:xfrm>
              <a:off x="4484688" y="3624263"/>
              <a:ext cx="203200" cy="349250"/>
            </a:xfrm>
            <a:custGeom>
              <a:avLst/>
              <a:gdLst>
                <a:gd name="T0" fmla="*/ 2147483647 w 126"/>
                <a:gd name="T1" fmla="*/ 2147483647 h 218"/>
                <a:gd name="T2" fmla="*/ 2147483647 w 126"/>
                <a:gd name="T3" fmla="*/ 2147483647 h 218"/>
                <a:gd name="T4" fmla="*/ 2147483647 w 126"/>
                <a:gd name="T5" fmla="*/ 2147483647 h 218"/>
                <a:gd name="T6" fmla="*/ 2147483647 w 126"/>
                <a:gd name="T7" fmla="*/ 2147483647 h 218"/>
                <a:gd name="T8" fmla="*/ 2147483647 w 126"/>
                <a:gd name="T9" fmla="*/ 2147483647 h 218"/>
                <a:gd name="T10" fmla="*/ 2147483647 w 126"/>
                <a:gd name="T11" fmla="*/ 2147483647 h 218"/>
                <a:gd name="T12" fmla="*/ 2147483647 w 126"/>
                <a:gd name="T13" fmla="*/ 2147483647 h 218"/>
                <a:gd name="T14" fmla="*/ 2147483647 w 126"/>
                <a:gd name="T15" fmla="*/ 2147483647 h 218"/>
                <a:gd name="T16" fmla="*/ 2147483647 w 126"/>
                <a:gd name="T17" fmla="*/ 2147483647 h 218"/>
                <a:gd name="T18" fmla="*/ 2147483647 w 126"/>
                <a:gd name="T19" fmla="*/ 2147483647 h 218"/>
                <a:gd name="T20" fmla="*/ 2147483647 w 126"/>
                <a:gd name="T21" fmla="*/ 2147483647 h 218"/>
                <a:gd name="T22" fmla="*/ 2147483647 w 126"/>
                <a:gd name="T23" fmla="*/ 2147483647 h 218"/>
                <a:gd name="T24" fmla="*/ 2147483647 w 126"/>
                <a:gd name="T25" fmla="*/ 2147483647 h 218"/>
                <a:gd name="T26" fmla="*/ 2147483647 w 126"/>
                <a:gd name="T27" fmla="*/ 2147483647 h 218"/>
                <a:gd name="T28" fmla="*/ 2147483647 w 126"/>
                <a:gd name="T29" fmla="*/ 2147483647 h 218"/>
                <a:gd name="T30" fmla="*/ 2147483647 w 126"/>
                <a:gd name="T31" fmla="*/ 2147483647 h 218"/>
                <a:gd name="T32" fmla="*/ 2147483647 w 126"/>
                <a:gd name="T33" fmla="*/ 2147483647 h 218"/>
                <a:gd name="T34" fmla="*/ 2147483647 w 126"/>
                <a:gd name="T35" fmla="*/ 2147483647 h 218"/>
                <a:gd name="T36" fmla="*/ 2147483647 w 126"/>
                <a:gd name="T37" fmla="*/ 2147483647 h 218"/>
                <a:gd name="T38" fmla="*/ 2147483647 w 126"/>
                <a:gd name="T39" fmla="*/ 2147483647 h 218"/>
                <a:gd name="T40" fmla="*/ 2147483647 w 126"/>
                <a:gd name="T41" fmla="*/ 2147483647 h 218"/>
                <a:gd name="T42" fmla="*/ 2147483647 w 126"/>
                <a:gd name="T43" fmla="*/ 2147483647 h 218"/>
                <a:gd name="T44" fmla="*/ 2147483647 w 126"/>
                <a:gd name="T45" fmla="*/ 2147483647 h 218"/>
                <a:gd name="T46" fmla="*/ 2147483647 w 126"/>
                <a:gd name="T47" fmla="*/ 0 h 218"/>
                <a:gd name="T48" fmla="*/ 2147483647 w 126"/>
                <a:gd name="T49" fmla="*/ 2147483647 h 218"/>
                <a:gd name="T50" fmla="*/ 2147483647 w 126"/>
                <a:gd name="T51" fmla="*/ 2147483647 h 218"/>
                <a:gd name="T52" fmla="*/ 2147483647 w 126"/>
                <a:gd name="T53" fmla="*/ 2147483647 h 218"/>
                <a:gd name="T54" fmla="*/ 2147483647 w 126"/>
                <a:gd name="T55" fmla="*/ 2147483647 h 218"/>
                <a:gd name="T56" fmla="*/ 2147483647 w 126"/>
                <a:gd name="T57" fmla="*/ 2147483647 h 218"/>
                <a:gd name="T58" fmla="*/ 2147483647 w 126"/>
                <a:gd name="T59" fmla="*/ 2147483647 h 218"/>
                <a:gd name="T60" fmla="*/ 2147483647 w 126"/>
                <a:gd name="T61" fmla="*/ 2147483647 h 218"/>
                <a:gd name="T62" fmla="*/ 2147483647 w 126"/>
                <a:gd name="T63" fmla="*/ 2147483647 h 218"/>
                <a:gd name="T64" fmla="*/ 2147483647 w 126"/>
                <a:gd name="T65" fmla="*/ 2147483647 h 218"/>
                <a:gd name="T66" fmla="*/ 2147483647 w 126"/>
                <a:gd name="T67" fmla="*/ 2147483647 h 218"/>
                <a:gd name="T68" fmla="*/ 2147483647 w 126"/>
                <a:gd name="T69" fmla="*/ 2147483647 h 218"/>
                <a:gd name="T70" fmla="*/ 2147483647 w 126"/>
                <a:gd name="T71" fmla="*/ 2147483647 h 218"/>
                <a:gd name="T72" fmla="*/ 0 w 126"/>
                <a:gd name="T73" fmla="*/ 2147483647 h 218"/>
                <a:gd name="T74" fmla="*/ 2147483647 w 126"/>
                <a:gd name="T75" fmla="*/ 2147483647 h 218"/>
                <a:gd name="T76" fmla="*/ 2147483647 w 126"/>
                <a:gd name="T77" fmla="*/ 2147483647 h 218"/>
                <a:gd name="T78" fmla="*/ 2147483647 w 126"/>
                <a:gd name="T79" fmla="*/ 2147483647 h 218"/>
                <a:gd name="T80" fmla="*/ 2147483647 w 126"/>
                <a:gd name="T81" fmla="*/ 2147483647 h 218"/>
                <a:gd name="T82" fmla="*/ 2147483647 w 126"/>
                <a:gd name="T83" fmla="*/ 2147483647 h 218"/>
                <a:gd name="T84" fmla="*/ 2147483647 w 126"/>
                <a:gd name="T85" fmla="*/ 2147483647 h 218"/>
                <a:gd name="T86" fmla="*/ 2147483647 w 126"/>
                <a:gd name="T87" fmla="*/ 2147483647 h 218"/>
                <a:gd name="T88" fmla="*/ 2147483647 w 126"/>
                <a:gd name="T89" fmla="*/ 2147483647 h 218"/>
                <a:gd name="T90" fmla="*/ 2147483647 w 126"/>
                <a:gd name="T91" fmla="*/ 2147483647 h 218"/>
                <a:gd name="T92" fmla="*/ 2147483647 w 126"/>
                <a:gd name="T93" fmla="*/ 2147483647 h 218"/>
                <a:gd name="T94" fmla="*/ 2147483647 w 126"/>
                <a:gd name="T95" fmla="*/ 2147483647 h 218"/>
                <a:gd name="T96" fmla="*/ 2147483647 w 126"/>
                <a:gd name="T97" fmla="*/ 2147483647 h 218"/>
                <a:gd name="T98" fmla="*/ 2147483647 w 126"/>
                <a:gd name="T99" fmla="*/ 2147483647 h 218"/>
                <a:gd name="T100" fmla="*/ 2147483647 w 126"/>
                <a:gd name="T101" fmla="*/ 2147483647 h 218"/>
                <a:gd name="T102" fmla="*/ 2147483647 w 126"/>
                <a:gd name="T103" fmla="*/ 2147483647 h 218"/>
                <a:gd name="T104" fmla="*/ 2147483647 w 126"/>
                <a:gd name="T105" fmla="*/ 2147483647 h 218"/>
                <a:gd name="T106" fmla="*/ 2147483647 w 126"/>
                <a:gd name="T107" fmla="*/ 2147483647 h 218"/>
                <a:gd name="T108" fmla="*/ 2147483647 w 126"/>
                <a:gd name="T109" fmla="*/ 2147483647 h 218"/>
                <a:gd name="T110" fmla="*/ 2147483647 w 126"/>
                <a:gd name="T111" fmla="*/ 2147483647 h 218"/>
                <a:gd name="T112" fmla="*/ 2147483647 w 126"/>
                <a:gd name="T113" fmla="*/ 2147483647 h 218"/>
                <a:gd name="T114" fmla="*/ 2147483647 w 126"/>
                <a:gd name="T115" fmla="*/ 2147483647 h 21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26"/>
                <a:gd name="T175" fmla="*/ 0 h 218"/>
                <a:gd name="T176" fmla="*/ 126 w 126"/>
                <a:gd name="T177" fmla="*/ 218 h 21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26" h="218">
                  <a:moveTo>
                    <a:pt x="126" y="195"/>
                  </a:moveTo>
                  <a:lnTo>
                    <a:pt x="126" y="195"/>
                  </a:lnTo>
                  <a:lnTo>
                    <a:pt x="126" y="192"/>
                  </a:lnTo>
                  <a:lnTo>
                    <a:pt x="123" y="195"/>
                  </a:lnTo>
                  <a:lnTo>
                    <a:pt x="121" y="192"/>
                  </a:lnTo>
                  <a:lnTo>
                    <a:pt x="118" y="190"/>
                  </a:lnTo>
                  <a:lnTo>
                    <a:pt x="109" y="181"/>
                  </a:lnTo>
                  <a:lnTo>
                    <a:pt x="109" y="172"/>
                  </a:lnTo>
                  <a:lnTo>
                    <a:pt x="106" y="167"/>
                  </a:lnTo>
                  <a:lnTo>
                    <a:pt x="100" y="158"/>
                  </a:lnTo>
                  <a:lnTo>
                    <a:pt x="100" y="152"/>
                  </a:lnTo>
                  <a:lnTo>
                    <a:pt x="100" y="138"/>
                  </a:lnTo>
                  <a:lnTo>
                    <a:pt x="98" y="135"/>
                  </a:lnTo>
                  <a:lnTo>
                    <a:pt x="95" y="135"/>
                  </a:lnTo>
                  <a:lnTo>
                    <a:pt x="98" y="132"/>
                  </a:lnTo>
                  <a:lnTo>
                    <a:pt x="103" y="129"/>
                  </a:lnTo>
                  <a:lnTo>
                    <a:pt x="109" y="121"/>
                  </a:lnTo>
                  <a:lnTo>
                    <a:pt x="118" y="106"/>
                  </a:lnTo>
                  <a:lnTo>
                    <a:pt x="115" y="106"/>
                  </a:lnTo>
                  <a:lnTo>
                    <a:pt x="112" y="98"/>
                  </a:lnTo>
                  <a:lnTo>
                    <a:pt x="109" y="86"/>
                  </a:lnTo>
                  <a:lnTo>
                    <a:pt x="95" y="72"/>
                  </a:lnTo>
                  <a:lnTo>
                    <a:pt x="89" y="66"/>
                  </a:lnTo>
                  <a:lnTo>
                    <a:pt x="95" y="58"/>
                  </a:lnTo>
                  <a:lnTo>
                    <a:pt x="118" y="58"/>
                  </a:lnTo>
                  <a:lnTo>
                    <a:pt x="112" y="49"/>
                  </a:lnTo>
                  <a:lnTo>
                    <a:pt x="109" y="32"/>
                  </a:lnTo>
                  <a:lnTo>
                    <a:pt x="106" y="14"/>
                  </a:lnTo>
                  <a:lnTo>
                    <a:pt x="103" y="6"/>
                  </a:lnTo>
                  <a:lnTo>
                    <a:pt x="100" y="0"/>
                  </a:lnTo>
                  <a:lnTo>
                    <a:pt x="95" y="0"/>
                  </a:lnTo>
                  <a:lnTo>
                    <a:pt x="95" y="12"/>
                  </a:lnTo>
                  <a:lnTo>
                    <a:pt x="103" y="14"/>
                  </a:lnTo>
                  <a:lnTo>
                    <a:pt x="103" y="32"/>
                  </a:lnTo>
                  <a:lnTo>
                    <a:pt x="92" y="37"/>
                  </a:lnTo>
                  <a:lnTo>
                    <a:pt x="89" y="43"/>
                  </a:lnTo>
                  <a:lnTo>
                    <a:pt x="86" y="55"/>
                  </a:lnTo>
                  <a:lnTo>
                    <a:pt x="80" y="60"/>
                  </a:lnTo>
                  <a:lnTo>
                    <a:pt x="80" y="66"/>
                  </a:lnTo>
                  <a:lnTo>
                    <a:pt x="75" y="72"/>
                  </a:lnTo>
                  <a:lnTo>
                    <a:pt x="75" y="86"/>
                  </a:lnTo>
                  <a:lnTo>
                    <a:pt x="66" y="89"/>
                  </a:lnTo>
                  <a:lnTo>
                    <a:pt x="63" y="101"/>
                  </a:lnTo>
                  <a:lnTo>
                    <a:pt x="57" y="109"/>
                  </a:lnTo>
                  <a:lnTo>
                    <a:pt x="57" y="115"/>
                  </a:lnTo>
                  <a:lnTo>
                    <a:pt x="52" y="124"/>
                  </a:lnTo>
                  <a:lnTo>
                    <a:pt x="43" y="132"/>
                  </a:lnTo>
                  <a:lnTo>
                    <a:pt x="34" y="118"/>
                  </a:lnTo>
                  <a:lnTo>
                    <a:pt x="32" y="121"/>
                  </a:lnTo>
                  <a:lnTo>
                    <a:pt x="26" y="121"/>
                  </a:lnTo>
                  <a:lnTo>
                    <a:pt x="17" y="132"/>
                  </a:lnTo>
                  <a:lnTo>
                    <a:pt x="6" y="141"/>
                  </a:lnTo>
                  <a:lnTo>
                    <a:pt x="6" y="155"/>
                  </a:lnTo>
                  <a:lnTo>
                    <a:pt x="0" y="167"/>
                  </a:lnTo>
                  <a:lnTo>
                    <a:pt x="3" y="167"/>
                  </a:lnTo>
                  <a:lnTo>
                    <a:pt x="3" y="170"/>
                  </a:lnTo>
                  <a:lnTo>
                    <a:pt x="6" y="175"/>
                  </a:lnTo>
                  <a:lnTo>
                    <a:pt x="11" y="178"/>
                  </a:lnTo>
                  <a:lnTo>
                    <a:pt x="14" y="178"/>
                  </a:lnTo>
                  <a:lnTo>
                    <a:pt x="17" y="178"/>
                  </a:lnTo>
                  <a:lnTo>
                    <a:pt x="17" y="181"/>
                  </a:lnTo>
                  <a:lnTo>
                    <a:pt x="17" y="187"/>
                  </a:lnTo>
                  <a:lnTo>
                    <a:pt x="20" y="190"/>
                  </a:lnTo>
                  <a:lnTo>
                    <a:pt x="23" y="192"/>
                  </a:lnTo>
                  <a:lnTo>
                    <a:pt x="20" y="195"/>
                  </a:lnTo>
                  <a:lnTo>
                    <a:pt x="20" y="201"/>
                  </a:lnTo>
                  <a:lnTo>
                    <a:pt x="20" y="204"/>
                  </a:lnTo>
                  <a:lnTo>
                    <a:pt x="20" y="210"/>
                  </a:lnTo>
                  <a:lnTo>
                    <a:pt x="46" y="210"/>
                  </a:lnTo>
                  <a:lnTo>
                    <a:pt x="57" y="210"/>
                  </a:lnTo>
                  <a:lnTo>
                    <a:pt x="72" y="210"/>
                  </a:lnTo>
                  <a:lnTo>
                    <a:pt x="83" y="210"/>
                  </a:lnTo>
                  <a:lnTo>
                    <a:pt x="95" y="210"/>
                  </a:lnTo>
                  <a:lnTo>
                    <a:pt x="98" y="210"/>
                  </a:lnTo>
                  <a:lnTo>
                    <a:pt x="106" y="213"/>
                  </a:lnTo>
                  <a:lnTo>
                    <a:pt x="121" y="215"/>
                  </a:lnTo>
                  <a:lnTo>
                    <a:pt x="126" y="218"/>
                  </a:lnTo>
                  <a:lnTo>
                    <a:pt x="126" y="215"/>
                  </a:lnTo>
                  <a:lnTo>
                    <a:pt x="126" y="210"/>
                  </a:lnTo>
                  <a:lnTo>
                    <a:pt x="126" y="19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35" name="Freeform 336"/>
            <p:cNvSpPr>
              <a:spLocks/>
            </p:cNvSpPr>
            <p:nvPr/>
          </p:nvSpPr>
          <p:spPr bwMode="auto">
            <a:xfrm>
              <a:off x="7462838" y="3554413"/>
              <a:ext cx="4762" cy="4762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2147483647 h 3"/>
                <a:gd name="T4" fmla="*/ 2147483647 w 3"/>
                <a:gd name="T5" fmla="*/ 0 h 3"/>
                <a:gd name="T6" fmla="*/ 0 w 3"/>
                <a:gd name="T7" fmla="*/ 0 h 3"/>
                <a:gd name="T8" fmla="*/ 0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36" name="Freeform 337"/>
            <p:cNvSpPr>
              <a:spLocks/>
            </p:cNvSpPr>
            <p:nvPr/>
          </p:nvSpPr>
          <p:spPr bwMode="auto">
            <a:xfrm>
              <a:off x="2708275" y="5741988"/>
              <a:ext cx="9525" cy="4762"/>
            </a:xfrm>
            <a:custGeom>
              <a:avLst/>
              <a:gdLst>
                <a:gd name="T0" fmla="*/ 2147483647 w 6"/>
                <a:gd name="T1" fmla="*/ 0 h 3"/>
                <a:gd name="T2" fmla="*/ 2147483647 w 6"/>
                <a:gd name="T3" fmla="*/ 0 h 3"/>
                <a:gd name="T4" fmla="*/ 0 w 6"/>
                <a:gd name="T5" fmla="*/ 0 h 3"/>
                <a:gd name="T6" fmla="*/ 0 w 6"/>
                <a:gd name="T7" fmla="*/ 2147483647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6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37" name="Freeform 338"/>
            <p:cNvSpPr>
              <a:spLocks/>
            </p:cNvSpPr>
            <p:nvPr/>
          </p:nvSpPr>
          <p:spPr bwMode="auto">
            <a:xfrm>
              <a:off x="2708275" y="5751513"/>
              <a:ext cx="9525" cy="3175"/>
            </a:xfrm>
            <a:custGeom>
              <a:avLst/>
              <a:gdLst>
                <a:gd name="T0" fmla="*/ 0 w 6"/>
                <a:gd name="T1" fmla="*/ 0 h 2"/>
                <a:gd name="T2" fmla="*/ 2147483647 w 6"/>
                <a:gd name="T3" fmla="*/ 2147483647 h 2"/>
                <a:gd name="T4" fmla="*/ 2147483647 w 6"/>
                <a:gd name="T5" fmla="*/ 2147483647 h 2"/>
                <a:gd name="T6" fmla="*/ 2147483647 w 6"/>
                <a:gd name="T7" fmla="*/ 0 h 2"/>
                <a:gd name="T8" fmla="*/ 0 w 6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2"/>
                <a:gd name="T17" fmla="*/ 6 w 6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2">
                  <a:moveTo>
                    <a:pt x="0" y="0"/>
                  </a:moveTo>
                  <a:lnTo>
                    <a:pt x="3" y="2"/>
                  </a:lnTo>
                  <a:lnTo>
                    <a:pt x="6" y="2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38" name="Freeform 339"/>
            <p:cNvSpPr>
              <a:spLocks/>
            </p:cNvSpPr>
            <p:nvPr/>
          </p:nvSpPr>
          <p:spPr bwMode="auto">
            <a:xfrm>
              <a:off x="2744788" y="5759450"/>
              <a:ext cx="4762" cy="9525"/>
            </a:xfrm>
            <a:custGeom>
              <a:avLst/>
              <a:gdLst>
                <a:gd name="T0" fmla="*/ 2147483647 w 3"/>
                <a:gd name="T1" fmla="*/ 0 h 6"/>
                <a:gd name="T2" fmla="*/ 0 w 3"/>
                <a:gd name="T3" fmla="*/ 0 h 6"/>
                <a:gd name="T4" fmla="*/ 0 w 3"/>
                <a:gd name="T5" fmla="*/ 2147483647 h 6"/>
                <a:gd name="T6" fmla="*/ 0 w 3"/>
                <a:gd name="T7" fmla="*/ 2147483647 h 6"/>
                <a:gd name="T8" fmla="*/ 2147483647 w 3"/>
                <a:gd name="T9" fmla="*/ 2147483647 h 6"/>
                <a:gd name="T10" fmla="*/ 2147483647 w 3"/>
                <a:gd name="T11" fmla="*/ 2147483647 h 6"/>
                <a:gd name="T12" fmla="*/ 2147483647 w 3"/>
                <a:gd name="T13" fmla="*/ 2147483647 h 6"/>
                <a:gd name="T14" fmla="*/ 2147483647 w 3"/>
                <a:gd name="T15" fmla="*/ 0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"/>
                <a:gd name="T25" fmla="*/ 0 h 6"/>
                <a:gd name="T26" fmla="*/ 3 w 3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" h="6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39" name="Freeform 340"/>
            <p:cNvSpPr>
              <a:spLocks/>
            </p:cNvSpPr>
            <p:nvPr/>
          </p:nvSpPr>
          <p:spPr bwMode="auto">
            <a:xfrm>
              <a:off x="2740025" y="5754688"/>
              <a:ext cx="4763" cy="4762"/>
            </a:xfrm>
            <a:custGeom>
              <a:avLst/>
              <a:gdLst>
                <a:gd name="T0" fmla="*/ 0 w 3"/>
                <a:gd name="T1" fmla="*/ 2147483647 h 3"/>
                <a:gd name="T2" fmla="*/ 0 w 3"/>
                <a:gd name="T3" fmla="*/ 2147483647 h 3"/>
                <a:gd name="T4" fmla="*/ 2147483647 w 3"/>
                <a:gd name="T5" fmla="*/ 0 h 3"/>
                <a:gd name="T6" fmla="*/ 0 w 3"/>
                <a:gd name="T7" fmla="*/ 0 h 3"/>
                <a:gd name="T8" fmla="*/ 0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3"/>
                  </a:moveTo>
                  <a:lnTo>
                    <a:pt x="0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40" name="Rectangle 341"/>
            <p:cNvSpPr>
              <a:spLocks noChangeArrowheads="1"/>
            </p:cNvSpPr>
            <p:nvPr/>
          </p:nvSpPr>
          <p:spPr bwMode="auto">
            <a:xfrm>
              <a:off x="2730500" y="5754688"/>
              <a:ext cx="4763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41" name="Freeform 342"/>
            <p:cNvSpPr>
              <a:spLocks/>
            </p:cNvSpPr>
            <p:nvPr/>
          </p:nvSpPr>
          <p:spPr bwMode="auto">
            <a:xfrm>
              <a:off x="2717800" y="5754688"/>
              <a:ext cx="7938" cy="4762"/>
            </a:xfrm>
            <a:custGeom>
              <a:avLst/>
              <a:gdLst>
                <a:gd name="T0" fmla="*/ 2147483647 w 5"/>
                <a:gd name="T1" fmla="*/ 2147483647 h 3"/>
                <a:gd name="T2" fmla="*/ 2147483647 w 5"/>
                <a:gd name="T3" fmla="*/ 0 h 3"/>
                <a:gd name="T4" fmla="*/ 0 w 5"/>
                <a:gd name="T5" fmla="*/ 0 h 3"/>
                <a:gd name="T6" fmla="*/ 2147483647 w 5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3"/>
                <a:gd name="T14" fmla="*/ 5 w 5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3">
                  <a:moveTo>
                    <a:pt x="3" y="3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42" name="Freeform 343"/>
            <p:cNvSpPr>
              <a:spLocks/>
            </p:cNvSpPr>
            <p:nvPr/>
          </p:nvSpPr>
          <p:spPr bwMode="auto">
            <a:xfrm>
              <a:off x="2686050" y="5741988"/>
              <a:ext cx="12700" cy="9525"/>
            </a:xfrm>
            <a:custGeom>
              <a:avLst/>
              <a:gdLst>
                <a:gd name="T0" fmla="*/ 2147483647 w 8"/>
                <a:gd name="T1" fmla="*/ 2147483647 h 6"/>
                <a:gd name="T2" fmla="*/ 2147483647 w 8"/>
                <a:gd name="T3" fmla="*/ 0 h 6"/>
                <a:gd name="T4" fmla="*/ 0 w 8"/>
                <a:gd name="T5" fmla="*/ 2147483647 h 6"/>
                <a:gd name="T6" fmla="*/ 2147483647 w 8"/>
                <a:gd name="T7" fmla="*/ 2147483647 h 6"/>
                <a:gd name="T8" fmla="*/ 2147483647 w 8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6"/>
                <a:gd name="T17" fmla="*/ 8 w 8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6">
                  <a:moveTo>
                    <a:pt x="8" y="3"/>
                  </a:moveTo>
                  <a:lnTo>
                    <a:pt x="2" y="0"/>
                  </a:lnTo>
                  <a:lnTo>
                    <a:pt x="0" y="6"/>
                  </a:lnTo>
                  <a:lnTo>
                    <a:pt x="5" y="6"/>
                  </a:lnTo>
                  <a:lnTo>
                    <a:pt x="8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43" name="Freeform 344"/>
            <p:cNvSpPr>
              <a:spLocks/>
            </p:cNvSpPr>
            <p:nvPr/>
          </p:nvSpPr>
          <p:spPr bwMode="auto">
            <a:xfrm>
              <a:off x="2693988" y="5751513"/>
              <a:ext cx="14287" cy="3175"/>
            </a:xfrm>
            <a:custGeom>
              <a:avLst/>
              <a:gdLst>
                <a:gd name="T0" fmla="*/ 0 w 9"/>
                <a:gd name="T1" fmla="*/ 2147483647 h 2"/>
                <a:gd name="T2" fmla="*/ 2147483647 w 9"/>
                <a:gd name="T3" fmla="*/ 2147483647 h 2"/>
                <a:gd name="T4" fmla="*/ 2147483647 w 9"/>
                <a:gd name="T5" fmla="*/ 0 h 2"/>
                <a:gd name="T6" fmla="*/ 2147483647 w 9"/>
                <a:gd name="T7" fmla="*/ 0 h 2"/>
                <a:gd name="T8" fmla="*/ 0 w 9"/>
                <a:gd name="T9" fmla="*/ 2147483647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2"/>
                <a:gd name="T17" fmla="*/ 9 w 9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2">
                  <a:moveTo>
                    <a:pt x="0" y="2"/>
                  </a:moveTo>
                  <a:lnTo>
                    <a:pt x="6" y="2"/>
                  </a:lnTo>
                  <a:lnTo>
                    <a:pt x="9" y="0"/>
                  </a:lnTo>
                  <a:lnTo>
                    <a:pt x="3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44" name="Freeform 345"/>
            <p:cNvSpPr>
              <a:spLocks/>
            </p:cNvSpPr>
            <p:nvPr/>
          </p:nvSpPr>
          <p:spPr bwMode="auto">
            <a:xfrm>
              <a:off x="2565400" y="5662613"/>
              <a:ext cx="14288" cy="14287"/>
            </a:xfrm>
            <a:custGeom>
              <a:avLst/>
              <a:gdLst>
                <a:gd name="T0" fmla="*/ 2147483647 w 9"/>
                <a:gd name="T1" fmla="*/ 2147483647 h 9"/>
                <a:gd name="T2" fmla="*/ 2147483647 w 9"/>
                <a:gd name="T3" fmla="*/ 2147483647 h 9"/>
                <a:gd name="T4" fmla="*/ 2147483647 w 9"/>
                <a:gd name="T5" fmla="*/ 2147483647 h 9"/>
                <a:gd name="T6" fmla="*/ 2147483647 w 9"/>
                <a:gd name="T7" fmla="*/ 2147483647 h 9"/>
                <a:gd name="T8" fmla="*/ 0 w 9"/>
                <a:gd name="T9" fmla="*/ 2147483647 h 9"/>
                <a:gd name="T10" fmla="*/ 2147483647 w 9"/>
                <a:gd name="T11" fmla="*/ 2147483647 h 9"/>
                <a:gd name="T12" fmla="*/ 2147483647 w 9"/>
                <a:gd name="T13" fmla="*/ 2147483647 h 9"/>
                <a:gd name="T14" fmla="*/ 2147483647 w 9"/>
                <a:gd name="T15" fmla="*/ 2147483647 h 9"/>
                <a:gd name="T16" fmla="*/ 2147483647 w 9"/>
                <a:gd name="T17" fmla="*/ 2147483647 h 9"/>
                <a:gd name="T18" fmla="*/ 2147483647 w 9"/>
                <a:gd name="T19" fmla="*/ 2147483647 h 9"/>
                <a:gd name="T20" fmla="*/ 2147483647 w 9"/>
                <a:gd name="T21" fmla="*/ 2147483647 h 9"/>
                <a:gd name="T22" fmla="*/ 2147483647 w 9"/>
                <a:gd name="T23" fmla="*/ 0 h 9"/>
                <a:gd name="T24" fmla="*/ 2147483647 w 9"/>
                <a:gd name="T25" fmla="*/ 2147483647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9"/>
                <a:gd name="T40" fmla="*/ 0 h 9"/>
                <a:gd name="T41" fmla="*/ 9 w 9"/>
                <a:gd name="T42" fmla="*/ 9 h 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9" h="9">
                  <a:moveTo>
                    <a:pt x="6" y="3"/>
                  </a:moveTo>
                  <a:lnTo>
                    <a:pt x="6" y="6"/>
                  </a:lnTo>
                  <a:lnTo>
                    <a:pt x="3" y="3"/>
                  </a:lnTo>
                  <a:lnTo>
                    <a:pt x="0" y="6"/>
                  </a:lnTo>
                  <a:lnTo>
                    <a:pt x="3" y="9"/>
                  </a:lnTo>
                  <a:lnTo>
                    <a:pt x="6" y="9"/>
                  </a:lnTo>
                  <a:lnTo>
                    <a:pt x="9" y="9"/>
                  </a:lnTo>
                  <a:lnTo>
                    <a:pt x="9" y="6"/>
                  </a:lnTo>
                  <a:lnTo>
                    <a:pt x="6" y="6"/>
                  </a:lnTo>
                  <a:lnTo>
                    <a:pt x="9" y="6"/>
                  </a:lnTo>
                  <a:lnTo>
                    <a:pt x="9" y="0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45" name="Freeform 346"/>
            <p:cNvSpPr>
              <a:spLocks/>
            </p:cNvSpPr>
            <p:nvPr/>
          </p:nvSpPr>
          <p:spPr bwMode="auto">
            <a:xfrm>
              <a:off x="2693988" y="5737225"/>
              <a:ext cx="14287" cy="9525"/>
            </a:xfrm>
            <a:custGeom>
              <a:avLst/>
              <a:gdLst>
                <a:gd name="T0" fmla="*/ 0 w 9"/>
                <a:gd name="T1" fmla="*/ 0 h 6"/>
                <a:gd name="T2" fmla="*/ 2147483647 w 9"/>
                <a:gd name="T3" fmla="*/ 2147483647 h 6"/>
                <a:gd name="T4" fmla="*/ 2147483647 w 9"/>
                <a:gd name="T5" fmla="*/ 2147483647 h 6"/>
                <a:gd name="T6" fmla="*/ 2147483647 w 9"/>
                <a:gd name="T7" fmla="*/ 0 h 6"/>
                <a:gd name="T8" fmla="*/ 0 w 9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6"/>
                <a:gd name="T17" fmla="*/ 9 w 9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6">
                  <a:moveTo>
                    <a:pt x="0" y="0"/>
                  </a:moveTo>
                  <a:lnTo>
                    <a:pt x="3" y="6"/>
                  </a:lnTo>
                  <a:lnTo>
                    <a:pt x="9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46" name="Freeform 347"/>
            <p:cNvSpPr>
              <a:spLocks/>
            </p:cNvSpPr>
            <p:nvPr/>
          </p:nvSpPr>
          <p:spPr bwMode="auto">
            <a:xfrm>
              <a:off x="2809875" y="5732463"/>
              <a:ext cx="9525" cy="4762"/>
            </a:xfrm>
            <a:custGeom>
              <a:avLst/>
              <a:gdLst>
                <a:gd name="T0" fmla="*/ 0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0 h 3"/>
                <a:gd name="T6" fmla="*/ 2147483647 w 6"/>
                <a:gd name="T7" fmla="*/ 0 h 3"/>
                <a:gd name="T8" fmla="*/ 0 w 6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0" y="3"/>
                  </a:move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47" name="Freeform 348"/>
            <p:cNvSpPr>
              <a:spLocks/>
            </p:cNvSpPr>
            <p:nvPr/>
          </p:nvSpPr>
          <p:spPr bwMode="auto">
            <a:xfrm>
              <a:off x="2800350" y="5727700"/>
              <a:ext cx="9525" cy="9525"/>
            </a:xfrm>
            <a:custGeom>
              <a:avLst/>
              <a:gdLst>
                <a:gd name="T0" fmla="*/ 0 w 6"/>
                <a:gd name="T1" fmla="*/ 2147483647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3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48" name="Freeform 349"/>
            <p:cNvSpPr>
              <a:spLocks/>
            </p:cNvSpPr>
            <p:nvPr/>
          </p:nvSpPr>
          <p:spPr bwMode="auto">
            <a:xfrm>
              <a:off x="2749550" y="5746750"/>
              <a:ext cx="4763" cy="7938"/>
            </a:xfrm>
            <a:custGeom>
              <a:avLst/>
              <a:gdLst>
                <a:gd name="T0" fmla="*/ 2147483647 w 3"/>
                <a:gd name="T1" fmla="*/ 0 h 5"/>
                <a:gd name="T2" fmla="*/ 0 w 3"/>
                <a:gd name="T3" fmla="*/ 0 h 5"/>
                <a:gd name="T4" fmla="*/ 2147483647 w 3"/>
                <a:gd name="T5" fmla="*/ 2147483647 h 5"/>
                <a:gd name="T6" fmla="*/ 2147483647 w 3"/>
                <a:gd name="T7" fmla="*/ 2147483647 h 5"/>
                <a:gd name="T8" fmla="*/ 2147483647 w 3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3" y="0"/>
                  </a:moveTo>
                  <a:lnTo>
                    <a:pt x="0" y="0"/>
                  </a:lnTo>
                  <a:lnTo>
                    <a:pt x="3" y="5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49" name="Freeform 350"/>
            <p:cNvSpPr>
              <a:spLocks/>
            </p:cNvSpPr>
            <p:nvPr/>
          </p:nvSpPr>
          <p:spPr bwMode="auto">
            <a:xfrm>
              <a:off x="2730500" y="4981575"/>
              <a:ext cx="134938" cy="142875"/>
            </a:xfrm>
            <a:custGeom>
              <a:avLst/>
              <a:gdLst>
                <a:gd name="T0" fmla="*/ 2147483647 w 84"/>
                <a:gd name="T1" fmla="*/ 2147483647 h 89"/>
                <a:gd name="T2" fmla="*/ 2147483647 w 84"/>
                <a:gd name="T3" fmla="*/ 2147483647 h 89"/>
                <a:gd name="T4" fmla="*/ 2147483647 w 84"/>
                <a:gd name="T5" fmla="*/ 2147483647 h 89"/>
                <a:gd name="T6" fmla="*/ 2147483647 w 84"/>
                <a:gd name="T7" fmla="*/ 2147483647 h 89"/>
                <a:gd name="T8" fmla="*/ 2147483647 w 84"/>
                <a:gd name="T9" fmla="*/ 2147483647 h 89"/>
                <a:gd name="T10" fmla="*/ 2147483647 w 84"/>
                <a:gd name="T11" fmla="*/ 2147483647 h 89"/>
                <a:gd name="T12" fmla="*/ 2147483647 w 84"/>
                <a:gd name="T13" fmla="*/ 2147483647 h 89"/>
                <a:gd name="T14" fmla="*/ 2147483647 w 84"/>
                <a:gd name="T15" fmla="*/ 2147483647 h 89"/>
                <a:gd name="T16" fmla="*/ 2147483647 w 84"/>
                <a:gd name="T17" fmla="*/ 2147483647 h 89"/>
                <a:gd name="T18" fmla="*/ 2147483647 w 84"/>
                <a:gd name="T19" fmla="*/ 2147483647 h 89"/>
                <a:gd name="T20" fmla="*/ 2147483647 w 84"/>
                <a:gd name="T21" fmla="*/ 2147483647 h 89"/>
                <a:gd name="T22" fmla="*/ 2147483647 w 84"/>
                <a:gd name="T23" fmla="*/ 2147483647 h 89"/>
                <a:gd name="T24" fmla="*/ 2147483647 w 84"/>
                <a:gd name="T25" fmla="*/ 2147483647 h 89"/>
                <a:gd name="T26" fmla="*/ 2147483647 w 84"/>
                <a:gd name="T27" fmla="*/ 2147483647 h 89"/>
                <a:gd name="T28" fmla="*/ 2147483647 w 84"/>
                <a:gd name="T29" fmla="*/ 2147483647 h 89"/>
                <a:gd name="T30" fmla="*/ 2147483647 w 84"/>
                <a:gd name="T31" fmla="*/ 2147483647 h 89"/>
                <a:gd name="T32" fmla="*/ 2147483647 w 84"/>
                <a:gd name="T33" fmla="*/ 2147483647 h 89"/>
                <a:gd name="T34" fmla="*/ 2147483647 w 84"/>
                <a:gd name="T35" fmla="*/ 0 h 89"/>
                <a:gd name="T36" fmla="*/ 2147483647 w 84"/>
                <a:gd name="T37" fmla="*/ 2147483647 h 89"/>
                <a:gd name="T38" fmla="*/ 0 w 84"/>
                <a:gd name="T39" fmla="*/ 2147483647 h 89"/>
                <a:gd name="T40" fmla="*/ 2147483647 w 84"/>
                <a:gd name="T41" fmla="*/ 2147483647 h 89"/>
                <a:gd name="T42" fmla="*/ 2147483647 w 84"/>
                <a:gd name="T43" fmla="*/ 2147483647 h 89"/>
                <a:gd name="T44" fmla="*/ 2147483647 w 84"/>
                <a:gd name="T45" fmla="*/ 2147483647 h 89"/>
                <a:gd name="T46" fmla="*/ 2147483647 w 84"/>
                <a:gd name="T47" fmla="*/ 2147483647 h 89"/>
                <a:gd name="T48" fmla="*/ 2147483647 w 84"/>
                <a:gd name="T49" fmla="*/ 2147483647 h 89"/>
                <a:gd name="T50" fmla="*/ 2147483647 w 84"/>
                <a:gd name="T51" fmla="*/ 2147483647 h 89"/>
                <a:gd name="T52" fmla="*/ 2147483647 w 84"/>
                <a:gd name="T53" fmla="*/ 2147483647 h 89"/>
                <a:gd name="T54" fmla="*/ 2147483647 w 84"/>
                <a:gd name="T55" fmla="*/ 2147483647 h 89"/>
                <a:gd name="T56" fmla="*/ 2147483647 w 84"/>
                <a:gd name="T57" fmla="*/ 2147483647 h 89"/>
                <a:gd name="T58" fmla="*/ 2147483647 w 84"/>
                <a:gd name="T59" fmla="*/ 2147483647 h 89"/>
                <a:gd name="T60" fmla="*/ 2147483647 w 84"/>
                <a:gd name="T61" fmla="*/ 2147483647 h 89"/>
                <a:gd name="T62" fmla="*/ 2147483647 w 84"/>
                <a:gd name="T63" fmla="*/ 2147483647 h 89"/>
                <a:gd name="T64" fmla="*/ 2147483647 w 84"/>
                <a:gd name="T65" fmla="*/ 2147483647 h 89"/>
                <a:gd name="T66" fmla="*/ 2147483647 w 84"/>
                <a:gd name="T67" fmla="*/ 2147483647 h 89"/>
                <a:gd name="T68" fmla="*/ 2147483647 w 84"/>
                <a:gd name="T69" fmla="*/ 2147483647 h 89"/>
                <a:gd name="T70" fmla="*/ 2147483647 w 84"/>
                <a:gd name="T71" fmla="*/ 2147483647 h 89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84"/>
                <a:gd name="T109" fmla="*/ 0 h 89"/>
                <a:gd name="T110" fmla="*/ 84 w 84"/>
                <a:gd name="T111" fmla="*/ 89 h 89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84" h="89">
                  <a:moveTo>
                    <a:pt x="78" y="78"/>
                  </a:moveTo>
                  <a:lnTo>
                    <a:pt x="78" y="78"/>
                  </a:lnTo>
                  <a:lnTo>
                    <a:pt x="84" y="69"/>
                  </a:lnTo>
                  <a:lnTo>
                    <a:pt x="81" y="66"/>
                  </a:lnTo>
                  <a:lnTo>
                    <a:pt x="78" y="60"/>
                  </a:lnTo>
                  <a:lnTo>
                    <a:pt x="81" y="55"/>
                  </a:lnTo>
                  <a:lnTo>
                    <a:pt x="81" y="46"/>
                  </a:lnTo>
                  <a:lnTo>
                    <a:pt x="75" y="43"/>
                  </a:lnTo>
                  <a:lnTo>
                    <a:pt x="72" y="37"/>
                  </a:lnTo>
                  <a:lnTo>
                    <a:pt x="69" y="35"/>
                  </a:lnTo>
                  <a:lnTo>
                    <a:pt x="66" y="35"/>
                  </a:lnTo>
                  <a:lnTo>
                    <a:pt x="63" y="32"/>
                  </a:lnTo>
                  <a:lnTo>
                    <a:pt x="61" y="29"/>
                  </a:lnTo>
                  <a:lnTo>
                    <a:pt x="55" y="26"/>
                  </a:lnTo>
                  <a:lnTo>
                    <a:pt x="46" y="23"/>
                  </a:lnTo>
                  <a:lnTo>
                    <a:pt x="40" y="20"/>
                  </a:lnTo>
                  <a:lnTo>
                    <a:pt x="35" y="12"/>
                  </a:lnTo>
                  <a:lnTo>
                    <a:pt x="29" y="17"/>
                  </a:lnTo>
                  <a:lnTo>
                    <a:pt x="29" y="14"/>
                  </a:lnTo>
                  <a:lnTo>
                    <a:pt x="26" y="12"/>
                  </a:lnTo>
                  <a:lnTo>
                    <a:pt x="23" y="6"/>
                  </a:lnTo>
                  <a:lnTo>
                    <a:pt x="12" y="0"/>
                  </a:lnTo>
                  <a:lnTo>
                    <a:pt x="6" y="0"/>
                  </a:lnTo>
                  <a:lnTo>
                    <a:pt x="3" y="3"/>
                  </a:lnTo>
                  <a:lnTo>
                    <a:pt x="0" y="17"/>
                  </a:lnTo>
                  <a:lnTo>
                    <a:pt x="3" y="40"/>
                  </a:lnTo>
                  <a:lnTo>
                    <a:pt x="3" y="46"/>
                  </a:lnTo>
                  <a:lnTo>
                    <a:pt x="6" y="46"/>
                  </a:lnTo>
                  <a:lnTo>
                    <a:pt x="6" y="49"/>
                  </a:lnTo>
                  <a:lnTo>
                    <a:pt x="6" y="57"/>
                  </a:lnTo>
                  <a:lnTo>
                    <a:pt x="3" y="69"/>
                  </a:lnTo>
                  <a:lnTo>
                    <a:pt x="3" y="75"/>
                  </a:lnTo>
                  <a:lnTo>
                    <a:pt x="6" y="75"/>
                  </a:lnTo>
                  <a:lnTo>
                    <a:pt x="15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5" y="86"/>
                  </a:lnTo>
                  <a:lnTo>
                    <a:pt x="46" y="89"/>
                  </a:lnTo>
                  <a:lnTo>
                    <a:pt x="55" y="86"/>
                  </a:lnTo>
                  <a:lnTo>
                    <a:pt x="63" y="89"/>
                  </a:lnTo>
                  <a:lnTo>
                    <a:pt x="69" y="86"/>
                  </a:lnTo>
                  <a:lnTo>
                    <a:pt x="75" y="83"/>
                  </a:lnTo>
                  <a:lnTo>
                    <a:pt x="78" y="7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50" name="Rectangle 351"/>
            <p:cNvSpPr>
              <a:spLocks noChangeArrowheads="1"/>
            </p:cNvSpPr>
            <p:nvPr/>
          </p:nvSpPr>
          <p:spPr bwMode="auto">
            <a:xfrm>
              <a:off x="2754313" y="5764213"/>
              <a:ext cx="4762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51" name="Freeform 352"/>
            <p:cNvSpPr>
              <a:spLocks/>
            </p:cNvSpPr>
            <p:nvPr/>
          </p:nvSpPr>
          <p:spPr bwMode="auto">
            <a:xfrm>
              <a:off x="2635250" y="5710238"/>
              <a:ext cx="9525" cy="7937"/>
            </a:xfrm>
            <a:custGeom>
              <a:avLst/>
              <a:gdLst>
                <a:gd name="T0" fmla="*/ 2147483647 w 6"/>
                <a:gd name="T1" fmla="*/ 0 h 5"/>
                <a:gd name="T2" fmla="*/ 0 w 6"/>
                <a:gd name="T3" fmla="*/ 2147483647 h 5"/>
                <a:gd name="T4" fmla="*/ 2147483647 w 6"/>
                <a:gd name="T5" fmla="*/ 2147483647 h 5"/>
                <a:gd name="T6" fmla="*/ 2147483647 w 6"/>
                <a:gd name="T7" fmla="*/ 2147483647 h 5"/>
                <a:gd name="T8" fmla="*/ 2147483647 w 6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5"/>
                <a:gd name="T17" fmla="*/ 6 w 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5">
                  <a:moveTo>
                    <a:pt x="3" y="0"/>
                  </a:moveTo>
                  <a:lnTo>
                    <a:pt x="0" y="3"/>
                  </a:lnTo>
                  <a:lnTo>
                    <a:pt x="3" y="5"/>
                  </a:lnTo>
                  <a:lnTo>
                    <a:pt x="6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52" name="Freeform 353"/>
            <p:cNvSpPr>
              <a:spLocks/>
            </p:cNvSpPr>
            <p:nvPr/>
          </p:nvSpPr>
          <p:spPr bwMode="auto">
            <a:xfrm>
              <a:off x="2708275" y="5737225"/>
              <a:ext cx="55563" cy="14288"/>
            </a:xfrm>
            <a:custGeom>
              <a:avLst/>
              <a:gdLst>
                <a:gd name="T0" fmla="*/ 2147483647 w 34"/>
                <a:gd name="T1" fmla="*/ 2147483647 h 9"/>
                <a:gd name="T2" fmla="*/ 2147483647 w 34"/>
                <a:gd name="T3" fmla="*/ 2147483647 h 9"/>
                <a:gd name="T4" fmla="*/ 2147483647 w 34"/>
                <a:gd name="T5" fmla="*/ 0 h 9"/>
                <a:gd name="T6" fmla="*/ 2147483647 w 34"/>
                <a:gd name="T7" fmla="*/ 0 h 9"/>
                <a:gd name="T8" fmla="*/ 2147483647 w 34"/>
                <a:gd name="T9" fmla="*/ 0 h 9"/>
                <a:gd name="T10" fmla="*/ 0 w 34"/>
                <a:gd name="T11" fmla="*/ 0 h 9"/>
                <a:gd name="T12" fmla="*/ 0 w 34"/>
                <a:gd name="T13" fmla="*/ 0 h 9"/>
                <a:gd name="T14" fmla="*/ 0 w 34"/>
                <a:gd name="T15" fmla="*/ 0 h 9"/>
                <a:gd name="T16" fmla="*/ 0 w 34"/>
                <a:gd name="T17" fmla="*/ 0 h 9"/>
                <a:gd name="T18" fmla="*/ 0 w 34"/>
                <a:gd name="T19" fmla="*/ 2147483647 h 9"/>
                <a:gd name="T20" fmla="*/ 2147483647 w 34"/>
                <a:gd name="T21" fmla="*/ 0 h 9"/>
                <a:gd name="T22" fmla="*/ 2147483647 w 34"/>
                <a:gd name="T23" fmla="*/ 0 h 9"/>
                <a:gd name="T24" fmla="*/ 2147483647 w 34"/>
                <a:gd name="T25" fmla="*/ 2147483647 h 9"/>
                <a:gd name="T26" fmla="*/ 2147483647 w 34"/>
                <a:gd name="T27" fmla="*/ 2147483647 h 9"/>
                <a:gd name="T28" fmla="*/ 2147483647 w 34"/>
                <a:gd name="T29" fmla="*/ 2147483647 h 9"/>
                <a:gd name="T30" fmla="*/ 2147483647 w 34"/>
                <a:gd name="T31" fmla="*/ 2147483647 h 9"/>
                <a:gd name="T32" fmla="*/ 2147483647 w 34"/>
                <a:gd name="T33" fmla="*/ 2147483647 h 9"/>
                <a:gd name="T34" fmla="*/ 2147483647 w 34"/>
                <a:gd name="T35" fmla="*/ 2147483647 h 9"/>
                <a:gd name="T36" fmla="*/ 2147483647 w 34"/>
                <a:gd name="T37" fmla="*/ 2147483647 h 9"/>
                <a:gd name="T38" fmla="*/ 2147483647 w 34"/>
                <a:gd name="T39" fmla="*/ 2147483647 h 9"/>
                <a:gd name="T40" fmla="*/ 2147483647 w 34"/>
                <a:gd name="T41" fmla="*/ 2147483647 h 9"/>
                <a:gd name="T42" fmla="*/ 2147483647 w 34"/>
                <a:gd name="T43" fmla="*/ 2147483647 h 9"/>
                <a:gd name="T44" fmla="*/ 2147483647 w 34"/>
                <a:gd name="T45" fmla="*/ 2147483647 h 9"/>
                <a:gd name="T46" fmla="*/ 2147483647 w 34"/>
                <a:gd name="T47" fmla="*/ 2147483647 h 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34"/>
                <a:gd name="T73" fmla="*/ 0 h 9"/>
                <a:gd name="T74" fmla="*/ 34 w 34"/>
                <a:gd name="T75" fmla="*/ 9 h 9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34" h="9">
                  <a:moveTo>
                    <a:pt x="32" y="3"/>
                  </a:moveTo>
                  <a:lnTo>
                    <a:pt x="32" y="3"/>
                  </a:lnTo>
                  <a:lnTo>
                    <a:pt x="23" y="0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9" y="0"/>
                  </a:lnTo>
                  <a:lnTo>
                    <a:pt x="9" y="3"/>
                  </a:lnTo>
                  <a:lnTo>
                    <a:pt x="14" y="6"/>
                  </a:lnTo>
                  <a:lnTo>
                    <a:pt x="29" y="6"/>
                  </a:lnTo>
                  <a:lnTo>
                    <a:pt x="32" y="6"/>
                  </a:lnTo>
                  <a:lnTo>
                    <a:pt x="32" y="9"/>
                  </a:lnTo>
                  <a:lnTo>
                    <a:pt x="34" y="6"/>
                  </a:lnTo>
                  <a:lnTo>
                    <a:pt x="32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53" name="Freeform 354"/>
            <p:cNvSpPr>
              <a:spLocks/>
            </p:cNvSpPr>
            <p:nvPr/>
          </p:nvSpPr>
          <p:spPr bwMode="auto">
            <a:xfrm>
              <a:off x="2681288" y="5662613"/>
              <a:ext cx="106362" cy="84137"/>
            </a:xfrm>
            <a:custGeom>
              <a:avLst/>
              <a:gdLst>
                <a:gd name="T0" fmla="*/ 2147483647 w 66"/>
                <a:gd name="T1" fmla="*/ 2147483647 h 52"/>
                <a:gd name="T2" fmla="*/ 2147483647 w 66"/>
                <a:gd name="T3" fmla="*/ 2147483647 h 52"/>
                <a:gd name="T4" fmla="*/ 2147483647 w 66"/>
                <a:gd name="T5" fmla="*/ 2147483647 h 52"/>
                <a:gd name="T6" fmla="*/ 2147483647 w 66"/>
                <a:gd name="T7" fmla="*/ 2147483647 h 52"/>
                <a:gd name="T8" fmla="*/ 2147483647 w 66"/>
                <a:gd name="T9" fmla="*/ 2147483647 h 52"/>
                <a:gd name="T10" fmla="*/ 2147483647 w 66"/>
                <a:gd name="T11" fmla="*/ 2147483647 h 52"/>
                <a:gd name="T12" fmla="*/ 2147483647 w 66"/>
                <a:gd name="T13" fmla="*/ 2147483647 h 52"/>
                <a:gd name="T14" fmla="*/ 2147483647 w 66"/>
                <a:gd name="T15" fmla="*/ 2147483647 h 52"/>
                <a:gd name="T16" fmla="*/ 0 w 66"/>
                <a:gd name="T17" fmla="*/ 0 h 52"/>
                <a:gd name="T18" fmla="*/ 0 w 66"/>
                <a:gd name="T19" fmla="*/ 0 h 52"/>
                <a:gd name="T20" fmla="*/ 0 w 66"/>
                <a:gd name="T21" fmla="*/ 2147483647 h 52"/>
                <a:gd name="T22" fmla="*/ 0 w 66"/>
                <a:gd name="T23" fmla="*/ 2147483647 h 52"/>
                <a:gd name="T24" fmla="*/ 0 w 66"/>
                <a:gd name="T25" fmla="*/ 2147483647 h 52"/>
                <a:gd name="T26" fmla="*/ 0 w 66"/>
                <a:gd name="T27" fmla="*/ 2147483647 h 52"/>
                <a:gd name="T28" fmla="*/ 2147483647 w 66"/>
                <a:gd name="T29" fmla="*/ 2147483647 h 52"/>
                <a:gd name="T30" fmla="*/ 2147483647 w 66"/>
                <a:gd name="T31" fmla="*/ 2147483647 h 52"/>
                <a:gd name="T32" fmla="*/ 2147483647 w 66"/>
                <a:gd name="T33" fmla="*/ 2147483647 h 52"/>
                <a:gd name="T34" fmla="*/ 2147483647 w 66"/>
                <a:gd name="T35" fmla="*/ 2147483647 h 52"/>
                <a:gd name="T36" fmla="*/ 2147483647 w 66"/>
                <a:gd name="T37" fmla="*/ 2147483647 h 52"/>
                <a:gd name="T38" fmla="*/ 2147483647 w 66"/>
                <a:gd name="T39" fmla="*/ 2147483647 h 52"/>
                <a:gd name="T40" fmla="*/ 2147483647 w 66"/>
                <a:gd name="T41" fmla="*/ 2147483647 h 52"/>
                <a:gd name="T42" fmla="*/ 2147483647 w 66"/>
                <a:gd name="T43" fmla="*/ 2147483647 h 52"/>
                <a:gd name="T44" fmla="*/ 2147483647 w 66"/>
                <a:gd name="T45" fmla="*/ 2147483647 h 52"/>
                <a:gd name="T46" fmla="*/ 2147483647 w 66"/>
                <a:gd name="T47" fmla="*/ 2147483647 h 52"/>
                <a:gd name="T48" fmla="*/ 2147483647 w 66"/>
                <a:gd name="T49" fmla="*/ 2147483647 h 52"/>
                <a:gd name="T50" fmla="*/ 2147483647 w 66"/>
                <a:gd name="T51" fmla="*/ 2147483647 h 52"/>
                <a:gd name="T52" fmla="*/ 2147483647 w 66"/>
                <a:gd name="T53" fmla="*/ 2147483647 h 52"/>
                <a:gd name="T54" fmla="*/ 2147483647 w 66"/>
                <a:gd name="T55" fmla="*/ 2147483647 h 52"/>
                <a:gd name="T56" fmla="*/ 2147483647 w 66"/>
                <a:gd name="T57" fmla="*/ 2147483647 h 52"/>
                <a:gd name="T58" fmla="*/ 2147483647 w 66"/>
                <a:gd name="T59" fmla="*/ 2147483647 h 52"/>
                <a:gd name="T60" fmla="*/ 2147483647 w 66"/>
                <a:gd name="T61" fmla="*/ 2147483647 h 52"/>
                <a:gd name="T62" fmla="*/ 2147483647 w 66"/>
                <a:gd name="T63" fmla="*/ 2147483647 h 52"/>
                <a:gd name="T64" fmla="*/ 2147483647 w 66"/>
                <a:gd name="T65" fmla="*/ 2147483647 h 52"/>
                <a:gd name="T66" fmla="*/ 2147483647 w 66"/>
                <a:gd name="T67" fmla="*/ 2147483647 h 52"/>
                <a:gd name="T68" fmla="*/ 2147483647 w 66"/>
                <a:gd name="T69" fmla="*/ 2147483647 h 52"/>
                <a:gd name="T70" fmla="*/ 2147483647 w 66"/>
                <a:gd name="T71" fmla="*/ 2147483647 h 5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66"/>
                <a:gd name="T109" fmla="*/ 0 h 52"/>
                <a:gd name="T110" fmla="*/ 66 w 66"/>
                <a:gd name="T111" fmla="*/ 52 h 5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66" h="52">
                  <a:moveTo>
                    <a:pt x="60" y="40"/>
                  </a:moveTo>
                  <a:lnTo>
                    <a:pt x="60" y="40"/>
                  </a:lnTo>
                  <a:lnTo>
                    <a:pt x="46" y="37"/>
                  </a:lnTo>
                  <a:lnTo>
                    <a:pt x="34" y="32"/>
                  </a:lnTo>
                  <a:lnTo>
                    <a:pt x="20" y="20"/>
                  </a:lnTo>
                  <a:lnTo>
                    <a:pt x="5" y="11"/>
                  </a:lnTo>
                  <a:lnTo>
                    <a:pt x="0" y="0"/>
                  </a:lnTo>
                  <a:lnTo>
                    <a:pt x="0" y="6"/>
                  </a:lnTo>
                  <a:lnTo>
                    <a:pt x="8" y="23"/>
                  </a:lnTo>
                  <a:lnTo>
                    <a:pt x="17" y="43"/>
                  </a:lnTo>
                  <a:lnTo>
                    <a:pt x="31" y="43"/>
                  </a:lnTo>
                  <a:lnTo>
                    <a:pt x="40" y="43"/>
                  </a:lnTo>
                  <a:lnTo>
                    <a:pt x="49" y="46"/>
                  </a:lnTo>
                  <a:lnTo>
                    <a:pt x="54" y="52"/>
                  </a:lnTo>
                  <a:lnTo>
                    <a:pt x="66" y="46"/>
                  </a:lnTo>
                  <a:lnTo>
                    <a:pt x="66" y="43"/>
                  </a:lnTo>
                  <a:lnTo>
                    <a:pt x="63" y="40"/>
                  </a:lnTo>
                  <a:lnTo>
                    <a:pt x="60" y="4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54" name="Freeform 355"/>
            <p:cNvSpPr>
              <a:spLocks/>
            </p:cNvSpPr>
            <p:nvPr/>
          </p:nvSpPr>
          <p:spPr bwMode="auto">
            <a:xfrm>
              <a:off x="2524125" y="5589588"/>
              <a:ext cx="179388" cy="147637"/>
            </a:xfrm>
            <a:custGeom>
              <a:avLst/>
              <a:gdLst>
                <a:gd name="T0" fmla="*/ 2147483647 w 112"/>
                <a:gd name="T1" fmla="*/ 2147483647 h 92"/>
                <a:gd name="T2" fmla="*/ 2147483647 w 112"/>
                <a:gd name="T3" fmla="*/ 2147483647 h 92"/>
                <a:gd name="T4" fmla="*/ 2147483647 w 112"/>
                <a:gd name="T5" fmla="*/ 2147483647 h 92"/>
                <a:gd name="T6" fmla="*/ 2147483647 w 112"/>
                <a:gd name="T7" fmla="*/ 2147483647 h 92"/>
                <a:gd name="T8" fmla="*/ 2147483647 w 112"/>
                <a:gd name="T9" fmla="*/ 2147483647 h 92"/>
                <a:gd name="T10" fmla="*/ 2147483647 w 112"/>
                <a:gd name="T11" fmla="*/ 2147483647 h 92"/>
                <a:gd name="T12" fmla="*/ 2147483647 w 112"/>
                <a:gd name="T13" fmla="*/ 2147483647 h 92"/>
                <a:gd name="T14" fmla="*/ 2147483647 w 112"/>
                <a:gd name="T15" fmla="*/ 2147483647 h 92"/>
                <a:gd name="T16" fmla="*/ 2147483647 w 112"/>
                <a:gd name="T17" fmla="*/ 2147483647 h 92"/>
                <a:gd name="T18" fmla="*/ 2147483647 w 112"/>
                <a:gd name="T19" fmla="*/ 2147483647 h 92"/>
                <a:gd name="T20" fmla="*/ 2147483647 w 112"/>
                <a:gd name="T21" fmla="*/ 2147483647 h 92"/>
                <a:gd name="T22" fmla="*/ 2147483647 w 112"/>
                <a:gd name="T23" fmla="*/ 2147483647 h 92"/>
                <a:gd name="T24" fmla="*/ 2147483647 w 112"/>
                <a:gd name="T25" fmla="*/ 2147483647 h 92"/>
                <a:gd name="T26" fmla="*/ 2147483647 w 112"/>
                <a:gd name="T27" fmla="*/ 2147483647 h 92"/>
                <a:gd name="T28" fmla="*/ 2147483647 w 112"/>
                <a:gd name="T29" fmla="*/ 2147483647 h 92"/>
                <a:gd name="T30" fmla="*/ 2147483647 w 112"/>
                <a:gd name="T31" fmla="*/ 2147483647 h 92"/>
                <a:gd name="T32" fmla="*/ 2147483647 w 112"/>
                <a:gd name="T33" fmla="*/ 2147483647 h 92"/>
                <a:gd name="T34" fmla="*/ 2147483647 w 112"/>
                <a:gd name="T35" fmla="*/ 2147483647 h 92"/>
                <a:gd name="T36" fmla="*/ 2147483647 w 112"/>
                <a:gd name="T37" fmla="*/ 2147483647 h 92"/>
                <a:gd name="T38" fmla="*/ 2147483647 w 112"/>
                <a:gd name="T39" fmla="*/ 2147483647 h 92"/>
                <a:gd name="T40" fmla="*/ 2147483647 w 112"/>
                <a:gd name="T41" fmla="*/ 2147483647 h 92"/>
                <a:gd name="T42" fmla="*/ 2147483647 w 112"/>
                <a:gd name="T43" fmla="*/ 2147483647 h 92"/>
                <a:gd name="T44" fmla="*/ 2147483647 w 112"/>
                <a:gd name="T45" fmla="*/ 2147483647 h 92"/>
                <a:gd name="T46" fmla="*/ 2147483647 w 112"/>
                <a:gd name="T47" fmla="*/ 2147483647 h 92"/>
                <a:gd name="T48" fmla="*/ 2147483647 w 112"/>
                <a:gd name="T49" fmla="*/ 2147483647 h 92"/>
                <a:gd name="T50" fmla="*/ 2147483647 w 112"/>
                <a:gd name="T51" fmla="*/ 2147483647 h 92"/>
                <a:gd name="T52" fmla="*/ 2147483647 w 112"/>
                <a:gd name="T53" fmla="*/ 2147483647 h 92"/>
                <a:gd name="T54" fmla="*/ 2147483647 w 112"/>
                <a:gd name="T55" fmla="*/ 2147483647 h 92"/>
                <a:gd name="T56" fmla="*/ 2147483647 w 112"/>
                <a:gd name="T57" fmla="*/ 2147483647 h 92"/>
                <a:gd name="T58" fmla="*/ 2147483647 w 112"/>
                <a:gd name="T59" fmla="*/ 2147483647 h 92"/>
                <a:gd name="T60" fmla="*/ 2147483647 w 112"/>
                <a:gd name="T61" fmla="*/ 2147483647 h 92"/>
                <a:gd name="T62" fmla="*/ 2147483647 w 112"/>
                <a:gd name="T63" fmla="*/ 2147483647 h 92"/>
                <a:gd name="T64" fmla="*/ 2147483647 w 112"/>
                <a:gd name="T65" fmla="*/ 2147483647 h 92"/>
                <a:gd name="T66" fmla="*/ 2147483647 w 112"/>
                <a:gd name="T67" fmla="*/ 2147483647 h 92"/>
                <a:gd name="T68" fmla="*/ 2147483647 w 112"/>
                <a:gd name="T69" fmla="*/ 2147483647 h 92"/>
                <a:gd name="T70" fmla="*/ 2147483647 w 112"/>
                <a:gd name="T71" fmla="*/ 2147483647 h 92"/>
                <a:gd name="T72" fmla="*/ 2147483647 w 112"/>
                <a:gd name="T73" fmla="*/ 2147483647 h 92"/>
                <a:gd name="T74" fmla="*/ 2147483647 w 112"/>
                <a:gd name="T75" fmla="*/ 2147483647 h 92"/>
                <a:gd name="T76" fmla="*/ 2147483647 w 112"/>
                <a:gd name="T77" fmla="*/ 2147483647 h 92"/>
                <a:gd name="T78" fmla="*/ 2147483647 w 112"/>
                <a:gd name="T79" fmla="*/ 2147483647 h 92"/>
                <a:gd name="T80" fmla="*/ 2147483647 w 112"/>
                <a:gd name="T81" fmla="*/ 2147483647 h 92"/>
                <a:gd name="T82" fmla="*/ 2147483647 w 112"/>
                <a:gd name="T83" fmla="*/ 2147483647 h 92"/>
                <a:gd name="T84" fmla="*/ 2147483647 w 112"/>
                <a:gd name="T85" fmla="*/ 2147483647 h 92"/>
                <a:gd name="T86" fmla="*/ 2147483647 w 112"/>
                <a:gd name="T87" fmla="*/ 2147483647 h 92"/>
                <a:gd name="T88" fmla="*/ 2147483647 w 112"/>
                <a:gd name="T89" fmla="*/ 2147483647 h 92"/>
                <a:gd name="T90" fmla="*/ 2147483647 w 112"/>
                <a:gd name="T91" fmla="*/ 2147483647 h 92"/>
                <a:gd name="T92" fmla="*/ 2147483647 w 112"/>
                <a:gd name="T93" fmla="*/ 2147483647 h 92"/>
                <a:gd name="T94" fmla="*/ 2147483647 w 112"/>
                <a:gd name="T95" fmla="*/ 2147483647 h 92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12"/>
                <a:gd name="T145" fmla="*/ 0 h 92"/>
                <a:gd name="T146" fmla="*/ 112 w 112"/>
                <a:gd name="T147" fmla="*/ 92 h 92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12" h="92">
                  <a:moveTo>
                    <a:pt x="109" y="89"/>
                  </a:moveTo>
                  <a:lnTo>
                    <a:pt x="109" y="89"/>
                  </a:lnTo>
                  <a:lnTo>
                    <a:pt x="112" y="92"/>
                  </a:lnTo>
                  <a:lnTo>
                    <a:pt x="103" y="72"/>
                  </a:lnTo>
                  <a:lnTo>
                    <a:pt x="95" y="52"/>
                  </a:lnTo>
                  <a:lnTo>
                    <a:pt x="95" y="46"/>
                  </a:lnTo>
                  <a:lnTo>
                    <a:pt x="89" y="46"/>
                  </a:lnTo>
                  <a:lnTo>
                    <a:pt x="75" y="43"/>
                  </a:lnTo>
                  <a:lnTo>
                    <a:pt x="55" y="37"/>
                  </a:lnTo>
                  <a:lnTo>
                    <a:pt x="52" y="37"/>
                  </a:lnTo>
                  <a:lnTo>
                    <a:pt x="46" y="37"/>
                  </a:lnTo>
                  <a:lnTo>
                    <a:pt x="37" y="37"/>
                  </a:lnTo>
                  <a:lnTo>
                    <a:pt x="32" y="34"/>
                  </a:lnTo>
                  <a:lnTo>
                    <a:pt x="26" y="26"/>
                  </a:lnTo>
                  <a:lnTo>
                    <a:pt x="23" y="17"/>
                  </a:lnTo>
                  <a:lnTo>
                    <a:pt x="20" y="14"/>
                  </a:lnTo>
                  <a:lnTo>
                    <a:pt x="12" y="17"/>
                  </a:lnTo>
                  <a:lnTo>
                    <a:pt x="6" y="12"/>
                  </a:lnTo>
                  <a:lnTo>
                    <a:pt x="3" y="6"/>
                  </a:lnTo>
                  <a:lnTo>
                    <a:pt x="0" y="0"/>
                  </a:lnTo>
                  <a:lnTo>
                    <a:pt x="3" y="9"/>
                  </a:lnTo>
                  <a:lnTo>
                    <a:pt x="6" y="20"/>
                  </a:lnTo>
                  <a:lnTo>
                    <a:pt x="17" y="37"/>
                  </a:lnTo>
                  <a:lnTo>
                    <a:pt x="17" y="26"/>
                  </a:lnTo>
                  <a:lnTo>
                    <a:pt x="20" y="20"/>
                  </a:lnTo>
                  <a:lnTo>
                    <a:pt x="20" y="23"/>
                  </a:lnTo>
                  <a:lnTo>
                    <a:pt x="20" y="26"/>
                  </a:lnTo>
                  <a:lnTo>
                    <a:pt x="20" y="29"/>
                  </a:lnTo>
                  <a:lnTo>
                    <a:pt x="23" y="26"/>
                  </a:lnTo>
                  <a:lnTo>
                    <a:pt x="26" y="32"/>
                  </a:lnTo>
                  <a:lnTo>
                    <a:pt x="29" y="34"/>
                  </a:lnTo>
                  <a:lnTo>
                    <a:pt x="40" y="43"/>
                  </a:lnTo>
                  <a:lnTo>
                    <a:pt x="35" y="43"/>
                  </a:lnTo>
                  <a:lnTo>
                    <a:pt x="23" y="40"/>
                  </a:lnTo>
                  <a:lnTo>
                    <a:pt x="26" y="46"/>
                  </a:lnTo>
                  <a:lnTo>
                    <a:pt x="37" y="46"/>
                  </a:lnTo>
                  <a:lnTo>
                    <a:pt x="43" y="46"/>
                  </a:lnTo>
                  <a:lnTo>
                    <a:pt x="35" y="52"/>
                  </a:lnTo>
                  <a:lnTo>
                    <a:pt x="37" y="55"/>
                  </a:lnTo>
                  <a:lnTo>
                    <a:pt x="29" y="57"/>
                  </a:lnTo>
                  <a:lnTo>
                    <a:pt x="23" y="57"/>
                  </a:lnTo>
                  <a:lnTo>
                    <a:pt x="20" y="57"/>
                  </a:lnTo>
                  <a:lnTo>
                    <a:pt x="26" y="60"/>
                  </a:lnTo>
                  <a:lnTo>
                    <a:pt x="26" y="66"/>
                  </a:lnTo>
                  <a:lnTo>
                    <a:pt x="26" y="69"/>
                  </a:lnTo>
                  <a:lnTo>
                    <a:pt x="32" y="66"/>
                  </a:lnTo>
                  <a:lnTo>
                    <a:pt x="37" y="63"/>
                  </a:lnTo>
                  <a:lnTo>
                    <a:pt x="43" y="63"/>
                  </a:lnTo>
                  <a:lnTo>
                    <a:pt x="52" y="57"/>
                  </a:lnTo>
                  <a:lnTo>
                    <a:pt x="58" y="55"/>
                  </a:lnTo>
                  <a:lnTo>
                    <a:pt x="58" y="60"/>
                  </a:lnTo>
                  <a:lnTo>
                    <a:pt x="52" y="63"/>
                  </a:lnTo>
                  <a:lnTo>
                    <a:pt x="43" y="66"/>
                  </a:lnTo>
                  <a:lnTo>
                    <a:pt x="40" y="69"/>
                  </a:lnTo>
                  <a:lnTo>
                    <a:pt x="40" y="75"/>
                  </a:lnTo>
                  <a:lnTo>
                    <a:pt x="37" y="78"/>
                  </a:lnTo>
                  <a:lnTo>
                    <a:pt x="40" y="78"/>
                  </a:lnTo>
                  <a:lnTo>
                    <a:pt x="43" y="75"/>
                  </a:lnTo>
                  <a:lnTo>
                    <a:pt x="40" y="75"/>
                  </a:lnTo>
                  <a:lnTo>
                    <a:pt x="43" y="72"/>
                  </a:lnTo>
                  <a:lnTo>
                    <a:pt x="46" y="72"/>
                  </a:lnTo>
                  <a:lnTo>
                    <a:pt x="49" y="78"/>
                  </a:lnTo>
                  <a:lnTo>
                    <a:pt x="52" y="75"/>
                  </a:lnTo>
                  <a:lnTo>
                    <a:pt x="55" y="72"/>
                  </a:lnTo>
                  <a:lnTo>
                    <a:pt x="63" y="72"/>
                  </a:lnTo>
                  <a:lnTo>
                    <a:pt x="58" y="78"/>
                  </a:lnTo>
                  <a:lnTo>
                    <a:pt x="58" y="83"/>
                  </a:lnTo>
                  <a:lnTo>
                    <a:pt x="66" y="78"/>
                  </a:lnTo>
                  <a:lnTo>
                    <a:pt x="72" y="69"/>
                  </a:lnTo>
                  <a:lnTo>
                    <a:pt x="66" y="63"/>
                  </a:lnTo>
                  <a:lnTo>
                    <a:pt x="69" y="55"/>
                  </a:lnTo>
                  <a:lnTo>
                    <a:pt x="72" y="57"/>
                  </a:lnTo>
                  <a:lnTo>
                    <a:pt x="78" y="63"/>
                  </a:lnTo>
                  <a:lnTo>
                    <a:pt x="83" y="63"/>
                  </a:lnTo>
                  <a:lnTo>
                    <a:pt x="92" y="66"/>
                  </a:lnTo>
                  <a:lnTo>
                    <a:pt x="86" y="69"/>
                  </a:lnTo>
                  <a:lnTo>
                    <a:pt x="83" y="69"/>
                  </a:lnTo>
                  <a:lnTo>
                    <a:pt x="83" y="72"/>
                  </a:lnTo>
                  <a:lnTo>
                    <a:pt x="86" y="75"/>
                  </a:lnTo>
                  <a:lnTo>
                    <a:pt x="86" y="78"/>
                  </a:lnTo>
                  <a:lnTo>
                    <a:pt x="92" y="78"/>
                  </a:lnTo>
                  <a:lnTo>
                    <a:pt x="98" y="75"/>
                  </a:lnTo>
                  <a:lnTo>
                    <a:pt x="98" y="78"/>
                  </a:lnTo>
                  <a:lnTo>
                    <a:pt x="98" y="80"/>
                  </a:lnTo>
                  <a:lnTo>
                    <a:pt x="95" y="83"/>
                  </a:lnTo>
                  <a:lnTo>
                    <a:pt x="95" y="86"/>
                  </a:lnTo>
                  <a:lnTo>
                    <a:pt x="98" y="89"/>
                  </a:lnTo>
                  <a:lnTo>
                    <a:pt x="103" y="89"/>
                  </a:lnTo>
                  <a:lnTo>
                    <a:pt x="106" y="89"/>
                  </a:lnTo>
                  <a:lnTo>
                    <a:pt x="109" y="8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55" name="Freeform 356"/>
            <p:cNvSpPr>
              <a:spLocks/>
            </p:cNvSpPr>
            <p:nvPr/>
          </p:nvSpPr>
          <p:spPr bwMode="auto">
            <a:xfrm>
              <a:off x="2657475" y="5737225"/>
              <a:ext cx="9525" cy="4763"/>
            </a:xfrm>
            <a:custGeom>
              <a:avLst/>
              <a:gdLst>
                <a:gd name="T0" fmla="*/ 2147483647 w 6"/>
                <a:gd name="T1" fmla="*/ 0 h 3"/>
                <a:gd name="T2" fmla="*/ 0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0 h 3"/>
                <a:gd name="T10" fmla="*/ 2147483647 w 6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3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56" name="Rectangle 357"/>
            <p:cNvSpPr>
              <a:spLocks noChangeArrowheads="1"/>
            </p:cNvSpPr>
            <p:nvPr/>
          </p:nvSpPr>
          <p:spPr bwMode="auto">
            <a:xfrm>
              <a:off x="2640013" y="5718175"/>
              <a:ext cx="4762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57" name="Freeform 358"/>
            <p:cNvSpPr>
              <a:spLocks/>
            </p:cNvSpPr>
            <p:nvPr/>
          </p:nvSpPr>
          <p:spPr bwMode="auto">
            <a:xfrm>
              <a:off x="2635250" y="5722938"/>
              <a:ext cx="9525" cy="9525"/>
            </a:xfrm>
            <a:custGeom>
              <a:avLst/>
              <a:gdLst>
                <a:gd name="T0" fmla="*/ 2147483647 w 6"/>
                <a:gd name="T1" fmla="*/ 0 h 6"/>
                <a:gd name="T2" fmla="*/ 2147483647 w 6"/>
                <a:gd name="T3" fmla="*/ 0 h 6"/>
                <a:gd name="T4" fmla="*/ 2147483647 w 6"/>
                <a:gd name="T5" fmla="*/ 2147483647 h 6"/>
                <a:gd name="T6" fmla="*/ 0 w 6"/>
                <a:gd name="T7" fmla="*/ 2147483647 h 6"/>
                <a:gd name="T8" fmla="*/ 0 w 6"/>
                <a:gd name="T9" fmla="*/ 2147483647 h 6"/>
                <a:gd name="T10" fmla="*/ 0 w 6"/>
                <a:gd name="T11" fmla="*/ 2147483647 h 6"/>
                <a:gd name="T12" fmla="*/ 2147483647 w 6"/>
                <a:gd name="T13" fmla="*/ 2147483647 h 6"/>
                <a:gd name="T14" fmla="*/ 2147483647 w 6"/>
                <a:gd name="T15" fmla="*/ 2147483647 h 6"/>
                <a:gd name="T16" fmla="*/ 2147483647 w 6"/>
                <a:gd name="T17" fmla="*/ 2147483647 h 6"/>
                <a:gd name="T18" fmla="*/ 2147483647 w 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6"/>
                <a:gd name="T32" fmla="*/ 6 w 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6">
                  <a:moveTo>
                    <a:pt x="6" y="0"/>
                  </a:moveTo>
                  <a:lnTo>
                    <a:pt x="3" y="0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6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58" name="Freeform 359"/>
            <p:cNvSpPr>
              <a:spLocks/>
            </p:cNvSpPr>
            <p:nvPr/>
          </p:nvSpPr>
          <p:spPr bwMode="auto">
            <a:xfrm>
              <a:off x="2652713" y="5737225"/>
              <a:ext cx="4762" cy="4763"/>
            </a:xfrm>
            <a:custGeom>
              <a:avLst/>
              <a:gdLst>
                <a:gd name="T0" fmla="*/ 0 w 3"/>
                <a:gd name="T1" fmla="*/ 0 h 3"/>
                <a:gd name="T2" fmla="*/ 2147483647 w 3"/>
                <a:gd name="T3" fmla="*/ 2147483647 h 3"/>
                <a:gd name="T4" fmla="*/ 2147483647 w 3"/>
                <a:gd name="T5" fmla="*/ 0 h 3"/>
                <a:gd name="T6" fmla="*/ 2147483647 w 3"/>
                <a:gd name="T7" fmla="*/ 0 h 3"/>
                <a:gd name="T8" fmla="*/ 0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0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59" name="Freeform 360"/>
            <p:cNvSpPr>
              <a:spLocks/>
            </p:cNvSpPr>
            <p:nvPr/>
          </p:nvSpPr>
          <p:spPr bwMode="auto">
            <a:xfrm>
              <a:off x="2644775" y="5722938"/>
              <a:ext cx="12700" cy="14287"/>
            </a:xfrm>
            <a:custGeom>
              <a:avLst/>
              <a:gdLst>
                <a:gd name="T0" fmla="*/ 2147483647 w 8"/>
                <a:gd name="T1" fmla="*/ 2147483647 h 9"/>
                <a:gd name="T2" fmla="*/ 2147483647 w 8"/>
                <a:gd name="T3" fmla="*/ 0 h 9"/>
                <a:gd name="T4" fmla="*/ 2147483647 w 8"/>
                <a:gd name="T5" fmla="*/ 0 h 9"/>
                <a:gd name="T6" fmla="*/ 2147483647 w 8"/>
                <a:gd name="T7" fmla="*/ 0 h 9"/>
                <a:gd name="T8" fmla="*/ 2147483647 w 8"/>
                <a:gd name="T9" fmla="*/ 2147483647 h 9"/>
                <a:gd name="T10" fmla="*/ 2147483647 w 8"/>
                <a:gd name="T11" fmla="*/ 2147483647 h 9"/>
                <a:gd name="T12" fmla="*/ 0 w 8"/>
                <a:gd name="T13" fmla="*/ 2147483647 h 9"/>
                <a:gd name="T14" fmla="*/ 0 w 8"/>
                <a:gd name="T15" fmla="*/ 2147483647 h 9"/>
                <a:gd name="T16" fmla="*/ 2147483647 w 8"/>
                <a:gd name="T17" fmla="*/ 2147483647 h 9"/>
                <a:gd name="T18" fmla="*/ 2147483647 w 8"/>
                <a:gd name="T19" fmla="*/ 2147483647 h 9"/>
                <a:gd name="T20" fmla="*/ 2147483647 w 8"/>
                <a:gd name="T21" fmla="*/ 2147483647 h 9"/>
                <a:gd name="T22" fmla="*/ 2147483647 w 8"/>
                <a:gd name="T23" fmla="*/ 2147483647 h 9"/>
                <a:gd name="T24" fmla="*/ 2147483647 w 8"/>
                <a:gd name="T25" fmla="*/ 2147483647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"/>
                <a:gd name="T40" fmla="*/ 0 h 9"/>
                <a:gd name="T41" fmla="*/ 8 w 8"/>
                <a:gd name="T42" fmla="*/ 9 h 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" h="9">
                  <a:moveTo>
                    <a:pt x="5" y="3"/>
                  </a:moveTo>
                  <a:lnTo>
                    <a:pt x="8" y="0"/>
                  </a:lnTo>
                  <a:lnTo>
                    <a:pt x="5" y="0"/>
                  </a:lnTo>
                  <a:lnTo>
                    <a:pt x="5" y="3"/>
                  </a:lnTo>
                  <a:lnTo>
                    <a:pt x="3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9"/>
                  </a:lnTo>
                  <a:lnTo>
                    <a:pt x="3" y="6"/>
                  </a:lnTo>
                  <a:lnTo>
                    <a:pt x="5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60" name="Rectangle 361"/>
            <p:cNvSpPr>
              <a:spLocks noChangeArrowheads="1"/>
            </p:cNvSpPr>
            <p:nvPr/>
          </p:nvSpPr>
          <p:spPr bwMode="auto">
            <a:xfrm>
              <a:off x="2657475" y="5727700"/>
              <a:ext cx="4763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61" name="Freeform 362"/>
            <p:cNvSpPr>
              <a:spLocks/>
            </p:cNvSpPr>
            <p:nvPr/>
          </p:nvSpPr>
          <p:spPr bwMode="auto">
            <a:xfrm>
              <a:off x="2630488" y="5715000"/>
              <a:ext cx="9525" cy="3175"/>
            </a:xfrm>
            <a:custGeom>
              <a:avLst/>
              <a:gdLst>
                <a:gd name="T0" fmla="*/ 0 w 6"/>
                <a:gd name="T1" fmla="*/ 2147483647 h 2"/>
                <a:gd name="T2" fmla="*/ 0 w 6"/>
                <a:gd name="T3" fmla="*/ 2147483647 h 2"/>
                <a:gd name="T4" fmla="*/ 0 w 6"/>
                <a:gd name="T5" fmla="*/ 2147483647 h 2"/>
                <a:gd name="T6" fmla="*/ 2147483647 w 6"/>
                <a:gd name="T7" fmla="*/ 2147483647 h 2"/>
                <a:gd name="T8" fmla="*/ 2147483647 w 6"/>
                <a:gd name="T9" fmla="*/ 2147483647 h 2"/>
                <a:gd name="T10" fmla="*/ 0 w 6"/>
                <a:gd name="T11" fmla="*/ 0 h 2"/>
                <a:gd name="T12" fmla="*/ 0 w 6"/>
                <a:gd name="T13" fmla="*/ 2147483647 h 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2"/>
                <a:gd name="T23" fmla="*/ 6 w 6"/>
                <a:gd name="T24" fmla="*/ 2 h 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2">
                  <a:moveTo>
                    <a:pt x="0" y="2"/>
                  </a:moveTo>
                  <a:lnTo>
                    <a:pt x="0" y="2"/>
                  </a:lnTo>
                  <a:lnTo>
                    <a:pt x="3" y="2"/>
                  </a:lnTo>
                  <a:lnTo>
                    <a:pt x="6" y="2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62" name="Freeform 363"/>
            <p:cNvSpPr>
              <a:spLocks/>
            </p:cNvSpPr>
            <p:nvPr/>
          </p:nvSpPr>
          <p:spPr bwMode="auto">
            <a:xfrm>
              <a:off x="2555875" y="5662613"/>
              <a:ext cx="14288" cy="9525"/>
            </a:xfrm>
            <a:custGeom>
              <a:avLst/>
              <a:gdLst>
                <a:gd name="T0" fmla="*/ 2147483647 w 9"/>
                <a:gd name="T1" fmla="*/ 0 h 6"/>
                <a:gd name="T2" fmla="*/ 2147483647 w 9"/>
                <a:gd name="T3" fmla="*/ 2147483647 h 6"/>
                <a:gd name="T4" fmla="*/ 2147483647 w 9"/>
                <a:gd name="T5" fmla="*/ 2147483647 h 6"/>
                <a:gd name="T6" fmla="*/ 0 w 9"/>
                <a:gd name="T7" fmla="*/ 2147483647 h 6"/>
                <a:gd name="T8" fmla="*/ 2147483647 w 9"/>
                <a:gd name="T9" fmla="*/ 2147483647 h 6"/>
                <a:gd name="T10" fmla="*/ 2147483647 w 9"/>
                <a:gd name="T11" fmla="*/ 2147483647 h 6"/>
                <a:gd name="T12" fmla="*/ 2147483647 w 9"/>
                <a:gd name="T13" fmla="*/ 2147483647 h 6"/>
                <a:gd name="T14" fmla="*/ 2147483647 w 9"/>
                <a:gd name="T15" fmla="*/ 2147483647 h 6"/>
                <a:gd name="T16" fmla="*/ 2147483647 w 9"/>
                <a:gd name="T17" fmla="*/ 0 h 6"/>
                <a:gd name="T18" fmla="*/ 2147483647 w 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"/>
                <a:gd name="T31" fmla="*/ 0 h 6"/>
                <a:gd name="T32" fmla="*/ 9 w 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" h="6">
                  <a:moveTo>
                    <a:pt x="6" y="0"/>
                  </a:moveTo>
                  <a:lnTo>
                    <a:pt x="6" y="3"/>
                  </a:lnTo>
                  <a:lnTo>
                    <a:pt x="3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3"/>
                  </a:lnTo>
                  <a:lnTo>
                    <a:pt x="6" y="3"/>
                  </a:lnTo>
                  <a:lnTo>
                    <a:pt x="9" y="3"/>
                  </a:lnTo>
                  <a:lnTo>
                    <a:pt x="9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63" name="Freeform 364"/>
            <p:cNvSpPr>
              <a:spLocks/>
            </p:cNvSpPr>
            <p:nvPr/>
          </p:nvSpPr>
          <p:spPr bwMode="auto">
            <a:xfrm>
              <a:off x="2652713" y="5715000"/>
              <a:ext cx="9525" cy="3175"/>
            </a:xfrm>
            <a:custGeom>
              <a:avLst/>
              <a:gdLst>
                <a:gd name="T0" fmla="*/ 0 w 6"/>
                <a:gd name="T1" fmla="*/ 0 h 2"/>
                <a:gd name="T2" fmla="*/ 0 w 6"/>
                <a:gd name="T3" fmla="*/ 2147483647 h 2"/>
                <a:gd name="T4" fmla="*/ 0 w 6"/>
                <a:gd name="T5" fmla="*/ 2147483647 h 2"/>
                <a:gd name="T6" fmla="*/ 2147483647 w 6"/>
                <a:gd name="T7" fmla="*/ 2147483647 h 2"/>
                <a:gd name="T8" fmla="*/ 2147483647 w 6"/>
                <a:gd name="T9" fmla="*/ 2147483647 h 2"/>
                <a:gd name="T10" fmla="*/ 2147483647 w 6"/>
                <a:gd name="T11" fmla="*/ 0 h 2"/>
                <a:gd name="T12" fmla="*/ 2147483647 w 6"/>
                <a:gd name="T13" fmla="*/ 0 h 2"/>
                <a:gd name="T14" fmla="*/ 0 w 6"/>
                <a:gd name="T15" fmla="*/ 0 h 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"/>
                <a:gd name="T25" fmla="*/ 0 h 2"/>
                <a:gd name="T26" fmla="*/ 6 w 6"/>
                <a:gd name="T27" fmla="*/ 2 h 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" h="2">
                  <a:moveTo>
                    <a:pt x="0" y="0"/>
                  </a:moveTo>
                  <a:lnTo>
                    <a:pt x="0" y="2"/>
                  </a:lnTo>
                  <a:lnTo>
                    <a:pt x="3" y="2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64" name="Freeform 365"/>
            <p:cNvSpPr>
              <a:spLocks/>
            </p:cNvSpPr>
            <p:nvPr/>
          </p:nvSpPr>
          <p:spPr bwMode="auto">
            <a:xfrm>
              <a:off x="2644775" y="5710238"/>
              <a:ext cx="7938" cy="12700"/>
            </a:xfrm>
            <a:custGeom>
              <a:avLst/>
              <a:gdLst>
                <a:gd name="T0" fmla="*/ 2147483647 w 5"/>
                <a:gd name="T1" fmla="*/ 2147483647 h 8"/>
                <a:gd name="T2" fmla="*/ 0 w 5"/>
                <a:gd name="T3" fmla="*/ 0 h 8"/>
                <a:gd name="T4" fmla="*/ 0 w 5"/>
                <a:gd name="T5" fmla="*/ 0 h 8"/>
                <a:gd name="T6" fmla="*/ 0 w 5"/>
                <a:gd name="T7" fmla="*/ 2147483647 h 8"/>
                <a:gd name="T8" fmla="*/ 2147483647 w 5"/>
                <a:gd name="T9" fmla="*/ 2147483647 h 8"/>
                <a:gd name="T10" fmla="*/ 2147483647 w 5"/>
                <a:gd name="T11" fmla="*/ 2147483647 h 8"/>
                <a:gd name="T12" fmla="*/ 2147483647 w 5"/>
                <a:gd name="T13" fmla="*/ 2147483647 h 8"/>
                <a:gd name="T14" fmla="*/ 2147483647 w 5"/>
                <a:gd name="T15" fmla="*/ 2147483647 h 8"/>
                <a:gd name="T16" fmla="*/ 2147483647 w 5"/>
                <a:gd name="T17" fmla="*/ 2147483647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"/>
                <a:gd name="T28" fmla="*/ 0 h 8"/>
                <a:gd name="T29" fmla="*/ 5 w 5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" h="8">
                  <a:moveTo>
                    <a:pt x="3" y="3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5"/>
                  </a:lnTo>
                  <a:lnTo>
                    <a:pt x="3" y="8"/>
                  </a:lnTo>
                  <a:lnTo>
                    <a:pt x="5" y="5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65" name="Freeform 366"/>
            <p:cNvSpPr>
              <a:spLocks/>
            </p:cNvSpPr>
            <p:nvPr/>
          </p:nvSpPr>
          <p:spPr bwMode="auto">
            <a:xfrm>
              <a:off x="2640013" y="5695950"/>
              <a:ext cx="12700" cy="14288"/>
            </a:xfrm>
            <a:custGeom>
              <a:avLst/>
              <a:gdLst>
                <a:gd name="T0" fmla="*/ 2147483647 w 8"/>
                <a:gd name="T1" fmla="*/ 2147483647 h 9"/>
                <a:gd name="T2" fmla="*/ 2147483647 w 8"/>
                <a:gd name="T3" fmla="*/ 2147483647 h 9"/>
                <a:gd name="T4" fmla="*/ 2147483647 w 8"/>
                <a:gd name="T5" fmla="*/ 2147483647 h 9"/>
                <a:gd name="T6" fmla="*/ 2147483647 w 8"/>
                <a:gd name="T7" fmla="*/ 2147483647 h 9"/>
                <a:gd name="T8" fmla="*/ 2147483647 w 8"/>
                <a:gd name="T9" fmla="*/ 0 h 9"/>
                <a:gd name="T10" fmla="*/ 2147483647 w 8"/>
                <a:gd name="T11" fmla="*/ 0 h 9"/>
                <a:gd name="T12" fmla="*/ 2147483647 w 8"/>
                <a:gd name="T13" fmla="*/ 2147483647 h 9"/>
                <a:gd name="T14" fmla="*/ 2147483647 w 8"/>
                <a:gd name="T15" fmla="*/ 2147483647 h 9"/>
                <a:gd name="T16" fmla="*/ 0 w 8"/>
                <a:gd name="T17" fmla="*/ 2147483647 h 9"/>
                <a:gd name="T18" fmla="*/ 2147483647 w 8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"/>
                <a:gd name="T31" fmla="*/ 0 h 9"/>
                <a:gd name="T32" fmla="*/ 8 w 8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" h="9">
                  <a:moveTo>
                    <a:pt x="6" y="9"/>
                  </a:moveTo>
                  <a:lnTo>
                    <a:pt x="8" y="9"/>
                  </a:lnTo>
                  <a:lnTo>
                    <a:pt x="6" y="6"/>
                  </a:lnTo>
                  <a:lnTo>
                    <a:pt x="6" y="0"/>
                  </a:lnTo>
                  <a:lnTo>
                    <a:pt x="3" y="3"/>
                  </a:lnTo>
                  <a:lnTo>
                    <a:pt x="0" y="9"/>
                  </a:lnTo>
                  <a:lnTo>
                    <a:pt x="6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66" name="Freeform 367"/>
            <p:cNvSpPr>
              <a:spLocks/>
            </p:cNvSpPr>
            <p:nvPr/>
          </p:nvSpPr>
          <p:spPr bwMode="auto">
            <a:xfrm>
              <a:off x="2511425" y="5603875"/>
              <a:ext cx="7938" cy="7938"/>
            </a:xfrm>
            <a:custGeom>
              <a:avLst/>
              <a:gdLst>
                <a:gd name="T0" fmla="*/ 2147483647 w 5"/>
                <a:gd name="T1" fmla="*/ 0 h 5"/>
                <a:gd name="T2" fmla="*/ 2147483647 w 5"/>
                <a:gd name="T3" fmla="*/ 0 h 5"/>
                <a:gd name="T4" fmla="*/ 2147483647 w 5"/>
                <a:gd name="T5" fmla="*/ 0 h 5"/>
                <a:gd name="T6" fmla="*/ 2147483647 w 5"/>
                <a:gd name="T7" fmla="*/ 0 h 5"/>
                <a:gd name="T8" fmla="*/ 0 w 5"/>
                <a:gd name="T9" fmla="*/ 2147483647 h 5"/>
                <a:gd name="T10" fmla="*/ 2147483647 w 5"/>
                <a:gd name="T11" fmla="*/ 2147483647 h 5"/>
                <a:gd name="T12" fmla="*/ 2147483647 w 5"/>
                <a:gd name="T13" fmla="*/ 2147483647 h 5"/>
                <a:gd name="T14" fmla="*/ 2147483647 w 5"/>
                <a:gd name="T15" fmla="*/ 0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"/>
                <a:gd name="T25" fmla="*/ 0 h 5"/>
                <a:gd name="T26" fmla="*/ 5 w 5"/>
                <a:gd name="T27" fmla="*/ 5 h 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" h="5">
                  <a:moveTo>
                    <a:pt x="2" y="0"/>
                  </a:moveTo>
                  <a:lnTo>
                    <a:pt x="5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2" y="5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67" name="Freeform 368"/>
            <p:cNvSpPr>
              <a:spLocks/>
            </p:cNvSpPr>
            <p:nvPr/>
          </p:nvSpPr>
          <p:spPr bwMode="auto">
            <a:xfrm>
              <a:off x="2681288" y="5741988"/>
              <a:ext cx="4762" cy="9525"/>
            </a:xfrm>
            <a:custGeom>
              <a:avLst/>
              <a:gdLst>
                <a:gd name="T0" fmla="*/ 0 w 3"/>
                <a:gd name="T1" fmla="*/ 2147483647 h 6"/>
                <a:gd name="T2" fmla="*/ 0 w 3"/>
                <a:gd name="T3" fmla="*/ 2147483647 h 6"/>
                <a:gd name="T4" fmla="*/ 2147483647 w 3"/>
                <a:gd name="T5" fmla="*/ 2147483647 h 6"/>
                <a:gd name="T6" fmla="*/ 0 w 3"/>
                <a:gd name="T7" fmla="*/ 0 h 6"/>
                <a:gd name="T8" fmla="*/ 0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0" y="3"/>
                  </a:moveTo>
                  <a:lnTo>
                    <a:pt x="0" y="6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68" name="Freeform 369"/>
            <p:cNvSpPr>
              <a:spLocks/>
            </p:cNvSpPr>
            <p:nvPr/>
          </p:nvSpPr>
          <p:spPr bwMode="auto">
            <a:xfrm>
              <a:off x="2671763" y="5715000"/>
              <a:ext cx="4762" cy="7938"/>
            </a:xfrm>
            <a:custGeom>
              <a:avLst/>
              <a:gdLst>
                <a:gd name="T0" fmla="*/ 0 w 3"/>
                <a:gd name="T1" fmla="*/ 2147483647 h 5"/>
                <a:gd name="T2" fmla="*/ 0 w 3"/>
                <a:gd name="T3" fmla="*/ 2147483647 h 5"/>
                <a:gd name="T4" fmla="*/ 2147483647 w 3"/>
                <a:gd name="T5" fmla="*/ 2147483647 h 5"/>
                <a:gd name="T6" fmla="*/ 2147483647 w 3"/>
                <a:gd name="T7" fmla="*/ 0 h 5"/>
                <a:gd name="T8" fmla="*/ 0 w 3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0" y="2"/>
                  </a:moveTo>
                  <a:lnTo>
                    <a:pt x="0" y="5"/>
                  </a:lnTo>
                  <a:lnTo>
                    <a:pt x="3" y="2"/>
                  </a:lnTo>
                  <a:lnTo>
                    <a:pt x="3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69" name="Freeform 370"/>
            <p:cNvSpPr>
              <a:spLocks/>
            </p:cNvSpPr>
            <p:nvPr/>
          </p:nvSpPr>
          <p:spPr bwMode="auto">
            <a:xfrm>
              <a:off x="2662238" y="5732463"/>
              <a:ext cx="9525" cy="4762"/>
            </a:xfrm>
            <a:custGeom>
              <a:avLst/>
              <a:gdLst>
                <a:gd name="T0" fmla="*/ 2147483647 w 6"/>
                <a:gd name="T1" fmla="*/ 0 h 3"/>
                <a:gd name="T2" fmla="*/ 0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0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3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70" name="Freeform 371"/>
            <p:cNvSpPr>
              <a:spLocks/>
            </p:cNvSpPr>
            <p:nvPr/>
          </p:nvSpPr>
          <p:spPr bwMode="auto">
            <a:xfrm>
              <a:off x="2514600" y="5594350"/>
              <a:ext cx="14288" cy="22225"/>
            </a:xfrm>
            <a:custGeom>
              <a:avLst/>
              <a:gdLst>
                <a:gd name="T0" fmla="*/ 0 w 9"/>
                <a:gd name="T1" fmla="*/ 0 h 14"/>
                <a:gd name="T2" fmla="*/ 2147483647 w 9"/>
                <a:gd name="T3" fmla="*/ 2147483647 h 14"/>
                <a:gd name="T4" fmla="*/ 2147483647 w 9"/>
                <a:gd name="T5" fmla="*/ 2147483647 h 14"/>
                <a:gd name="T6" fmla="*/ 2147483647 w 9"/>
                <a:gd name="T7" fmla="*/ 2147483647 h 14"/>
                <a:gd name="T8" fmla="*/ 0 w 9"/>
                <a:gd name="T9" fmla="*/ 2147483647 h 14"/>
                <a:gd name="T10" fmla="*/ 2147483647 w 9"/>
                <a:gd name="T11" fmla="*/ 2147483647 h 14"/>
                <a:gd name="T12" fmla="*/ 2147483647 w 9"/>
                <a:gd name="T13" fmla="*/ 2147483647 h 14"/>
                <a:gd name="T14" fmla="*/ 2147483647 w 9"/>
                <a:gd name="T15" fmla="*/ 2147483647 h 14"/>
                <a:gd name="T16" fmla="*/ 2147483647 w 9"/>
                <a:gd name="T17" fmla="*/ 2147483647 h 14"/>
                <a:gd name="T18" fmla="*/ 2147483647 w 9"/>
                <a:gd name="T19" fmla="*/ 2147483647 h 14"/>
                <a:gd name="T20" fmla="*/ 0 w 9"/>
                <a:gd name="T21" fmla="*/ 0 h 1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9"/>
                <a:gd name="T34" fmla="*/ 0 h 14"/>
                <a:gd name="T35" fmla="*/ 9 w 9"/>
                <a:gd name="T36" fmla="*/ 14 h 1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9" h="14">
                  <a:moveTo>
                    <a:pt x="0" y="0"/>
                  </a:moveTo>
                  <a:lnTo>
                    <a:pt x="3" y="6"/>
                  </a:lnTo>
                  <a:lnTo>
                    <a:pt x="3" y="9"/>
                  </a:lnTo>
                  <a:lnTo>
                    <a:pt x="0" y="11"/>
                  </a:lnTo>
                  <a:lnTo>
                    <a:pt x="3" y="14"/>
                  </a:lnTo>
                  <a:lnTo>
                    <a:pt x="3" y="11"/>
                  </a:lnTo>
                  <a:lnTo>
                    <a:pt x="6" y="9"/>
                  </a:lnTo>
                  <a:lnTo>
                    <a:pt x="9" y="6"/>
                  </a:lnTo>
                  <a:lnTo>
                    <a:pt x="6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71" name="Freeform 372"/>
            <p:cNvSpPr>
              <a:spLocks/>
            </p:cNvSpPr>
            <p:nvPr/>
          </p:nvSpPr>
          <p:spPr bwMode="auto">
            <a:xfrm>
              <a:off x="3790950" y="3602038"/>
              <a:ext cx="77788" cy="22225"/>
            </a:xfrm>
            <a:custGeom>
              <a:avLst/>
              <a:gdLst>
                <a:gd name="T0" fmla="*/ 2147483647 w 48"/>
                <a:gd name="T1" fmla="*/ 2147483647 h 14"/>
                <a:gd name="T2" fmla="*/ 2147483647 w 48"/>
                <a:gd name="T3" fmla="*/ 2147483647 h 14"/>
                <a:gd name="T4" fmla="*/ 2147483647 w 48"/>
                <a:gd name="T5" fmla="*/ 2147483647 h 14"/>
                <a:gd name="T6" fmla="*/ 2147483647 w 48"/>
                <a:gd name="T7" fmla="*/ 2147483647 h 14"/>
                <a:gd name="T8" fmla="*/ 2147483647 w 48"/>
                <a:gd name="T9" fmla="*/ 2147483647 h 14"/>
                <a:gd name="T10" fmla="*/ 2147483647 w 48"/>
                <a:gd name="T11" fmla="*/ 2147483647 h 14"/>
                <a:gd name="T12" fmla="*/ 2147483647 w 48"/>
                <a:gd name="T13" fmla="*/ 2147483647 h 14"/>
                <a:gd name="T14" fmla="*/ 2147483647 w 48"/>
                <a:gd name="T15" fmla="*/ 2147483647 h 14"/>
                <a:gd name="T16" fmla="*/ 2147483647 w 48"/>
                <a:gd name="T17" fmla="*/ 2147483647 h 14"/>
                <a:gd name="T18" fmla="*/ 2147483647 w 48"/>
                <a:gd name="T19" fmla="*/ 2147483647 h 14"/>
                <a:gd name="T20" fmla="*/ 2147483647 w 48"/>
                <a:gd name="T21" fmla="*/ 2147483647 h 14"/>
                <a:gd name="T22" fmla="*/ 2147483647 w 48"/>
                <a:gd name="T23" fmla="*/ 2147483647 h 14"/>
                <a:gd name="T24" fmla="*/ 2147483647 w 48"/>
                <a:gd name="T25" fmla="*/ 2147483647 h 14"/>
                <a:gd name="T26" fmla="*/ 2147483647 w 48"/>
                <a:gd name="T27" fmla="*/ 0 h 14"/>
                <a:gd name="T28" fmla="*/ 2147483647 w 48"/>
                <a:gd name="T29" fmla="*/ 0 h 14"/>
                <a:gd name="T30" fmla="*/ 2147483647 w 48"/>
                <a:gd name="T31" fmla="*/ 2147483647 h 14"/>
                <a:gd name="T32" fmla="*/ 2147483647 w 48"/>
                <a:gd name="T33" fmla="*/ 2147483647 h 14"/>
                <a:gd name="T34" fmla="*/ 2147483647 w 48"/>
                <a:gd name="T35" fmla="*/ 2147483647 h 14"/>
                <a:gd name="T36" fmla="*/ 2147483647 w 48"/>
                <a:gd name="T37" fmla="*/ 2147483647 h 14"/>
                <a:gd name="T38" fmla="*/ 0 w 48"/>
                <a:gd name="T39" fmla="*/ 2147483647 h 14"/>
                <a:gd name="T40" fmla="*/ 0 w 48"/>
                <a:gd name="T41" fmla="*/ 2147483647 h 14"/>
                <a:gd name="T42" fmla="*/ 0 w 48"/>
                <a:gd name="T43" fmla="*/ 2147483647 h 14"/>
                <a:gd name="T44" fmla="*/ 2147483647 w 48"/>
                <a:gd name="T45" fmla="*/ 2147483647 h 14"/>
                <a:gd name="T46" fmla="*/ 2147483647 w 48"/>
                <a:gd name="T47" fmla="*/ 2147483647 h 14"/>
                <a:gd name="T48" fmla="*/ 2147483647 w 48"/>
                <a:gd name="T49" fmla="*/ 2147483647 h 1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8"/>
                <a:gd name="T76" fmla="*/ 0 h 14"/>
                <a:gd name="T77" fmla="*/ 48 w 48"/>
                <a:gd name="T78" fmla="*/ 14 h 14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8" h="14">
                  <a:moveTo>
                    <a:pt x="17" y="8"/>
                  </a:moveTo>
                  <a:lnTo>
                    <a:pt x="17" y="8"/>
                  </a:lnTo>
                  <a:lnTo>
                    <a:pt x="22" y="8"/>
                  </a:lnTo>
                  <a:lnTo>
                    <a:pt x="28" y="5"/>
                  </a:lnTo>
                  <a:lnTo>
                    <a:pt x="34" y="5"/>
                  </a:lnTo>
                  <a:lnTo>
                    <a:pt x="43" y="11"/>
                  </a:lnTo>
                  <a:lnTo>
                    <a:pt x="48" y="8"/>
                  </a:lnTo>
                  <a:lnTo>
                    <a:pt x="48" y="5"/>
                  </a:lnTo>
                  <a:lnTo>
                    <a:pt x="43" y="5"/>
                  </a:lnTo>
                  <a:lnTo>
                    <a:pt x="37" y="3"/>
                  </a:lnTo>
                  <a:lnTo>
                    <a:pt x="31" y="0"/>
                  </a:lnTo>
                  <a:lnTo>
                    <a:pt x="25" y="0"/>
                  </a:lnTo>
                  <a:lnTo>
                    <a:pt x="20" y="5"/>
                  </a:lnTo>
                  <a:lnTo>
                    <a:pt x="11" y="5"/>
                  </a:lnTo>
                  <a:lnTo>
                    <a:pt x="2" y="5"/>
                  </a:lnTo>
                  <a:lnTo>
                    <a:pt x="0" y="5"/>
                  </a:lnTo>
                  <a:lnTo>
                    <a:pt x="0" y="14"/>
                  </a:lnTo>
                  <a:lnTo>
                    <a:pt x="14" y="11"/>
                  </a:lnTo>
                  <a:lnTo>
                    <a:pt x="17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72" name="Freeform 373"/>
            <p:cNvSpPr>
              <a:spLocks/>
            </p:cNvSpPr>
            <p:nvPr/>
          </p:nvSpPr>
          <p:spPr bwMode="auto">
            <a:xfrm>
              <a:off x="2667000" y="5741988"/>
              <a:ext cx="9525" cy="4762"/>
            </a:xfrm>
            <a:custGeom>
              <a:avLst/>
              <a:gdLst>
                <a:gd name="T0" fmla="*/ 0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0 h 3"/>
                <a:gd name="T8" fmla="*/ 2147483647 w 6"/>
                <a:gd name="T9" fmla="*/ 0 h 3"/>
                <a:gd name="T10" fmla="*/ 0 w 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0" y="3"/>
                  </a:moveTo>
                  <a:lnTo>
                    <a:pt x="3" y="3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73" name="Freeform 374"/>
            <p:cNvSpPr>
              <a:spLocks/>
            </p:cNvSpPr>
            <p:nvPr/>
          </p:nvSpPr>
          <p:spPr bwMode="auto">
            <a:xfrm>
              <a:off x="2671763" y="5732463"/>
              <a:ext cx="9525" cy="4762"/>
            </a:xfrm>
            <a:custGeom>
              <a:avLst/>
              <a:gdLst>
                <a:gd name="T0" fmla="*/ 2147483647 w 6"/>
                <a:gd name="T1" fmla="*/ 0 h 3"/>
                <a:gd name="T2" fmla="*/ 2147483647 w 6"/>
                <a:gd name="T3" fmla="*/ 0 h 3"/>
                <a:gd name="T4" fmla="*/ 0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2147483647 h 3"/>
                <a:gd name="T10" fmla="*/ 2147483647 w 6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6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6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74" name="Freeform 375"/>
            <p:cNvSpPr>
              <a:spLocks/>
            </p:cNvSpPr>
            <p:nvPr/>
          </p:nvSpPr>
          <p:spPr bwMode="auto">
            <a:xfrm>
              <a:off x="2667000" y="5722938"/>
              <a:ext cx="9525" cy="9525"/>
            </a:xfrm>
            <a:custGeom>
              <a:avLst/>
              <a:gdLst>
                <a:gd name="T0" fmla="*/ 0 w 6"/>
                <a:gd name="T1" fmla="*/ 0 h 6"/>
                <a:gd name="T2" fmla="*/ 2147483647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w 6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0"/>
                  </a:moveTo>
                  <a:lnTo>
                    <a:pt x="3" y="6"/>
                  </a:lnTo>
                  <a:lnTo>
                    <a:pt x="6" y="6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75" name="Freeform 376"/>
            <p:cNvSpPr>
              <a:spLocks/>
            </p:cNvSpPr>
            <p:nvPr/>
          </p:nvSpPr>
          <p:spPr bwMode="auto">
            <a:xfrm>
              <a:off x="2400300" y="4714875"/>
              <a:ext cx="419100" cy="942975"/>
            </a:xfrm>
            <a:custGeom>
              <a:avLst/>
              <a:gdLst>
                <a:gd name="T0" fmla="*/ 2147483647 w 261"/>
                <a:gd name="T1" fmla="*/ 2147483647 h 588"/>
                <a:gd name="T2" fmla="*/ 2147483647 w 261"/>
                <a:gd name="T3" fmla="*/ 2147483647 h 588"/>
                <a:gd name="T4" fmla="*/ 2147483647 w 261"/>
                <a:gd name="T5" fmla="*/ 2147483647 h 588"/>
                <a:gd name="T6" fmla="*/ 2147483647 w 261"/>
                <a:gd name="T7" fmla="*/ 2147483647 h 588"/>
                <a:gd name="T8" fmla="*/ 2147483647 w 261"/>
                <a:gd name="T9" fmla="*/ 2147483647 h 588"/>
                <a:gd name="T10" fmla="*/ 2147483647 w 261"/>
                <a:gd name="T11" fmla="*/ 2147483647 h 588"/>
                <a:gd name="T12" fmla="*/ 2147483647 w 261"/>
                <a:gd name="T13" fmla="*/ 2147483647 h 588"/>
                <a:gd name="T14" fmla="*/ 2147483647 w 261"/>
                <a:gd name="T15" fmla="*/ 2147483647 h 588"/>
                <a:gd name="T16" fmla="*/ 2147483647 w 261"/>
                <a:gd name="T17" fmla="*/ 2147483647 h 588"/>
                <a:gd name="T18" fmla="*/ 2147483647 w 261"/>
                <a:gd name="T19" fmla="*/ 2147483647 h 588"/>
                <a:gd name="T20" fmla="*/ 2147483647 w 261"/>
                <a:gd name="T21" fmla="*/ 2147483647 h 588"/>
                <a:gd name="T22" fmla="*/ 2147483647 w 261"/>
                <a:gd name="T23" fmla="*/ 2147483647 h 588"/>
                <a:gd name="T24" fmla="*/ 2147483647 w 261"/>
                <a:gd name="T25" fmla="*/ 2147483647 h 588"/>
                <a:gd name="T26" fmla="*/ 2147483647 w 261"/>
                <a:gd name="T27" fmla="*/ 2147483647 h 588"/>
                <a:gd name="T28" fmla="*/ 2147483647 w 261"/>
                <a:gd name="T29" fmla="*/ 2147483647 h 588"/>
                <a:gd name="T30" fmla="*/ 2147483647 w 261"/>
                <a:gd name="T31" fmla="*/ 2147483647 h 588"/>
                <a:gd name="T32" fmla="*/ 2147483647 w 261"/>
                <a:gd name="T33" fmla="*/ 2147483647 h 588"/>
                <a:gd name="T34" fmla="*/ 0 w 261"/>
                <a:gd name="T35" fmla="*/ 2147483647 h 588"/>
                <a:gd name="T36" fmla="*/ 2147483647 w 261"/>
                <a:gd name="T37" fmla="*/ 2147483647 h 588"/>
                <a:gd name="T38" fmla="*/ 2147483647 w 261"/>
                <a:gd name="T39" fmla="*/ 2147483647 h 588"/>
                <a:gd name="T40" fmla="*/ 2147483647 w 261"/>
                <a:gd name="T41" fmla="*/ 2147483647 h 588"/>
                <a:gd name="T42" fmla="*/ 2147483647 w 261"/>
                <a:gd name="T43" fmla="*/ 2147483647 h 588"/>
                <a:gd name="T44" fmla="*/ 2147483647 w 261"/>
                <a:gd name="T45" fmla="*/ 2147483647 h 588"/>
                <a:gd name="T46" fmla="*/ 2147483647 w 261"/>
                <a:gd name="T47" fmla="*/ 2147483647 h 588"/>
                <a:gd name="T48" fmla="*/ 2147483647 w 261"/>
                <a:gd name="T49" fmla="*/ 2147483647 h 588"/>
                <a:gd name="T50" fmla="*/ 2147483647 w 261"/>
                <a:gd name="T51" fmla="*/ 2147483647 h 588"/>
                <a:gd name="T52" fmla="*/ 2147483647 w 261"/>
                <a:gd name="T53" fmla="*/ 2147483647 h 588"/>
                <a:gd name="T54" fmla="*/ 2147483647 w 261"/>
                <a:gd name="T55" fmla="*/ 2147483647 h 588"/>
                <a:gd name="T56" fmla="*/ 2147483647 w 261"/>
                <a:gd name="T57" fmla="*/ 2147483647 h 588"/>
                <a:gd name="T58" fmla="*/ 2147483647 w 261"/>
                <a:gd name="T59" fmla="*/ 2147483647 h 588"/>
                <a:gd name="T60" fmla="*/ 2147483647 w 261"/>
                <a:gd name="T61" fmla="*/ 2147483647 h 588"/>
                <a:gd name="T62" fmla="*/ 2147483647 w 261"/>
                <a:gd name="T63" fmla="*/ 2147483647 h 588"/>
                <a:gd name="T64" fmla="*/ 2147483647 w 261"/>
                <a:gd name="T65" fmla="*/ 2147483647 h 588"/>
                <a:gd name="T66" fmla="*/ 2147483647 w 261"/>
                <a:gd name="T67" fmla="*/ 2147483647 h 588"/>
                <a:gd name="T68" fmla="*/ 2147483647 w 261"/>
                <a:gd name="T69" fmla="*/ 2147483647 h 588"/>
                <a:gd name="T70" fmla="*/ 2147483647 w 261"/>
                <a:gd name="T71" fmla="*/ 2147483647 h 588"/>
                <a:gd name="T72" fmla="*/ 2147483647 w 261"/>
                <a:gd name="T73" fmla="*/ 2147483647 h 588"/>
                <a:gd name="T74" fmla="*/ 2147483647 w 261"/>
                <a:gd name="T75" fmla="*/ 2147483647 h 588"/>
                <a:gd name="T76" fmla="*/ 2147483647 w 261"/>
                <a:gd name="T77" fmla="*/ 2147483647 h 588"/>
                <a:gd name="T78" fmla="*/ 2147483647 w 261"/>
                <a:gd name="T79" fmla="*/ 2147483647 h 588"/>
                <a:gd name="T80" fmla="*/ 2147483647 w 261"/>
                <a:gd name="T81" fmla="*/ 2147483647 h 588"/>
                <a:gd name="T82" fmla="*/ 2147483647 w 261"/>
                <a:gd name="T83" fmla="*/ 2147483647 h 588"/>
                <a:gd name="T84" fmla="*/ 2147483647 w 261"/>
                <a:gd name="T85" fmla="*/ 2147483647 h 588"/>
                <a:gd name="T86" fmla="*/ 2147483647 w 261"/>
                <a:gd name="T87" fmla="*/ 2147483647 h 588"/>
                <a:gd name="T88" fmla="*/ 2147483647 w 261"/>
                <a:gd name="T89" fmla="*/ 2147483647 h 588"/>
                <a:gd name="T90" fmla="*/ 2147483647 w 261"/>
                <a:gd name="T91" fmla="*/ 2147483647 h 588"/>
                <a:gd name="T92" fmla="*/ 2147483647 w 261"/>
                <a:gd name="T93" fmla="*/ 2147483647 h 588"/>
                <a:gd name="T94" fmla="*/ 2147483647 w 261"/>
                <a:gd name="T95" fmla="*/ 2147483647 h 588"/>
                <a:gd name="T96" fmla="*/ 2147483647 w 261"/>
                <a:gd name="T97" fmla="*/ 2147483647 h 588"/>
                <a:gd name="T98" fmla="*/ 2147483647 w 261"/>
                <a:gd name="T99" fmla="*/ 2147483647 h 588"/>
                <a:gd name="T100" fmla="*/ 2147483647 w 261"/>
                <a:gd name="T101" fmla="*/ 2147483647 h 588"/>
                <a:gd name="T102" fmla="*/ 2147483647 w 261"/>
                <a:gd name="T103" fmla="*/ 2147483647 h 588"/>
                <a:gd name="T104" fmla="*/ 2147483647 w 261"/>
                <a:gd name="T105" fmla="*/ 2147483647 h 588"/>
                <a:gd name="T106" fmla="*/ 2147483647 w 261"/>
                <a:gd name="T107" fmla="*/ 2147483647 h 588"/>
                <a:gd name="T108" fmla="*/ 2147483647 w 261"/>
                <a:gd name="T109" fmla="*/ 2147483647 h 588"/>
                <a:gd name="T110" fmla="*/ 2147483647 w 261"/>
                <a:gd name="T111" fmla="*/ 2147483647 h 588"/>
                <a:gd name="T112" fmla="*/ 2147483647 w 261"/>
                <a:gd name="T113" fmla="*/ 2147483647 h 588"/>
                <a:gd name="T114" fmla="*/ 2147483647 w 261"/>
                <a:gd name="T115" fmla="*/ 2147483647 h 588"/>
                <a:gd name="T116" fmla="*/ 2147483647 w 261"/>
                <a:gd name="T117" fmla="*/ 2147483647 h 5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61"/>
                <a:gd name="T178" fmla="*/ 0 h 588"/>
                <a:gd name="T179" fmla="*/ 261 w 261"/>
                <a:gd name="T180" fmla="*/ 588 h 5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61" h="588">
                  <a:moveTo>
                    <a:pt x="235" y="275"/>
                  </a:moveTo>
                  <a:lnTo>
                    <a:pt x="235" y="275"/>
                  </a:lnTo>
                  <a:lnTo>
                    <a:pt x="235" y="264"/>
                  </a:lnTo>
                  <a:lnTo>
                    <a:pt x="229" y="255"/>
                  </a:lnTo>
                  <a:lnTo>
                    <a:pt x="218" y="249"/>
                  </a:lnTo>
                  <a:lnTo>
                    <a:pt x="215" y="246"/>
                  </a:lnTo>
                  <a:lnTo>
                    <a:pt x="206" y="244"/>
                  </a:lnTo>
                  <a:lnTo>
                    <a:pt x="206" y="235"/>
                  </a:lnTo>
                  <a:lnTo>
                    <a:pt x="206" y="221"/>
                  </a:lnTo>
                  <a:lnTo>
                    <a:pt x="209" y="215"/>
                  </a:lnTo>
                  <a:lnTo>
                    <a:pt x="206" y="206"/>
                  </a:lnTo>
                  <a:lnTo>
                    <a:pt x="203" y="183"/>
                  </a:lnTo>
                  <a:lnTo>
                    <a:pt x="206" y="166"/>
                  </a:lnTo>
                  <a:lnTo>
                    <a:pt x="209" y="155"/>
                  </a:lnTo>
                  <a:lnTo>
                    <a:pt x="218" y="143"/>
                  </a:lnTo>
                  <a:lnTo>
                    <a:pt x="232" y="123"/>
                  </a:lnTo>
                  <a:lnTo>
                    <a:pt x="235" y="117"/>
                  </a:lnTo>
                  <a:lnTo>
                    <a:pt x="244" y="114"/>
                  </a:lnTo>
                  <a:lnTo>
                    <a:pt x="258" y="106"/>
                  </a:lnTo>
                  <a:lnTo>
                    <a:pt x="261" y="103"/>
                  </a:lnTo>
                  <a:lnTo>
                    <a:pt x="261" y="100"/>
                  </a:lnTo>
                  <a:lnTo>
                    <a:pt x="261" y="91"/>
                  </a:lnTo>
                  <a:lnTo>
                    <a:pt x="258" y="83"/>
                  </a:lnTo>
                  <a:lnTo>
                    <a:pt x="252" y="74"/>
                  </a:lnTo>
                  <a:lnTo>
                    <a:pt x="249" y="74"/>
                  </a:lnTo>
                  <a:lnTo>
                    <a:pt x="244" y="74"/>
                  </a:lnTo>
                  <a:lnTo>
                    <a:pt x="246" y="86"/>
                  </a:lnTo>
                  <a:lnTo>
                    <a:pt x="246" y="91"/>
                  </a:lnTo>
                  <a:lnTo>
                    <a:pt x="235" y="103"/>
                  </a:lnTo>
                  <a:lnTo>
                    <a:pt x="232" y="112"/>
                  </a:lnTo>
                  <a:lnTo>
                    <a:pt x="229" y="112"/>
                  </a:lnTo>
                  <a:lnTo>
                    <a:pt x="224" y="109"/>
                  </a:lnTo>
                  <a:lnTo>
                    <a:pt x="221" y="114"/>
                  </a:lnTo>
                  <a:lnTo>
                    <a:pt x="178" y="106"/>
                  </a:lnTo>
                  <a:lnTo>
                    <a:pt x="186" y="97"/>
                  </a:lnTo>
                  <a:lnTo>
                    <a:pt x="183" y="89"/>
                  </a:lnTo>
                  <a:lnTo>
                    <a:pt x="186" y="83"/>
                  </a:lnTo>
                  <a:lnTo>
                    <a:pt x="189" y="80"/>
                  </a:lnTo>
                  <a:lnTo>
                    <a:pt x="192" y="77"/>
                  </a:lnTo>
                  <a:lnTo>
                    <a:pt x="192" y="74"/>
                  </a:lnTo>
                  <a:lnTo>
                    <a:pt x="192" y="68"/>
                  </a:lnTo>
                  <a:lnTo>
                    <a:pt x="180" y="63"/>
                  </a:lnTo>
                  <a:lnTo>
                    <a:pt x="163" y="54"/>
                  </a:lnTo>
                  <a:lnTo>
                    <a:pt x="155" y="48"/>
                  </a:lnTo>
                  <a:lnTo>
                    <a:pt x="146" y="48"/>
                  </a:lnTo>
                  <a:lnTo>
                    <a:pt x="135" y="43"/>
                  </a:lnTo>
                  <a:lnTo>
                    <a:pt x="114" y="28"/>
                  </a:lnTo>
                  <a:lnTo>
                    <a:pt x="106" y="17"/>
                  </a:lnTo>
                  <a:lnTo>
                    <a:pt x="97" y="5"/>
                  </a:lnTo>
                  <a:lnTo>
                    <a:pt x="80" y="5"/>
                  </a:lnTo>
                  <a:lnTo>
                    <a:pt x="71" y="23"/>
                  </a:lnTo>
                  <a:lnTo>
                    <a:pt x="66" y="11"/>
                  </a:lnTo>
                  <a:lnTo>
                    <a:pt x="51" y="8"/>
                  </a:lnTo>
                  <a:lnTo>
                    <a:pt x="40" y="0"/>
                  </a:lnTo>
                  <a:lnTo>
                    <a:pt x="34" y="8"/>
                  </a:lnTo>
                  <a:lnTo>
                    <a:pt x="28" y="20"/>
                  </a:lnTo>
                  <a:lnTo>
                    <a:pt x="31" y="23"/>
                  </a:lnTo>
                  <a:lnTo>
                    <a:pt x="28" y="31"/>
                  </a:lnTo>
                  <a:lnTo>
                    <a:pt x="28" y="37"/>
                  </a:lnTo>
                  <a:lnTo>
                    <a:pt x="28" y="43"/>
                  </a:lnTo>
                  <a:lnTo>
                    <a:pt x="25" y="45"/>
                  </a:lnTo>
                  <a:lnTo>
                    <a:pt x="11" y="54"/>
                  </a:lnTo>
                  <a:lnTo>
                    <a:pt x="8" y="57"/>
                  </a:lnTo>
                  <a:lnTo>
                    <a:pt x="11" y="63"/>
                  </a:lnTo>
                  <a:lnTo>
                    <a:pt x="8" y="68"/>
                  </a:lnTo>
                  <a:lnTo>
                    <a:pt x="14" y="74"/>
                  </a:lnTo>
                  <a:lnTo>
                    <a:pt x="17" y="83"/>
                  </a:lnTo>
                  <a:lnTo>
                    <a:pt x="11" y="89"/>
                  </a:lnTo>
                  <a:lnTo>
                    <a:pt x="14" y="91"/>
                  </a:lnTo>
                  <a:lnTo>
                    <a:pt x="17" y="94"/>
                  </a:lnTo>
                  <a:lnTo>
                    <a:pt x="20" y="100"/>
                  </a:lnTo>
                  <a:lnTo>
                    <a:pt x="20" y="103"/>
                  </a:lnTo>
                  <a:lnTo>
                    <a:pt x="17" y="103"/>
                  </a:lnTo>
                  <a:lnTo>
                    <a:pt x="14" y="103"/>
                  </a:lnTo>
                  <a:lnTo>
                    <a:pt x="14" y="106"/>
                  </a:lnTo>
                  <a:lnTo>
                    <a:pt x="11" y="106"/>
                  </a:lnTo>
                  <a:lnTo>
                    <a:pt x="8" y="114"/>
                  </a:lnTo>
                  <a:lnTo>
                    <a:pt x="5" y="126"/>
                  </a:lnTo>
                  <a:lnTo>
                    <a:pt x="2" y="132"/>
                  </a:lnTo>
                  <a:lnTo>
                    <a:pt x="2" y="134"/>
                  </a:lnTo>
                  <a:lnTo>
                    <a:pt x="2" y="140"/>
                  </a:lnTo>
                  <a:lnTo>
                    <a:pt x="0" y="146"/>
                  </a:lnTo>
                  <a:lnTo>
                    <a:pt x="2" y="152"/>
                  </a:lnTo>
                  <a:lnTo>
                    <a:pt x="5" y="155"/>
                  </a:lnTo>
                  <a:lnTo>
                    <a:pt x="5" y="160"/>
                  </a:lnTo>
                  <a:lnTo>
                    <a:pt x="5" y="163"/>
                  </a:lnTo>
                  <a:lnTo>
                    <a:pt x="2" y="166"/>
                  </a:lnTo>
                  <a:lnTo>
                    <a:pt x="2" y="169"/>
                  </a:lnTo>
                  <a:lnTo>
                    <a:pt x="2" y="172"/>
                  </a:lnTo>
                  <a:lnTo>
                    <a:pt x="2" y="178"/>
                  </a:lnTo>
                  <a:lnTo>
                    <a:pt x="2" y="180"/>
                  </a:lnTo>
                  <a:lnTo>
                    <a:pt x="0" y="189"/>
                  </a:lnTo>
                  <a:lnTo>
                    <a:pt x="2" y="195"/>
                  </a:lnTo>
                  <a:lnTo>
                    <a:pt x="5" y="195"/>
                  </a:lnTo>
                  <a:lnTo>
                    <a:pt x="8" y="198"/>
                  </a:lnTo>
                  <a:lnTo>
                    <a:pt x="8" y="201"/>
                  </a:lnTo>
                  <a:lnTo>
                    <a:pt x="8" y="203"/>
                  </a:lnTo>
                  <a:lnTo>
                    <a:pt x="14" y="212"/>
                  </a:lnTo>
                  <a:lnTo>
                    <a:pt x="17" y="215"/>
                  </a:lnTo>
                  <a:lnTo>
                    <a:pt x="17" y="218"/>
                  </a:lnTo>
                  <a:lnTo>
                    <a:pt x="14" y="221"/>
                  </a:lnTo>
                  <a:lnTo>
                    <a:pt x="17" y="221"/>
                  </a:lnTo>
                  <a:lnTo>
                    <a:pt x="20" y="221"/>
                  </a:lnTo>
                  <a:lnTo>
                    <a:pt x="23" y="223"/>
                  </a:lnTo>
                  <a:lnTo>
                    <a:pt x="23" y="226"/>
                  </a:lnTo>
                  <a:lnTo>
                    <a:pt x="23" y="235"/>
                  </a:lnTo>
                  <a:lnTo>
                    <a:pt x="25" y="241"/>
                  </a:lnTo>
                  <a:lnTo>
                    <a:pt x="25" y="244"/>
                  </a:lnTo>
                  <a:lnTo>
                    <a:pt x="23" y="249"/>
                  </a:lnTo>
                  <a:lnTo>
                    <a:pt x="20" y="258"/>
                  </a:lnTo>
                  <a:lnTo>
                    <a:pt x="20" y="261"/>
                  </a:lnTo>
                  <a:lnTo>
                    <a:pt x="23" y="264"/>
                  </a:lnTo>
                  <a:lnTo>
                    <a:pt x="25" y="269"/>
                  </a:lnTo>
                  <a:lnTo>
                    <a:pt x="28" y="275"/>
                  </a:lnTo>
                  <a:lnTo>
                    <a:pt x="28" y="278"/>
                  </a:lnTo>
                  <a:lnTo>
                    <a:pt x="23" y="284"/>
                  </a:lnTo>
                  <a:lnTo>
                    <a:pt x="20" y="287"/>
                  </a:lnTo>
                  <a:lnTo>
                    <a:pt x="20" y="290"/>
                  </a:lnTo>
                  <a:lnTo>
                    <a:pt x="20" y="292"/>
                  </a:lnTo>
                  <a:lnTo>
                    <a:pt x="23" y="304"/>
                  </a:lnTo>
                  <a:lnTo>
                    <a:pt x="25" y="312"/>
                  </a:lnTo>
                  <a:lnTo>
                    <a:pt x="31" y="321"/>
                  </a:lnTo>
                  <a:lnTo>
                    <a:pt x="34" y="327"/>
                  </a:lnTo>
                  <a:lnTo>
                    <a:pt x="28" y="330"/>
                  </a:lnTo>
                  <a:lnTo>
                    <a:pt x="28" y="333"/>
                  </a:lnTo>
                  <a:lnTo>
                    <a:pt x="28" y="335"/>
                  </a:lnTo>
                  <a:lnTo>
                    <a:pt x="31" y="344"/>
                  </a:lnTo>
                  <a:lnTo>
                    <a:pt x="28" y="347"/>
                  </a:lnTo>
                  <a:lnTo>
                    <a:pt x="28" y="350"/>
                  </a:lnTo>
                  <a:lnTo>
                    <a:pt x="31" y="353"/>
                  </a:lnTo>
                  <a:lnTo>
                    <a:pt x="28" y="356"/>
                  </a:lnTo>
                  <a:lnTo>
                    <a:pt x="31" y="358"/>
                  </a:lnTo>
                  <a:lnTo>
                    <a:pt x="31" y="361"/>
                  </a:lnTo>
                  <a:lnTo>
                    <a:pt x="31" y="367"/>
                  </a:lnTo>
                  <a:lnTo>
                    <a:pt x="34" y="381"/>
                  </a:lnTo>
                  <a:lnTo>
                    <a:pt x="40" y="387"/>
                  </a:lnTo>
                  <a:lnTo>
                    <a:pt x="43" y="393"/>
                  </a:lnTo>
                  <a:lnTo>
                    <a:pt x="40" y="396"/>
                  </a:lnTo>
                  <a:lnTo>
                    <a:pt x="37" y="396"/>
                  </a:lnTo>
                  <a:lnTo>
                    <a:pt x="37" y="399"/>
                  </a:lnTo>
                  <a:lnTo>
                    <a:pt x="43" y="410"/>
                  </a:lnTo>
                  <a:lnTo>
                    <a:pt x="46" y="413"/>
                  </a:lnTo>
                  <a:lnTo>
                    <a:pt x="48" y="413"/>
                  </a:lnTo>
                  <a:lnTo>
                    <a:pt x="51" y="416"/>
                  </a:lnTo>
                  <a:lnTo>
                    <a:pt x="48" y="422"/>
                  </a:lnTo>
                  <a:lnTo>
                    <a:pt x="51" y="422"/>
                  </a:lnTo>
                  <a:lnTo>
                    <a:pt x="54" y="424"/>
                  </a:lnTo>
                  <a:lnTo>
                    <a:pt x="57" y="430"/>
                  </a:lnTo>
                  <a:lnTo>
                    <a:pt x="57" y="436"/>
                  </a:lnTo>
                  <a:lnTo>
                    <a:pt x="63" y="439"/>
                  </a:lnTo>
                  <a:lnTo>
                    <a:pt x="66" y="439"/>
                  </a:lnTo>
                  <a:lnTo>
                    <a:pt x="69" y="442"/>
                  </a:lnTo>
                  <a:lnTo>
                    <a:pt x="71" y="445"/>
                  </a:lnTo>
                  <a:lnTo>
                    <a:pt x="69" y="447"/>
                  </a:lnTo>
                  <a:lnTo>
                    <a:pt x="63" y="447"/>
                  </a:lnTo>
                  <a:lnTo>
                    <a:pt x="60" y="447"/>
                  </a:lnTo>
                  <a:lnTo>
                    <a:pt x="66" y="450"/>
                  </a:lnTo>
                  <a:lnTo>
                    <a:pt x="69" y="450"/>
                  </a:lnTo>
                  <a:lnTo>
                    <a:pt x="71" y="453"/>
                  </a:lnTo>
                  <a:lnTo>
                    <a:pt x="71" y="456"/>
                  </a:lnTo>
                  <a:lnTo>
                    <a:pt x="69" y="462"/>
                  </a:lnTo>
                  <a:lnTo>
                    <a:pt x="71" y="465"/>
                  </a:lnTo>
                  <a:lnTo>
                    <a:pt x="74" y="470"/>
                  </a:lnTo>
                  <a:lnTo>
                    <a:pt x="71" y="470"/>
                  </a:lnTo>
                  <a:lnTo>
                    <a:pt x="71" y="473"/>
                  </a:lnTo>
                  <a:lnTo>
                    <a:pt x="77" y="479"/>
                  </a:lnTo>
                  <a:lnTo>
                    <a:pt x="77" y="482"/>
                  </a:lnTo>
                  <a:lnTo>
                    <a:pt x="74" y="488"/>
                  </a:lnTo>
                  <a:lnTo>
                    <a:pt x="77" y="488"/>
                  </a:lnTo>
                  <a:lnTo>
                    <a:pt x="77" y="490"/>
                  </a:lnTo>
                  <a:lnTo>
                    <a:pt x="80" y="493"/>
                  </a:lnTo>
                  <a:lnTo>
                    <a:pt x="74" y="496"/>
                  </a:lnTo>
                  <a:lnTo>
                    <a:pt x="74" y="499"/>
                  </a:lnTo>
                  <a:lnTo>
                    <a:pt x="77" y="508"/>
                  </a:lnTo>
                  <a:lnTo>
                    <a:pt x="80" y="513"/>
                  </a:lnTo>
                  <a:lnTo>
                    <a:pt x="80" y="516"/>
                  </a:lnTo>
                  <a:lnTo>
                    <a:pt x="77" y="516"/>
                  </a:lnTo>
                  <a:lnTo>
                    <a:pt x="80" y="519"/>
                  </a:lnTo>
                  <a:lnTo>
                    <a:pt x="83" y="525"/>
                  </a:lnTo>
                  <a:lnTo>
                    <a:pt x="80" y="528"/>
                  </a:lnTo>
                  <a:lnTo>
                    <a:pt x="74" y="528"/>
                  </a:lnTo>
                  <a:lnTo>
                    <a:pt x="74" y="531"/>
                  </a:lnTo>
                  <a:lnTo>
                    <a:pt x="74" y="534"/>
                  </a:lnTo>
                  <a:lnTo>
                    <a:pt x="83" y="548"/>
                  </a:lnTo>
                  <a:lnTo>
                    <a:pt x="89" y="557"/>
                  </a:lnTo>
                  <a:lnTo>
                    <a:pt x="94" y="557"/>
                  </a:lnTo>
                  <a:lnTo>
                    <a:pt x="97" y="557"/>
                  </a:lnTo>
                  <a:lnTo>
                    <a:pt x="100" y="557"/>
                  </a:lnTo>
                  <a:lnTo>
                    <a:pt x="103" y="559"/>
                  </a:lnTo>
                  <a:lnTo>
                    <a:pt x="106" y="571"/>
                  </a:lnTo>
                  <a:lnTo>
                    <a:pt x="112" y="577"/>
                  </a:lnTo>
                  <a:lnTo>
                    <a:pt x="114" y="579"/>
                  </a:lnTo>
                  <a:lnTo>
                    <a:pt x="123" y="579"/>
                  </a:lnTo>
                  <a:lnTo>
                    <a:pt x="129" y="579"/>
                  </a:lnTo>
                  <a:lnTo>
                    <a:pt x="132" y="579"/>
                  </a:lnTo>
                  <a:lnTo>
                    <a:pt x="152" y="582"/>
                  </a:lnTo>
                  <a:lnTo>
                    <a:pt x="169" y="588"/>
                  </a:lnTo>
                  <a:lnTo>
                    <a:pt x="172" y="588"/>
                  </a:lnTo>
                  <a:lnTo>
                    <a:pt x="163" y="577"/>
                  </a:lnTo>
                  <a:lnTo>
                    <a:pt x="152" y="565"/>
                  </a:lnTo>
                  <a:lnTo>
                    <a:pt x="149" y="559"/>
                  </a:lnTo>
                  <a:lnTo>
                    <a:pt x="146" y="554"/>
                  </a:lnTo>
                  <a:lnTo>
                    <a:pt x="149" y="551"/>
                  </a:lnTo>
                  <a:lnTo>
                    <a:pt x="155" y="548"/>
                  </a:lnTo>
                  <a:lnTo>
                    <a:pt x="157" y="545"/>
                  </a:lnTo>
                  <a:lnTo>
                    <a:pt x="160" y="542"/>
                  </a:lnTo>
                  <a:lnTo>
                    <a:pt x="160" y="536"/>
                  </a:lnTo>
                  <a:lnTo>
                    <a:pt x="157" y="534"/>
                  </a:lnTo>
                  <a:lnTo>
                    <a:pt x="157" y="531"/>
                  </a:lnTo>
                  <a:lnTo>
                    <a:pt x="160" y="525"/>
                  </a:lnTo>
                  <a:lnTo>
                    <a:pt x="169" y="513"/>
                  </a:lnTo>
                  <a:lnTo>
                    <a:pt x="178" y="505"/>
                  </a:lnTo>
                  <a:lnTo>
                    <a:pt x="175" y="502"/>
                  </a:lnTo>
                  <a:lnTo>
                    <a:pt x="172" y="493"/>
                  </a:lnTo>
                  <a:lnTo>
                    <a:pt x="169" y="493"/>
                  </a:lnTo>
                  <a:lnTo>
                    <a:pt x="160" y="490"/>
                  </a:lnTo>
                  <a:lnTo>
                    <a:pt x="149" y="488"/>
                  </a:lnTo>
                  <a:lnTo>
                    <a:pt x="143" y="482"/>
                  </a:lnTo>
                  <a:lnTo>
                    <a:pt x="137" y="476"/>
                  </a:lnTo>
                  <a:lnTo>
                    <a:pt x="135" y="468"/>
                  </a:lnTo>
                  <a:lnTo>
                    <a:pt x="135" y="459"/>
                  </a:lnTo>
                  <a:lnTo>
                    <a:pt x="137" y="456"/>
                  </a:lnTo>
                  <a:lnTo>
                    <a:pt x="146" y="453"/>
                  </a:lnTo>
                  <a:lnTo>
                    <a:pt x="146" y="450"/>
                  </a:lnTo>
                  <a:lnTo>
                    <a:pt x="149" y="450"/>
                  </a:lnTo>
                  <a:lnTo>
                    <a:pt x="157" y="450"/>
                  </a:lnTo>
                  <a:lnTo>
                    <a:pt x="160" y="447"/>
                  </a:lnTo>
                  <a:lnTo>
                    <a:pt x="155" y="445"/>
                  </a:lnTo>
                  <a:lnTo>
                    <a:pt x="157" y="442"/>
                  </a:lnTo>
                  <a:lnTo>
                    <a:pt x="157" y="433"/>
                  </a:lnTo>
                  <a:lnTo>
                    <a:pt x="155" y="427"/>
                  </a:lnTo>
                  <a:lnTo>
                    <a:pt x="155" y="422"/>
                  </a:lnTo>
                  <a:lnTo>
                    <a:pt x="157" y="419"/>
                  </a:lnTo>
                  <a:lnTo>
                    <a:pt x="163" y="413"/>
                  </a:lnTo>
                  <a:lnTo>
                    <a:pt x="157" y="407"/>
                  </a:lnTo>
                  <a:lnTo>
                    <a:pt x="155" y="404"/>
                  </a:lnTo>
                  <a:lnTo>
                    <a:pt x="155" y="401"/>
                  </a:lnTo>
                  <a:lnTo>
                    <a:pt x="160" y="404"/>
                  </a:lnTo>
                  <a:lnTo>
                    <a:pt x="166" y="407"/>
                  </a:lnTo>
                  <a:lnTo>
                    <a:pt x="172" y="407"/>
                  </a:lnTo>
                  <a:lnTo>
                    <a:pt x="172" y="404"/>
                  </a:lnTo>
                  <a:lnTo>
                    <a:pt x="169" y="396"/>
                  </a:lnTo>
                  <a:lnTo>
                    <a:pt x="163" y="393"/>
                  </a:lnTo>
                  <a:lnTo>
                    <a:pt x="157" y="396"/>
                  </a:lnTo>
                  <a:lnTo>
                    <a:pt x="163" y="399"/>
                  </a:lnTo>
                  <a:lnTo>
                    <a:pt x="157" y="399"/>
                  </a:lnTo>
                  <a:lnTo>
                    <a:pt x="155" y="396"/>
                  </a:lnTo>
                  <a:lnTo>
                    <a:pt x="152" y="393"/>
                  </a:lnTo>
                  <a:lnTo>
                    <a:pt x="146" y="393"/>
                  </a:lnTo>
                  <a:lnTo>
                    <a:pt x="146" y="390"/>
                  </a:lnTo>
                  <a:lnTo>
                    <a:pt x="143" y="381"/>
                  </a:lnTo>
                  <a:lnTo>
                    <a:pt x="137" y="370"/>
                  </a:lnTo>
                  <a:lnTo>
                    <a:pt x="149" y="370"/>
                  </a:lnTo>
                  <a:lnTo>
                    <a:pt x="163" y="376"/>
                  </a:lnTo>
                  <a:lnTo>
                    <a:pt x="175" y="376"/>
                  </a:lnTo>
                  <a:lnTo>
                    <a:pt x="178" y="373"/>
                  </a:lnTo>
                  <a:lnTo>
                    <a:pt x="183" y="370"/>
                  </a:lnTo>
                  <a:lnTo>
                    <a:pt x="178" y="361"/>
                  </a:lnTo>
                  <a:lnTo>
                    <a:pt x="178" y="353"/>
                  </a:lnTo>
                  <a:lnTo>
                    <a:pt x="178" y="347"/>
                  </a:lnTo>
                  <a:lnTo>
                    <a:pt x="172" y="335"/>
                  </a:lnTo>
                  <a:lnTo>
                    <a:pt x="175" y="330"/>
                  </a:lnTo>
                  <a:lnTo>
                    <a:pt x="178" y="338"/>
                  </a:lnTo>
                  <a:lnTo>
                    <a:pt x="178" y="335"/>
                  </a:lnTo>
                  <a:lnTo>
                    <a:pt x="180" y="333"/>
                  </a:lnTo>
                  <a:lnTo>
                    <a:pt x="189" y="333"/>
                  </a:lnTo>
                  <a:lnTo>
                    <a:pt x="198" y="333"/>
                  </a:lnTo>
                  <a:lnTo>
                    <a:pt x="206" y="330"/>
                  </a:lnTo>
                  <a:lnTo>
                    <a:pt x="215" y="330"/>
                  </a:lnTo>
                  <a:lnTo>
                    <a:pt x="226" y="327"/>
                  </a:lnTo>
                  <a:lnTo>
                    <a:pt x="235" y="324"/>
                  </a:lnTo>
                  <a:lnTo>
                    <a:pt x="244" y="315"/>
                  </a:lnTo>
                  <a:lnTo>
                    <a:pt x="246" y="304"/>
                  </a:lnTo>
                  <a:lnTo>
                    <a:pt x="249" y="290"/>
                  </a:lnTo>
                  <a:lnTo>
                    <a:pt x="241" y="284"/>
                  </a:lnTo>
                  <a:lnTo>
                    <a:pt x="235" y="27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76" name="Freeform 377"/>
            <p:cNvSpPr>
              <a:spLocks/>
            </p:cNvSpPr>
            <p:nvPr/>
          </p:nvSpPr>
          <p:spPr bwMode="auto">
            <a:xfrm>
              <a:off x="3900488" y="1809750"/>
              <a:ext cx="1587" cy="4763"/>
            </a:xfrm>
            <a:custGeom>
              <a:avLst/>
              <a:gdLst>
                <a:gd name="T0" fmla="*/ 0 w 1"/>
                <a:gd name="T1" fmla="*/ 2147483647 h 3"/>
                <a:gd name="T2" fmla="*/ 0 w 1"/>
                <a:gd name="T3" fmla="*/ 2147483647 h 3"/>
                <a:gd name="T4" fmla="*/ 0 w 1"/>
                <a:gd name="T5" fmla="*/ 0 h 3"/>
                <a:gd name="T6" fmla="*/ 0 w 1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3"/>
                <a:gd name="T14" fmla="*/ 1 w 1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3">
                  <a:moveTo>
                    <a:pt x="0" y="3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77" name="Freeform 378"/>
            <p:cNvSpPr>
              <a:spLocks/>
            </p:cNvSpPr>
            <p:nvPr/>
          </p:nvSpPr>
          <p:spPr bwMode="auto">
            <a:xfrm>
              <a:off x="3270250" y="1870075"/>
              <a:ext cx="14288" cy="9525"/>
            </a:xfrm>
            <a:custGeom>
              <a:avLst/>
              <a:gdLst>
                <a:gd name="T0" fmla="*/ 0 w 9"/>
                <a:gd name="T1" fmla="*/ 2147483647 h 6"/>
                <a:gd name="T2" fmla="*/ 2147483647 w 9"/>
                <a:gd name="T3" fmla="*/ 2147483647 h 6"/>
                <a:gd name="T4" fmla="*/ 2147483647 w 9"/>
                <a:gd name="T5" fmla="*/ 2147483647 h 6"/>
                <a:gd name="T6" fmla="*/ 2147483647 w 9"/>
                <a:gd name="T7" fmla="*/ 0 h 6"/>
                <a:gd name="T8" fmla="*/ 2147483647 w 9"/>
                <a:gd name="T9" fmla="*/ 0 h 6"/>
                <a:gd name="T10" fmla="*/ 0 w 9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6"/>
                <a:gd name="T20" fmla="*/ 9 w 9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6">
                  <a:moveTo>
                    <a:pt x="0" y="3"/>
                  </a:moveTo>
                  <a:lnTo>
                    <a:pt x="3" y="6"/>
                  </a:lnTo>
                  <a:lnTo>
                    <a:pt x="6" y="3"/>
                  </a:lnTo>
                  <a:lnTo>
                    <a:pt x="9" y="0"/>
                  </a:lnTo>
                  <a:lnTo>
                    <a:pt x="6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78" name="Freeform 379"/>
            <p:cNvSpPr>
              <a:spLocks/>
            </p:cNvSpPr>
            <p:nvPr/>
          </p:nvSpPr>
          <p:spPr bwMode="auto">
            <a:xfrm>
              <a:off x="3878263" y="1804988"/>
              <a:ext cx="22225" cy="14287"/>
            </a:xfrm>
            <a:custGeom>
              <a:avLst/>
              <a:gdLst>
                <a:gd name="T0" fmla="*/ 2147483647 w 14"/>
                <a:gd name="T1" fmla="*/ 2147483647 h 9"/>
                <a:gd name="T2" fmla="*/ 2147483647 w 14"/>
                <a:gd name="T3" fmla="*/ 0 h 9"/>
                <a:gd name="T4" fmla="*/ 2147483647 w 14"/>
                <a:gd name="T5" fmla="*/ 2147483647 h 9"/>
                <a:gd name="T6" fmla="*/ 2147483647 w 14"/>
                <a:gd name="T7" fmla="*/ 0 h 9"/>
                <a:gd name="T8" fmla="*/ 0 w 14"/>
                <a:gd name="T9" fmla="*/ 2147483647 h 9"/>
                <a:gd name="T10" fmla="*/ 2147483647 w 14"/>
                <a:gd name="T11" fmla="*/ 2147483647 h 9"/>
                <a:gd name="T12" fmla="*/ 2147483647 w 14"/>
                <a:gd name="T13" fmla="*/ 2147483647 h 9"/>
                <a:gd name="T14" fmla="*/ 2147483647 w 14"/>
                <a:gd name="T15" fmla="*/ 2147483647 h 9"/>
                <a:gd name="T16" fmla="*/ 2147483647 w 14"/>
                <a:gd name="T17" fmla="*/ 2147483647 h 9"/>
                <a:gd name="T18" fmla="*/ 2147483647 w 14"/>
                <a:gd name="T19" fmla="*/ 2147483647 h 9"/>
                <a:gd name="T20" fmla="*/ 2147483647 w 14"/>
                <a:gd name="T21" fmla="*/ 2147483647 h 9"/>
                <a:gd name="T22" fmla="*/ 2147483647 w 14"/>
                <a:gd name="T23" fmla="*/ 2147483647 h 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4"/>
                <a:gd name="T37" fmla="*/ 0 h 9"/>
                <a:gd name="T38" fmla="*/ 14 w 14"/>
                <a:gd name="T39" fmla="*/ 9 h 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4" h="9">
                  <a:moveTo>
                    <a:pt x="6" y="3"/>
                  </a:moveTo>
                  <a:lnTo>
                    <a:pt x="3" y="0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6"/>
                  </a:lnTo>
                  <a:lnTo>
                    <a:pt x="6" y="3"/>
                  </a:lnTo>
                  <a:lnTo>
                    <a:pt x="9" y="6"/>
                  </a:lnTo>
                  <a:lnTo>
                    <a:pt x="12" y="9"/>
                  </a:lnTo>
                  <a:lnTo>
                    <a:pt x="14" y="6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79" name="Freeform 380"/>
            <p:cNvSpPr>
              <a:spLocks noEditPoints="1"/>
            </p:cNvSpPr>
            <p:nvPr/>
          </p:nvSpPr>
          <p:spPr bwMode="auto">
            <a:xfrm>
              <a:off x="3052763" y="1593850"/>
              <a:ext cx="1104900" cy="581025"/>
            </a:xfrm>
            <a:custGeom>
              <a:avLst/>
              <a:gdLst>
                <a:gd name="T0" fmla="*/ 2147483647 w 689"/>
                <a:gd name="T1" fmla="*/ 2147483647 h 362"/>
                <a:gd name="T2" fmla="*/ 2147483647 w 689"/>
                <a:gd name="T3" fmla="*/ 2147483647 h 362"/>
                <a:gd name="T4" fmla="*/ 2147483647 w 689"/>
                <a:gd name="T5" fmla="*/ 2147483647 h 362"/>
                <a:gd name="T6" fmla="*/ 2147483647 w 689"/>
                <a:gd name="T7" fmla="*/ 2147483647 h 362"/>
                <a:gd name="T8" fmla="*/ 2147483647 w 689"/>
                <a:gd name="T9" fmla="*/ 2147483647 h 362"/>
                <a:gd name="T10" fmla="*/ 2147483647 w 689"/>
                <a:gd name="T11" fmla="*/ 2147483647 h 362"/>
                <a:gd name="T12" fmla="*/ 2147483647 w 689"/>
                <a:gd name="T13" fmla="*/ 2147483647 h 362"/>
                <a:gd name="T14" fmla="*/ 2147483647 w 689"/>
                <a:gd name="T15" fmla="*/ 2147483647 h 362"/>
                <a:gd name="T16" fmla="*/ 2147483647 w 689"/>
                <a:gd name="T17" fmla="*/ 2147483647 h 362"/>
                <a:gd name="T18" fmla="*/ 2147483647 w 689"/>
                <a:gd name="T19" fmla="*/ 2147483647 h 362"/>
                <a:gd name="T20" fmla="*/ 2147483647 w 689"/>
                <a:gd name="T21" fmla="*/ 2147483647 h 362"/>
                <a:gd name="T22" fmla="*/ 2147483647 w 689"/>
                <a:gd name="T23" fmla="*/ 2147483647 h 362"/>
                <a:gd name="T24" fmla="*/ 2147483647 w 689"/>
                <a:gd name="T25" fmla="*/ 2147483647 h 362"/>
                <a:gd name="T26" fmla="*/ 2147483647 w 689"/>
                <a:gd name="T27" fmla="*/ 2147483647 h 362"/>
                <a:gd name="T28" fmla="*/ 2147483647 w 689"/>
                <a:gd name="T29" fmla="*/ 2147483647 h 362"/>
                <a:gd name="T30" fmla="*/ 2147483647 w 689"/>
                <a:gd name="T31" fmla="*/ 2147483647 h 362"/>
                <a:gd name="T32" fmla="*/ 2147483647 w 689"/>
                <a:gd name="T33" fmla="*/ 2147483647 h 362"/>
                <a:gd name="T34" fmla="*/ 2147483647 w 689"/>
                <a:gd name="T35" fmla="*/ 2147483647 h 362"/>
                <a:gd name="T36" fmla="*/ 2147483647 w 689"/>
                <a:gd name="T37" fmla="*/ 2147483647 h 362"/>
                <a:gd name="T38" fmla="*/ 2147483647 w 689"/>
                <a:gd name="T39" fmla="*/ 2147483647 h 362"/>
                <a:gd name="T40" fmla="*/ 2147483647 w 689"/>
                <a:gd name="T41" fmla="*/ 2147483647 h 362"/>
                <a:gd name="T42" fmla="*/ 2147483647 w 689"/>
                <a:gd name="T43" fmla="*/ 2147483647 h 362"/>
                <a:gd name="T44" fmla="*/ 2147483647 w 689"/>
                <a:gd name="T45" fmla="*/ 2147483647 h 362"/>
                <a:gd name="T46" fmla="*/ 2147483647 w 689"/>
                <a:gd name="T47" fmla="*/ 2147483647 h 362"/>
                <a:gd name="T48" fmla="*/ 2147483647 w 689"/>
                <a:gd name="T49" fmla="*/ 2147483647 h 362"/>
                <a:gd name="T50" fmla="*/ 2147483647 w 689"/>
                <a:gd name="T51" fmla="*/ 2147483647 h 362"/>
                <a:gd name="T52" fmla="*/ 2147483647 w 689"/>
                <a:gd name="T53" fmla="*/ 2147483647 h 362"/>
                <a:gd name="T54" fmla="*/ 2147483647 w 689"/>
                <a:gd name="T55" fmla="*/ 2147483647 h 362"/>
                <a:gd name="T56" fmla="*/ 2147483647 w 689"/>
                <a:gd name="T57" fmla="*/ 2147483647 h 362"/>
                <a:gd name="T58" fmla="*/ 2147483647 w 689"/>
                <a:gd name="T59" fmla="*/ 2147483647 h 362"/>
                <a:gd name="T60" fmla="*/ 2147483647 w 689"/>
                <a:gd name="T61" fmla="*/ 2147483647 h 362"/>
                <a:gd name="T62" fmla="*/ 2147483647 w 689"/>
                <a:gd name="T63" fmla="*/ 2147483647 h 362"/>
                <a:gd name="T64" fmla="*/ 2147483647 w 689"/>
                <a:gd name="T65" fmla="*/ 2147483647 h 362"/>
                <a:gd name="T66" fmla="*/ 2147483647 w 689"/>
                <a:gd name="T67" fmla="*/ 2147483647 h 362"/>
                <a:gd name="T68" fmla="*/ 2147483647 w 689"/>
                <a:gd name="T69" fmla="*/ 2147483647 h 362"/>
                <a:gd name="T70" fmla="*/ 2147483647 w 689"/>
                <a:gd name="T71" fmla="*/ 2147483647 h 362"/>
                <a:gd name="T72" fmla="*/ 2147483647 w 689"/>
                <a:gd name="T73" fmla="*/ 2147483647 h 362"/>
                <a:gd name="T74" fmla="*/ 2147483647 w 689"/>
                <a:gd name="T75" fmla="*/ 2147483647 h 362"/>
                <a:gd name="T76" fmla="*/ 2147483647 w 689"/>
                <a:gd name="T77" fmla="*/ 2147483647 h 362"/>
                <a:gd name="T78" fmla="*/ 2147483647 w 689"/>
                <a:gd name="T79" fmla="*/ 2147483647 h 362"/>
                <a:gd name="T80" fmla="*/ 2147483647 w 689"/>
                <a:gd name="T81" fmla="*/ 2147483647 h 362"/>
                <a:gd name="T82" fmla="*/ 2147483647 w 689"/>
                <a:gd name="T83" fmla="*/ 2147483647 h 362"/>
                <a:gd name="T84" fmla="*/ 2147483647 w 689"/>
                <a:gd name="T85" fmla="*/ 2147483647 h 362"/>
                <a:gd name="T86" fmla="*/ 2147483647 w 689"/>
                <a:gd name="T87" fmla="*/ 2147483647 h 362"/>
                <a:gd name="T88" fmla="*/ 2147483647 w 689"/>
                <a:gd name="T89" fmla="*/ 2147483647 h 362"/>
                <a:gd name="T90" fmla="*/ 2147483647 w 689"/>
                <a:gd name="T91" fmla="*/ 2147483647 h 362"/>
                <a:gd name="T92" fmla="*/ 2147483647 w 689"/>
                <a:gd name="T93" fmla="*/ 2147483647 h 362"/>
                <a:gd name="T94" fmla="*/ 2147483647 w 689"/>
                <a:gd name="T95" fmla="*/ 2147483647 h 362"/>
                <a:gd name="T96" fmla="*/ 2147483647 w 689"/>
                <a:gd name="T97" fmla="*/ 2147483647 h 362"/>
                <a:gd name="T98" fmla="*/ 2147483647 w 689"/>
                <a:gd name="T99" fmla="*/ 2147483647 h 362"/>
                <a:gd name="T100" fmla="*/ 2147483647 w 689"/>
                <a:gd name="T101" fmla="*/ 2147483647 h 362"/>
                <a:gd name="T102" fmla="*/ 2147483647 w 689"/>
                <a:gd name="T103" fmla="*/ 2147483647 h 362"/>
                <a:gd name="T104" fmla="*/ 2147483647 w 689"/>
                <a:gd name="T105" fmla="*/ 2147483647 h 362"/>
                <a:gd name="T106" fmla="*/ 2147483647 w 689"/>
                <a:gd name="T107" fmla="*/ 2147483647 h 362"/>
                <a:gd name="T108" fmla="*/ 2147483647 w 689"/>
                <a:gd name="T109" fmla="*/ 2147483647 h 362"/>
                <a:gd name="T110" fmla="*/ 2147483647 w 689"/>
                <a:gd name="T111" fmla="*/ 2147483647 h 362"/>
                <a:gd name="T112" fmla="*/ 2147483647 w 689"/>
                <a:gd name="T113" fmla="*/ 2147483647 h 362"/>
                <a:gd name="T114" fmla="*/ 2147483647 w 689"/>
                <a:gd name="T115" fmla="*/ 2147483647 h 362"/>
                <a:gd name="T116" fmla="*/ 2147483647 w 689"/>
                <a:gd name="T117" fmla="*/ 2147483647 h 36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89"/>
                <a:gd name="T178" fmla="*/ 0 h 362"/>
                <a:gd name="T179" fmla="*/ 689 w 689"/>
                <a:gd name="T180" fmla="*/ 362 h 36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89" h="362">
                  <a:moveTo>
                    <a:pt x="488" y="207"/>
                  </a:moveTo>
                  <a:lnTo>
                    <a:pt x="488" y="207"/>
                  </a:lnTo>
                  <a:lnTo>
                    <a:pt x="520" y="189"/>
                  </a:lnTo>
                  <a:lnTo>
                    <a:pt x="503" y="189"/>
                  </a:lnTo>
                  <a:lnTo>
                    <a:pt x="480" y="189"/>
                  </a:lnTo>
                  <a:lnTo>
                    <a:pt x="468" y="189"/>
                  </a:lnTo>
                  <a:lnTo>
                    <a:pt x="462" y="192"/>
                  </a:lnTo>
                  <a:lnTo>
                    <a:pt x="460" y="192"/>
                  </a:lnTo>
                  <a:lnTo>
                    <a:pt x="457" y="189"/>
                  </a:lnTo>
                  <a:lnTo>
                    <a:pt x="465" y="187"/>
                  </a:lnTo>
                  <a:lnTo>
                    <a:pt x="474" y="187"/>
                  </a:lnTo>
                  <a:lnTo>
                    <a:pt x="480" y="184"/>
                  </a:lnTo>
                  <a:lnTo>
                    <a:pt x="485" y="181"/>
                  </a:lnTo>
                  <a:lnTo>
                    <a:pt x="482" y="178"/>
                  </a:lnTo>
                  <a:lnTo>
                    <a:pt x="471" y="175"/>
                  </a:lnTo>
                  <a:lnTo>
                    <a:pt x="474" y="175"/>
                  </a:lnTo>
                  <a:lnTo>
                    <a:pt x="480" y="172"/>
                  </a:lnTo>
                  <a:lnTo>
                    <a:pt x="485" y="169"/>
                  </a:lnTo>
                  <a:lnTo>
                    <a:pt x="494" y="169"/>
                  </a:lnTo>
                  <a:lnTo>
                    <a:pt x="497" y="172"/>
                  </a:lnTo>
                  <a:lnTo>
                    <a:pt x="500" y="175"/>
                  </a:lnTo>
                  <a:lnTo>
                    <a:pt x="500" y="181"/>
                  </a:lnTo>
                  <a:lnTo>
                    <a:pt x="500" y="184"/>
                  </a:lnTo>
                  <a:lnTo>
                    <a:pt x="503" y="184"/>
                  </a:lnTo>
                  <a:lnTo>
                    <a:pt x="511" y="187"/>
                  </a:lnTo>
                  <a:lnTo>
                    <a:pt x="514" y="187"/>
                  </a:lnTo>
                  <a:lnTo>
                    <a:pt x="514" y="184"/>
                  </a:lnTo>
                  <a:lnTo>
                    <a:pt x="514" y="178"/>
                  </a:lnTo>
                  <a:lnTo>
                    <a:pt x="514" y="175"/>
                  </a:lnTo>
                  <a:lnTo>
                    <a:pt x="517" y="175"/>
                  </a:lnTo>
                  <a:lnTo>
                    <a:pt x="517" y="181"/>
                  </a:lnTo>
                  <a:lnTo>
                    <a:pt x="517" y="184"/>
                  </a:lnTo>
                  <a:lnTo>
                    <a:pt x="520" y="187"/>
                  </a:lnTo>
                  <a:lnTo>
                    <a:pt x="523" y="187"/>
                  </a:lnTo>
                  <a:lnTo>
                    <a:pt x="528" y="184"/>
                  </a:lnTo>
                  <a:lnTo>
                    <a:pt x="531" y="181"/>
                  </a:lnTo>
                  <a:lnTo>
                    <a:pt x="528" y="178"/>
                  </a:lnTo>
                  <a:lnTo>
                    <a:pt x="528" y="172"/>
                  </a:lnTo>
                  <a:lnTo>
                    <a:pt x="528" y="167"/>
                  </a:lnTo>
                  <a:lnTo>
                    <a:pt x="517" y="161"/>
                  </a:lnTo>
                  <a:lnTo>
                    <a:pt x="508" y="158"/>
                  </a:lnTo>
                  <a:lnTo>
                    <a:pt x="503" y="155"/>
                  </a:lnTo>
                  <a:lnTo>
                    <a:pt x="503" y="152"/>
                  </a:lnTo>
                  <a:lnTo>
                    <a:pt x="503" y="149"/>
                  </a:lnTo>
                  <a:lnTo>
                    <a:pt x="500" y="146"/>
                  </a:lnTo>
                  <a:lnTo>
                    <a:pt x="497" y="144"/>
                  </a:lnTo>
                  <a:lnTo>
                    <a:pt x="494" y="141"/>
                  </a:lnTo>
                  <a:lnTo>
                    <a:pt x="494" y="138"/>
                  </a:lnTo>
                  <a:lnTo>
                    <a:pt x="500" y="135"/>
                  </a:lnTo>
                  <a:lnTo>
                    <a:pt x="503" y="135"/>
                  </a:lnTo>
                  <a:lnTo>
                    <a:pt x="508" y="135"/>
                  </a:lnTo>
                  <a:lnTo>
                    <a:pt x="511" y="132"/>
                  </a:lnTo>
                  <a:lnTo>
                    <a:pt x="514" y="129"/>
                  </a:lnTo>
                  <a:lnTo>
                    <a:pt x="517" y="132"/>
                  </a:lnTo>
                  <a:lnTo>
                    <a:pt x="523" y="135"/>
                  </a:lnTo>
                  <a:lnTo>
                    <a:pt x="528" y="135"/>
                  </a:lnTo>
                  <a:lnTo>
                    <a:pt x="540" y="138"/>
                  </a:lnTo>
                  <a:lnTo>
                    <a:pt x="537" y="141"/>
                  </a:lnTo>
                  <a:lnTo>
                    <a:pt x="540" y="141"/>
                  </a:lnTo>
                  <a:lnTo>
                    <a:pt x="540" y="138"/>
                  </a:lnTo>
                  <a:lnTo>
                    <a:pt x="543" y="138"/>
                  </a:lnTo>
                  <a:lnTo>
                    <a:pt x="551" y="141"/>
                  </a:lnTo>
                  <a:lnTo>
                    <a:pt x="554" y="141"/>
                  </a:lnTo>
                  <a:lnTo>
                    <a:pt x="557" y="138"/>
                  </a:lnTo>
                  <a:lnTo>
                    <a:pt x="554" y="135"/>
                  </a:lnTo>
                  <a:lnTo>
                    <a:pt x="551" y="132"/>
                  </a:lnTo>
                  <a:lnTo>
                    <a:pt x="546" y="129"/>
                  </a:lnTo>
                  <a:lnTo>
                    <a:pt x="546" y="126"/>
                  </a:lnTo>
                  <a:lnTo>
                    <a:pt x="551" y="126"/>
                  </a:lnTo>
                  <a:lnTo>
                    <a:pt x="557" y="126"/>
                  </a:lnTo>
                  <a:lnTo>
                    <a:pt x="566" y="126"/>
                  </a:lnTo>
                  <a:lnTo>
                    <a:pt x="577" y="123"/>
                  </a:lnTo>
                  <a:lnTo>
                    <a:pt x="583" y="121"/>
                  </a:lnTo>
                  <a:lnTo>
                    <a:pt x="566" y="121"/>
                  </a:lnTo>
                  <a:lnTo>
                    <a:pt x="563" y="118"/>
                  </a:lnTo>
                  <a:lnTo>
                    <a:pt x="566" y="121"/>
                  </a:lnTo>
                  <a:lnTo>
                    <a:pt x="569" y="118"/>
                  </a:lnTo>
                  <a:lnTo>
                    <a:pt x="569" y="115"/>
                  </a:lnTo>
                  <a:lnTo>
                    <a:pt x="566" y="115"/>
                  </a:lnTo>
                  <a:lnTo>
                    <a:pt x="563" y="112"/>
                  </a:lnTo>
                  <a:lnTo>
                    <a:pt x="563" y="109"/>
                  </a:lnTo>
                  <a:lnTo>
                    <a:pt x="566" y="106"/>
                  </a:lnTo>
                  <a:lnTo>
                    <a:pt x="569" y="109"/>
                  </a:lnTo>
                  <a:lnTo>
                    <a:pt x="574" y="115"/>
                  </a:lnTo>
                  <a:lnTo>
                    <a:pt x="577" y="112"/>
                  </a:lnTo>
                  <a:lnTo>
                    <a:pt x="580" y="106"/>
                  </a:lnTo>
                  <a:lnTo>
                    <a:pt x="577" y="103"/>
                  </a:lnTo>
                  <a:lnTo>
                    <a:pt x="571" y="100"/>
                  </a:lnTo>
                  <a:lnTo>
                    <a:pt x="566" y="100"/>
                  </a:lnTo>
                  <a:lnTo>
                    <a:pt x="557" y="100"/>
                  </a:lnTo>
                  <a:lnTo>
                    <a:pt x="554" y="103"/>
                  </a:lnTo>
                  <a:lnTo>
                    <a:pt x="554" y="100"/>
                  </a:lnTo>
                  <a:lnTo>
                    <a:pt x="557" y="98"/>
                  </a:lnTo>
                  <a:lnTo>
                    <a:pt x="557" y="95"/>
                  </a:lnTo>
                  <a:lnTo>
                    <a:pt x="554" y="92"/>
                  </a:lnTo>
                  <a:lnTo>
                    <a:pt x="551" y="89"/>
                  </a:lnTo>
                  <a:lnTo>
                    <a:pt x="554" y="89"/>
                  </a:lnTo>
                  <a:lnTo>
                    <a:pt x="557" y="89"/>
                  </a:lnTo>
                  <a:lnTo>
                    <a:pt x="560" y="89"/>
                  </a:lnTo>
                  <a:lnTo>
                    <a:pt x="566" y="86"/>
                  </a:lnTo>
                  <a:lnTo>
                    <a:pt x="574" y="86"/>
                  </a:lnTo>
                  <a:lnTo>
                    <a:pt x="583" y="83"/>
                  </a:lnTo>
                  <a:lnTo>
                    <a:pt x="592" y="86"/>
                  </a:lnTo>
                  <a:lnTo>
                    <a:pt x="597" y="86"/>
                  </a:lnTo>
                  <a:lnTo>
                    <a:pt x="600" y="83"/>
                  </a:lnTo>
                  <a:lnTo>
                    <a:pt x="600" y="80"/>
                  </a:lnTo>
                  <a:lnTo>
                    <a:pt x="594" y="80"/>
                  </a:lnTo>
                  <a:lnTo>
                    <a:pt x="594" y="78"/>
                  </a:lnTo>
                  <a:lnTo>
                    <a:pt x="592" y="75"/>
                  </a:lnTo>
                  <a:lnTo>
                    <a:pt x="583" y="72"/>
                  </a:lnTo>
                  <a:lnTo>
                    <a:pt x="577" y="69"/>
                  </a:lnTo>
                  <a:lnTo>
                    <a:pt x="574" y="69"/>
                  </a:lnTo>
                  <a:lnTo>
                    <a:pt x="571" y="69"/>
                  </a:lnTo>
                  <a:lnTo>
                    <a:pt x="569" y="75"/>
                  </a:lnTo>
                  <a:lnTo>
                    <a:pt x="566" y="75"/>
                  </a:lnTo>
                  <a:lnTo>
                    <a:pt x="563" y="72"/>
                  </a:lnTo>
                  <a:lnTo>
                    <a:pt x="566" y="69"/>
                  </a:lnTo>
                  <a:lnTo>
                    <a:pt x="571" y="63"/>
                  </a:lnTo>
                  <a:lnTo>
                    <a:pt x="574" y="60"/>
                  </a:lnTo>
                  <a:lnTo>
                    <a:pt x="577" y="57"/>
                  </a:lnTo>
                  <a:lnTo>
                    <a:pt x="583" y="60"/>
                  </a:lnTo>
                  <a:lnTo>
                    <a:pt x="586" y="60"/>
                  </a:lnTo>
                  <a:lnTo>
                    <a:pt x="589" y="57"/>
                  </a:lnTo>
                  <a:lnTo>
                    <a:pt x="594" y="55"/>
                  </a:lnTo>
                  <a:lnTo>
                    <a:pt x="600" y="52"/>
                  </a:lnTo>
                  <a:lnTo>
                    <a:pt x="597" y="52"/>
                  </a:lnTo>
                  <a:lnTo>
                    <a:pt x="594" y="49"/>
                  </a:lnTo>
                  <a:lnTo>
                    <a:pt x="603" y="46"/>
                  </a:lnTo>
                  <a:lnTo>
                    <a:pt x="612" y="46"/>
                  </a:lnTo>
                  <a:lnTo>
                    <a:pt x="620" y="43"/>
                  </a:lnTo>
                  <a:lnTo>
                    <a:pt x="623" y="40"/>
                  </a:lnTo>
                  <a:lnTo>
                    <a:pt x="626" y="40"/>
                  </a:lnTo>
                  <a:lnTo>
                    <a:pt x="629" y="43"/>
                  </a:lnTo>
                  <a:lnTo>
                    <a:pt x="632" y="40"/>
                  </a:lnTo>
                  <a:lnTo>
                    <a:pt x="637" y="37"/>
                  </a:lnTo>
                  <a:lnTo>
                    <a:pt x="640" y="37"/>
                  </a:lnTo>
                  <a:lnTo>
                    <a:pt x="652" y="32"/>
                  </a:lnTo>
                  <a:lnTo>
                    <a:pt x="655" y="32"/>
                  </a:lnTo>
                  <a:lnTo>
                    <a:pt x="669" y="29"/>
                  </a:lnTo>
                  <a:lnTo>
                    <a:pt x="689" y="23"/>
                  </a:lnTo>
                  <a:lnTo>
                    <a:pt x="683" y="20"/>
                  </a:lnTo>
                  <a:lnTo>
                    <a:pt x="669" y="20"/>
                  </a:lnTo>
                  <a:lnTo>
                    <a:pt x="646" y="17"/>
                  </a:lnTo>
                  <a:lnTo>
                    <a:pt x="635" y="20"/>
                  </a:lnTo>
                  <a:lnTo>
                    <a:pt x="626" y="23"/>
                  </a:lnTo>
                  <a:lnTo>
                    <a:pt x="615" y="23"/>
                  </a:lnTo>
                  <a:lnTo>
                    <a:pt x="609" y="23"/>
                  </a:lnTo>
                  <a:lnTo>
                    <a:pt x="603" y="20"/>
                  </a:lnTo>
                  <a:lnTo>
                    <a:pt x="589" y="26"/>
                  </a:lnTo>
                  <a:lnTo>
                    <a:pt x="577" y="29"/>
                  </a:lnTo>
                  <a:lnTo>
                    <a:pt x="560" y="34"/>
                  </a:lnTo>
                  <a:lnTo>
                    <a:pt x="566" y="29"/>
                  </a:lnTo>
                  <a:lnTo>
                    <a:pt x="574" y="23"/>
                  </a:lnTo>
                  <a:lnTo>
                    <a:pt x="583" y="23"/>
                  </a:lnTo>
                  <a:lnTo>
                    <a:pt x="586" y="17"/>
                  </a:lnTo>
                  <a:lnTo>
                    <a:pt x="580" y="17"/>
                  </a:lnTo>
                  <a:lnTo>
                    <a:pt x="577" y="17"/>
                  </a:lnTo>
                  <a:lnTo>
                    <a:pt x="569" y="17"/>
                  </a:lnTo>
                  <a:lnTo>
                    <a:pt x="563" y="20"/>
                  </a:lnTo>
                  <a:lnTo>
                    <a:pt x="557" y="23"/>
                  </a:lnTo>
                  <a:lnTo>
                    <a:pt x="551" y="23"/>
                  </a:lnTo>
                  <a:lnTo>
                    <a:pt x="549" y="17"/>
                  </a:lnTo>
                  <a:lnTo>
                    <a:pt x="551" y="17"/>
                  </a:lnTo>
                  <a:lnTo>
                    <a:pt x="560" y="17"/>
                  </a:lnTo>
                  <a:lnTo>
                    <a:pt x="574" y="14"/>
                  </a:lnTo>
                  <a:lnTo>
                    <a:pt x="597" y="11"/>
                  </a:lnTo>
                  <a:lnTo>
                    <a:pt x="592" y="9"/>
                  </a:lnTo>
                  <a:lnTo>
                    <a:pt x="583" y="9"/>
                  </a:lnTo>
                  <a:lnTo>
                    <a:pt x="566" y="6"/>
                  </a:lnTo>
                  <a:lnTo>
                    <a:pt x="554" y="3"/>
                  </a:lnTo>
                  <a:lnTo>
                    <a:pt x="546" y="0"/>
                  </a:lnTo>
                  <a:lnTo>
                    <a:pt x="526" y="0"/>
                  </a:lnTo>
                  <a:lnTo>
                    <a:pt x="494" y="0"/>
                  </a:lnTo>
                  <a:lnTo>
                    <a:pt x="442" y="0"/>
                  </a:lnTo>
                  <a:lnTo>
                    <a:pt x="431" y="3"/>
                  </a:lnTo>
                  <a:lnTo>
                    <a:pt x="419" y="3"/>
                  </a:lnTo>
                  <a:lnTo>
                    <a:pt x="394" y="3"/>
                  </a:lnTo>
                  <a:lnTo>
                    <a:pt x="373" y="3"/>
                  </a:lnTo>
                  <a:lnTo>
                    <a:pt x="350" y="6"/>
                  </a:lnTo>
                  <a:lnTo>
                    <a:pt x="336" y="6"/>
                  </a:lnTo>
                  <a:lnTo>
                    <a:pt x="348" y="9"/>
                  </a:lnTo>
                  <a:lnTo>
                    <a:pt x="345" y="11"/>
                  </a:lnTo>
                  <a:lnTo>
                    <a:pt x="333" y="9"/>
                  </a:lnTo>
                  <a:lnTo>
                    <a:pt x="327" y="9"/>
                  </a:lnTo>
                  <a:lnTo>
                    <a:pt x="322" y="6"/>
                  </a:lnTo>
                  <a:lnTo>
                    <a:pt x="322" y="9"/>
                  </a:lnTo>
                  <a:lnTo>
                    <a:pt x="327" y="11"/>
                  </a:lnTo>
                  <a:lnTo>
                    <a:pt x="333" y="14"/>
                  </a:lnTo>
                  <a:lnTo>
                    <a:pt x="342" y="14"/>
                  </a:lnTo>
                  <a:lnTo>
                    <a:pt x="348" y="17"/>
                  </a:lnTo>
                  <a:lnTo>
                    <a:pt x="350" y="20"/>
                  </a:lnTo>
                  <a:lnTo>
                    <a:pt x="345" y="20"/>
                  </a:lnTo>
                  <a:lnTo>
                    <a:pt x="325" y="17"/>
                  </a:lnTo>
                  <a:lnTo>
                    <a:pt x="316" y="14"/>
                  </a:lnTo>
                  <a:lnTo>
                    <a:pt x="307" y="11"/>
                  </a:lnTo>
                  <a:lnTo>
                    <a:pt x="296" y="9"/>
                  </a:lnTo>
                  <a:lnTo>
                    <a:pt x="290" y="9"/>
                  </a:lnTo>
                  <a:lnTo>
                    <a:pt x="290" y="11"/>
                  </a:lnTo>
                  <a:lnTo>
                    <a:pt x="293" y="14"/>
                  </a:lnTo>
                  <a:lnTo>
                    <a:pt x="296" y="14"/>
                  </a:lnTo>
                  <a:lnTo>
                    <a:pt x="299" y="17"/>
                  </a:lnTo>
                  <a:lnTo>
                    <a:pt x="296" y="23"/>
                  </a:lnTo>
                  <a:lnTo>
                    <a:pt x="290" y="20"/>
                  </a:lnTo>
                  <a:lnTo>
                    <a:pt x="282" y="17"/>
                  </a:lnTo>
                  <a:lnTo>
                    <a:pt x="276" y="14"/>
                  </a:lnTo>
                  <a:lnTo>
                    <a:pt x="267" y="14"/>
                  </a:lnTo>
                  <a:lnTo>
                    <a:pt x="264" y="11"/>
                  </a:lnTo>
                  <a:lnTo>
                    <a:pt x="264" y="14"/>
                  </a:lnTo>
                  <a:lnTo>
                    <a:pt x="264" y="17"/>
                  </a:lnTo>
                  <a:lnTo>
                    <a:pt x="264" y="20"/>
                  </a:lnTo>
                  <a:lnTo>
                    <a:pt x="259" y="20"/>
                  </a:lnTo>
                  <a:lnTo>
                    <a:pt x="259" y="17"/>
                  </a:lnTo>
                  <a:lnTo>
                    <a:pt x="256" y="17"/>
                  </a:lnTo>
                  <a:lnTo>
                    <a:pt x="256" y="14"/>
                  </a:lnTo>
                  <a:lnTo>
                    <a:pt x="244" y="14"/>
                  </a:lnTo>
                  <a:lnTo>
                    <a:pt x="227" y="14"/>
                  </a:lnTo>
                  <a:lnTo>
                    <a:pt x="207" y="17"/>
                  </a:lnTo>
                  <a:lnTo>
                    <a:pt x="198" y="17"/>
                  </a:lnTo>
                  <a:lnTo>
                    <a:pt x="187" y="20"/>
                  </a:lnTo>
                  <a:lnTo>
                    <a:pt x="175" y="20"/>
                  </a:lnTo>
                  <a:lnTo>
                    <a:pt x="178" y="26"/>
                  </a:lnTo>
                  <a:lnTo>
                    <a:pt x="175" y="26"/>
                  </a:lnTo>
                  <a:lnTo>
                    <a:pt x="170" y="29"/>
                  </a:lnTo>
                  <a:lnTo>
                    <a:pt x="152" y="29"/>
                  </a:lnTo>
                  <a:lnTo>
                    <a:pt x="138" y="29"/>
                  </a:lnTo>
                  <a:lnTo>
                    <a:pt x="112" y="34"/>
                  </a:lnTo>
                  <a:lnTo>
                    <a:pt x="101" y="37"/>
                  </a:lnTo>
                  <a:lnTo>
                    <a:pt x="92" y="40"/>
                  </a:lnTo>
                  <a:lnTo>
                    <a:pt x="98" y="43"/>
                  </a:lnTo>
                  <a:lnTo>
                    <a:pt x="106" y="43"/>
                  </a:lnTo>
                  <a:lnTo>
                    <a:pt x="115" y="43"/>
                  </a:lnTo>
                  <a:lnTo>
                    <a:pt x="106" y="55"/>
                  </a:lnTo>
                  <a:lnTo>
                    <a:pt x="72" y="55"/>
                  </a:lnTo>
                  <a:lnTo>
                    <a:pt x="63" y="57"/>
                  </a:lnTo>
                  <a:lnTo>
                    <a:pt x="52" y="60"/>
                  </a:lnTo>
                  <a:lnTo>
                    <a:pt x="38" y="60"/>
                  </a:lnTo>
                  <a:lnTo>
                    <a:pt x="26" y="63"/>
                  </a:lnTo>
                  <a:lnTo>
                    <a:pt x="12" y="66"/>
                  </a:lnTo>
                  <a:lnTo>
                    <a:pt x="3" y="66"/>
                  </a:lnTo>
                  <a:lnTo>
                    <a:pt x="3" y="69"/>
                  </a:lnTo>
                  <a:lnTo>
                    <a:pt x="9" y="72"/>
                  </a:lnTo>
                  <a:lnTo>
                    <a:pt x="15" y="72"/>
                  </a:lnTo>
                  <a:lnTo>
                    <a:pt x="26" y="72"/>
                  </a:lnTo>
                  <a:lnTo>
                    <a:pt x="35" y="69"/>
                  </a:lnTo>
                  <a:lnTo>
                    <a:pt x="29" y="72"/>
                  </a:lnTo>
                  <a:lnTo>
                    <a:pt x="29" y="75"/>
                  </a:lnTo>
                  <a:lnTo>
                    <a:pt x="32" y="78"/>
                  </a:lnTo>
                  <a:lnTo>
                    <a:pt x="35" y="78"/>
                  </a:lnTo>
                  <a:lnTo>
                    <a:pt x="38" y="75"/>
                  </a:lnTo>
                  <a:lnTo>
                    <a:pt x="43" y="72"/>
                  </a:lnTo>
                  <a:lnTo>
                    <a:pt x="46" y="69"/>
                  </a:lnTo>
                  <a:lnTo>
                    <a:pt x="43" y="75"/>
                  </a:lnTo>
                  <a:lnTo>
                    <a:pt x="49" y="78"/>
                  </a:lnTo>
                  <a:lnTo>
                    <a:pt x="52" y="75"/>
                  </a:lnTo>
                  <a:lnTo>
                    <a:pt x="55" y="75"/>
                  </a:lnTo>
                  <a:lnTo>
                    <a:pt x="55" y="72"/>
                  </a:lnTo>
                  <a:lnTo>
                    <a:pt x="61" y="69"/>
                  </a:lnTo>
                  <a:lnTo>
                    <a:pt x="72" y="72"/>
                  </a:lnTo>
                  <a:lnTo>
                    <a:pt x="75" y="72"/>
                  </a:lnTo>
                  <a:lnTo>
                    <a:pt x="63" y="80"/>
                  </a:lnTo>
                  <a:lnTo>
                    <a:pt x="55" y="83"/>
                  </a:lnTo>
                  <a:lnTo>
                    <a:pt x="49" y="86"/>
                  </a:lnTo>
                  <a:lnTo>
                    <a:pt x="35" y="83"/>
                  </a:lnTo>
                  <a:lnTo>
                    <a:pt x="23" y="83"/>
                  </a:lnTo>
                  <a:lnTo>
                    <a:pt x="15" y="80"/>
                  </a:lnTo>
                  <a:lnTo>
                    <a:pt x="17" y="78"/>
                  </a:lnTo>
                  <a:lnTo>
                    <a:pt x="9" y="78"/>
                  </a:lnTo>
                  <a:lnTo>
                    <a:pt x="6" y="80"/>
                  </a:lnTo>
                  <a:lnTo>
                    <a:pt x="0" y="83"/>
                  </a:lnTo>
                  <a:lnTo>
                    <a:pt x="3" y="86"/>
                  </a:lnTo>
                  <a:lnTo>
                    <a:pt x="9" y="86"/>
                  </a:lnTo>
                  <a:lnTo>
                    <a:pt x="12" y="86"/>
                  </a:lnTo>
                  <a:lnTo>
                    <a:pt x="12" y="92"/>
                  </a:lnTo>
                  <a:lnTo>
                    <a:pt x="15" y="95"/>
                  </a:lnTo>
                  <a:lnTo>
                    <a:pt x="17" y="95"/>
                  </a:lnTo>
                  <a:lnTo>
                    <a:pt x="20" y="89"/>
                  </a:lnTo>
                  <a:lnTo>
                    <a:pt x="26" y="86"/>
                  </a:lnTo>
                  <a:lnTo>
                    <a:pt x="32" y="86"/>
                  </a:lnTo>
                  <a:lnTo>
                    <a:pt x="29" y="92"/>
                  </a:lnTo>
                  <a:lnTo>
                    <a:pt x="20" y="95"/>
                  </a:lnTo>
                  <a:lnTo>
                    <a:pt x="23" y="98"/>
                  </a:lnTo>
                  <a:lnTo>
                    <a:pt x="26" y="98"/>
                  </a:lnTo>
                  <a:lnTo>
                    <a:pt x="32" y="95"/>
                  </a:lnTo>
                  <a:lnTo>
                    <a:pt x="40" y="95"/>
                  </a:lnTo>
                  <a:lnTo>
                    <a:pt x="46" y="95"/>
                  </a:lnTo>
                  <a:lnTo>
                    <a:pt x="52" y="95"/>
                  </a:lnTo>
                  <a:lnTo>
                    <a:pt x="55" y="98"/>
                  </a:lnTo>
                  <a:lnTo>
                    <a:pt x="58" y="100"/>
                  </a:lnTo>
                  <a:lnTo>
                    <a:pt x="66" y="95"/>
                  </a:lnTo>
                  <a:lnTo>
                    <a:pt x="69" y="92"/>
                  </a:lnTo>
                  <a:lnTo>
                    <a:pt x="72" y="98"/>
                  </a:lnTo>
                  <a:lnTo>
                    <a:pt x="81" y="95"/>
                  </a:lnTo>
                  <a:lnTo>
                    <a:pt x="86" y="95"/>
                  </a:lnTo>
                  <a:lnTo>
                    <a:pt x="89" y="100"/>
                  </a:lnTo>
                  <a:lnTo>
                    <a:pt x="98" y="95"/>
                  </a:lnTo>
                  <a:lnTo>
                    <a:pt x="101" y="98"/>
                  </a:lnTo>
                  <a:lnTo>
                    <a:pt x="106" y="98"/>
                  </a:lnTo>
                  <a:lnTo>
                    <a:pt x="109" y="98"/>
                  </a:lnTo>
                  <a:lnTo>
                    <a:pt x="112" y="100"/>
                  </a:lnTo>
                  <a:lnTo>
                    <a:pt x="115" y="100"/>
                  </a:lnTo>
                  <a:lnTo>
                    <a:pt x="121" y="103"/>
                  </a:lnTo>
                  <a:lnTo>
                    <a:pt x="127" y="103"/>
                  </a:lnTo>
                  <a:lnTo>
                    <a:pt x="129" y="106"/>
                  </a:lnTo>
                  <a:lnTo>
                    <a:pt x="127" y="109"/>
                  </a:lnTo>
                  <a:lnTo>
                    <a:pt x="127" y="112"/>
                  </a:lnTo>
                  <a:lnTo>
                    <a:pt x="132" y="115"/>
                  </a:lnTo>
                  <a:lnTo>
                    <a:pt x="138" y="118"/>
                  </a:lnTo>
                  <a:lnTo>
                    <a:pt x="135" y="121"/>
                  </a:lnTo>
                  <a:lnTo>
                    <a:pt x="129" y="121"/>
                  </a:lnTo>
                  <a:lnTo>
                    <a:pt x="127" y="123"/>
                  </a:lnTo>
                  <a:lnTo>
                    <a:pt x="135" y="123"/>
                  </a:lnTo>
                  <a:lnTo>
                    <a:pt x="129" y="126"/>
                  </a:lnTo>
                  <a:lnTo>
                    <a:pt x="127" y="129"/>
                  </a:lnTo>
                  <a:lnTo>
                    <a:pt x="135" y="129"/>
                  </a:lnTo>
                  <a:lnTo>
                    <a:pt x="127" y="135"/>
                  </a:lnTo>
                  <a:lnTo>
                    <a:pt x="135" y="135"/>
                  </a:lnTo>
                  <a:lnTo>
                    <a:pt x="135" y="138"/>
                  </a:lnTo>
                  <a:lnTo>
                    <a:pt x="129" y="146"/>
                  </a:lnTo>
                  <a:lnTo>
                    <a:pt x="135" y="144"/>
                  </a:lnTo>
                  <a:lnTo>
                    <a:pt x="138" y="141"/>
                  </a:lnTo>
                  <a:lnTo>
                    <a:pt x="129" y="149"/>
                  </a:lnTo>
                  <a:lnTo>
                    <a:pt x="124" y="152"/>
                  </a:lnTo>
                  <a:lnTo>
                    <a:pt x="129" y="155"/>
                  </a:lnTo>
                  <a:lnTo>
                    <a:pt x="124" y="164"/>
                  </a:lnTo>
                  <a:lnTo>
                    <a:pt x="121" y="169"/>
                  </a:lnTo>
                  <a:lnTo>
                    <a:pt x="129" y="172"/>
                  </a:lnTo>
                  <a:lnTo>
                    <a:pt x="138" y="169"/>
                  </a:lnTo>
                  <a:lnTo>
                    <a:pt x="144" y="167"/>
                  </a:lnTo>
                  <a:lnTo>
                    <a:pt x="150" y="169"/>
                  </a:lnTo>
                  <a:lnTo>
                    <a:pt x="144" y="172"/>
                  </a:lnTo>
                  <a:lnTo>
                    <a:pt x="144" y="175"/>
                  </a:lnTo>
                  <a:lnTo>
                    <a:pt x="147" y="175"/>
                  </a:lnTo>
                  <a:lnTo>
                    <a:pt x="155" y="175"/>
                  </a:lnTo>
                  <a:lnTo>
                    <a:pt x="161" y="178"/>
                  </a:lnTo>
                  <a:lnTo>
                    <a:pt x="158" y="184"/>
                  </a:lnTo>
                  <a:lnTo>
                    <a:pt x="164" y="181"/>
                  </a:lnTo>
                  <a:lnTo>
                    <a:pt x="167" y="184"/>
                  </a:lnTo>
                  <a:lnTo>
                    <a:pt x="161" y="187"/>
                  </a:lnTo>
                  <a:lnTo>
                    <a:pt x="150" y="181"/>
                  </a:lnTo>
                  <a:lnTo>
                    <a:pt x="135" y="181"/>
                  </a:lnTo>
                  <a:lnTo>
                    <a:pt x="124" y="184"/>
                  </a:lnTo>
                  <a:lnTo>
                    <a:pt x="132" y="187"/>
                  </a:lnTo>
                  <a:lnTo>
                    <a:pt x="141" y="187"/>
                  </a:lnTo>
                  <a:lnTo>
                    <a:pt x="147" y="192"/>
                  </a:lnTo>
                  <a:lnTo>
                    <a:pt x="158" y="192"/>
                  </a:lnTo>
                  <a:lnTo>
                    <a:pt x="158" y="198"/>
                  </a:lnTo>
                  <a:lnTo>
                    <a:pt x="155" y="198"/>
                  </a:lnTo>
                  <a:lnTo>
                    <a:pt x="152" y="201"/>
                  </a:lnTo>
                  <a:lnTo>
                    <a:pt x="155" y="201"/>
                  </a:lnTo>
                  <a:lnTo>
                    <a:pt x="161" y="201"/>
                  </a:lnTo>
                  <a:lnTo>
                    <a:pt x="164" y="201"/>
                  </a:lnTo>
                  <a:lnTo>
                    <a:pt x="158" y="204"/>
                  </a:lnTo>
                  <a:lnTo>
                    <a:pt x="155" y="210"/>
                  </a:lnTo>
                  <a:lnTo>
                    <a:pt x="155" y="212"/>
                  </a:lnTo>
                  <a:lnTo>
                    <a:pt x="155" y="215"/>
                  </a:lnTo>
                  <a:lnTo>
                    <a:pt x="147" y="218"/>
                  </a:lnTo>
                  <a:lnTo>
                    <a:pt x="138" y="215"/>
                  </a:lnTo>
                  <a:lnTo>
                    <a:pt x="127" y="212"/>
                  </a:lnTo>
                  <a:lnTo>
                    <a:pt x="124" y="218"/>
                  </a:lnTo>
                  <a:lnTo>
                    <a:pt x="129" y="218"/>
                  </a:lnTo>
                  <a:lnTo>
                    <a:pt x="132" y="221"/>
                  </a:lnTo>
                  <a:lnTo>
                    <a:pt x="138" y="224"/>
                  </a:lnTo>
                  <a:lnTo>
                    <a:pt x="147" y="224"/>
                  </a:lnTo>
                  <a:lnTo>
                    <a:pt x="144" y="227"/>
                  </a:lnTo>
                  <a:lnTo>
                    <a:pt x="141" y="230"/>
                  </a:lnTo>
                  <a:lnTo>
                    <a:pt x="132" y="230"/>
                  </a:lnTo>
                  <a:lnTo>
                    <a:pt x="129" y="227"/>
                  </a:lnTo>
                  <a:lnTo>
                    <a:pt x="121" y="227"/>
                  </a:lnTo>
                  <a:lnTo>
                    <a:pt x="115" y="230"/>
                  </a:lnTo>
                  <a:lnTo>
                    <a:pt x="106" y="233"/>
                  </a:lnTo>
                  <a:lnTo>
                    <a:pt x="115" y="233"/>
                  </a:lnTo>
                  <a:lnTo>
                    <a:pt x="124" y="230"/>
                  </a:lnTo>
                  <a:lnTo>
                    <a:pt x="144" y="233"/>
                  </a:lnTo>
                  <a:lnTo>
                    <a:pt x="141" y="238"/>
                  </a:lnTo>
                  <a:lnTo>
                    <a:pt x="132" y="238"/>
                  </a:lnTo>
                  <a:lnTo>
                    <a:pt x="124" y="235"/>
                  </a:lnTo>
                  <a:lnTo>
                    <a:pt x="115" y="235"/>
                  </a:lnTo>
                  <a:lnTo>
                    <a:pt x="106" y="244"/>
                  </a:lnTo>
                  <a:lnTo>
                    <a:pt x="115" y="247"/>
                  </a:lnTo>
                  <a:lnTo>
                    <a:pt x="112" y="253"/>
                  </a:lnTo>
                  <a:lnTo>
                    <a:pt x="106" y="256"/>
                  </a:lnTo>
                  <a:lnTo>
                    <a:pt x="109" y="264"/>
                  </a:lnTo>
                  <a:lnTo>
                    <a:pt x="115" y="261"/>
                  </a:lnTo>
                  <a:lnTo>
                    <a:pt x="106" y="270"/>
                  </a:lnTo>
                  <a:lnTo>
                    <a:pt x="106" y="273"/>
                  </a:lnTo>
                  <a:lnTo>
                    <a:pt x="106" y="276"/>
                  </a:lnTo>
                  <a:lnTo>
                    <a:pt x="112" y="276"/>
                  </a:lnTo>
                  <a:lnTo>
                    <a:pt x="104" y="281"/>
                  </a:lnTo>
                  <a:lnTo>
                    <a:pt x="101" y="281"/>
                  </a:lnTo>
                  <a:lnTo>
                    <a:pt x="101" y="287"/>
                  </a:lnTo>
                  <a:lnTo>
                    <a:pt x="104" y="284"/>
                  </a:lnTo>
                  <a:lnTo>
                    <a:pt x="109" y="284"/>
                  </a:lnTo>
                  <a:lnTo>
                    <a:pt x="106" y="284"/>
                  </a:lnTo>
                  <a:lnTo>
                    <a:pt x="118" y="281"/>
                  </a:lnTo>
                  <a:lnTo>
                    <a:pt x="115" y="287"/>
                  </a:lnTo>
                  <a:lnTo>
                    <a:pt x="106" y="293"/>
                  </a:lnTo>
                  <a:lnTo>
                    <a:pt x="104" y="296"/>
                  </a:lnTo>
                  <a:lnTo>
                    <a:pt x="104" y="304"/>
                  </a:lnTo>
                  <a:lnTo>
                    <a:pt x="109" y="301"/>
                  </a:lnTo>
                  <a:lnTo>
                    <a:pt x="109" y="307"/>
                  </a:lnTo>
                  <a:lnTo>
                    <a:pt x="118" y="307"/>
                  </a:lnTo>
                  <a:lnTo>
                    <a:pt x="118" y="313"/>
                  </a:lnTo>
                  <a:lnTo>
                    <a:pt x="104" y="322"/>
                  </a:lnTo>
                  <a:lnTo>
                    <a:pt x="112" y="324"/>
                  </a:lnTo>
                  <a:lnTo>
                    <a:pt x="121" y="327"/>
                  </a:lnTo>
                  <a:lnTo>
                    <a:pt x="124" y="333"/>
                  </a:lnTo>
                  <a:lnTo>
                    <a:pt x="115" y="336"/>
                  </a:lnTo>
                  <a:lnTo>
                    <a:pt x="121" y="339"/>
                  </a:lnTo>
                  <a:lnTo>
                    <a:pt x="127" y="336"/>
                  </a:lnTo>
                  <a:lnTo>
                    <a:pt x="121" y="342"/>
                  </a:lnTo>
                  <a:lnTo>
                    <a:pt x="127" y="345"/>
                  </a:lnTo>
                  <a:lnTo>
                    <a:pt x="129" y="345"/>
                  </a:lnTo>
                  <a:lnTo>
                    <a:pt x="129" y="347"/>
                  </a:lnTo>
                  <a:lnTo>
                    <a:pt x="124" y="350"/>
                  </a:lnTo>
                  <a:lnTo>
                    <a:pt x="124" y="353"/>
                  </a:lnTo>
                  <a:lnTo>
                    <a:pt x="129" y="353"/>
                  </a:lnTo>
                  <a:lnTo>
                    <a:pt x="132" y="350"/>
                  </a:lnTo>
                  <a:lnTo>
                    <a:pt x="138" y="347"/>
                  </a:lnTo>
                  <a:lnTo>
                    <a:pt x="144" y="347"/>
                  </a:lnTo>
                  <a:lnTo>
                    <a:pt x="147" y="347"/>
                  </a:lnTo>
                  <a:lnTo>
                    <a:pt x="161" y="342"/>
                  </a:lnTo>
                  <a:lnTo>
                    <a:pt x="167" y="345"/>
                  </a:lnTo>
                  <a:lnTo>
                    <a:pt x="152" y="350"/>
                  </a:lnTo>
                  <a:lnTo>
                    <a:pt x="152" y="353"/>
                  </a:lnTo>
                  <a:lnTo>
                    <a:pt x="158" y="356"/>
                  </a:lnTo>
                  <a:lnTo>
                    <a:pt x="167" y="353"/>
                  </a:lnTo>
                  <a:lnTo>
                    <a:pt x="178" y="353"/>
                  </a:lnTo>
                  <a:lnTo>
                    <a:pt x="172" y="362"/>
                  </a:lnTo>
                  <a:lnTo>
                    <a:pt x="184" y="362"/>
                  </a:lnTo>
                  <a:lnTo>
                    <a:pt x="181" y="353"/>
                  </a:lnTo>
                  <a:lnTo>
                    <a:pt x="190" y="350"/>
                  </a:lnTo>
                  <a:lnTo>
                    <a:pt x="193" y="345"/>
                  </a:lnTo>
                  <a:lnTo>
                    <a:pt x="198" y="345"/>
                  </a:lnTo>
                  <a:lnTo>
                    <a:pt x="201" y="336"/>
                  </a:lnTo>
                  <a:lnTo>
                    <a:pt x="207" y="336"/>
                  </a:lnTo>
                  <a:lnTo>
                    <a:pt x="213" y="330"/>
                  </a:lnTo>
                  <a:lnTo>
                    <a:pt x="210" y="327"/>
                  </a:lnTo>
                  <a:lnTo>
                    <a:pt x="210" y="324"/>
                  </a:lnTo>
                  <a:lnTo>
                    <a:pt x="218" y="319"/>
                  </a:lnTo>
                  <a:lnTo>
                    <a:pt x="224" y="316"/>
                  </a:lnTo>
                  <a:lnTo>
                    <a:pt x="227" y="313"/>
                  </a:lnTo>
                  <a:lnTo>
                    <a:pt x="236" y="307"/>
                  </a:lnTo>
                  <a:lnTo>
                    <a:pt x="241" y="299"/>
                  </a:lnTo>
                  <a:lnTo>
                    <a:pt x="244" y="299"/>
                  </a:lnTo>
                  <a:lnTo>
                    <a:pt x="247" y="299"/>
                  </a:lnTo>
                  <a:lnTo>
                    <a:pt x="247" y="296"/>
                  </a:lnTo>
                  <a:lnTo>
                    <a:pt x="241" y="284"/>
                  </a:lnTo>
                  <a:lnTo>
                    <a:pt x="253" y="287"/>
                  </a:lnTo>
                  <a:lnTo>
                    <a:pt x="253" y="281"/>
                  </a:lnTo>
                  <a:lnTo>
                    <a:pt x="253" y="276"/>
                  </a:lnTo>
                  <a:lnTo>
                    <a:pt x="261" y="276"/>
                  </a:lnTo>
                  <a:lnTo>
                    <a:pt x="267" y="276"/>
                  </a:lnTo>
                  <a:lnTo>
                    <a:pt x="270" y="273"/>
                  </a:lnTo>
                  <a:lnTo>
                    <a:pt x="270" y="267"/>
                  </a:lnTo>
                  <a:lnTo>
                    <a:pt x="273" y="267"/>
                  </a:lnTo>
                  <a:lnTo>
                    <a:pt x="284" y="264"/>
                  </a:lnTo>
                  <a:lnTo>
                    <a:pt x="293" y="261"/>
                  </a:lnTo>
                  <a:lnTo>
                    <a:pt x="299" y="258"/>
                  </a:lnTo>
                  <a:lnTo>
                    <a:pt x="305" y="253"/>
                  </a:lnTo>
                  <a:lnTo>
                    <a:pt x="299" y="261"/>
                  </a:lnTo>
                  <a:lnTo>
                    <a:pt x="296" y="264"/>
                  </a:lnTo>
                  <a:lnTo>
                    <a:pt x="296" y="267"/>
                  </a:lnTo>
                  <a:lnTo>
                    <a:pt x="302" y="267"/>
                  </a:lnTo>
                  <a:lnTo>
                    <a:pt x="307" y="264"/>
                  </a:lnTo>
                  <a:lnTo>
                    <a:pt x="313" y="261"/>
                  </a:lnTo>
                  <a:lnTo>
                    <a:pt x="327" y="258"/>
                  </a:lnTo>
                  <a:lnTo>
                    <a:pt x="336" y="258"/>
                  </a:lnTo>
                  <a:lnTo>
                    <a:pt x="342" y="258"/>
                  </a:lnTo>
                  <a:lnTo>
                    <a:pt x="350" y="250"/>
                  </a:lnTo>
                  <a:lnTo>
                    <a:pt x="353" y="244"/>
                  </a:lnTo>
                  <a:lnTo>
                    <a:pt x="359" y="241"/>
                  </a:lnTo>
                  <a:lnTo>
                    <a:pt x="365" y="238"/>
                  </a:lnTo>
                  <a:lnTo>
                    <a:pt x="373" y="233"/>
                  </a:lnTo>
                  <a:lnTo>
                    <a:pt x="379" y="230"/>
                  </a:lnTo>
                  <a:lnTo>
                    <a:pt x="382" y="227"/>
                  </a:lnTo>
                  <a:lnTo>
                    <a:pt x="382" y="224"/>
                  </a:lnTo>
                  <a:lnTo>
                    <a:pt x="385" y="218"/>
                  </a:lnTo>
                  <a:lnTo>
                    <a:pt x="388" y="224"/>
                  </a:lnTo>
                  <a:lnTo>
                    <a:pt x="391" y="227"/>
                  </a:lnTo>
                  <a:lnTo>
                    <a:pt x="402" y="227"/>
                  </a:lnTo>
                  <a:lnTo>
                    <a:pt x="414" y="224"/>
                  </a:lnTo>
                  <a:lnTo>
                    <a:pt x="431" y="221"/>
                  </a:lnTo>
                  <a:lnTo>
                    <a:pt x="445" y="218"/>
                  </a:lnTo>
                  <a:lnTo>
                    <a:pt x="460" y="215"/>
                  </a:lnTo>
                  <a:lnTo>
                    <a:pt x="488" y="207"/>
                  </a:lnTo>
                  <a:close/>
                  <a:moveTo>
                    <a:pt x="577" y="78"/>
                  </a:moveTo>
                  <a:lnTo>
                    <a:pt x="577" y="78"/>
                  </a:lnTo>
                  <a:lnTo>
                    <a:pt x="580" y="75"/>
                  </a:lnTo>
                  <a:lnTo>
                    <a:pt x="583" y="75"/>
                  </a:lnTo>
                  <a:lnTo>
                    <a:pt x="592" y="80"/>
                  </a:lnTo>
                  <a:lnTo>
                    <a:pt x="580" y="80"/>
                  </a:lnTo>
                  <a:lnTo>
                    <a:pt x="577" y="80"/>
                  </a:lnTo>
                  <a:lnTo>
                    <a:pt x="577" y="7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80" name="Freeform 381"/>
            <p:cNvSpPr>
              <a:spLocks/>
            </p:cNvSpPr>
            <p:nvPr/>
          </p:nvSpPr>
          <p:spPr bwMode="auto">
            <a:xfrm>
              <a:off x="3219450" y="2085975"/>
              <a:ext cx="3175" cy="9525"/>
            </a:xfrm>
            <a:custGeom>
              <a:avLst/>
              <a:gdLst>
                <a:gd name="T0" fmla="*/ 2147483647 w 2"/>
                <a:gd name="T1" fmla="*/ 0 h 6"/>
                <a:gd name="T2" fmla="*/ 0 w 2"/>
                <a:gd name="T3" fmla="*/ 0 h 6"/>
                <a:gd name="T4" fmla="*/ 0 w 2"/>
                <a:gd name="T5" fmla="*/ 2147483647 h 6"/>
                <a:gd name="T6" fmla="*/ 2147483647 w 2"/>
                <a:gd name="T7" fmla="*/ 2147483647 h 6"/>
                <a:gd name="T8" fmla="*/ 2147483647 w 2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6"/>
                <a:gd name="T17" fmla="*/ 2 w 2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6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2" y="6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81" name="Freeform 382"/>
            <p:cNvSpPr>
              <a:spLocks/>
            </p:cNvSpPr>
            <p:nvPr/>
          </p:nvSpPr>
          <p:spPr bwMode="auto">
            <a:xfrm>
              <a:off x="3214688" y="1966913"/>
              <a:ext cx="7937" cy="17462"/>
            </a:xfrm>
            <a:custGeom>
              <a:avLst/>
              <a:gdLst>
                <a:gd name="T0" fmla="*/ 2147483647 w 5"/>
                <a:gd name="T1" fmla="*/ 0 h 11"/>
                <a:gd name="T2" fmla="*/ 0 w 5"/>
                <a:gd name="T3" fmla="*/ 2147483647 h 11"/>
                <a:gd name="T4" fmla="*/ 0 w 5"/>
                <a:gd name="T5" fmla="*/ 2147483647 h 11"/>
                <a:gd name="T6" fmla="*/ 2147483647 w 5"/>
                <a:gd name="T7" fmla="*/ 2147483647 h 11"/>
                <a:gd name="T8" fmla="*/ 2147483647 w 5"/>
                <a:gd name="T9" fmla="*/ 2147483647 h 11"/>
                <a:gd name="T10" fmla="*/ 2147483647 w 5"/>
                <a:gd name="T11" fmla="*/ 0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11"/>
                <a:gd name="T20" fmla="*/ 5 w 5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11">
                  <a:moveTo>
                    <a:pt x="5" y="0"/>
                  </a:moveTo>
                  <a:lnTo>
                    <a:pt x="0" y="8"/>
                  </a:lnTo>
                  <a:lnTo>
                    <a:pt x="0" y="11"/>
                  </a:lnTo>
                  <a:lnTo>
                    <a:pt x="5" y="11"/>
                  </a:lnTo>
                  <a:lnTo>
                    <a:pt x="5" y="5"/>
                  </a:ln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82" name="Freeform 383"/>
            <p:cNvSpPr>
              <a:spLocks/>
            </p:cNvSpPr>
            <p:nvPr/>
          </p:nvSpPr>
          <p:spPr bwMode="auto">
            <a:xfrm>
              <a:off x="3900488" y="1814513"/>
              <a:ext cx="14287" cy="4762"/>
            </a:xfrm>
            <a:custGeom>
              <a:avLst/>
              <a:gdLst>
                <a:gd name="T0" fmla="*/ 2147483647 w 9"/>
                <a:gd name="T1" fmla="*/ 2147483647 h 3"/>
                <a:gd name="T2" fmla="*/ 2147483647 w 9"/>
                <a:gd name="T3" fmla="*/ 2147483647 h 3"/>
                <a:gd name="T4" fmla="*/ 2147483647 w 9"/>
                <a:gd name="T5" fmla="*/ 2147483647 h 3"/>
                <a:gd name="T6" fmla="*/ 0 w 9"/>
                <a:gd name="T7" fmla="*/ 0 h 3"/>
                <a:gd name="T8" fmla="*/ 2147483647 w 9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3"/>
                <a:gd name="T17" fmla="*/ 9 w 9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3">
                  <a:moveTo>
                    <a:pt x="3" y="3"/>
                  </a:moveTo>
                  <a:lnTo>
                    <a:pt x="9" y="3"/>
                  </a:lnTo>
                  <a:lnTo>
                    <a:pt x="0" y="0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83" name="Freeform 384"/>
            <p:cNvSpPr>
              <a:spLocks/>
            </p:cNvSpPr>
            <p:nvPr/>
          </p:nvSpPr>
          <p:spPr bwMode="auto">
            <a:xfrm>
              <a:off x="4002088" y="1731963"/>
              <a:ext cx="1587" cy="4762"/>
            </a:xfrm>
            <a:custGeom>
              <a:avLst/>
              <a:gdLst>
                <a:gd name="T0" fmla="*/ 0 w 1"/>
                <a:gd name="T1" fmla="*/ 2147483647 h 3"/>
                <a:gd name="T2" fmla="*/ 0 w 1"/>
                <a:gd name="T3" fmla="*/ 0 h 3"/>
                <a:gd name="T4" fmla="*/ 0 w 1"/>
                <a:gd name="T5" fmla="*/ 2147483647 h 3"/>
                <a:gd name="T6" fmla="*/ 0 w 1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3"/>
                <a:gd name="T14" fmla="*/ 1 w 1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3">
                  <a:moveTo>
                    <a:pt x="0" y="3"/>
                  </a:move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84" name="Freeform 385"/>
            <p:cNvSpPr>
              <a:spLocks/>
            </p:cNvSpPr>
            <p:nvPr/>
          </p:nvSpPr>
          <p:spPr bwMode="auto">
            <a:xfrm>
              <a:off x="3992563" y="1736725"/>
              <a:ext cx="9525" cy="17463"/>
            </a:xfrm>
            <a:custGeom>
              <a:avLst/>
              <a:gdLst>
                <a:gd name="T0" fmla="*/ 2147483647 w 6"/>
                <a:gd name="T1" fmla="*/ 2147483647 h 11"/>
                <a:gd name="T2" fmla="*/ 2147483647 w 6"/>
                <a:gd name="T3" fmla="*/ 2147483647 h 11"/>
                <a:gd name="T4" fmla="*/ 2147483647 w 6"/>
                <a:gd name="T5" fmla="*/ 0 h 11"/>
                <a:gd name="T6" fmla="*/ 0 w 6"/>
                <a:gd name="T7" fmla="*/ 2147483647 h 11"/>
                <a:gd name="T8" fmla="*/ 2147483647 w 6"/>
                <a:gd name="T9" fmla="*/ 2147483647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11"/>
                <a:gd name="T17" fmla="*/ 6 w 6"/>
                <a:gd name="T18" fmla="*/ 11 h 1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11">
                  <a:moveTo>
                    <a:pt x="3" y="11"/>
                  </a:moveTo>
                  <a:lnTo>
                    <a:pt x="6" y="6"/>
                  </a:lnTo>
                  <a:lnTo>
                    <a:pt x="6" y="0"/>
                  </a:lnTo>
                  <a:lnTo>
                    <a:pt x="0" y="6"/>
                  </a:lnTo>
                  <a:lnTo>
                    <a:pt x="3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85" name="Freeform 386"/>
            <p:cNvSpPr>
              <a:spLocks/>
            </p:cNvSpPr>
            <p:nvPr/>
          </p:nvSpPr>
          <p:spPr bwMode="auto">
            <a:xfrm>
              <a:off x="3919538" y="1819275"/>
              <a:ext cx="9525" cy="7938"/>
            </a:xfrm>
            <a:custGeom>
              <a:avLst/>
              <a:gdLst>
                <a:gd name="T0" fmla="*/ 2147483647 w 6"/>
                <a:gd name="T1" fmla="*/ 2147483647 h 5"/>
                <a:gd name="T2" fmla="*/ 2147483647 w 6"/>
                <a:gd name="T3" fmla="*/ 2147483647 h 5"/>
                <a:gd name="T4" fmla="*/ 0 w 6"/>
                <a:gd name="T5" fmla="*/ 0 h 5"/>
                <a:gd name="T6" fmla="*/ 0 w 6"/>
                <a:gd name="T7" fmla="*/ 2147483647 h 5"/>
                <a:gd name="T8" fmla="*/ 2147483647 w 6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5"/>
                <a:gd name="T17" fmla="*/ 6 w 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5">
                  <a:moveTo>
                    <a:pt x="6" y="5"/>
                  </a:moveTo>
                  <a:lnTo>
                    <a:pt x="6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6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86" name="Freeform 387"/>
            <p:cNvSpPr>
              <a:spLocks/>
            </p:cNvSpPr>
            <p:nvPr/>
          </p:nvSpPr>
          <p:spPr bwMode="auto">
            <a:xfrm>
              <a:off x="3854450" y="1809750"/>
              <a:ext cx="38100" cy="14288"/>
            </a:xfrm>
            <a:custGeom>
              <a:avLst/>
              <a:gdLst>
                <a:gd name="T0" fmla="*/ 2147483647 w 23"/>
                <a:gd name="T1" fmla="*/ 2147483647 h 9"/>
                <a:gd name="T2" fmla="*/ 2147483647 w 23"/>
                <a:gd name="T3" fmla="*/ 2147483647 h 9"/>
                <a:gd name="T4" fmla="*/ 2147483647 w 23"/>
                <a:gd name="T5" fmla="*/ 2147483647 h 9"/>
                <a:gd name="T6" fmla="*/ 2147483647 w 23"/>
                <a:gd name="T7" fmla="*/ 2147483647 h 9"/>
                <a:gd name="T8" fmla="*/ 0 w 23"/>
                <a:gd name="T9" fmla="*/ 0 h 9"/>
                <a:gd name="T10" fmla="*/ 0 w 23"/>
                <a:gd name="T11" fmla="*/ 2147483647 h 9"/>
                <a:gd name="T12" fmla="*/ 2147483647 w 23"/>
                <a:gd name="T13" fmla="*/ 2147483647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3"/>
                <a:gd name="T22" fmla="*/ 0 h 9"/>
                <a:gd name="T23" fmla="*/ 23 w 23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3" h="9">
                  <a:moveTo>
                    <a:pt x="8" y="9"/>
                  </a:moveTo>
                  <a:lnTo>
                    <a:pt x="17" y="9"/>
                  </a:lnTo>
                  <a:lnTo>
                    <a:pt x="23" y="6"/>
                  </a:lnTo>
                  <a:lnTo>
                    <a:pt x="11" y="3"/>
                  </a:lnTo>
                  <a:lnTo>
                    <a:pt x="0" y="0"/>
                  </a:lnTo>
                  <a:lnTo>
                    <a:pt x="0" y="6"/>
                  </a:lnTo>
                  <a:lnTo>
                    <a:pt x="8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87" name="Freeform 388"/>
            <p:cNvSpPr>
              <a:spLocks/>
            </p:cNvSpPr>
            <p:nvPr/>
          </p:nvSpPr>
          <p:spPr bwMode="auto">
            <a:xfrm>
              <a:off x="3232150" y="1893888"/>
              <a:ext cx="61913" cy="31750"/>
            </a:xfrm>
            <a:custGeom>
              <a:avLst/>
              <a:gdLst>
                <a:gd name="T0" fmla="*/ 2147483647 w 38"/>
                <a:gd name="T1" fmla="*/ 2147483647 h 20"/>
                <a:gd name="T2" fmla="*/ 2147483647 w 38"/>
                <a:gd name="T3" fmla="*/ 2147483647 h 20"/>
                <a:gd name="T4" fmla="*/ 2147483647 w 38"/>
                <a:gd name="T5" fmla="*/ 2147483647 h 20"/>
                <a:gd name="T6" fmla="*/ 2147483647 w 38"/>
                <a:gd name="T7" fmla="*/ 2147483647 h 20"/>
                <a:gd name="T8" fmla="*/ 2147483647 w 38"/>
                <a:gd name="T9" fmla="*/ 2147483647 h 20"/>
                <a:gd name="T10" fmla="*/ 2147483647 w 38"/>
                <a:gd name="T11" fmla="*/ 2147483647 h 20"/>
                <a:gd name="T12" fmla="*/ 2147483647 w 38"/>
                <a:gd name="T13" fmla="*/ 2147483647 h 20"/>
                <a:gd name="T14" fmla="*/ 2147483647 w 38"/>
                <a:gd name="T15" fmla="*/ 2147483647 h 20"/>
                <a:gd name="T16" fmla="*/ 2147483647 w 38"/>
                <a:gd name="T17" fmla="*/ 2147483647 h 20"/>
                <a:gd name="T18" fmla="*/ 2147483647 w 38"/>
                <a:gd name="T19" fmla="*/ 2147483647 h 20"/>
                <a:gd name="T20" fmla="*/ 2147483647 w 38"/>
                <a:gd name="T21" fmla="*/ 2147483647 h 20"/>
                <a:gd name="T22" fmla="*/ 2147483647 w 38"/>
                <a:gd name="T23" fmla="*/ 2147483647 h 20"/>
                <a:gd name="T24" fmla="*/ 2147483647 w 38"/>
                <a:gd name="T25" fmla="*/ 2147483647 h 20"/>
                <a:gd name="T26" fmla="*/ 2147483647 w 38"/>
                <a:gd name="T27" fmla="*/ 2147483647 h 20"/>
                <a:gd name="T28" fmla="*/ 2147483647 w 38"/>
                <a:gd name="T29" fmla="*/ 0 h 20"/>
                <a:gd name="T30" fmla="*/ 2147483647 w 38"/>
                <a:gd name="T31" fmla="*/ 0 h 20"/>
                <a:gd name="T32" fmla="*/ 2147483647 w 38"/>
                <a:gd name="T33" fmla="*/ 2147483647 h 20"/>
                <a:gd name="T34" fmla="*/ 0 w 38"/>
                <a:gd name="T35" fmla="*/ 2147483647 h 20"/>
                <a:gd name="T36" fmla="*/ 0 w 38"/>
                <a:gd name="T37" fmla="*/ 2147483647 h 20"/>
                <a:gd name="T38" fmla="*/ 2147483647 w 38"/>
                <a:gd name="T39" fmla="*/ 2147483647 h 20"/>
                <a:gd name="T40" fmla="*/ 2147483647 w 38"/>
                <a:gd name="T41" fmla="*/ 2147483647 h 20"/>
                <a:gd name="T42" fmla="*/ 2147483647 w 38"/>
                <a:gd name="T43" fmla="*/ 2147483647 h 20"/>
                <a:gd name="T44" fmla="*/ 2147483647 w 38"/>
                <a:gd name="T45" fmla="*/ 2147483647 h 2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38"/>
                <a:gd name="T70" fmla="*/ 0 h 20"/>
                <a:gd name="T71" fmla="*/ 38 w 38"/>
                <a:gd name="T72" fmla="*/ 20 h 20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38" h="20">
                  <a:moveTo>
                    <a:pt x="6" y="20"/>
                  </a:moveTo>
                  <a:lnTo>
                    <a:pt x="6" y="20"/>
                  </a:lnTo>
                  <a:lnTo>
                    <a:pt x="15" y="20"/>
                  </a:lnTo>
                  <a:lnTo>
                    <a:pt x="20" y="17"/>
                  </a:lnTo>
                  <a:lnTo>
                    <a:pt x="29" y="17"/>
                  </a:lnTo>
                  <a:lnTo>
                    <a:pt x="35" y="14"/>
                  </a:lnTo>
                  <a:lnTo>
                    <a:pt x="38" y="11"/>
                  </a:lnTo>
                  <a:lnTo>
                    <a:pt x="26" y="8"/>
                  </a:lnTo>
                  <a:lnTo>
                    <a:pt x="26" y="5"/>
                  </a:lnTo>
                  <a:lnTo>
                    <a:pt x="20" y="2"/>
                  </a:lnTo>
                  <a:lnTo>
                    <a:pt x="12" y="0"/>
                  </a:lnTo>
                  <a:lnTo>
                    <a:pt x="6" y="0"/>
                  </a:lnTo>
                  <a:lnTo>
                    <a:pt x="3" y="2"/>
                  </a:lnTo>
                  <a:lnTo>
                    <a:pt x="0" y="11"/>
                  </a:lnTo>
                  <a:lnTo>
                    <a:pt x="0" y="17"/>
                  </a:lnTo>
                  <a:lnTo>
                    <a:pt x="9" y="11"/>
                  </a:lnTo>
                  <a:lnTo>
                    <a:pt x="15" y="11"/>
                  </a:lnTo>
                  <a:lnTo>
                    <a:pt x="12" y="14"/>
                  </a:lnTo>
                  <a:lnTo>
                    <a:pt x="6" y="2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88" name="Freeform 389"/>
            <p:cNvSpPr>
              <a:spLocks/>
            </p:cNvSpPr>
            <p:nvPr/>
          </p:nvSpPr>
          <p:spPr bwMode="auto">
            <a:xfrm>
              <a:off x="3776663" y="3513138"/>
              <a:ext cx="160337" cy="133350"/>
            </a:xfrm>
            <a:custGeom>
              <a:avLst/>
              <a:gdLst>
                <a:gd name="T0" fmla="*/ 2147483647 w 100"/>
                <a:gd name="T1" fmla="*/ 2147483647 h 83"/>
                <a:gd name="T2" fmla="*/ 2147483647 w 100"/>
                <a:gd name="T3" fmla="*/ 2147483647 h 83"/>
                <a:gd name="T4" fmla="*/ 2147483647 w 100"/>
                <a:gd name="T5" fmla="*/ 2147483647 h 83"/>
                <a:gd name="T6" fmla="*/ 2147483647 w 100"/>
                <a:gd name="T7" fmla="*/ 2147483647 h 83"/>
                <a:gd name="T8" fmla="*/ 2147483647 w 100"/>
                <a:gd name="T9" fmla="*/ 2147483647 h 83"/>
                <a:gd name="T10" fmla="*/ 2147483647 w 100"/>
                <a:gd name="T11" fmla="*/ 2147483647 h 83"/>
                <a:gd name="T12" fmla="*/ 2147483647 w 100"/>
                <a:gd name="T13" fmla="*/ 2147483647 h 83"/>
                <a:gd name="T14" fmla="*/ 2147483647 w 100"/>
                <a:gd name="T15" fmla="*/ 2147483647 h 83"/>
                <a:gd name="T16" fmla="*/ 2147483647 w 100"/>
                <a:gd name="T17" fmla="*/ 2147483647 h 83"/>
                <a:gd name="T18" fmla="*/ 2147483647 w 100"/>
                <a:gd name="T19" fmla="*/ 2147483647 h 83"/>
                <a:gd name="T20" fmla="*/ 2147483647 w 100"/>
                <a:gd name="T21" fmla="*/ 2147483647 h 83"/>
                <a:gd name="T22" fmla="*/ 2147483647 w 100"/>
                <a:gd name="T23" fmla="*/ 2147483647 h 83"/>
                <a:gd name="T24" fmla="*/ 2147483647 w 100"/>
                <a:gd name="T25" fmla="*/ 2147483647 h 83"/>
                <a:gd name="T26" fmla="*/ 2147483647 w 100"/>
                <a:gd name="T27" fmla="*/ 2147483647 h 83"/>
                <a:gd name="T28" fmla="*/ 2147483647 w 100"/>
                <a:gd name="T29" fmla="*/ 2147483647 h 83"/>
                <a:gd name="T30" fmla="*/ 2147483647 w 100"/>
                <a:gd name="T31" fmla="*/ 2147483647 h 83"/>
                <a:gd name="T32" fmla="*/ 2147483647 w 100"/>
                <a:gd name="T33" fmla="*/ 0 h 83"/>
                <a:gd name="T34" fmla="*/ 2147483647 w 100"/>
                <a:gd name="T35" fmla="*/ 0 h 83"/>
                <a:gd name="T36" fmla="*/ 2147483647 w 100"/>
                <a:gd name="T37" fmla="*/ 0 h 83"/>
                <a:gd name="T38" fmla="*/ 2147483647 w 100"/>
                <a:gd name="T39" fmla="*/ 0 h 83"/>
                <a:gd name="T40" fmla="*/ 2147483647 w 100"/>
                <a:gd name="T41" fmla="*/ 2147483647 h 83"/>
                <a:gd name="T42" fmla="*/ 2147483647 w 100"/>
                <a:gd name="T43" fmla="*/ 2147483647 h 83"/>
                <a:gd name="T44" fmla="*/ 2147483647 w 100"/>
                <a:gd name="T45" fmla="*/ 2147483647 h 83"/>
                <a:gd name="T46" fmla="*/ 2147483647 w 100"/>
                <a:gd name="T47" fmla="*/ 2147483647 h 83"/>
                <a:gd name="T48" fmla="*/ 2147483647 w 100"/>
                <a:gd name="T49" fmla="*/ 2147483647 h 83"/>
                <a:gd name="T50" fmla="*/ 2147483647 w 100"/>
                <a:gd name="T51" fmla="*/ 2147483647 h 83"/>
                <a:gd name="T52" fmla="*/ 0 w 100"/>
                <a:gd name="T53" fmla="*/ 2147483647 h 83"/>
                <a:gd name="T54" fmla="*/ 2147483647 w 100"/>
                <a:gd name="T55" fmla="*/ 2147483647 h 83"/>
                <a:gd name="T56" fmla="*/ 2147483647 w 100"/>
                <a:gd name="T57" fmla="*/ 2147483647 h 83"/>
                <a:gd name="T58" fmla="*/ 2147483647 w 100"/>
                <a:gd name="T59" fmla="*/ 2147483647 h 83"/>
                <a:gd name="T60" fmla="*/ 2147483647 w 100"/>
                <a:gd name="T61" fmla="*/ 2147483647 h 83"/>
                <a:gd name="T62" fmla="*/ 2147483647 w 100"/>
                <a:gd name="T63" fmla="*/ 2147483647 h 83"/>
                <a:gd name="T64" fmla="*/ 2147483647 w 100"/>
                <a:gd name="T65" fmla="*/ 2147483647 h 83"/>
                <a:gd name="T66" fmla="*/ 2147483647 w 100"/>
                <a:gd name="T67" fmla="*/ 2147483647 h 83"/>
                <a:gd name="T68" fmla="*/ 2147483647 w 100"/>
                <a:gd name="T69" fmla="*/ 2147483647 h 83"/>
                <a:gd name="T70" fmla="*/ 2147483647 w 100"/>
                <a:gd name="T71" fmla="*/ 2147483647 h 83"/>
                <a:gd name="T72" fmla="*/ 2147483647 w 100"/>
                <a:gd name="T73" fmla="*/ 2147483647 h 83"/>
                <a:gd name="T74" fmla="*/ 2147483647 w 100"/>
                <a:gd name="T75" fmla="*/ 2147483647 h 83"/>
                <a:gd name="T76" fmla="*/ 2147483647 w 100"/>
                <a:gd name="T77" fmla="*/ 2147483647 h 83"/>
                <a:gd name="T78" fmla="*/ 2147483647 w 100"/>
                <a:gd name="T79" fmla="*/ 2147483647 h 83"/>
                <a:gd name="T80" fmla="*/ 2147483647 w 100"/>
                <a:gd name="T81" fmla="*/ 2147483647 h 83"/>
                <a:gd name="T82" fmla="*/ 2147483647 w 100"/>
                <a:gd name="T83" fmla="*/ 2147483647 h 83"/>
                <a:gd name="T84" fmla="*/ 2147483647 w 100"/>
                <a:gd name="T85" fmla="*/ 2147483647 h 8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00"/>
                <a:gd name="T130" fmla="*/ 0 h 83"/>
                <a:gd name="T131" fmla="*/ 100 w 100"/>
                <a:gd name="T132" fmla="*/ 83 h 8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00" h="83">
                  <a:moveTo>
                    <a:pt x="26" y="81"/>
                  </a:moveTo>
                  <a:lnTo>
                    <a:pt x="34" y="75"/>
                  </a:lnTo>
                  <a:lnTo>
                    <a:pt x="72" y="75"/>
                  </a:lnTo>
                  <a:lnTo>
                    <a:pt x="77" y="78"/>
                  </a:lnTo>
                  <a:lnTo>
                    <a:pt x="86" y="81"/>
                  </a:lnTo>
                  <a:lnTo>
                    <a:pt x="89" y="78"/>
                  </a:lnTo>
                  <a:lnTo>
                    <a:pt x="98" y="81"/>
                  </a:lnTo>
                  <a:lnTo>
                    <a:pt x="98" y="78"/>
                  </a:lnTo>
                  <a:lnTo>
                    <a:pt x="98" y="75"/>
                  </a:lnTo>
                  <a:lnTo>
                    <a:pt x="100" y="72"/>
                  </a:lnTo>
                  <a:lnTo>
                    <a:pt x="98" y="63"/>
                  </a:lnTo>
                  <a:lnTo>
                    <a:pt x="89" y="66"/>
                  </a:lnTo>
                  <a:lnTo>
                    <a:pt x="89" y="63"/>
                  </a:lnTo>
                  <a:lnTo>
                    <a:pt x="86" y="60"/>
                  </a:lnTo>
                  <a:lnTo>
                    <a:pt x="86" y="58"/>
                  </a:lnTo>
                  <a:lnTo>
                    <a:pt x="89" y="52"/>
                  </a:lnTo>
                  <a:lnTo>
                    <a:pt x="89" y="46"/>
                  </a:lnTo>
                  <a:lnTo>
                    <a:pt x="86" y="43"/>
                  </a:lnTo>
                  <a:lnTo>
                    <a:pt x="86" y="38"/>
                  </a:lnTo>
                  <a:lnTo>
                    <a:pt x="77" y="32"/>
                  </a:lnTo>
                  <a:lnTo>
                    <a:pt x="75" y="23"/>
                  </a:lnTo>
                  <a:lnTo>
                    <a:pt x="69" y="20"/>
                  </a:lnTo>
                  <a:lnTo>
                    <a:pt x="66" y="12"/>
                  </a:lnTo>
                  <a:lnTo>
                    <a:pt x="57" y="9"/>
                  </a:lnTo>
                  <a:lnTo>
                    <a:pt x="52" y="0"/>
                  </a:lnTo>
                  <a:lnTo>
                    <a:pt x="40" y="0"/>
                  </a:lnTo>
                  <a:lnTo>
                    <a:pt x="37" y="3"/>
                  </a:lnTo>
                  <a:lnTo>
                    <a:pt x="34" y="3"/>
                  </a:lnTo>
                  <a:lnTo>
                    <a:pt x="23" y="3"/>
                  </a:lnTo>
                  <a:lnTo>
                    <a:pt x="17" y="6"/>
                  </a:lnTo>
                  <a:lnTo>
                    <a:pt x="17" y="12"/>
                  </a:lnTo>
                  <a:lnTo>
                    <a:pt x="14" y="12"/>
                  </a:lnTo>
                  <a:lnTo>
                    <a:pt x="0" y="35"/>
                  </a:lnTo>
                  <a:lnTo>
                    <a:pt x="9" y="49"/>
                  </a:lnTo>
                  <a:lnTo>
                    <a:pt x="9" y="58"/>
                  </a:lnTo>
                  <a:lnTo>
                    <a:pt x="11" y="58"/>
                  </a:lnTo>
                  <a:lnTo>
                    <a:pt x="20" y="55"/>
                  </a:lnTo>
                  <a:lnTo>
                    <a:pt x="29" y="58"/>
                  </a:lnTo>
                  <a:lnTo>
                    <a:pt x="34" y="52"/>
                  </a:lnTo>
                  <a:lnTo>
                    <a:pt x="40" y="52"/>
                  </a:lnTo>
                  <a:lnTo>
                    <a:pt x="43" y="52"/>
                  </a:lnTo>
                  <a:lnTo>
                    <a:pt x="46" y="55"/>
                  </a:lnTo>
                  <a:lnTo>
                    <a:pt x="52" y="58"/>
                  </a:lnTo>
                  <a:lnTo>
                    <a:pt x="60" y="58"/>
                  </a:lnTo>
                  <a:lnTo>
                    <a:pt x="63" y="66"/>
                  </a:lnTo>
                  <a:lnTo>
                    <a:pt x="52" y="69"/>
                  </a:lnTo>
                  <a:lnTo>
                    <a:pt x="43" y="63"/>
                  </a:lnTo>
                  <a:lnTo>
                    <a:pt x="37" y="63"/>
                  </a:lnTo>
                  <a:lnTo>
                    <a:pt x="31" y="66"/>
                  </a:lnTo>
                  <a:lnTo>
                    <a:pt x="26" y="66"/>
                  </a:lnTo>
                  <a:lnTo>
                    <a:pt x="23" y="72"/>
                  </a:lnTo>
                  <a:lnTo>
                    <a:pt x="9" y="72"/>
                  </a:lnTo>
                  <a:lnTo>
                    <a:pt x="9" y="81"/>
                  </a:lnTo>
                  <a:lnTo>
                    <a:pt x="9" y="83"/>
                  </a:lnTo>
                  <a:lnTo>
                    <a:pt x="14" y="81"/>
                  </a:lnTo>
                  <a:lnTo>
                    <a:pt x="26" y="8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89" name="Freeform 390"/>
            <p:cNvSpPr>
              <a:spLocks/>
            </p:cNvSpPr>
            <p:nvPr/>
          </p:nvSpPr>
          <p:spPr bwMode="auto">
            <a:xfrm>
              <a:off x="3951288" y="1736725"/>
              <a:ext cx="14287" cy="14288"/>
            </a:xfrm>
            <a:custGeom>
              <a:avLst/>
              <a:gdLst>
                <a:gd name="T0" fmla="*/ 0 w 9"/>
                <a:gd name="T1" fmla="*/ 2147483647 h 9"/>
                <a:gd name="T2" fmla="*/ 2147483647 w 9"/>
                <a:gd name="T3" fmla="*/ 2147483647 h 9"/>
                <a:gd name="T4" fmla="*/ 2147483647 w 9"/>
                <a:gd name="T5" fmla="*/ 2147483647 h 9"/>
                <a:gd name="T6" fmla="*/ 2147483647 w 9"/>
                <a:gd name="T7" fmla="*/ 0 h 9"/>
                <a:gd name="T8" fmla="*/ 0 w 9"/>
                <a:gd name="T9" fmla="*/ 2147483647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9"/>
                <a:gd name="T17" fmla="*/ 9 w 9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9">
                  <a:moveTo>
                    <a:pt x="0" y="6"/>
                  </a:moveTo>
                  <a:lnTo>
                    <a:pt x="3" y="9"/>
                  </a:lnTo>
                  <a:lnTo>
                    <a:pt x="9" y="3"/>
                  </a:lnTo>
                  <a:lnTo>
                    <a:pt x="9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90" name="Freeform 391"/>
            <p:cNvSpPr>
              <a:spLocks/>
            </p:cNvSpPr>
            <p:nvPr/>
          </p:nvSpPr>
          <p:spPr bwMode="auto">
            <a:xfrm>
              <a:off x="3965575" y="1741488"/>
              <a:ext cx="17463" cy="9525"/>
            </a:xfrm>
            <a:custGeom>
              <a:avLst/>
              <a:gdLst>
                <a:gd name="T0" fmla="*/ 2147483647 w 11"/>
                <a:gd name="T1" fmla="*/ 2147483647 h 6"/>
                <a:gd name="T2" fmla="*/ 2147483647 w 11"/>
                <a:gd name="T3" fmla="*/ 2147483647 h 6"/>
                <a:gd name="T4" fmla="*/ 2147483647 w 11"/>
                <a:gd name="T5" fmla="*/ 2147483647 h 6"/>
                <a:gd name="T6" fmla="*/ 2147483647 w 11"/>
                <a:gd name="T7" fmla="*/ 0 h 6"/>
                <a:gd name="T8" fmla="*/ 0 w 11"/>
                <a:gd name="T9" fmla="*/ 2147483647 h 6"/>
                <a:gd name="T10" fmla="*/ 2147483647 w 11"/>
                <a:gd name="T11" fmla="*/ 2147483647 h 6"/>
                <a:gd name="T12" fmla="*/ 2147483647 w 11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"/>
                <a:gd name="T22" fmla="*/ 0 h 6"/>
                <a:gd name="T23" fmla="*/ 11 w 11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" h="6">
                  <a:moveTo>
                    <a:pt x="8" y="6"/>
                  </a:moveTo>
                  <a:lnTo>
                    <a:pt x="11" y="3"/>
                  </a:lnTo>
                  <a:lnTo>
                    <a:pt x="5" y="3"/>
                  </a:lnTo>
                  <a:lnTo>
                    <a:pt x="2" y="0"/>
                  </a:lnTo>
                  <a:lnTo>
                    <a:pt x="0" y="3"/>
                  </a:lnTo>
                  <a:lnTo>
                    <a:pt x="2" y="6"/>
                  </a:lnTo>
                  <a:lnTo>
                    <a:pt x="8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91" name="Freeform 392"/>
            <p:cNvSpPr>
              <a:spLocks/>
            </p:cNvSpPr>
            <p:nvPr/>
          </p:nvSpPr>
          <p:spPr bwMode="auto">
            <a:xfrm>
              <a:off x="4002088" y="1685925"/>
              <a:ext cx="7937" cy="4763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2147483647 h 3"/>
                <a:gd name="T4" fmla="*/ 2147483647 w 5"/>
                <a:gd name="T5" fmla="*/ 0 h 3"/>
                <a:gd name="T6" fmla="*/ 0 w 5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3"/>
                <a:gd name="T14" fmla="*/ 5 w 5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3">
                  <a:moveTo>
                    <a:pt x="0" y="3"/>
                  </a:moveTo>
                  <a:lnTo>
                    <a:pt x="5" y="3"/>
                  </a:lnTo>
                  <a:lnTo>
                    <a:pt x="5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92" name="Freeform 393"/>
            <p:cNvSpPr>
              <a:spLocks/>
            </p:cNvSpPr>
            <p:nvPr/>
          </p:nvSpPr>
          <p:spPr bwMode="auto">
            <a:xfrm>
              <a:off x="3238500" y="1943100"/>
              <a:ext cx="22225" cy="9525"/>
            </a:xfrm>
            <a:custGeom>
              <a:avLst/>
              <a:gdLst>
                <a:gd name="T0" fmla="*/ 2147483647 w 14"/>
                <a:gd name="T1" fmla="*/ 2147483647 h 6"/>
                <a:gd name="T2" fmla="*/ 2147483647 w 14"/>
                <a:gd name="T3" fmla="*/ 2147483647 h 6"/>
                <a:gd name="T4" fmla="*/ 2147483647 w 14"/>
                <a:gd name="T5" fmla="*/ 0 h 6"/>
                <a:gd name="T6" fmla="*/ 0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"/>
                <a:gd name="T19" fmla="*/ 0 h 6"/>
                <a:gd name="T20" fmla="*/ 14 w 14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" h="6">
                  <a:moveTo>
                    <a:pt x="9" y="3"/>
                  </a:moveTo>
                  <a:lnTo>
                    <a:pt x="14" y="6"/>
                  </a:lnTo>
                  <a:lnTo>
                    <a:pt x="14" y="0"/>
                  </a:lnTo>
                  <a:lnTo>
                    <a:pt x="0" y="3"/>
                  </a:lnTo>
                  <a:lnTo>
                    <a:pt x="6" y="6"/>
                  </a:lnTo>
                  <a:lnTo>
                    <a:pt x="9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93" name="Freeform 394"/>
            <p:cNvSpPr>
              <a:spLocks/>
            </p:cNvSpPr>
            <p:nvPr/>
          </p:nvSpPr>
          <p:spPr bwMode="auto">
            <a:xfrm>
              <a:off x="4005263" y="1695450"/>
              <a:ext cx="4762" cy="14288"/>
            </a:xfrm>
            <a:custGeom>
              <a:avLst/>
              <a:gdLst>
                <a:gd name="T0" fmla="*/ 0 w 3"/>
                <a:gd name="T1" fmla="*/ 2147483647 h 9"/>
                <a:gd name="T2" fmla="*/ 0 w 3"/>
                <a:gd name="T3" fmla="*/ 2147483647 h 9"/>
                <a:gd name="T4" fmla="*/ 2147483647 w 3"/>
                <a:gd name="T5" fmla="*/ 2147483647 h 9"/>
                <a:gd name="T6" fmla="*/ 0 w 3"/>
                <a:gd name="T7" fmla="*/ 0 h 9"/>
                <a:gd name="T8" fmla="*/ 0 w 3"/>
                <a:gd name="T9" fmla="*/ 2147483647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9"/>
                <a:gd name="T17" fmla="*/ 3 w 3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9">
                  <a:moveTo>
                    <a:pt x="0" y="3"/>
                  </a:moveTo>
                  <a:lnTo>
                    <a:pt x="0" y="9"/>
                  </a:lnTo>
                  <a:lnTo>
                    <a:pt x="3" y="6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94" name="Freeform 395"/>
            <p:cNvSpPr>
              <a:spLocks/>
            </p:cNvSpPr>
            <p:nvPr/>
          </p:nvSpPr>
          <p:spPr bwMode="auto">
            <a:xfrm>
              <a:off x="3348038" y="2170113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0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6" y="3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95" name="Freeform 396"/>
            <p:cNvSpPr>
              <a:spLocks/>
            </p:cNvSpPr>
            <p:nvPr/>
          </p:nvSpPr>
          <p:spPr bwMode="auto">
            <a:xfrm>
              <a:off x="3306763" y="2165350"/>
              <a:ext cx="19050" cy="14288"/>
            </a:xfrm>
            <a:custGeom>
              <a:avLst/>
              <a:gdLst>
                <a:gd name="T0" fmla="*/ 2147483647 w 12"/>
                <a:gd name="T1" fmla="*/ 0 h 9"/>
                <a:gd name="T2" fmla="*/ 0 w 12"/>
                <a:gd name="T3" fmla="*/ 2147483647 h 9"/>
                <a:gd name="T4" fmla="*/ 2147483647 w 12"/>
                <a:gd name="T5" fmla="*/ 2147483647 h 9"/>
                <a:gd name="T6" fmla="*/ 2147483647 w 12"/>
                <a:gd name="T7" fmla="*/ 2147483647 h 9"/>
                <a:gd name="T8" fmla="*/ 2147483647 w 12"/>
                <a:gd name="T9" fmla="*/ 0 h 9"/>
                <a:gd name="T10" fmla="*/ 2147483647 w 12"/>
                <a:gd name="T11" fmla="*/ 0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"/>
                <a:gd name="T19" fmla="*/ 0 h 9"/>
                <a:gd name="T20" fmla="*/ 12 w 12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" h="9">
                  <a:moveTo>
                    <a:pt x="3" y="0"/>
                  </a:moveTo>
                  <a:lnTo>
                    <a:pt x="0" y="9"/>
                  </a:lnTo>
                  <a:lnTo>
                    <a:pt x="3" y="9"/>
                  </a:lnTo>
                  <a:lnTo>
                    <a:pt x="6" y="3"/>
                  </a:lnTo>
                  <a:lnTo>
                    <a:pt x="12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96" name="Freeform 397"/>
            <p:cNvSpPr>
              <a:spLocks/>
            </p:cNvSpPr>
            <p:nvPr/>
          </p:nvSpPr>
          <p:spPr bwMode="auto">
            <a:xfrm>
              <a:off x="3214688" y="2022475"/>
              <a:ext cx="4762" cy="17463"/>
            </a:xfrm>
            <a:custGeom>
              <a:avLst/>
              <a:gdLst>
                <a:gd name="T0" fmla="*/ 0 w 3"/>
                <a:gd name="T1" fmla="*/ 2147483647 h 11"/>
                <a:gd name="T2" fmla="*/ 0 w 3"/>
                <a:gd name="T3" fmla="*/ 2147483647 h 11"/>
                <a:gd name="T4" fmla="*/ 2147483647 w 3"/>
                <a:gd name="T5" fmla="*/ 2147483647 h 11"/>
                <a:gd name="T6" fmla="*/ 2147483647 w 3"/>
                <a:gd name="T7" fmla="*/ 0 h 11"/>
                <a:gd name="T8" fmla="*/ 0 w 3"/>
                <a:gd name="T9" fmla="*/ 2147483647 h 11"/>
                <a:gd name="T10" fmla="*/ 0 w 3"/>
                <a:gd name="T11" fmla="*/ 2147483647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11"/>
                <a:gd name="T20" fmla="*/ 3 w 3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11">
                  <a:moveTo>
                    <a:pt x="0" y="6"/>
                  </a:moveTo>
                  <a:lnTo>
                    <a:pt x="0" y="11"/>
                  </a:lnTo>
                  <a:lnTo>
                    <a:pt x="3" y="6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97" name="Freeform 398"/>
            <p:cNvSpPr>
              <a:spLocks/>
            </p:cNvSpPr>
            <p:nvPr/>
          </p:nvSpPr>
          <p:spPr bwMode="auto">
            <a:xfrm>
              <a:off x="3321050" y="2174875"/>
              <a:ext cx="26988" cy="7938"/>
            </a:xfrm>
            <a:custGeom>
              <a:avLst/>
              <a:gdLst>
                <a:gd name="T0" fmla="*/ 0 w 17"/>
                <a:gd name="T1" fmla="*/ 2147483647 h 5"/>
                <a:gd name="T2" fmla="*/ 2147483647 w 17"/>
                <a:gd name="T3" fmla="*/ 2147483647 h 5"/>
                <a:gd name="T4" fmla="*/ 2147483647 w 17"/>
                <a:gd name="T5" fmla="*/ 2147483647 h 5"/>
                <a:gd name="T6" fmla="*/ 2147483647 w 17"/>
                <a:gd name="T7" fmla="*/ 2147483647 h 5"/>
                <a:gd name="T8" fmla="*/ 2147483647 w 17"/>
                <a:gd name="T9" fmla="*/ 0 h 5"/>
                <a:gd name="T10" fmla="*/ 0 w 17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5"/>
                <a:gd name="T20" fmla="*/ 17 w 17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5">
                  <a:moveTo>
                    <a:pt x="0" y="5"/>
                  </a:moveTo>
                  <a:lnTo>
                    <a:pt x="5" y="5"/>
                  </a:lnTo>
                  <a:lnTo>
                    <a:pt x="11" y="5"/>
                  </a:lnTo>
                  <a:lnTo>
                    <a:pt x="17" y="3"/>
                  </a:lnTo>
                  <a:lnTo>
                    <a:pt x="5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98" name="Rectangle 399"/>
            <p:cNvSpPr>
              <a:spLocks noChangeArrowheads="1"/>
            </p:cNvSpPr>
            <p:nvPr/>
          </p:nvSpPr>
          <p:spPr bwMode="auto">
            <a:xfrm>
              <a:off x="3214688" y="1989138"/>
              <a:ext cx="7937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99" name="Freeform 400"/>
            <p:cNvSpPr>
              <a:spLocks/>
            </p:cNvSpPr>
            <p:nvPr/>
          </p:nvSpPr>
          <p:spPr bwMode="auto">
            <a:xfrm>
              <a:off x="3205163" y="2000250"/>
              <a:ext cx="9525" cy="17463"/>
            </a:xfrm>
            <a:custGeom>
              <a:avLst/>
              <a:gdLst>
                <a:gd name="T0" fmla="*/ 0 w 6"/>
                <a:gd name="T1" fmla="*/ 2147483647 h 11"/>
                <a:gd name="T2" fmla="*/ 0 w 6"/>
                <a:gd name="T3" fmla="*/ 2147483647 h 11"/>
                <a:gd name="T4" fmla="*/ 2147483647 w 6"/>
                <a:gd name="T5" fmla="*/ 2147483647 h 11"/>
                <a:gd name="T6" fmla="*/ 2147483647 w 6"/>
                <a:gd name="T7" fmla="*/ 2147483647 h 11"/>
                <a:gd name="T8" fmla="*/ 2147483647 w 6"/>
                <a:gd name="T9" fmla="*/ 0 h 11"/>
                <a:gd name="T10" fmla="*/ 0 w 6"/>
                <a:gd name="T11" fmla="*/ 2147483647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11"/>
                <a:gd name="T20" fmla="*/ 6 w 6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11">
                  <a:moveTo>
                    <a:pt x="0" y="5"/>
                  </a:moveTo>
                  <a:lnTo>
                    <a:pt x="0" y="11"/>
                  </a:lnTo>
                  <a:lnTo>
                    <a:pt x="6" y="5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00" name="Freeform 401"/>
            <p:cNvSpPr>
              <a:spLocks/>
            </p:cNvSpPr>
            <p:nvPr/>
          </p:nvSpPr>
          <p:spPr bwMode="auto">
            <a:xfrm>
              <a:off x="2211388" y="3871913"/>
              <a:ext cx="1077912" cy="1216025"/>
            </a:xfrm>
            <a:custGeom>
              <a:avLst/>
              <a:gdLst>
                <a:gd name="T0" fmla="*/ 2147483647 w 672"/>
                <a:gd name="T1" fmla="*/ 2147483647 h 758"/>
                <a:gd name="T2" fmla="*/ 2147483647 w 672"/>
                <a:gd name="T3" fmla="*/ 2147483647 h 758"/>
                <a:gd name="T4" fmla="*/ 2147483647 w 672"/>
                <a:gd name="T5" fmla="*/ 2147483647 h 758"/>
                <a:gd name="T6" fmla="*/ 2147483647 w 672"/>
                <a:gd name="T7" fmla="*/ 2147483647 h 758"/>
                <a:gd name="T8" fmla="*/ 2147483647 w 672"/>
                <a:gd name="T9" fmla="*/ 2147483647 h 758"/>
                <a:gd name="T10" fmla="*/ 2147483647 w 672"/>
                <a:gd name="T11" fmla="*/ 2147483647 h 758"/>
                <a:gd name="T12" fmla="*/ 2147483647 w 672"/>
                <a:gd name="T13" fmla="*/ 2147483647 h 758"/>
                <a:gd name="T14" fmla="*/ 2147483647 w 672"/>
                <a:gd name="T15" fmla="*/ 2147483647 h 758"/>
                <a:gd name="T16" fmla="*/ 2147483647 w 672"/>
                <a:gd name="T17" fmla="*/ 2147483647 h 758"/>
                <a:gd name="T18" fmla="*/ 2147483647 w 672"/>
                <a:gd name="T19" fmla="*/ 2147483647 h 758"/>
                <a:gd name="T20" fmla="*/ 2147483647 w 672"/>
                <a:gd name="T21" fmla="*/ 2147483647 h 758"/>
                <a:gd name="T22" fmla="*/ 2147483647 w 672"/>
                <a:gd name="T23" fmla="*/ 2147483647 h 758"/>
                <a:gd name="T24" fmla="*/ 2147483647 w 672"/>
                <a:gd name="T25" fmla="*/ 2147483647 h 758"/>
                <a:gd name="T26" fmla="*/ 2147483647 w 672"/>
                <a:gd name="T27" fmla="*/ 2147483647 h 758"/>
                <a:gd name="T28" fmla="*/ 2147483647 w 672"/>
                <a:gd name="T29" fmla="*/ 2147483647 h 758"/>
                <a:gd name="T30" fmla="*/ 2147483647 w 672"/>
                <a:gd name="T31" fmla="*/ 2147483647 h 758"/>
                <a:gd name="T32" fmla="*/ 2147483647 w 672"/>
                <a:gd name="T33" fmla="*/ 2147483647 h 758"/>
                <a:gd name="T34" fmla="*/ 2147483647 w 672"/>
                <a:gd name="T35" fmla="*/ 2147483647 h 758"/>
                <a:gd name="T36" fmla="*/ 2147483647 w 672"/>
                <a:gd name="T37" fmla="*/ 2147483647 h 758"/>
                <a:gd name="T38" fmla="*/ 2147483647 w 672"/>
                <a:gd name="T39" fmla="*/ 2147483647 h 758"/>
                <a:gd name="T40" fmla="*/ 2147483647 w 672"/>
                <a:gd name="T41" fmla="*/ 2147483647 h 758"/>
                <a:gd name="T42" fmla="*/ 2147483647 w 672"/>
                <a:gd name="T43" fmla="*/ 2147483647 h 758"/>
                <a:gd name="T44" fmla="*/ 2147483647 w 672"/>
                <a:gd name="T45" fmla="*/ 2147483647 h 758"/>
                <a:gd name="T46" fmla="*/ 2147483647 w 672"/>
                <a:gd name="T47" fmla="*/ 2147483647 h 758"/>
                <a:gd name="T48" fmla="*/ 2147483647 w 672"/>
                <a:gd name="T49" fmla="*/ 2147483647 h 758"/>
                <a:gd name="T50" fmla="*/ 2147483647 w 672"/>
                <a:gd name="T51" fmla="*/ 2147483647 h 758"/>
                <a:gd name="T52" fmla="*/ 0 w 672"/>
                <a:gd name="T53" fmla="*/ 2147483647 h 758"/>
                <a:gd name="T54" fmla="*/ 2147483647 w 672"/>
                <a:gd name="T55" fmla="*/ 2147483647 h 758"/>
                <a:gd name="T56" fmla="*/ 2147483647 w 672"/>
                <a:gd name="T57" fmla="*/ 2147483647 h 758"/>
                <a:gd name="T58" fmla="*/ 2147483647 w 672"/>
                <a:gd name="T59" fmla="*/ 2147483647 h 758"/>
                <a:gd name="T60" fmla="*/ 2147483647 w 672"/>
                <a:gd name="T61" fmla="*/ 2147483647 h 758"/>
                <a:gd name="T62" fmla="*/ 2147483647 w 672"/>
                <a:gd name="T63" fmla="*/ 2147483647 h 758"/>
                <a:gd name="T64" fmla="*/ 2147483647 w 672"/>
                <a:gd name="T65" fmla="*/ 2147483647 h 758"/>
                <a:gd name="T66" fmla="*/ 2147483647 w 672"/>
                <a:gd name="T67" fmla="*/ 2147483647 h 758"/>
                <a:gd name="T68" fmla="*/ 2147483647 w 672"/>
                <a:gd name="T69" fmla="*/ 2147483647 h 758"/>
                <a:gd name="T70" fmla="*/ 2147483647 w 672"/>
                <a:gd name="T71" fmla="*/ 2147483647 h 758"/>
                <a:gd name="T72" fmla="*/ 2147483647 w 672"/>
                <a:gd name="T73" fmla="*/ 2147483647 h 758"/>
                <a:gd name="T74" fmla="*/ 2147483647 w 672"/>
                <a:gd name="T75" fmla="*/ 2147483647 h 758"/>
                <a:gd name="T76" fmla="*/ 2147483647 w 672"/>
                <a:gd name="T77" fmla="*/ 2147483647 h 758"/>
                <a:gd name="T78" fmla="*/ 2147483647 w 672"/>
                <a:gd name="T79" fmla="*/ 2147483647 h 758"/>
                <a:gd name="T80" fmla="*/ 2147483647 w 672"/>
                <a:gd name="T81" fmla="*/ 2147483647 h 758"/>
                <a:gd name="T82" fmla="*/ 2147483647 w 672"/>
                <a:gd name="T83" fmla="*/ 2147483647 h 758"/>
                <a:gd name="T84" fmla="*/ 2147483647 w 672"/>
                <a:gd name="T85" fmla="*/ 2147483647 h 758"/>
                <a:gd name="T86" fmla="*/ 2147483647 w 672"/>
                <a:gd name="T87" fmla="*/ 2147483647 h 758"/>
                <a:gd name="T88" fmla="*/ 2147483647 w 672"/>
                <a:gd name="T89" fmla="*/ 2147483647 h 758"/>
                <a:gd name="T90" fmla="*/ 2147483647 w 672"/>
                <a:gd name="T91" fmla="*/ 2147483647 h 758"/>
                <a:gd name="T92" fmla="*/ 2147483647 w 672"/>
                <a:gd name="T93" fmla="*/ 2147483647 h 758"/>
                <a:gd name="T94" fmla="*/ 2147483647 w 672"/>
                <a:gd name="T95" fmla="*/ 2147483647 h 758"/>
                <a:gd name="T96" fmla="*/ 2147483647 w 672"/>
                <a:gd name="T97" fmla="*/ 2147483647 h 758"/>
                <a:gd name="T98" fmla="*/ 2147483647 w 672"/>
                <a:gd name="T99" fmla="*/ 2147483647 h 758"/>
                <a:gd name="T100" fmla="*/ 2147483647 w 672"/>
                <a:gd name="T101" fmla="*/ 2147483647 h 758"/>
                <a:gd name="T102" fmla="*/ 2147483647 w 672"/>
                <a:gd name="T103" fmla="*/ 2147483647 h 758"/>
                <a:gd name="T104" fmla="*/ 2147483647 w 672"/>
                <a:gd name="T105" fmla="*/ 2147483647 h 758"/>
                <a:gd name="T106" fmla="*/ 2147483647 w 672"/>
                <a:gd name="T107" fmla="*/ 2147483647 h 758"/>
                <a:gd name="T108" fmla="*/ 2147483647 w 672"/>
                <a:gd name="T109" fmla="*/ 2147483647 h 758"/>
                <a:gd name="T110" fmla="*/ 2147483647 w 672"/>
                <a:gd name="T111" fmla="*/ 2147483647 h 758"/>
                <a:gd name="T112" fmla="*/ 2147483647 w 672"/>
                <a:gd name="T113" fmla="*/ 2147483647 h 758"/>
                <a:gd name="T114" fmla="*/ 2147483647 w 672"/>
                <a:gd name="T115" fmla="*/ 2147483647 h 758"/>
                <a:gd name="T116" fmla="*/ 2147483647 w 672"/>
                <a:gd name="T117" fmla="*/ 2147483647 h 758"/>
                <a:gd name="T118" fmla="*/ 2147483647 w 672"/>
                <a:gd name="T119" fmla="*/ 2147483647 h 758"/>
                <a:gd name="T120" fmla="*/ 2147483647 w 672"/>
                <a:gd name="T121" fmla="*/ 2147483647 h 7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72"/>
                <a:gd name="T184" fmla="*/ 0 h 758"/>
                <a:gd name="T185" fmla="*/ 672 w 672"/>
                <a:gd name="T186" fmla="*/ 758 h 7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72" h="758">
                  <a:moveTo>
                    <a:pt x="666" y="204"/>
                  </a:moveTo>
                  <a:lnTo>
                    <a:pt x="666" y="204"/>
                  </a:lnTo>
                  <a:lnTo>
                    <a:pt x="663" y="201"/>
                  </a:lnTo>
                  <a:lnTo>
                    <a:pt x="660" y="198"/>
                  </a:lnTo>
                  <a:lnTo>
                    <a:pt x="657" y="198"/>
                  </a:lnTo>
                  <a:lnTo>
                    <a:pt x="643" y="198"/>
                  </a:lnTo>
                  <a:lnTo>
                    <a:pt x="637" y="195"/>
                  </a:lnTo>
                  <a:lnTo>
                    <a:pt x="631" y="193"/>
                  </a:lnTo>
                  <a:lnTo>
                    <a:pt x="623" y="187"/>
                  </a:lnTo>
                  <a:lnTo>
                    <a:pt x="606" y="172"/>
                  </a:lnTo>
                  <a:lnTo>
                    <a:pt x="588" y="158"/>
                  </a:lnTo>
                  <a:lnTo>
                    <a:pt x="568" y="152"/>
                  </a:lnTo>
                  <a:lnTo>
                    <a:pt x="551" y="155"/>
                  </a:lnTo>
                  <a:lnTo>
                    <a:pt x="542" y="152"/>
                  </a:lnTo>
                  <a:lnTo>
                    <a:pt x="528" y="147"/>
                  </a:lnTo>
                  <a:lnTo>
                    <a:pt x="519" y="144"/>
                  </a:lnTo>
                  <a:lnTo>
                    <a:pt x="514" y="147"/>
                  </a:lnTo>
                  <a:lnTo>
                    <a:pt x="508" y="147"/>
                  </a:lnTo>
                  <a:lnTo>
                    <a:pt x="505" y="152"/>
                  </a:lnTo>
                  <a:lnTo>
                    <a:pt x="502" y="147"/>
                  </a:lnTo>
                  <a:lnTo>
                    <a:pt x="505" y="144"/>
                  </a:lnTo>
                  <a:lnTo>
                    <a:pt x="505" y="135"/>
                  </a:lnTo>
                  <a:lnTo>
                    <a:pt x="499" y="132"/>
                  </a:lnTo>
                  <a:lnTo>
                    <a:pt x="497" y="126"/>
                  </a:lnTo>
                  <a:lnTo>
                    <a:pt x="488" y="129"/>
                  </a:lnTo>
                  <a:lnTo>
                    <a:pt x="476" y="121"/>
                  </a:lnTo>
                  <a:lnTo>
                    <a:pt x="459" y="112"/>
                  </a:lnTo>
                  <a:lnTo>
                    <a:pt x="442" y="115"/>
                  </a:lnTo>
                  <a:lnTo>
                    <a:pt x="436" y="124"/>
                  </a:lnTo>
                  <a:lnTo>
                    <a:pt x="428" y="132"/>
                  </a:lnTo>
                  <a:lnTo>
                    <a:pt x="419" y="149"/>
                  </a:lnTo>
                  <a:lnTo>
                    <a:pt x="419" y="135"/>
                  </a:lnTo>
                  <a:lnTo>
                    <a:pt x="425" y="129"/>
                  </a:lnTo>
                  <a:lnTo>
                    <a:pt x="431" y="124"/>
                  </a:lnTo>
                  <a:lnTo>
                    <a:pt x="433" y="112"/>
                  </a:lnTo>
                  <a:lnTo>
                    <a:pt x="433" y="104"/>
                  </a:lnTo>
                  <a:lnTo>
                    <a:pt x="422" y="101"/>
                  </a:lnTo>
                  <a:lnTo>
                    <a:pt x="413" y="101"/>
                  </a:lnTo>
                  <a:lnTo>
                    <a:pt x="408" y="98"/>
                  </a:lnTo>
                  <a:lnTo>
                    <a:pt x="413" y="98"/>
                  </a:lnTo>
                  <a:lnTo>
                    <a:pt x="408" y="95"/>
                  </a:lnTo>
                  <a:lnTo>
                    <a:pt x="408" y="92"/>
                  </a:lnTo>
                  <a:lnTo>
                    <a:pt x="405" y="89"/>
                  </a:lnTo>
                  <a:lnTo>
                    <a:pt x="402" y="89"/>
                  </a:lnTo>
                  <a:lnTo>
                    <a:pt x="393" y="104"/>
                  </a:lnTo>
                  <a:lnTo>
                    <a:pt x="399" y="104"/>
                  </a:lnTo>
                  <a:lnTo>
                    <a:pt x="393" y="109"/>
                  </a:lnTo>
                  <a:lnTo>
                    <a:pt x="390" y="112"/>
                  </a:lnTo>
                  <a:lnTo>
                    <a:pt x="390" y="115"/>
                  </a:lnTo>
                  <a:lnTo>
                    <a:pt x="387" y="115"/>
                  </a:lnTo>
                  <a:lnTo>
                    <a:pt x="387" y="112"/>
                  </a:lnTo>
                  <a:lnTo>
                    <a:pt x="385" y="112"/>
                  </a:lnTo>
                  <a:lnTo>
                    <a:pt x="387" y="104"/>
                  </a:lnTo>
                  <a:lnTo>
                    <a:pt x="396" y="89"/>
                  </a:lnTo>
                  <a:lnTo>
                    <a:pt x="408" y="83"/>
                  </a:lnTo>
                  <a:lnTo>
                    <a:pt x="410" y="72"/>
                  </a:lnTo>
                  <a:lnTo>
                    <a:pt x="408" y="63"/>
                  </a:lnTo>
                  <a:lnTo>
                    <a:pt x="399" y="58"/>
                  </a:lnTo>
                  <a:lnTo>
                    <a:pt x="396" y="58"/>
                  </a:lnTo>
                  <a:lnTo>
                    <a:pt x="393" y="43"/>
                  </a:lnTo>
                  <a:lnTo>
                    <a:pt x="393" y="37"/>
                  </a:lnTo>
                  <a:lnTo>
                    <a:pt x="390" y="26"/>
                  </a:lnTo>
                  <a:lnTo>
                    <a:pt x="385" y="17"/>
                  </a:lnTo>
                  <a:lnTo>
                    <a:pt x="382" y="23"/>
                  </a:lnTo>
                  <a:lnTo>
                    <a:pt x="379" y="23"/>
                  </a:lnTo>
                  <a:lnTo>
                    <a:pt x="376" y="26"/>
                  </a:lnTo>
                  <a:lnTo>
                    <a:pt x="373" y="32"/>
                  </a:lnTo>
                  <a:lnTo>
                    <a:pt x="370" y="46"/>
                  </a:lnTo>
                  <a:lnTo>
                    <a:pt x="367" y="52"/>
                  </a:lnTo>
                  <a:lnTo>
                    <a:pt x="364" y="52"/>
                  </a:lnTo>
                  <a:lnTo>
                    <a:pt x="356" y="55"/>
                  </a:lnTo>
                  <a:lnTo>
                    <a:pt x="347" y="55"/>
                  </a:lnTo>
                  <a:lnTo>
                    <a:pt x="339" y="58"/>
                  </a:lnTo>
                  <a:lnTo>
                    <a:pt x="336" y="58"/>
                  </a:lnTo>
                  <a:lnTo>
                    <a:pt x="330" y="55"/>
                  </a:lnTo>
                  <a:lnTo>
                    <a:pt x="327" y="55"/>
                  </a:lnTo>
                  <a:lnTo>
                    <a:pt x="319" y="52"/>
                  </a:lnTo>
                  <a:lnTo>
                    <a:pt x="316" y="52"/>
                  </a:lnTo>
                  <a:lnTo>
                    <a:pt x="307" y="55"/>
                  </a:lnTo>
                  <a:lnTo>
                    <a:pt x="307" y="63"/>
                  </a:lnTo>
                  <a:lnTo>
                    <a:pt x="301" y="63"/>
                  </a:lnTo>
                  <a:lnTo>
                    <a:pt x="296" y="63"/>
                  </a:lnTo>
                  <a:lnTo>
                    <a:pt x="290" y="63"/>
                  </a:lnTo>
                  <a:lnTo>
                    <a:pt x="287" y="63"/>
                  </a:lnTo>
                  <a:lnTo>
                    <a:pt x="281" y="63"/>
                  </a:lnTo>
                  <a:lnTo>
                    <a:pt x="275" y="69"/>
                  </a:lnTo>
                  <a:lnTo>
                    <a:pt x="275" y="72"/>
                  </a:lnTo>
                  <a:lnTo>
                    <a:pt x="273" y="72"/>
                  </a:lnTo>
                  <a:lnTo>
                    <a:pt x="261" y="69"/>
                  </a:lnTo>
                  <a:lnTo>
                    <a:pt x="253" y="75"/>
                  </a:lnTo>
                  <a:lnTo>
                    <a:pt x="238" y="69"/>
                  </a:lnTo>
                  <a:lnTo>
                    <a:pt x="238" y="60"/>
                  </a:lnTo>
                  <a:lnTo>
                    <a:pt x="235" y="55"/>
                  </a:lnTo>
                  <a:lnTo>
                    <a:pt x="235" y="52"/>
                  </a:lnTo>
                  <a:lnTo>
                    <a:pt x="235" y="37"/>
                  </a:lnTo>
                  <a:lnTo>
                    <a:pt x="235" y="29"/>
                  </a:lnTo>
                  <a:lnTo>
                    <a:pt x="235" y="26"/>
                  </a:lnTo>
                  <a:lnTo>
                    <a:pt x="238" y="20"/>
                  </a:lnTo>
                  <a:lnTo>
                    <a:pt x="241" y="20"/>
                  </a:lnTo>
                  <a:lnTo>
                    <a:pt x="241" y="15"/>
                  </a:lnTo>
                  <a:lnTo>
                    <a:pt x="232" y="6"/>
                  </a:lnTo>
                  <a:lnTo>
                    <a:pt x="235" y="0"/>
                  </a:lnTo>
                  <a:lnTo>
                    <a:pt x="230" y="0"/>
                  </a:lnTo>
                  <a:lnTo>
                    <a:pt x="227" y="9"/>
                  </a:lnTo>
                  <a:lnTo>
                    <a:pt x="218" y="12"/>
                  </a:lnTo>
                  <a:lnTo>
                    <a:pt x="212" y="15"/>
                  </a:lnTo>
                  <a:lnTo>
                    <a:pt x="201" y="20"/>
                  </a:lnTo>
                  <a:lnTo>
                    <a:pt x="192" y="23"/>
                  </a:lnTo>
                  <a:lnTo>
                    <a:pt x="189" y="26"/>
                  </a:lnTo>
                  <a:lnTo>
                    <a:pt x="189" y="29"/>
                  </a:lnTo>
                  <a:lnTo>
                    <a:pt x="192" y="35"/>
                  </a:lnTo>
                  <a:lnTo>
                    <a:pt x="178" y="23"/>
                  </a:lnTo>
                  <a:lnTo>
                    <a:pt x="166" y="26"/>
                  </a:lnTo>
                  <a:lnTo>
                    <a:pt x="166" y="23"/>
                  </a:lnTo>
                  <a:lnTo>
                    <a:pt x="166" y="20"/>
                  </a:lnTo>
                  <a:lnTo>
                    <a:pt x="158" y="20"/>
                  </a:lnTo>
                  <a:lnTo>
                    <a:pt x="166" y="29"/>
                  </a:lnTo>
                  <a:lnTo>
                    <a:pt x="166" y="40"/>
                  </a:lnTo>
                  <a:lnTo>
                    <a:pt x="169" y="43"/>
                  </a:lnTo>
                  <a:lnTo>
                    <a:pt x="169" y="46"/>
                  </a:lnTo>
                  <a:lnTo>
                    <a:pt x="169" y="49"/>
                  </a:lnTo>
                  <a:lnTo>
                    <a:pt x="181" y="52"/>
                  </a:lnTo>
                  <a:lnTo>
                    <a:pt x="175" y="58"/>
                  </a:lnTo>
                  <a:lnTo>
                    <a:pt x="166" y="63"/>
                  </a:lnTo>
                  <a:lnTo>
                    <a:pt x="164" y="75"/>
                  </a:lnTo>
                  <a:lnTo>
                    <a:pt x="161" y="75"/>
                  </a:lnTo>
                  <a:lnTo>
                    <a:pt x="158" y="72"/>
                  </a:lnTo>
                  <a:lnTo>
                    <a:pt x="152" y="78"/>
                  </a:lnTo>
                  <a:lnTo>
                    <a:pt x="138" y="89"/>
                  </a:lnTo>
                  <a:lnTo>
                    <a:pt x="138" y="86"/>
                  </a:lnTo>
                  <a:lnTo>
                    <a:pt x="138" y="83"/>
                  </a:lnTo>
                  <a:lnTo>
                    <a:pt x="132" y="89"/>
                  </a:lnTo>
                  <a:lnTo>
                    <a:pt x="129" y="89"/>
                  </a:lnTo>
                  <a:lnTo>
                    <a:pt x="123" y="86"/>
                  </a:lnTo>
                  <a:lnTo>
                    <a:pt x="118" y="83"/>
                  </a:lnTo>
                  <a:lnTo>
                    <a:pt x="112" y="78"/>
                  </a:lnTo>
                  <a:lnTo>
                    <a:pt x="112" y="75"/>
                  </a:lnTo>
                  <a:lnTo>
                    <a:pt x="112" y="60"/>
                  </a:lnTo>
                  <a:lnTo>
                    <a:pt x="109" y="60"/>
                  </a:lnTo>
                  <a:lnTo>
                    <a:pt x="100" y="66"/>
                  </a:lnTo>
                  <a:lnTo>
                    <a:pt x="98" y="66"/>
                  </a:lnTo>
                  <a:lnTo>
                    <a:pt x="98" y="63"/>
                  </a:lnTo>
                  <a:lnTo>
                    <a:pt x="95" y="66"/>
                  </a:lnTo>
                  <a:lnTo>
                    <a:pt x="75" y="66"/>
                  </a:lnTo>
                  <a:lnTo>
                    <a:pt x="69" y="69"/>
                  </a:lnTo>
                  <a:lnTo>
                    <a:pt x="66" y="75"/>
                  </a:lnTo>
                  <a:lnTo>
                    <a:pt x="80" y="78"/>
                  </a:lnTo>
                  <a:lnTo>
                    <a:pt x="80" y="92"/>
                  </a:lnTo>
                  <a:lnTo>
                    <a:pt x="77" y="92"/>
                  </a:lnTo>
                  <a:lnTo>
                    <a:pt x="72" y="89"/>
                  </a:lnTo>
                  <a:lnTo>
                    <a:pt x="63" y="89"/>
                  </a:lnTo>
                  <a:lnTo>
                    <a:pt x="63" y="104"/>
                  </a:lnTo>
                  <a:lnTo>
                    <a:pt x="72" y="112"/>
                  </a:lnTo>
                  <a:lnTo>
                    <a:pt x="75" y="115"/>
                  </a:lnTo>
                  <a:lnTo>
                    <a:pt x="75" y="121"/>
                  </a:lnTo>
                  <a:lnTo>
                    <a:pt x="75" y="132"/>
                  </a:lnTo>
                  <a:lnTo>
                    <a:pt x="72" y="147"/>
                  </a:lnTo>
                  <a:lnTo>
                    <a:pt x="69" y="181"/>
                  </a:lnTo>
                  <a:lnTo>
                    <a:pt x="69" y="187"/>
                  </a:lnTo>
                  <a:lnTo>
                    <a:pt x="66" y="184"/>
                  </a:lnTo>
                  <a:lnTo>
                    <a:pt x="63" y="187"/>
                  </a:lnTo>
                  <a:lnTo>
                    <a:pt x="54" y="184"/>
                  </a:lnTo>
                  <a:lnTo>
                    <a:pt x="52" y="187"/>
                  </a:lnTo>
                  <a:lnTo>
                    <a:pt x="46" y="190"/>
                  </a:lnTo>
                  <a:lnTo>
                    <a:pt x="32" y="193"/>
                  </a:lnTo>
                  <a:lnTo>
                    <a:pt x="23" y="195"/>
                  </a:lnTo>
                  <a:lnTo>
                    <a:pt x="20" y="204"/>
                  </a:lnTo>
                  <a:lnTo>
                    <a:pt x="14" y="215"/>
                  </a:lnTo>
                  <a:lnTo>
                    <a:pt x="14" y="227"/>
                  </a:lnTo>
                  <a:lnTo>
                    <a:pt x="11" y="233"/>
                  </a:lnTo>
                  <a:lnTo>
                    <a:pt x="9" y="233"/>
                  </a:lnTo>
                  <a:lnTo>
                    <a:pt x="6" y="233"/>
                  </a:lnTo>
                  <a:lnTo>
                    <a:pt x="6" y="236"/>
                  </a:lnTo>
                  <a:lnTo>
                    <a:pt x="6" y="244"/>
                  </a:lnTo>
                  <a:lnTo>
                    <a:pt x="3" y="244"/>
                  </a:lnTo>
                  <a:lnTo>
                    <a:pt x="0" y="247"/>
                  </a:lnTo>
                  <a:lnTo>
                    <a:pt x="3" y="250"/>
                  </a:lnTo>
                  <a:lnTo>
                    <a:pt x="20" y="279"/>
                  </a:lnTo>
                  <a:lnTo>
                    <a:pt x="17" y="282"/>
                  </a:lnTo>
                  <a:lnTo>
                    <a:pt x="32" y="287"/>
                  </a:lnTo>
                  <a:lnTo>
                    <a:pt x="37" y="293"/>
                  </a:lnTo>
                  <a:lnTo>
                    <a:pt x="49" y="290"/>
                  </a:lnTo>
                  <a:lnTo>
                    <a:pt x="63" y="282"/>
                  </a:lnTo>
                  <a:lnTo>
                    <a:pt x="63" y="284"/>
                  </a:lnTo>
                  <a:lnTo>
                    <a:pt x="63" y="299"/>
                  </a:lnTo>
                  <a:lnTo>
                    <a:pt x="63" y="307"/>
                  </a:lnTo>
                  <a:lnTo>
                    <a:pt x="66" y="313"/>
                  </a:lnTo>
                  <a:lnTo>
                    <a:pt x="66" y="316"/>
                  </a:lnTo>
                  <a:lnTo>
                    <a:pt x="75" y="313"/>
                  </a:lnTo>
                  <a:lnTo>
                    <a:pt x="92" y="316"/>
                  </a:lnTo>
                  <a:lnTo>
                    <a:pt x="100" y="316"/>
                  </a:lnTo>
                  <a:lnTo>
                    <a:pt x="106" y="307"/>
                  </a:lnTo>
                  <a:lnTo>
                    <a:pt x="115" y="299"/>
                  </a:lnTo>
                  <a:lnTo>
                    <a:pt x="129" y="293"/>
                  </a:lnTo>
                  <a:lnTo>
                    <a:pt x="152" y="287"/>
                  </a:lnTo>
                  <a:lnTo>
                    <a:pt x="152" y="290"/>
                  </a:lnTo>
                  <a:lnTo>
                    <a:pt x="152" y="307"/>
                  </a:lnTo>
                  <a:lnTo>
                    <a:pt x="152" y="313"/>
                  </a:lnTo>
                  <a:lnTo>
                    <a:pt x="155" y="325"/>
                  </a:lnTo>
                  <a:lnTo>
                    <a:pt x="161" y="333"/>
                  </a:lnTo>
                  <a:lnTo>
                    <a:pt x="169" y="339"/>
                  </a:lnTo>
                  <a:lnTo>
                    <a:pt x="175" y="342"/>
                  </a:lnTo>
                  <a:lnTo>
                    <a:pt x="187" y="345"/>
                  </a:lnTo>
                  <a:lnTo>
                    <a:pt x="209" y="359"/>
                  </a:lnTo>
                  <a:lnTo>
                    <a:pt x="227" y="365"/>
                  </a:lnTo>
                  <a:lnTo>
                    <a:pt x="230" y="365"/>
                  </a:lnTo>
                  <a:lnTo>
                    <a:pt x="232" y="365"/>
                  </a:lnTo>
                  <a:lnTo>
                    <a:pt x="235" y="368"/>
                  </a:lnTo>
                  <a:lnTo>
                    <a:pt x="238" y="371"/>
                  </a:lnTo>
                  <a:lnTo>
                    <a:pt x="241" y="379"/>
                  </a:lnTo>
                  <a:lnTo>
                    <a:pt x="241" y="388"/>
                  </a:lnTo>
                  <a:lnTo>
                    <a:pt x="244" y="391"/>
                  </a:lnTo>
                  <a:lnTo>
                    <a:pt x="244" y="388"/>
                  </a:lnTo>
                  <a:lnTo>
                    <a:pt x="247" y="391"/>
                  </a:lnTo>
                  <a:lnTo>
                    <a:pt x="244" y="399"/>
                  </a:lnTo>
                  <a:lnTo>
                    <a:pt x="247" y="416"/>
                  </a:lnTo>
                  <a:lnTo>
                    <a:pt x="281" y="419"/>
                  </a:lnTo>
                  <a:lnTo>
                    <a:pt x="278" y="422"/>
                  </a:lnTo>
                  <a:lnTo>
                    <a:pt x="278" y="431"/>
                  </a:lnTo>
                  <a:lnTo>
                    <a:pt x="281" y="437"/>
                  </a:lnTo>
                  <a:lnTo>
                    <a:pt x="290" y="442"/>
                  </a:lnTo>
                  <a:lnTo>
                    <a:pt x="293" y="448"/>
                  </a:lnTo>
                  <a:lnTo>
                    <a:pt x="296" y="457"/>
                  </a:lnTo>
                  <a:lnTo>
                    <a:pt x="296" y="460"/>
                  </a:lnTo>
                  <a:lnTo>
                    <a:pt x="296" y="477"/>
                  </a:lnTo>
                  <a:lnTo>
                    <a:pt x="293" y="488"/>
                  </a:lnTo>
                  <a:lnTo>
                    <a:pt x="296" y="491"/>
                  </a:lnTo>
                  <a:lnTo>
                    <a:pt x="293" y="491"/>
                  </a:lnTo>
                  <a:lnTo>
                    <a:pt x="293" y="494"/>
                  </a:lnTo>
                  <a:lnTo>
                    <a:pt x="293" y="497"/>
                  </a:lnTo>
                  <a:lnTo>
                    <a:pt x="293" y="503"/>
                  </a:lnTo>
                  <a:lnTo>
                    <a:pt x="296" y="503"/>
                  </a:lnTo>
                  <a:lnTo>
                    <a:pt x="298" y="503"/>
                  </a:lnTo>
                  <a:lnTo>
                    <a:pt x="298" y="505"/>
                  </a:lnTo>
                  <a:lnTo>
                    <a:pt x="298" y="508"/>
                  </a:lnTo>
                  <a:lnTo>
                    <a:pt x="298" y="514"/>
                  </a:lnTo>
                  <a:lnTo>
                    <a:pt x="304" y="520"/>
                  </a:lnTo>
                  <a:lnTo>
                    <a:pt x="313" y="528"/>
                  </a:lnTo>
                  <a:lnTo>
                    <a:pt x="319" y="534"/>
                  </a:lnTo>
                  <a:lnTo>
                    <a:pt x="327" y="534"/>
                  </a:lnTo>
                  <a:lnTo>
                    <a:pt x="333" y="540"/>
                  </a:lnTo>
                  <a:lnTo>
                    <a:pt x="342" y="551"/>
                  </a:lnTo>
                  <a:lnTo>
                    <a:pt x="344" y="560"/>
                  </a:lnTo>
                  <a:lnTo>
                    <a:pt x="347" y="569"/>
                  </a:lnTo>
                  <a:lnTo>
                    <a:pt x="353" y="566"/>
                  </a:lnTo>
                  <a:lnTo>
                    <a:pt x="359" y="563"/>
                  </a:lnTo>
                  <a:lnTo>
                    <a:pt x="362" y="566"/>
                  </a:lnTo>
                  <a:lnTo>
                    <a:pt x="364" y="569"/>
                  </a:lnTo>
                  <a:lnTo>
                    <a:pt x="367" y="574"/>
                  </a:lnTo>
                  <a:lnTo>
                    <a:pt x="370" y="583"/>
                  </a:lnTo>
                  <a:lnTo>
                    <a:pt x="367" y="589"/>
                  </a:lnTo>
                  <a:lnTo>
                    <a:pt x="362" y="597"/>
                  </a:lnTo>
                  <a:lnTo>
                    <a:pt x="367" y="597"/>
                  </a:lnTo>
                  <a:lnTo>
                    <a:pt x="373" y="597"/>
                  </a:lnTo>
                  <a:lnTo>
                    <a:pt x="379" y="606"/>
                  </a:lnTo>
                  <a:lnTo>
                    <a:pt x="382" y="617"/>
                  </a:lnTo>
                  <a:lnTo>
                    <a:pt x="385" y="626"/>
                  </a:lnTo>
                  <a:lnTo>
                    <a:pt x="382" y="632"/>
                  </a:lnTo>
                  <a:lnTo>
                    <a:pt x="376" y="635"/>
                  </a:lnTo>
                  <a:lnTo>
                    <a:pt x="362" y="643"/>
                  </a:lnTo>
                  <a:lnTo>
                    <a:pt x="356" y="646"/>
                  </a:lnTo>
                  <a:lnTo>
                    <a:pt x="353" y="652"/>
                  </a:lnTo>
                  <a:lnTo>
                    <a:pt x="339" y="669"/>
                  </a:lnTo>
                  <a:lnTo>
                    <a:pt x="333" y="681"/>
                  </a:lnTo>
                  <a:lnTo>
                    <a:pt x="327" y="689"/>
                  </a:lnTo>
                  <a:lnTo>
                    <a:pt x="330" y="689"/>
                  </a:lnTo>
                  <a:lnTo>
                    <a:pt x="336" y="686"/>
                  </a:lnTo>
                  <a:lnTo>
                    <a:pt x="336" y="689"/>
                  </a:lnTo>
                  <a:lnTo>
                    <a:pt x="347" y="695"/>
                  </a:lnTo>
                  <a:lnTo>
                    <a:pt x="350" y="698"/>
                  </a:lnTo>
                  <a:lnTo>
                    <a:pt x="356" y="704"/>
                  </a:lnTo>
                  <a:lnTo>
                    <a:pt x="359" y="701"/>
                  </a:lnTo>
                  <a:lnTo>
                    <a:pt x="367" y="709"/>
                  </a:lnTo>
                  <a:lnTo>
                    <a:pt x="370" y="712"/>
                  </a:lnTo>
                  <a:lnTo>
                    <a:pt x="379" y="715"/>
                  </a:lnTo>
                  <a:lnTo>
                    <a:pt x="385" y="718"/>
                  </a:lnTo>
                  <a:lnTo>
                    <a:pt x="387" y="721"/>
                  </a:lnTo>
                  <a:lnTo>
                    <a:pt x="390" y="724"/>
                  </a:lnTo>
                  <a:lnTo>
                    <a:pt x="396" y="724"/>
                  </a:lnTo>
                  <a:lnTo>
                    <a:pt x="399" y="727"/>
                  </a:lnTo>
                  <a:lnTo>
                    <a:pt x="402" y="732"/>
                  </a:lnTo>
                  <a:lnTo>
                    <a:pt x="405" y="735"/>
                  </a:lnTo>
                  <a:lnTo>
                    <a:pt x="408" y="735"/>
                  </a:lnTo>
                  <a:lnTo>
                    <a:pt x="410" y="732"/>
                  </a:lnTo>
                  <a:lnTo>
                    <a:pt x="408" y="747"/>
                  </a:lnTo>
                  <a:lnTo>
                    <a:pt x="408" y="752"/>
                  </a:lnTo>
                  <a:lnTo>
                    <a:pt x="408" y="755"/>
                  </a:lnTo>
                  <a:lnTo>
                    <a:pt x="408" y="758"/>
                  </a:lnTo>
                  <a:lnTo>
                    <a:pt x="416" y="752"/>
                  </a:lnTo>
                  <a:lnTo>
                    <a:pt x="419" y="747"/>
                  </a:lnTo>
                  <a:lnTo>
                    <a:pt x="419" y="744"/>
                  </a:lnTo>
                  <a:lnTo>
                    <a:pt x="419" y="735"/>
                  </a:lnTo>
                  <a:lnTo>
                    <a:pt x="422" y="727"/>
                  </a:lnTo>
                  <a:lnTo>
                    <a:pt x="428" y="721"/>
                  </a:lnTo>
                  <a:lnTo>
                    <a:pt x="422" y="721"/>
                  </a:lnTo>
                  <a:lnTo>
                    <a:pt x="422" y="709"/>
                  </a:lnTo>
                  <a:lnTo>
                    <a:pt x="431" y="706"/>
                  </a:lnTo>
                  <a:lnTo>
                    <a:pt x="431" y="695"/>
                  </a:lnTo>
                  <a:lnTo>
                    <a:pt x="433" y="689"/>
                  </a:lnTo>
                  <a:lnTo>
                    <a:pt x="436" y="692"/>
                  </a:lnTo>
                  <a:lnTo>
                    <a:pt x="439" y="692"/>
                  </a:lnTo>
                  <a:lnTo>
                    <a:pt x="439" y="701"/>
                  </a:lnTo>
                  <a:lnTo>
                    <a:pt x="433" y="715"/>
                  </a:lnTo>
                  <a:lnTo>
                    <a:pt x="431" y="721"/>
                  </a:lnTo>
                  <a:lnTo>
                    <a:pt x="436" y="712"/>
                  </a:lnTo>
                  <a:lnTo>
                    <a:pt x="448" y="695"/>
                  </a:lnTo>
                  <a:lnTo>
                    <a:pt x="451" y="675"/>
                  </a:lnTo>
                  <a:lnTo>
                    <a:pt x="465" y="658"/>
                  </a:lnTo>
                  <a:lnTo>
                    <a:pt x="468" y="643"/>
                  </a:lnTo>
                  <a:lnTo>
                    <a:pt x="471" y="640"/>
                  </a:lnTo>
                  <a:lnTo>
                    <a:pt x="468" y="635"/>
                  </a:lnTo>
                  <a:lnTo>
                    <a:pt x="465" y="617"/>
                  </a:lnTo>
                  <a:lnTo>
                    <a:pt x="465" y="606"/>
                  </a:lnTo>
                  <a:lnTo>
                    <a:pt x="465" y="600"/>
                  </a:lnTo>
                  <a:lnTo>
                    <a:pt x="465" y="592"/>
                  </a:lnTo>
                  <a:lnTo>
                    <a:pt x="471" y="594"/>
                  </a:lnTo>
                  <a:lnTo>
                    <a:pt x="471" y="589"/>
                  </a:lnTo>
                  <a:lnTo>
                    <a:pt x="474" y="586"/>
                  </a:lnTo>
                  <a:lnTo>
                    <a:pt x="485" y="580"/>
                  </a:lnTo>
                  <a:lnTo>
                    <a:pt x="488" y="574"/>
                  </a:lnTo>
                  <a:lnTo>
                    <a:pt x="494" y="569"/>
                  </a:lnTo>
                  <a:lnTo>
                    <a:pt x="499" y="569"/>
                  </a:lnTo>
                  <a:lnTo>
                    <a:pt x="505" y="566"/>
                  </a:lnTo>
                  <a:lnTo>
                    <a:pt x="511" y="569"/>
                  </a:lnTo>
                  <a:lnTo>
                    <a:pt x="514" y="566"/>
                  </a:lnTo>
                  <a:lnTo>
                    <a:pt x="514" y="560"/>
                  </a:lnTo>
                  <a:lnTo>
                    <a:pt x="519" y="557"/>
                  </a:lnTo>
                  <a:lnTo>
                    <a:pt x="525" y="557"/>
                  </a:lnTo>
                  <a:lnTo>
                    <a:pt x="525" y="551"/>
                  </a:lnTo>
                  <a:lnTo>
                    <a:pt x="528" y="549"/>
                  </a:lnTo>
                  <a:lnTo>
                    <a:pt x="528" y="554"/>
                  </a:lnTo>
                  <a:lnTo>
                    <a:pt x="534" y="551"/>
                  </a:lnTo>
                  <a:lnTo>
                    <a:pt x="542" y="551"/>
                  </a:lnTo>
                  <a:lnTo>
                    <a:pt x="548" y="549"/>
                  </a:lnTo>
                  <a:lnTo>
                    <a:pt x="560" y="549"/>
                  </a:lnTo>
                  <a:lnTo>
                    <a:pt x="565" y="549"/>
                  </a:lnTo>
                  <a:lnTo>
                    <a:pt x="565" y="546"/>
                  </a:lnTo>
                  <a:lnTo>
                    <a:pt x="568" y="540"/>
                  </a:lnTo>
                  <a:lnTo>
                    <a:pt x="580" y="531"/>
                  </a:lnTo>
                  <a:lnTo>
                    <a:pt x="583" y="526"/>
                  </a:lnTo>
                  <a:lnTo>
                    <a:pt x="583" y="517"/>
                  </a:lnTo>
                  <a:lnTo>
                    <a:pt x="583" y="511"/>
                  </a:lnTo>
                  <a:lnTo>
                    <a:pt x="586" y="508"/>
                  </a:lnTo>
                  <a:lnTo>
                    <a:pt x="588" y="505"/>
                  </a:lnTo>
                  <a:lnTo>
                    <a:pt x="591" y="500"/>
                  </a:lnTo>
                  <a:lnTo>
                    <a:pt x="597" y="482"/>
                  </a:lnTo>
                  <a:lnTo>
                    <a:pt x="600" y="480"/>
                  </a:lnTo>
                  <a:lnTo>
                    <a:pt x="600" y="477"/>
                  </a:lnTo>
                  <a:lnTo>
                    <a:pt x="600" y="468"/>
                  </a:lnTo>
                  <a:lnTo>
                    <a:pt x="600" y="460"/>
                  </a:lnTo>
                  <a:lnTo>
                    <a:pt x="603" y="454"/>
                  </a:lnTo>
                  <a:lnTo>
                    <a:pt x="606" y="448"/>
                  </a:lnTo>
                  <a:lnTo>
                    <a:pt x="606" y="442"/>
                  </a:lnTo>
                  <a:lnTo>
                    <a:pt x="608" y="419"/>
                  </a:lnTo>
                  <a:lnTo>
                    <a:pt x="611" y="408"/>
                  </a:lnTo>
                  <a:lnTo>
                    <a:pt x="608" y="396"/>
                  </a:lnTo>
                  <a:lnTo>
                    <a:pt x="608" y="382"/>
                  </a:lnTo>
                  <a:lnTo>
                    <a:pt x="606" y="368"/>
                  </a:lnTo>
                  <a:lnTo>
                    <a:pt x="606" y="356"/>
                  </a:lnTo>
                  <a:lnTo>
                    <a:pt x="614" y="350"/>
                  </a:lnTo>
                  <a:lnTo>
                    <a:pt x="617" y="348"/>
                  </a:lnTo>
                  <a:lnTo>
                    <a:pt x="623" y="342"/>
                  </a:lnTo>
                  <a:lnTo>
                    <a:pt x="631" y="325"/>
                  </a:lnTo>
                  <a:lnTo>
                    <a:pt x="634" y="316"/>
                  </a:lnTo>
                  <a:lnTo>
                    <a:pt x="643" y="307"/>
                  </a:lnTo>
                  <a:lnTo>
                    <a:pt x="652" y="299"/>
                  </a:lnTo>
                  <a:lnTo>
                    <a:pt x="663" y="279"/>
                  </a:lnTo>
                  <a:lnTo>
                    <a:pt x="669" y="267"/>
                  </a:lnTo>
                  <a:lnTo>
                    <a:pt x="672" y="250"/>
                  </a:lnTo>
                  <a:lnTo>
                    <a:pt x="669" y="224"/>
                  </a:lnTo>
                  <a:lnTo>
                    <a:pt x="666" y="20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01" name="Freeform 402"/>
            <p:cNvSpPr>
              <a:spLocks/>
            </p:cNvSpPr>
            <p:nvPr/>
          </p:nvSpPr>
          <p:spPr bwMode="auto">
            <a:xfrm>
              <a:off x="3209925" y="2054225"/>
              <a:ext cx="9525" cy="14288"/>
            </a:xfrm>
            <a:custGeom>
              <a:avLst/>
              <a:gdLst>
                <a:gd name="T0" fmla="*/ 0 w 6"/>
                <a:gd name="T1" fmla="*/ 2147483647 h 9"/>
                <a:gd name="T2" fmla="*/ 2147483647 w 6"/>
                <a:gd name="T3" fmla="*/ 2147483647 h 9"/>
                <a:gd name="T4" fmla="*/ 2147483647 w 6"/>
                <a:gd name="T5" fmla="*/ 2147483647 h 9"/>
                <a:gd name="T6" fmla="*/ 2147483647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9"/>
                <a:gd name="T20" fmla="*/ 6 w 6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9">
                  <a:moveTo>
                    <a:pt x="0" y="9"/>
                  </a:moveTo>
                  <a:lnTo>
                    <a:pt x="6" y="6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6"/>
                  </a:lnTo>
                  <a:lnTo>
                    <a:pt x="0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02" name="Freeform 403"/>
            <p:cNvSpPr>
              <a:spLocks/>
            </p:cNvSpPr>
            <p:nvPr/>
          </p:nvSpPr>
          <p:spPr bwMode="auto">
            <a:xfrm>
              <a:off x="3205163" y="2008188"/>
              <a:ext cx="17462" cy="23812"/>
            </a:xfrm>
            <a:custGeom>
              <a:avLst/>
              <a:gdLst>
                <a:gd name="T0" fmla="*/ 0 w 11"/>
                <a:gd name="T1" fmla="*/ 2147483647 h 15"/>
                <a:gd name="T2" fmla="*/ 2147483647 w 11"/>
                <a:gd name="T3" fmla="*/ 2147483647 h 15"/>
                <a:gd name="T4" fmla="*/ 2147483647 w 11"/>
                <a:gd name="T5" fmla="*/ 2147483647 h 15"/>
                <a:gd name="T6" fmla="*/ 2147483647 w 11"/>
                <a:gd name="T7" fmla="*/ 2147483647 h 15"/>
                <a:gd name="T8" fmla="*/ 2147483647 w 11"/>
                <a:gd name="T9" fmla="*/ 0 h 15"/>
                <a:gd name="T10" fmla="*/ 2147483647 w 11"/>
                <a:gd name="T11" fmla="*/ 0 h 15"/>
                <a:gd name="T12" fmla="*/ 2147483647 w 11"/>
                <a:gd name="T13" fmla="*/ 2147483647 h 15"/>
                <a:gd name="T14" fmla="*/ 0 w 11"/>
                <a:gd name="T15" fmla="*/ 2147483647 h 1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"/>
                <a:gd name="T25" fmla="*/ 0 h 15"/>
                <a:gd name="T26" fmla="*/ 11 w 11"/>
                <a:gd name="T27" fmla="*/ 15 h 1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" h="15">
                  <a:moveTo>
                    <a:pt x="0" y="12"/>
                  </a:moveTo>
                  <a:lnTo>
                    <a:pt x="3" y="15"/>
                  </a:lnTo>
                  <a:lnTo>
                    <a:pt x="6" y="6"/>
                  </a:lnTo>
                  <a:lnTo>
                    <a:pt x="11" y="6"/>
                  </a:lnTo>
                  <a:lnTo>
                    <a:pt x="11" y="0"/>
                  </a:lnTo>
                  <a:lnTo>
                    <a:pt x="9" y="0"/>
                  </a:lnTo>
                  <a:lnTo>
                    <a:pt x="3" y="6"/>
                  </a:ln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03" name="Freeform 404"/>
            <p:cNvSpPr>
              <a:spLocks/>
            </p:cNvSpPr>
            <p:nvPr/>
          </p:nvSpPr>
          <p:spPr bwMode="auto">
            <a:xfrm>
              <a:off x="3357563" y="2146300"/>
              <a:ext cx="12700" cy="19050"/>
            </a:xfrm>
            <a:custGeom>
              <a:avLst/>
              <a:gdLst>
                <a:gd name="T0" fmla="*/ 0 w 8"/>
                <a:gd name="T1" fmla="*/ 2147483647 h 11"/>
                <a:gd name="T2" fmla="*/ 2147483647 w 8"/>
                <a:gd name="T3" fmla="*/ 2147483647 h 11"/>
                <a:gd name="T4" fmla="*/ 2147483647 w 8"/>
                <a:gd name="T5" fmla="*/ 2147483647 h 11"/>
                <a:gd name="T6" fmla="*/ 2147483647 w 8"/>
                <a:gd name="T7" fmla="*/ 0 h 11"/>
                <a:gd name="T8" fmla="*/ 0 w 8"/>
                <a:gd name="T9" fmla="*/ 2147483647 h 11"/>
                <a:gd name="T10" fmla="*/ 0 w 8"/>
                <a:gd name="T11" fmla="*/ 2147483647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11"/>
                <a:gd name="T20" fmla="*/ 8 w 8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11">
                  <a:moveTo>
                    <a:pt x="0" y="11"/>
                  </a:moveTo>
                  <a:lnTo>
                    <a:pt x="5" y="11"/>
                  </a:lnTo>
                  <a:lnTo>
                    <a:pt x="8" y="5"/>
                  </a:lnTo>
                  <a:lnTo>
                    <a:pt x="8" y="0"/>
                  </a:lnTo>
                  <a:lnTo>
                    <a:pt x="0" y="5"/>
                  </a:lnTo>
                  <a:lnTo>
                    <a:pt x="0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04" name="Freeform 405"/>
            <p:cNvSpPr>
              <a:spLocks/>
            </p:cNvSpPr>
            <p:nvPr/>
          </p:nvSpPr>
          <p:spPr bwMode="auto">
            <a:xfrm>
              <a:off x="2851150" y="5626100"/>
              <a:ext cx="31750" cy="36513"/>
            </a:xfrm>
            <a:custGeom>
              <a:avLst/>
              <a:gdLst>
                <a:gd name="T0" fmla="*/ 2147483647 w 20"/>
                <a:gd name="T1" fmla="*/ 2147483647 h 23"/>
                <a:gd name="T2" fmla="*/ 2147483647 w 20"/>
                <a:gd name="T3" fmla="*/ 2147483647 h 23"/>
                <a:gd name="T4" fmla="*/ 2147483647 w 20"/>
                <a:gd name="T5" fmla="*/ 2147483647 h 23"/>
                <a:gd name="T6" fmla="*/ 2147483647 w 20"/>
                <a:gd name="T7" fmla="*/ 0 h 23"/>
                <a:gd name="T8" fmla="*/ 2147483647 w 20"/>
                <a:gd name="T9" fmla="*/ 0 h 23"/>
                <a:gd name="T10" fmla="*/ 2147483647 w 20"/>
                <a:gd name="T11" fmla="*/ 0 h 23"/>
                <a:gd name="T12" fmla="*/ 2147483647 w 20"/>
                <a:gd name="T13" fmla="*/ 0 h 23"/>
                <a:gd name="T14" fmla="*/ 2147483647 w 20"/>
                <a:gd name="T15" fmla="*/ 0 h 23"/>
                <a:gd name="T16" fmla="*/ 2147483647 w 20"/>
                <a:gd name="T17" fmla="*/ 2147483647 h 23"/>
                <a:gd name="T18" fmla="*/ 2147483647 w 20"/>
                <a:gd name="T19" fmla="*/ 2147483647 h 23"/>
                <a:gd name="T20" fmla="*/ 2147483647 w 20"/>
                <a:gd name="T21" fmla="*/ 0 h 23"/>
                <a:gd name="T22" fmla="*/ 2147483647 w 20"/>
                <a:gd name="T23" fmla="*/ 2147483647 h 23"/>
                <a:gd name="T24" fmla="*/ 0 w 20"/>
                <a:gd name="T25" fmla="*/ 2147483647 h 23"/>
                <a:gd name="T26" fmla="*/ 0 w 20"/>
                <a:gd name="T27" fmla="*/ 2147483647 h 23"/>
                <a:gd name="T28" fmla="*/ 0 w 20"/>
                <a:gd name="T29" fmla="*/ 2147483647 h 23"/>
                <a:gd name="T30" fmla="*/ 0 w 20"/>
                <a:gd name="T31" fmla="*/ 2147483647 h 23"/>
                <a:gd name="T32" fmla="*/ 2147483647 w 20"/>
                <a:gd name="T33" fmla="*/ 2147483647 h 23"/>
                <a:gd name="T34" fmla="*/ 2147483647 w 20"/>
                <a:gd name="T35" fmla="*/ 2147483647 h 23"/>
                <a:gd name="T36" fmla="*/ 2147483647 w 20"/>
                <a:gd name="T37" fmla="*/ 2147483647 h 23"/>
                <a:gd name="T38" fmla="*/ 2147483647 w 20"/>
                <a:gd name="T39" fmla="*/ 2147483647 h 23"/>
                <a:gd name="T40" fmla="*/ 2147483647 w 20"/>
                <a:gd name="T41" fmla="*/ 2147483647 h 23"/>
                <a:gd name="T42" fmla="*/ 2147483647 w 20"/>
                <a:gd name="T43" fmla="*/ 2147483647 h 23"/>
                <a:gd name="T44" fmla="*/ 2147483647 w 20"/>
                <a:gd name="T45" fmla="*/ 2147483647 h 23"/>
                <a:gd name="T46" fmla="*/ 2147483647 w 20"/>
                <a:gd name="T47" fmla="*/ 2147483647 h 23"/>
                <a:gd name="T48" fmla="*/ 2147483647 w 20"/>
                <a:gd name="T49" fmla="*/ 2147483647 h 23"/>
                <a:gd name="T50" fmla="*/ 2147483647 w 20"/>
                <a:gd name="T51" fmla="*/ 2147483647 h 23"/>
                <a:gd name="T52" fmla="*/ 2147483647 w 20"/>
                <a:gd name="T53" fmla="*/ 2147483647 h 23"/>
                <a:gd name="T54" fmla="*/ 2147483647 w 20"/>
                <a:gd name="T55" fmla="*/ 2147483647 h 23"/>
                <a:gd name="T56" fmla="*/ 2147483647 w 20"/>
                <a:gd name="T57" fmla="*/ 2147483647 h 23"/>
                <a:gd name="T58" fmla="*/ 2147483647 w 20"/>
                <a:gd name="T59" fmla="*/ 2147483647 h 23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20"/>
                <a:gd name="T91" fmla="*/ 0 h 23"/>
                <a:gd name="T92" fmla="*/ 20 w 20"/>
                <a:gd name="T93" fmla="*/ 23 h 23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20" h="23">
                  <a:moveTo>
                    <a:pt x="20" y="3"/>
                  </a:moveTo>
                  <a:lnTo>
                    <a:pt x="14" y="3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9" y="0"/>
                  </a:lnTo>
                  <a:lnTo>
                    <a:pt x="9" y="3"/>
                  </a:lnTo>
                  <a:lnTo>
                    <a:pt x="6" y="3"/>
                  </a:lnTo>
                  <a:lnTo>
                    <a:pt x="3" y="0"/>
                  </a:lnTo>
                  <a:lnTo>
                    <a:pt x="3" y="6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11"/>
                  </a:lnTo>
                  <a:lnTo>
                    <a:pt x="3" y="11"/>
                  </a:lnTo>
                  <a:lnTo>
                    <a:pt x="6" y="14"/>
                  </a:lnTo>
                  <a:lnTo>
                    <a:pt x="6" y="17"/>
                  </a:lnTo>
                  <a:lnTo>
                    <a:pt x="9" y="14"/>
                  </a:lnTo>
                  <a:lnTo>
                    <a:pt x="6" y="11"/>
                  </a:lnTo>
                  <a:lnTo>
                    <a:pt x="11" y="11"/>
                  </a:lnTo>
                  <a:lnTo>
                    <a:pt x="9" y="14"/>
                  </a:lnTo>
                  <a:lnTo>
                    <a:pt x="6" y="17"/>
                  </a:lnTo>
                  <a:lnTo>
                    <a:pt x="6" y="23"/>
                  </a:lnTo>
                  <a:lnTo>
                    <a:pt x="11" y="14"/>
                  </a:lnTo>
                  <a:lnTo>
                    <a:pt x="17" y="9"/>
                  </a:lnTo>
                  <a:lnTo>
                    <a:pt x="2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05" name="Rectangle 407"/>
            <p:cNvSpPr>
              <a:spLocks noChangeArrowheads="1"/>
            </p:cNvSpPr>
            <p:nvPr/>
          </p:nvSpPr>
          <p:spPr bwMode="auto">
            <a:xfrm>
              <a:off x="2841625" y="5643563"/>
              <a:ext cx="9525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06" name="Freeform 408"/>
            <p:cNvSpPr>
              <a:spLocks/>
            </p:cNvSpPr>
            <p:nvPr/>
          </p:nvSpPr>
          <p:spPr bwMode="auto">
            <a:xfrm>
              <a:off x="2846388" y="5648325"/>
              <a:ext cx="9525" cy="11113"/>
            </a:xfrm>
            <a:custGeom>
              <a:avLst/>
              <a:gdLst>
                <a:gd name="T0" fmla="*/ 0 w 6"/>
                <a:gd name="T1" fmla="*/ 2147483647 h 6"/>
                <a:gd name="T2" fmla="*/ 2147483647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0 h 6"/>
                <a:gd name="T10" fmla="*/ 0 w 6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6"/>
                <a:gd name="T20" fmla="*/ 6 w 6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6">
                  <a:moveTo>
                    <a:pt x="0" y="3"/>
                  </a:moveTo>
                  <a:lnTo>
                    <a:pt x="3" y="3"/>
                  </a:lnTo>
                  <a:lnTo>
                    <a:pt x="6" y="6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07" name="Freeform 409"/>
            <p:cNvSpPr>
              <a:spLocks/>
            </p:cNvSpPr>
            <p:nvPr/>
          </p:nvSpPr>
          <p:spPr bwMode="auto">
            <a:xfrm>
              <a:off x="2878138" y="5626100"/>
              <a:ext cx="42862" cy="33338"/>
            </a:xfrm>
            <a:custGeom>
              <a:avLst/>
              <a:gdLst>
                <a:gd name="T0" fmla="*/ 2147483647 w 26"/>
                <a:gd name="T1" fmla="*/ 2147483647 h 20"/>
                <a:gd name="T2" fmla="*/ 2147483647 w 26"/>
                <a:gd name="T3" fmla="*/ 2147483647 h 20"/>
                <a:gd name="T4" fmla="*/ 2147483647 w 26"/>
                <a:gd name="T5" fmla="*/ 2147483647 h 20"/>
                <a:gd name="T6" fmla="*/ 2147483647 w 26"/>
                <a:gd name="T7" fmla="*/ 2147483647 h 20"/>
                <a:gd name="T8" fmla="*/ 2147483647 w 26"/>
                <a:gd name="T9" fmla="*/ 0 h 20"/>
                <a:gd name="T10" fmla="*/ 2147483647 w 26"/>
                <a:gd name="T11" fmla="*/ 0 h 20"/>
                <a:gd name="T12" fmla="*/ 2147483647 w 26"/>
                <a:gd name="T13" fmla="*/ 2147483647 h 20"/>
                <a:gd name="T14" fmla="*/ 2147483647 w 26"/>
                <a:gd name="T15" fmla="*/ 2147483647 h 20"/>
                <a:gd name="T16" fmla="*/ 2147483647 w 26"/>
                <a:gd name="T17" fmla="*/ 2147483647 h 20"/>
                <a:gd name="T18" fmla="*/ 2147483647 w 26"/>
                <a:gd name="T19" fmla="*/ 2147483647 h 20"/>
                <a:gd name="T20" fmla="*/ 2147483647 w 26"/>
                <a:gd name="T21" fmla="*/ 2147483647 h 20"/>
                <a:gd name="T22" fmla="*/ 2147483647 w 26"/>
                <a:gd name="T23" fmla="*/ 2147483647 h 20"/>
                <a:gd name="T24" fmla="*/ 2147483647 w 26"/>
                <a:gd name="T25" fmla="*/ 2147483647 h 20"/>
                <a:gd name="T26" fmla="*/ 0 w 26"/>
                <a:gd name="T27" fmla="*/ 2147483647 h 20"/>
                <a:gd name="T28" fmla="*/ 0 w 26"/>
                <a:gd name="T29" fmla="*/ 2147483647 h 20"/>
                <a:gd name="T30" fmla="*/ 2147483647 w 26"/>
                <a:gd name="T31" fmla="*/ 2147483647 h 20"/>
                <a:gd name="T32" fmla="*/ 2147483647 w 26"/>
                <a:gd name="T33" fmla="*/ 2147483647 h 20"/>
                <a:gd name="T34" fmla="*/ 2147483647 w 26"/>
                <a:gd name="T35" fmla="*/ 2147483647 h 20"/>
                <a:gd name="T36" fmla="*/ 2147483647 w 26"/>
                <a:gd name="T37" fmla="*/ 2147483647 h 20"/>
                <a:gd name="T38" fmla="*/ 2147483647 w 26"/>
                <a:gd name="T39" fmla="*/ 2147483647 h 20"/>
                <a:gd name="T40" fmla="*/ 2147483647 w 26"/>
                <a:gd name="T41" fmla="*/ 2147483647 h 20"/>
                <a:gd name="T42" fmla="*/ 2147483647 w 26"/>
                <a:gd name="T43" fmla="*/ 2147483647 h 20"/>
                <a:gd name="T44" fmla="*/ 2147483647 w 26"/>
                <a:gd name="T45" fmla="*/ 2147483647 h 20"/>
                <a:gd name="T46" fmla="*/ 2147483647 w 26"/>
                <a:gd name="T47" fmla="*/ 2147483647 h 20"/>
                <a:gd name="T48" fmla="*/ 2147483647 w 26"/>
                <a:gd name="T49" fmla="*/ 2147483647 h 20"/>
                <a:gd name="T50" fmla="*/ 2147483647 w 26"/>
                <a:gd name="T51" fmla="*/ 2147483647 h 20"/>
                <a:gd name="T52" fmla="*/ 2147483647 w 26"/>
                <a:gd name="T53" fmla="*/ 2147483647 h 20"/>
                <a:gd name="T54" fmla="*/ 2147483647 w 26"/>
                <a:gd name="T55" fmla="*/ 2147483647 h 20"/>
                <a:gd name="T56" fmla="*/ 2147483647 w 26"/>
                <a:gd name="T57" fmla="*/ 2147483647 h 20"/>
                <a:gd name="T58" fmla="*/ 2147483647 w 26"/>
                <a:gd name="T59" fmla="*/ 2147483647 h 20"/>
                <a:gd name="T60" fmla="*/ 2147483647 w 26"/>
                <a:gd name="T61" fmla="*/ 2147483647 h 20"/>
                <a:gd name="T62" fmla="*/ 2147483647 w 26"/>
                <a:gd name="T63" fmla="*/ 2147483647 h 20"/>
                <a:gd name="T64" fmla="*/ 2147483647 w 26"/>
                <a:gd name="T65" fmla="*/ 2147483647 h 20"/>
                <a:gd name="T66" fmla="*/ 2147483647 w 26"/>
                <a:gd name="T67" fmla="*/ 2147483647 h 2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6"/>
                <a:gd name="T103" fmla="*/ 0 h 20"/>
                <a:gd name="T104" fmla="*/ 26 w 26"/>
                <a:gd name="T105" fmla="*/ 20 h 2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6" h="20">
                  <a:moveTo>
                    <a:pt x="23" y="3"/>
                  </a:moveTo>
                  <a:lnTo>
                    <a:pt x="23" y="3"/>
                  </a:lnTo>
                  <a:lnTo>
                    <a:pt x="15" y="3"/>
                  </a:lnTo>
                  <a:lnTo>
                    <a:pt x="9" y="0"/>
                  </a:lnTo>
                  <a:lnTo>
                    <a:pt x="9" y="3"/>
                  </a:lnTo>
                  <a:lnTo>
                    <a:pt x="6" y="3"/>
                  </a:lnTo>
                  <a:lnTo>
                    <a:pt x="9" y="6"/>
                  </a:lnTo>
                  <a:lnTo>
                    <a:pt x="6" y="11"/>
                  </a:lnTo>
                  <a:lnTo>
                    <a:pt x="0" y="20"/>
                  </a:lnTo>
                  <a:lnTo>
                    <a:pt x="3" y="20"/>
                  </a:lnTo>
                  <a:lnTo>
                    <a:pt x="6" y="20"/>
                  </a:lnTo>
                  <a:lnTo>
                    <a:pt x="9" y="20"/>
                  </a:lnTo>
                  <a:lnTo>
                    <a:pt x="12" y="17"/>
                  </a:lnTo>
                  <a:lnTo>
                    <a:pt x="15" y="17"/>
                  </a:lnTo>
                  <a:lnTo>
                    <a:pt x="17" y="14"/>
                  </a:lnTo>
                  <a:lnTo>
                    <a:pt x="15" y="14"/>
                  </a:lnTo>
                  <a:lnTo>
                    <a:pt x="17" y="14"/>
                  </a:lnTo>
                  <a:lnTo>
                    <a:pt x="23" y="11"/>
                  </a:lnTo>
                  <a:lnTo>
                    <a:pt x="26" y="9"/>
                  </a:lnTo>
                  <a:lnTo>
                    <a:pt x="26" y="6"/>
                  </a:lnTo>
                  <a:lnTo>
                    <a:pt x="26" y="3"/>
                  </a:lnTo>
                  <a:lnTo>
                    <a:pt x="2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08" name="Rectangle 410"/>
            <p:cNvSpPr>
              <a:spLocks noChangeArrowheads="1"/>
            </p:cNvSpPr>
            <p:nvPr/>
          </p:nvSpPr>
          <p:spPr bwMode="auto">
            <a:xfrm>
              <a:off x="2921000" y="5640388"/>
              <a:ext cx="1588" cy="1587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09" name="Freeform 411"/>
            <p:cNvSpPr>
              <a:spLocks/>
            </p:cNvSpPr>
            <p:nvPr/>
          </p:nvSpPr>
          <p:spPr bwMode="auto">
            <a:xfrm>
              <a:off x="2662238" y="5722938"/>
              <a:ext cx="4762" cy="4762"/>
            </a:xfrm>
            <a:custGeom>
              <a:avLst/>
              <a:gdLst>
                <a:gd name="T0" fmla="*/ 0 w 3"/>
                <a:gd name="T1" fmla="*/ 0 h 3"/>
                <a:gd name="T2" fmla="*/ 2147483647 w 3"/>
                <a:gd name="T3" fmla="*/ 2147483647 h 3"/>
                <a:gd name="T4" fmla="*/ 2147483647 w 3"/>
                <a:gd name="T5" fmla="*/ 0 h 3"/>
                <a:gd name="T6" fmla="*/ 2147483647 w 3"/>
                <a:gd name="T7" fmla="*/ 0 h 3"/>
                <a:gd name="T8" fmla="*/ 0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0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10" name="Rectangle 412"/>
            <p:cNvSpPr>
              <a:spLocks noChangeArrowheads="1"/>
            </p:cNvSpPr>
            <p:nvPr/>
          </p:nvSpPr>
          <p:spPr bwMode="auto">
            <a:xfrm>
              <a:off x="2427288" y="5400675"/>
              <a:ext cx="4762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11" name="Freeform 413"/>
            <p:cNvSpPr>
              <a:spLocks/>
            </p:cNvSpPr>
            <p:nvPr/>
          </p:nvSpPr>
          <p:spPr bwMode="auto">
            <a:xfrm>
              <a:off x="2460625" y="5441950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0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2147483647 w 6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6"/>
                <a:gd name="T20" fmla="*/ 6 w 6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6">
                  <a:moveTo>
                    <a:pt x="3" y="3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12" name="Freeform 414"/>
            <p:cNvSpPr>
              <a:spLocks/>
            </p:cNvSpPr>
            <p:nvPr/>
          </p:nvSpPr>
          <p:spPr bwMode="auto">
            <a:xfrm>
              <a:off x="2432050" y="5414963"/>
              <a:ext cx="9525" cy="9525"/>
            </a:xfrm>
            <a:custGeom>
              <a:avLst/>
              <a:gdLst>
                <a:gd name="T0" fmla="*/ 2147483647 w 5"/>
                <a:gd name="T1" fmla="*/ 2147483647 h 6"/>
                <a:gd name="T2" fmla="*/ 2147483647 w 5"/>
                <a:gd name="T3" fmla="*/ 2147483647 h 6"/>
                <a:gd name="T4" fmla="*/ 2147483647 w 5"/>
                <a:gd name="T5" fmla="*/ 0 h 6"/>
                <a:gd name="T6" fmla="*/ 2147483647 w 5"/>
                <a:gd name="T7" fmla="*/ 2147483647 h 6"/>
                <a:gd name="T8" fmla="*/ 0 w 5"/>
                <a:gd name="T9" fmla="*/ 2147483647 h 6"/>
                <a:gd name="T10" fmla="*/ 2147483647 w 5"/>
                <a:gd name="T11" fmla="*/ 2147483647 h 6"/>
                <a:gd name="T12" fmla="*/ 2147483647 w 5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6"/>
                <a:gd name="T23" fmla="*/ 5 w 5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6">
                  <a:moveTo>
                    <a:pt x="5" y="6"/>
                  </a:moveTo>
                  <a:lnTo>
                    <a:pt x="5" y="3"/>
                  </a:lnTo>
                  <a:lnTo>
                    <a:pt x="3" y="0"/>
                  </a:lnTo>
                  <a:lnTo>
                    <a:pt x="3" y="3"/>
                  </a:lnTo>
                  <a:lnTo>
                    <a:pt x="0" y="3"/>
                  </a:lnTo>
                  <a:lnTo>
                    <a:pt x="3" y="6"/>
                  </a:lnTo>
                  <a:lnTo>
                    <a:pt x="5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13" name="Freeform 415"/>
            <p:cNvSpPr>
              <a:spLocks/>
            </p:cNvSpPr>
            <p:nvPr/>
          </p:nvSpPr>
          <p:spPr bwMode="auto">
            <a:xfrm>
              <a:off x="2446338" y="5441950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2147483647 h 6"/>
                <a:gd name="T4" fmla="*/ 2147483647 w 6"/>
                <a:gd name="T5" fmla="*/ 0 h 6"/>
                <a:gd name="T6" fmla="*/ 0 w 6"/>
                <a:gd name="T7" fmla="*/ 0 h 6"/>
                <a:gd name="T8" fmla="*/ 0 w 6"/>
                <a:gd name="T9" fmla="*/ 2147483647 h 6"/>
                <a:gd name="T10" fmla="*/ 2147483647 w 6"/>
                <a:gd name="T11" fmla="*/ 2147483647 h 6"/>
                <a:gd name="T12" fmla="*/ 2147483647 w 6"/>
                <a:gd name="T13" fmla="*/ 2147483647 h 6"/>
                <a:gd name="T14" fmla="*/ 2147483647 w 6"/>
                <a:gd name="T15" fmla="*/ 2147483647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"/>
                <a:gd name="T25" fmla="*/ 0 h 6"/>
                <a:gd name="T26" fmla="*/ 6 w 6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" h="6">
                  <a:moveTo>
                    <a:pt x="3" y="6"/>
                  </a:moveTo>
                  <a:lnTo>
                    <a:pt x="6" y="3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3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14" name="Freeform 416"/>
            <p:cNvSpPr>
              <a:spLocks/>
            </p:cNvSpPr>
            <p:nvPr/>
          </p:nvSpPr>
          <p:spPr bwMode="auto">
            <a:xfrm>
              <a:off x="2441575" y="5405438"/>
              <a:ext cx="1588" cy="4762"/>
            </a:xfrm>
            <a:custGeom>
              <a:avLst/>
              <a:gdLst>
                <a:gd name="T0" fmla="*/ 0 w 1"/>
                <a:gd name="T1" fmla="*/ 0 h 3"/>
                <a:gd name="T2" fmla="*/ 0 w 1"/>
                <a:gd name="T3" fmla="*/ 0 h 3"/>
                <a:gd name="T4" fmla="*/ 0 w 1"/>
                <a:gd name="T5" fmla="*/ 2147483647 h 3"/>
                <a:gd name="T6" fmla="*/ 0 w 1"/>
                <a:gd name="T7" fmla="*/ 0 h 3"/>
                <a:gd name="T8" fmla="*/ 0 w 1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3"/>
                <a:gd name="T17" fmla="*/ 1 w 1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3">
                  <a:moveTo>
                    <a:pt x="0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15" name="Freeform 417"/>
            <p:cNvSpPr>
              <a:spLocks/>
            </p:cNvSpPr>
            <p:nvPr/>
          </p:nvSpPr>
          <p:spPr bwMode="auto">
            <a:xfrm>
              <a:off x="2441575" y="5424488"/>
              <a:ext cx="4763" cy="4762"/>
            </a:xfrm>
            <a:custGeom>
              <a:avLst/>
              <a:gdLst>
                <a:gd name="T0" fmla="*/ 2147483647 w 3"/>
                <a:gd name="T1" fmla="*/ 2147483647 h 3"/>
                <a:gd name="T2" fmla="*/ 0 w 3"/>
                <a:gd name="T3" fmla="*/ 0 h 3"/>
                <a:gd name="T4" fmla="*/ 0 w 3"/>
                <a:gd name="T5" fmla="*/ 2147483647 h 3"/>
                <a:gd name="T6" fmla="*/ 2147483647 w 3"/>
                <a:gd name="T7" fmla="*/ 2147483647 h 3"/>
                <a:gd name="T8" fmla="*/ 2147483647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3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16" name="Freeform 418"/>
            <p:cNvSpPr>
              <a:spLocks/>
            </p:cNvSpPr>
            <p:nvPr/>
          </p:nvSpPr>
          <p:spPr bwMode="auto">
            <a:xfrm>
              <a:off x="2441575" y="5429250"/>
              <a:ext cx="9525" cy="12700"/>
            </a:xfrm>
            <a:custGeom>
              <a:avLst/>
              <a:gdLst>
                <a:gd name="T0" fmla="*/ 2147483647 w 6"/>
                <a:gd name="T1" fmla="*/ 2147483647 h 8"/>
                <a:gd name="T2" fmla="*/ 2147483647 w 6"/>
                <a:gd name="T3" fmla="*/ 2147483647 h 8"/>
                <a:gd name="T4" fmla="*/ 2147483647 w 6"/>
                <a:gd name="T5" fmla="*/ 2147483647 h 8"/>
                <a:gd name="T6" fmla="*/ 0 w 6"/>
                <a:gd name="T7" fmla="*/ 2147483647 h 8"/>
                <a:gd name="T8" fmla="*/ 0 w 6"/>
                <a:gd name="T9" fmla="*/ 2147483647 h 8"/>
                <a:gd name="T10" fmla="*/ 0 w 6"/>
                <a:gd name="T11" fmla="*/ 2147483647 h 8"/>
                <a:gd name="T12" fmla="*/ 2147483647 w 6"/>
                <a:gd name="T13" fmla="*/ 2147483647 h 8"/>
                <a:gd name="T14" fmla="*/ 2147483647 w 6"/>
                <a:gd name="T15" fmla="*/ 2147483647 h 8"/>
                <a:gd name="T16" fmla="*/ 2147483647 w 6"/>
                <a:gd name="T17" fmla="*/ 0 h 8"/>
                <a:gd name="T18" fmla="*/ 2147483647 w 6"/>
                <a:gd name="T19" fmla="*/ 0 h 8"/>
                <a:gd name="T20" fmla="*/ 2147483647 w 6"/>
                <a:gd name="T21" fmla="*/ 0 h 8"/>
                <a:gd name="T22" fmla="*/ 2147483647 w 6"/>
                <a:gd name="T23" fmla="*/ 2147483647 h 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"/>
                <a:gd name="T37" fmla="*/ 0 h 8"/>
                <a:gd name="T38" fmla="*/ 6 w 6"/>
                <a:gd name="T39" fmla="*/ 8 h 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" h="8">
                  <a:moveTo>
                    <a:pt x="3" y="2"/>
                  </a:moveTo>
                  <a:lnTo>
                    <a:pt x="6" y="2"/>
                  </a:lnTo>
                  <a:lnTo>
                    <a:pt x="3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3" y="5"/>
                  </a:lnTo>
                  <a:lnTo>
                    <a:pt x="6" y="5"/>
                  </a:lnTo>
                  <a:lnTo>
                    <a:pt x="6" y="0"/>
                  </a:lnTo>
                  <a:lnTo>
                    <a:pt x="3" y="0"/>
                  </a:lnTo>
                  <a:lnTo>
                    <a:pt x="3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17" name="Freeform 419"/>
            <p:cNvSpPr>
              <a:spLocks/>
            </p:cNvSpPr>
            <p:nvPr/>
          </p:nvSpPr>
          <p:spPr bwMode="auto">
            <a:xfrm>
              <a:off x="2427288" y="5424488"/>
              <a:ext cx="14287" cy="12700"/>
            </a:xfrm>
            <a:custGeom>
              <a:avLst/>
              <a:gdLst>
                <a:gd name="T0" fmla="*/ 2147483647 w 8"/>
                <a:gd name="T1" fmla="*/ 2147483647 h 8"/>
                <a:gd name="T2" fmla="*/ 2147483647 w 8"/>
                <a:gd name="T3" fmla="*/ 2147483647 h 8"/>
                <a:gd name="T4" fmla="*/ 2147483647 w 8"/>
                <a:gd name="T5" fmla="*/ 2147483647 h 8"/>
                <a:gd name="T6" fmla="*/ 2147483647 w 8"/>
                <a:gd name="T7" fmla="*/ 2147483647 h 8"/>
                <a:gd name="T8" fmla="*/ 2147483647 w 8"/>
                <a:gd name="T9" fmla="*/ 2147483647 h 8"/>
                <a:gd name="T10" fmla="*/ 2147483647 w 8"/>
                <a:gd name="T11" fmla="*/ 0 h 8"/>
                <a:gd name="T12" fmla="*/ 0 w 8"/>
                <a:gd name="T13" fmla="*/ 2147483647 h 8"/>
                <a:gd name="T14" fmla="*/ 2147483647 w 8"/>
                <a:gd name="T15" fmla="*/ 2147483647 h 8"/>
                <a:gd name="T16" fmla="*/ 2147483647 w 8"/>
                <a:gd name="T17" fmla="*/ 2147483647 h 8"/>
                <a:gd name="T18" fmla="*/ 2147483647 w 8"/>
                <a:gd name="T19" fmla="*/ 2147483647 h 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"/>
                <a:gd name="T31" fmla="*/ 0 h 8"/>
                <a:gd name="T32" fmla="*/ 8 w 8"/>
                <a:gd name="T33" fmla="*/ 8 h 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" h="8">
                  <a:moveTo>
                    <a:pt x="8" y="8"/>
                  </a:moveTo>
                  <a:lnTo>
                    <a:pt x="6" y="5"/>
                  </a:lnTo>
                  <a:lnTo>
                    <a:pt x="8" y="3"/>
                  </a:lnTo>
                  <a:lnTo>
                    <a:pt x="6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5"/>
                  </a:lnTo>
                  <a:lnTo>
                    <a:pt x="6" y="8"/>
                  </a:ln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18" name="Freeform 420"/>
            <p:cNvSpPr>
              <a:spLocks/>
            </p:cNvSpPr>
            <p:nvPr/>
          </p:nvSpPr>
          <p:spPr bwMode="auto">
            <a:xfrm>
              <a:off x="2422525" y="5410200"/>
              <a:ext cx="4763" cy="4763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2147483647 h 3"/>
                <a:gd name="T4" fmla="*/ 2147483647 w 3"/>
                <a:gd name="T5" fmla="*/ 2147483647 h 3"/>
                <a:gd name="T6" fmla="*/ 0 w 3"/>
                <a:gd name="T7" fmla="*/ 0 h 3"/>
                <a:gd name="T8" fmla="*/ 0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19" name="Freeform 421"/>
            <p:cNvSpPr>
              <a:spLocks/>
            </p:cNvSpPr>
            <p:nvPr/>
          </p:nvSpPr>
          <p:spPr bwMode="auto">
            <a:xfrm>
              <a:off x="2432050" y="5465763"/>
              <a:ext cx="6350" cy="1587"/>
            </a:xfrm>
            <a:custGeom>
              <a:avLst/>
              <a:gdLst>
                <a:gd name="T0" fmla="*/ 0 w 3"/>
                <a:gd name="T1" fmla="*/ 0 h 1"/>
                <a:gd name="T2" fmla="*/ 2147483647 w 3"/>
                <a:gd name="T3" fmla="*/ 0 h 1"/>
                <a:gd name="T4" fmla="*/ 0 w 3"/>
                <a:gd name="T5" fmla="*/ 0 h 1"/>
                <a:gd name="T6" fmla="*/ 0 w 3"/>
                <a:gd name="T7" fmla="*/ 0 h 1"/>
                <a:gd name="T8" fmla="*/ 0 w 3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1"/>
                <a:gd name="T17" fmla="*/ 3 w 3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1">
                  <a:moveTo>
                    <a:pt x="0" y="0"/>
                  </a:move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20" name="Freeform 422"/>
            <p:cNvSpPr>
              <a:spLocks/>
            </p:cNvSpPr>
            <p:nvPr/>
          </p:nvSpPr>
          <p:spPr bwMode="auto">
            <a:xfrm>
              <a:off x="2422525" y="5419725"/>
              <a:ext cx="9525" cy="4763"/>
            </a:xfrm>
            <a:custGeom>
              <a:avLst/>
              <a:gdLst>
                <a:gd name="T0" fmla="*/ 2147483647 w 6"/>
                <a:gd name="T1" fmla="*/ 0 h 3"/>
                <a:gd name="T2" fmla="*/ 0 w 6"/>
                <a:gd name="T3" fmla="*/ 0 h 3"/>
                <a:gd name="T4" fmla="*/ 0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6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21" name="Freeform 423"/>
            <p:cNvSpPr>
              <a:spLocks/>
            </p:cNvSpPr>
            <p:nvPr/>
          </p:nvSpPr>
          <p:spPr bwMode="auto">
            <a:xfrm>
              <a:off x="2451100" y="5456238"/>
              <a:ext cx="4763" cy="9525"/>
            </a:xfrm>
            <a:custGeom>
              <a:avLst/>
              <a:gdLst>
                <a:gd name="T0" fmla="*/ 2147483647 w 3"/>
                <a:gd name="T1" fmla="*/ 0 h 6"/>
                <a:gd name="T2" fmla="*/ 0 w 3"/>
                <a:gd name="T3" fmla="*/ 0 h 6"/>
                <a:gd name="T4" fmla="*/ 0 w 3"/>
                <a:gd name="T5" fmla="*/ 2147483647 h 6"/>
                <a:gd name="T6" fmla="*/ 2147483647 w 3"/>
                <a:gd name="T7" fmla="*/ 2147483647 h 6"/>
                <a:gd name="T8" fmla="*/ 2147483647 w 3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22" name="Freeform 424"/>
            <p:cNvSpPr>
              <a:spLocks/>
            </p:cNvSpPr>
            <p:nvPr/>
          </p:nvSpPr>
          <p:spPr bwMode="auto">
            <a:xfrm>
              <a:off x="2455863" y="5419725"/>
              <a:ext cx="4762" cy="9525"/>
            </a:xfrm>
            <a:custGeom>
              <a:avLst/>
              <a:gdLst>
                <a:gd name="T0" fmla="*/ 2147483647 w 3"/>
                <a:gd name="T1" fmla="*/ 2147483647 h 6"/>
                <a:gd name="T2" fmla="*/ 2147483647 w 3"/>
                <a:gd name="T3" fmla="*/ 0 h 6"/>
                <a:gd name="T4" fmla="*/ 0 w 3"/>
                <a:gd name="T5" fmla="*/ 0 h 6"/>
                <a:gd name="T6" fmla="*/ 0 w 3"/>
                <a:gd name="T7" fmla="*/ 2147483647 h 6"/>
                <a:gd name="T8" fmla="*/ 0 w 3"/>
                <a:gd name="T9" fmla="*/ 2147483647 h 6"/>
                <a:gd name="T10" fmla="*/ 0 w 3"/>
                <a:gd name="T11" fmla="*/ 2147483647 h 6"/>
                <a:gd name="T12" fmla="*/ 2147483647 w 3"/>
                <a:gd name="T13" fmla="*/ 2147483647 h 6"/>
                <a:gd name="T14" fmla="*/ 2147483647 w 3"/>
                <a:gd name="T15" fmla="*/ 2147483647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"/>
                <a:gd name="T25" fmla="*/ 0 h 6"/>
                <a:gd name="T26" fmla="*/ 3 w 3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" h="6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23" name="Freeform 425"/>
            <p:cNvSpPr>
              <a:spLocks/>
            </p:cNvSpPr>
            <p:nvPr/>
          </p:nvSpPr>
          <p:spPr bwMode="auto">
            <a:xfrm>
              <a:off x="2455863" y="5429250"/>
              <a:ext cx="4762" cy="3175"/>
            </a:xfrm>
            <a:custGeom>
              <a:avLst/>
              <a:gdLst>
                <a:gd name="T0" fmla="*/ 2147483647 w 3"/>
                <a:gd name="T1" fmla="*/ 0 h 2"/>
                <a:gd name="T2" fmla="*/ 2147483647 w 3"/>
                <a:gd name="T3" fmla="*/ 2147483647 h 2"/>
                <a:gd name="T4" fmla="*/ 0 w 3"/>
                <a:gd name="T5" fmla="*/ 2147483647 h 2"/>
                <a:gd name="T6" fmla="*/ 2147483647 w 3"/>
                <a:gd name="T7" fmla="*/ 2147483647 h 2"/>
                <a:gd name="T8" fmla="*/ 2147483647 w 3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3" y="0"/>
                  </a:moveTo>
                  <a:lnTo>
                    <a:pt x="3" y="2"/>
                  </a:lnTo>
                  <a:lnTo>
                    <a:pt x="0" y="2"/>
                  </a:lnTo>
                  <a:lnTo>
                    <a:pt x="3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24" name="Freeform 426"/>
            <p:cNvSpPr>
              <a:spLocks/>
            </p:cNvSpPr>
            <p:nvPr/>
          </p:nvSpPr>
          <p:spPr bwMode="auto">
            <a:xfrm>
              <a:off x="2438400" y="5465763"/>
              <a:ext cx="3175" cy="7937"/>
            </a:xfrm>
            <a:custGeom>
              <a:avLst/>
              <a:gdLst>
                <a:gd name="T0" fmla="*/ 0 w 2"/>
                <a:gd name="T1" fmla="*/ 2147483647 h 5"/>
                <a:gd name="T2" fmla="*/ 2147483647 w 2"/>
                <a:gd name="T3" fmla="*/ 2147483647 h 5"/>
                <a:gd name="T4" fmla="*/ 2147483647 w 2"/>
                <a:gd name="T5" fmla="*/ 2147483647 h 5"/>
                <a:gd name="T6" fmla="*/ 2147483647 w 2"/>
                <a:gd name="T7" fmla="*/ 0 h 5"/>
                <a:gd name="T8" fmla="*/ 0 w 2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5"/>
                <a:gd name="T17" fmla="*/ 2 w 2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5">
                  <a:moveTo>
                    <a:pt x="0" y="2"/>
                  </a:moveTo>
                  <a:lnTo>
                    <a:pt x="2" y="5"/>
                  </a:lnTo>
                  <a:lnTo>
                    <a:pt x="2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25" name="Rectangle 427"/>
            <p:cNvSpPr>
              <a:spLocks noChangeArrowheads="1"/>
            </p:cNvSpPr>
            <p:nvPr/>
          </p:nvSpPr>
          <p:spPr bwMode="auto">
            <a:xfrm>
              <a:off x="2460625" y="5437188"/>
              <a:ext cx="4763" cy="1587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26" name="Freeform 428"/>
            <p:cNvSpPr>
              <a:spLocks/>
            </p:cNvSpPr>
            <p:nvPr/>
          </p:nvSpPr>
          <p:spPr bwMode="auto">
            <a:xfrm>
              <a:off x="2438400" y="5441950"/>
              <a:ext cx="3175" cy="9525"/>
            </a:xfrm>
            <a:custGeom>
              <a:avLst/>
              <a:gdLst>
                <a:gd name="T0" fmla="*/ 2147483647 w 2"/>
                <a:gd name="T1" fmla="*/ 2147483647 h 6"/>
                <a:gd name="T2" fmla="*/ 2147483647 w 2"/>
                <a:gd name="T3" fmla="*/ 0 h 6"/>
                <a:gd name="T4" fmla="*/ 0 w 2"/>
                <a:gd name="T5" fmla="*/ 0 h 6"/>
                <a:gd name="T6" fmla="*/ 0 w 2"/>
                <a:gd name="T7" fmla="*/ 2147483647 h 6"/>
                <a:gd name="T8" fmla="*/ 0 w 2"/>
                <a:gd name="T9" fmla="*/ 2147483647 h 6"/>
                <a:gd name="T10" fmla="*/ 2147483647 w 2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"/>
                <a:gd name="T19" fmla="*/ 0 h 6"/>
                <a:gd name="T20" fmla="*/ 2 w 2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" h="6">
                  <a:moveTo>
                    <a:pt x="2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2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27" name="Freeform 429"/>
            <p:cNvSpPr>
              <a:spLocks/>
            </p:cNvSpPr>
            <p:nvPr/>
          </p:nvSpPr>
          <p:spPr bwMode="auto">
            <a:xfrm>
              <a:off x="2441575" y="5456238"/>
              <a:ext cx="4763" cy="4762"/>
            </a:xfrm>
            <a:custGeom>
              <a:avLst/>
              <a:gdLst>
                <a:gd name="T0" fmla="*/ 2147483647 w 3"/>
                <a:gd name="T1" fmla="*/ 2147483647 h 3"/>
                <a:gd name="T2" fmla="*/ 2147483647 w 3"/>
                <a:gd name="T3" fmla="*/ 0 h 3"/>
                <a:gd name="T4" fmla="*/ 0 w 3"/>
                <a:gd name="T5" fmla="*/ 0 h 3"/>
                <a:gd name="T6" fmla="*/ 2147483647 w 3"/>
                <a:gd name="T7" fmla="*/ 2147483647 h 3"/>
                <a:gd name="T8" fmla="*/ 2147483647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28" name="Rectangle 430"/>
            <p:cNvSpPr>
              <a:spLocks noChangeArrowheads="1"/>
            </p:cNvSpPr>
            <p:nvPr/>
          </p:nvSpPr>
          <p:spPr bwMode="auto">
            <a:xfrm>
              <a:off x="2446338" y="5424488"/>
              <a:ext cx="4762" cy="1587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29" name="Freeform 431"/>
            <p:cNvSpPr>
              <a:spLocks/>
            </p:cNvSpPr>
            <p:nvPr/>
          </p:nvSpPr>
          <p:spPr bwMode="auto">
            <a:xfrm>
              <a:off x="2625725" y="5722938"/>
              <a:ext cx="9525" cy="9525"/>
            </a:xfrm>
            <a:custGeom>
              <a:avLst/>
              <a:gdLst>
                <a:gd name="T0" fmla="*/ 2147483647 w 6"/>
                <a:gd name="T1" fmla="*/ 0 h 6"/>
                <a:gd name="T2" fmla="*/ 2147483647 w 6"/>
                <a:gd name="T3" fmla="*/ 0 h 6"/>
                <a:gd name="T4" fmla="*/ 2147483647 w 6"/>
                <a:gd name="T5" fmla="*/ 0 h 6"/>
                <a:gd name="T6" fmla="*/ 0 w 6"/>
                <a:gd name="T7" fmla="*/ 2147483647 h 6"/>
                <a:gd name="T8" fmla="*/ 0 w 6"/>
                <a:gd name="T9" fmla="*/ 2147483647 h 6"/>
                <a:gd name="T10" fmla="*/ 2147483647 w 6"/>
                <a:gd name="T11" fmla="*/ 2147483647 h 6"/>
                <a:gd name="T12" fmla="*/ 2147483647 w 6"/>
                <a:gd name="T13" fmla="*/ 2147483647 h 6"/>
                <a:gd name="T14" fmla="*/ 2147483647 w 6"/>
                <a:gd name="T15" fmla="*/ 0 h 6"/>
                <a:gd name="T16" fmla="*/ 2147483647 w 6"/>
                <a:gd name="T17" fmla="*/ 0 h 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"/>
                <a:gd name="T28" fmla="*/ 0 h 6"/>
                <a:gd name="T29" fmla="*/ 6 w 6"/>
                <a:gd name="T30" fmla="*/ 6 h 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" h="6">
                  <a:moveTo>
                    <a:pt x="6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30" name="Freeform 432"/>
            <p:cNvSpPr>
              <a:spLocks/>
            </p:cNvSpPr>
            <p:nvPr/>
          </p:nvSpPr>
          <p:spPr bwMode="auto">
            <a:xfrm>
              <a:off x="2438400" y="5451475"/>
              <a:ext cx="3175" cy="4763"/>
            </a:xfrm>
            <a:custGeom>
              <a:avLst/>
              <a:gdLst>
                <a:gd name="T0" fmla="*/ 2147483647 w 2"/>
                <a:gd name="T1" fmla="*/ 2147483647 h 3"/>
                <a:gd name="T2" fmla="*/ 0 w 2"/>
                <a:gd name="T3" fmla="*/ 2147483647 h 3"/>
                <a:gd name="T4" fmla="*/ 2147483647 w 2"/>
                <a:gd name="T5" fmla="*/ 2147483647 h 3"/>
                <a:gd name="T6" fmla="*/ 2147483647 w 2"/>
                <a:gd name="T7" fmla="*/ 0 h 3"/>
                <a:gd name="T8" fmla="*/ 2147483647 w 2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3"/>
                  </a:moveTo>
                  <a:lnTo>
                    <a:pt x="0" y="3"/>
                  </a:lnTo>
                  <a:lnTo>
                    <a:pt x="2" y="3"/>
                  </a:lnTo>
                  <a:lnTo>
                    <a:pt x="2" y="0"/>
                  </a:lnTo>
                  <a:lnTo>
                    <a:pt x="2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31" name="Freeform 433"/>
            <p:cNvSpPr>
              <a:spLocks/>
            </p:cNvSpPr>
            <p:nvPr/>
          </p:nvSpPr>
          <p:spPr bwMode="auto">
            <a:xfrm>
              <a:off x="2432050" y="5410200"/>
              <a:ext cx="6350" cy="4763"/>
            </a:xfrm>
            <a:custGeom>
              <a:avLst/>
              <a:gdLst>
                <a:gd name="T0" fmla="*/ 2147483647 w 3"/>
                <a:gd name="T1" fmla="*/ 0 h 3"/>
                <a:gd name="T2" fmla="*/ 0 w 3"/>
                <a:gd name="T3" fmla="*/ 2147483647 h 3"/>
                <a:gd name="T4" fmla="*/ 2147483647 w 3"/>
                <a:gd name="T5" fmla="*/ 2147483647 h 3"/>
                <a:gd name="T6" fmla="*/ 2147483647 w 3"/>
                <a:gd name="T7" fmla="*/ 0 h 3"/>
                <a:gd name="T8" fmla="*/ 2147483647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32" name="Freeform 434"/>
            <p:cNvSpPr>
              <a:spLocks/>
            </p:cNvSpPr>
            <p:nvPr/>
          </p:nvSpPr>
          <p:spPr bwMode="auto">
            <a:xfrm>
              <a:off x="2482850" y="5538788"/>
              <a:ext cx="9525" cy="4762"/>
            </a:xfrm>
            <a:custGeom>
              <a:avLst/>
              <a:gdLst>
                <a:gd name="T0" fmla="*/ 2147483647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2147483647 h 3"/>
                <a:gd name="T6" fmla="*/ 0 w 6"/>
                <a:gd name="T7" fmla="*/ 0 h 3"/>
                <a:gd name="T8" fmla="*/ 0 w 6"/>
                <a:gd name="T9" fmla="*/ 2147483647 h 3"/>
                <a:gd name="T10" fmla="*/ 2147483647 w 6"/>
                <a:gd name="T11" fmla="*/ 2147483647 h 3"/>
                <a:gd name="T12" fmla="*/ 2147483647 w 6"/>
                <a:gd name="T13" fmla="*/ 2147483647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3"/>
                <a:gd name="T23" fmla="*/ 6 w 6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3">
                  <a:moveTo>
                    <a:pt x="3" y="3"/>
                  </a:moveTo>
                  <a:lnTo>
                    <a:pt x="6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33" name="Freeform 435"/>
            <p:cNvSpPr>
              <a:spLocks/>
            </p:cNvSpPr>
            <p:nvPr/>
          </p:nvSpPr>
          <p:spPr bwMode="auto">
            <a:xfrm>
              <a:off x="2501900" y="5584825"/>
              <a:ext cx="12700" cy="14288"/>
            </a:xfrm>
            <a:custGeom>
              <a:avLst/>
              <a:gdLst>
                <a:gd name="T0" fmla="*/ 2147483647 w 8"/>
                <a:gd name="T1" fmla="*/ 2147483647 h 9"/>
                <a:gd name="T2" fmla="*/ 2147483647 w 8"/>
                <a:gd name="T3" fmla="*/ 2147483647 h 9"/>
                <a:gd name="T4" fmla="*/ 2147483647 w 8"/>
                <a:gd name="T5" fmla="*/ 2147483647 h 9"/>
                <a:gd name="T6" fmla="*/ 2147483647 w 8"/>
                <a:gd name="T7" fmla="*/ 2147483647 h 9"/>
                <a:gd name="T8" fmla="*/ 0 w 8"/>
                <a:gd name="T9" fmla="*/ 0 h 9"/>
                <a:gd name="T10" fmla="*/ 0 w 8"/>
                <a:gd name="T11" fmla="*/ 2147483647 h 9"/>
                <a:gd name="T12" fmla="*/ 2147483647 w 8"/>
                <a:gd name="T13" fmla="*/ 2147483647 h 9"/>
                <a:gd name="T14" fmla="*/ 2147483647 w 8"/>
                <a:gd name="T15" fmla="*/ 2147483647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"/>
                <a:gd name="T25" fmla="*/ 0 h 9"/>
                <a:gd name="T26" fmla="*/ 8 w 8"/>
                <a:gd name="T27" fmla="*/ 9 h 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" h="9">
                  <a:moveTo>
                    <a:pt x="6" y="9"/>
                  </a:moveTo>
                  <a:lnTo>
                    <a:pt x="8" y="6"/>
                  </a:lnTo>
                  <a:lnTo>
                    <a:pt x="3" y="6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34" name="Freeform 436"/>
            <p:cNvSpPr>
              <a:spLocks/>
            </p:cNvSpPr>
            <p:nvPr/>
          </p:nvSpPr>
          <p:spPr bwMode="auto">
            <a:xfrm>
              <a:off x="2506663" y="5589588"/>
              <a:ext cx="7937" cy="1587"/>
            </a:xfrm>
            <a:custGeom>
              <a:avLst/>
              <a:gdLst>
                <a:gd name="T0" fmla="*/ 0 w 5"/>
                <a:gd name="T1" fmla="*/ 0 h 1"/>
                <a:gd name="T2" fmla="*/ 2147483647 w 5"/>
                <a:gd name="T3" fmla="*/ 0 h 1"/>
                <a:gd name="T4" fmla="*/ 2147483647 w 5"/>
                <a:gd name="T5" fmla="*/ 0 h 1"/>
                <a:gd name="T6" fmla="*/ 2147483647 w 5"/>
                <a:gd name="T7" fmla="*/ 0 h 1"/>
                <a:gd name="T8" fmla="*/ 0 w 5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1"/>
                <a:gd name="T17" fmla="*/ 5 w 5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1">
                  <a:moveTo>
                    <a:pt x="0" y="0"/>
                  </a:moveTo>
                  <a:lnTo>
                    <a:pt x="3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35" name="Freeform 437"/>
            <p:cNvSpPr>
              <a:spLocks/>
            </p:cNvSpPr>
            <p:nvPr/>
          </p:nvSpPr>
          <p:spPr bwMode="auto">
            <a:xfrm>
              <a:off x="2460625" y="5516563"/>
              <a:ext cx="14288" cy="9525"/>
            </a:xfrm>
            <a:custGeom>
              <a:avLst/>
              <a:gdLst>
                <a:gd name="T0" fmla="*/ 2147483647 w 9"/>
                <a:gd name="T1" fmla="*/ 2147483647 h 6"/>
                <a:gd name="T2" fmla="*/ 2147483647 w 9"/>
                <a:gd name="T3" fmla="*/ 2147483647 h 6"/>
                <a:gd name="T4" fmla="*/ 2147483647 w 9"/>
                <a:gd name="T5" fmla="*/ 0 h 6"/>
                <a:gd name="T6" fmla="*/ 0 w 9"/>
                <a:gd name="T7" fmla="*/ 2147483647 h 6"/>
                <a:gd name="T8" fmla="*/ 2147483647 w 9"/>
                <a:gd name="T9" fmla="*/ 2147483647 h 6"/>
                <a:gd name="T10" fmla="*/ 2147483647 w 9"/>
                <a:gd name="T11" fmla="*/ 2147483647 h 6"/>
                <a:gd name="T12" fmla="*/ 2147483647 w 9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6"/>
                <a:gd name="T23" fmla="*/ 9 w 9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6">
                  <a:moveTo>
                    <a:pt x="9" y="6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6"/>
                  </a:lnTo>
                  <a:lnTo>
                    <a:pt x="9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36" name="Freeform 438"/>
            <p:cNvSpPr>
              <a:spLocks/>
            </p:cNvSpPr>
            <p:nvPr/>
          </p:nvSpPr>
          <p:spPr bwMode="auto">
            <a:xfrm>
              <a:off x="2455863" y="5526088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0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6" y="3"/>
                  </a:moveTo>
                  <a:lnTo>
                    <a:pt x="6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37" name="Freeform 439"/>
            <p:cNvSpPr>
              <a:spLocks/>
            </p:cNvSpPr>
            <p:nvPr/>
          </p:nvSpPr>
          <p:spPr bwMode="auto">
            <a:xfrm>
              <a:off x="2492375" y="5584825"/>
              <a:ext cx="4763" cy="9525"/>
            </a:xfrm>
            <a:custGeom>
              <a:avLst/>
              <a:gdLst>
                <a:gd name="T0" fmla="*/ 0 w 3"/>
                <a:gd name="T1" fmla="*/ 2147483647 h 6"/>
                <a:gd name="T2" fmla="*/ 2147483647 w 3"/>
                <a:gd name="T3" fmla="*/ 2147483647 h 6"/>
                <a:gd name="T4" fmla="*/ 2147483647 w 3"/>
                <a:gd name="T5" fmla="*/ 2147483647 h 6"/>
                <a:gd name="T6" fmla="*/ 2147483647 w 3"/>
                <a:gd name="T7" fmla="*/ 0 h 6"/>
                <a:gd name="T8" fmla="*/ 2147483647 w 3"/>
                <a:gd name="T9" fmla="*/ 2147483647 h 6"/>
                <a:gd name="T10" fmla="*/ 0 w 3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6"/>
                <a:gd name="T20" fmla="*/ 3 w 3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6">
                  <a:moveTo>
                    <a:pt x="0" y="3"/>
                  </a:moveTo>
                  <a:lnTo>
                    <a:pt x="3" y="6"/>
                  </a:lnTo>
                  <a:lnTo>
                    <a:pt x="3" y="3"/>
                  </a:lnTo>
                  <a:lnTo>
                    <a:pt x="3" y="0"/>
                  </a:lnTo>
                  <a:lnTo>
                    <a:pt x="3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38" name="Freeform 440"/>
            <p:cNvSpPr>
              <a:spLocks/>
            </p:cNvSpPr>
            <p:nvPr/>
          </p:nvSpPr>
          <p:spPr bwMode="auto">
            <a:xfrm>
              <a:off x="2451100" y="5521325"/>
              <a:ext cx="9525" cy="4763"/>
            </a:xfrm>
            <a:custGeom>
              <a:avLst/>
              <a:gdLst>
                <a:gd name="T0" fmla="*/ 0 w 6"/>
                <a:gd name="T1" fmla="*/ 0 h 3"/>
                <a:gd name="T2" fmla="*/ 0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0 h 3"/>
                <a:gd name="T8" fmla="*/ 0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39" name="Freeform 441"/>
            <p:cNvSpPr>
              <a:spLocks/>
            </p:cNvSpPr>
            <p:nvPr/>
          </p:nvSpPr>
          <p:spPr bwMode="auto">
            <a:xfrm>
              <a:off x="2511425" y="5580063"/>
              <a:ext cx="3175" cy="4762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0 h 3"/>
                <a:gd name="T4" fmla="*/ 0 w 2"/>
                <a:gd name="T5" fmla="*/ 2147483647 h 3"/>
                <a:gd name="T6" fmla="*/ 2147483647 w 2"/>
                <a:gd name="T7" fmla="*/ 0 h 3"/>
                <a:gd name="T8" fmla="*/ 0 w 2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0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40" name="Freeform 442"/>
            <p:cNvSpPr>
              <a:spLocks/>
            </p:cNvSpPr>
            <p:nvPr/>
          </p:nvSpPr>
          <p:spPr bwMode="auto">
            <a:xfrm>
              <a:off x="2492375" y="5572125"/>
              <a:ext cx="9525" cy="7938"/>
            </a:xfrm>
            <a:custGeom>
              <a:avLst/>
              <a:gdLst>
                <a:gd name="T0" fmla="*/ 2147483647 w 6"/>
                <a:gd name="T1" fmla="*/ 0 h 5"/>
                <a:gd name="T2" fmla="*/ 0 w 6"/>
                <a:gd name="T3" fmla="*/ 0 h 5"/>
                <a:gd name="T4" fmla="*/ 0 w 6"/>
                <a:gd name="T5" fmla="*/ 2147483647 h 5"/>
                <a:gd name="T6" fmla="*/ 2147483647 w 6"/>
                <a:gd name="T7" fmla="*/ 2147483647 h 5"/>
                <a:gd name="T8" fmla="*/ 2147483647 w 6"/>
                <a:gd name="T9" fmla="*/ 0 h 5"/>
                <a:gd name="T10" fmla="*/ 2147483647 w 6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5"/>
                <a:gd name="T20" fmla="*/ 6 w 6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5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3" y="5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41" name="Freeform 443"/>
            <p:cNvSpPr>
              <a:spLocks/>
            </p:cNvSpPr>
            <p:nvPr/>
          </p:nvSpPr>
          <p:spPr bwMode="auto">
            <a:xfrm>
              <a:off x="2497138" y="5575300"/>
              <a:ext cx="14287" cy="9525"/>
            </a:xfrm>
            <a:custGeom>
              <a:avLst/>
              <a:gdLst>
                <a:gd name="T0" fmla="*/ 2147483647 w 9"/>
                <a:gd name="T1" fmla="*/ 2147483647 h 6"/>
                <a:gd name="T2" fmla="*/ 2147483647 w 9"/>
                <a:gd name="T3" fmla="*/ 0 h 6"/>
                <a:gd name="T4" fmla="*/ 2147483647 w 9"/>
                <a:gd name="T5" fmla="*/ 0 h 6"/>
                <a:gd name="T6" fmla="*/ 2147483647 w 9"/>
                <a:gd name="T7" fmla="*/ 2147483647 h 6"/>
                <a:gd name="T8" fmla="*/ 0 w 9"/>
                <a:gd name="T9" fmla="*/ 2147483647 h 6"/>
                <a:gd name="T10" fmla="*/ 2147483647 w 9"/>
                <a:gd name="T11" fmla="*/ 2147483647 h 6"/>
                <a:gd name="T12" fmla="*/ 2147483647 w 9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6"/>
                <a:gd name="T23" fmla="*/ 9 w 9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6">
                  <a:moveTo>
                    <a:pt x="9" y="3"/>
                  </a:moveTo>
                  <a:lnTo>
                    <a:pt x="9" y="0"/>
                  </a:lnTo>
                  <a:lnTo>
                    <a:pt x="3" y="0"/>
                  </a:lnTo>
                  <a:lnTo>
                    <a:pt x="3" y="3"/>
                  </a:lnTo>
                  <a:lnTo>
                    <a:pt x="0" y="6"/>
                  </a:lnTo>
                  <a:lnTo>
                    <a:pt x="6" y="6"/>
                  </a:lnTo>
                  <a:lnTo>
                    <a:pt x="9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42" name="Freeform 444"/>
            <p:cNvSpPr>
              <a:spLocks/>
            </p:cNvSpPr>
            <p:nvPr/>
          </p:nvSpPr>
          <p:spPr bwMode="auto">
            <a:xfrm>
              <a:off x="2451100" y="5530850"/>
              <a:ext cx="9525" cy="7938"/>
            </a:xfrm>
            <a:custGeom>
              <a:avLst/>
              <a:gdLst>
                <a:gd name="T0" fmla="*/ 2147483647 w 6"/>
                <a:gd name="T1" fmla="*/ 2147483647 h 5"/>
                <a:gd name="T2" fmla="*/ 2147483647 w 6"/>
                <a:gd name="T3" fmla="*/ 2147483647 h 5"/>
                <a:gd name="T4" fmla="*/ 2147483647 w 6"/>
                <a:gd name="T5" fmla="*/ 0 h 5"/>
                <a:gd name="T6" fmla="*/ 0 w 6"/>
                <a:gd name="T7" fmla="*/ 0 h 5"/>
                <a:gd name="T8" fmla="*/ 2147483647 w 6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5"/>
                <a:gd name="T17" fmla="*/ 6 w 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5">
                  <a:moveTo>
                    <a:pt x="3" y="5"/>
                  </a:moveTo>
                  <a:lnTo>
                    <a:pt x="6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43" name="Freeform 445"/>
            <p:cNvSpPr>
              <a:spLocks/>
            </p:cNvSpPr>
            <p:nvPr/>
          </p:nvSpPr>
          <p:spPr bwMode="auto">
            <a:xfrm>
              <a:off x="2474913" y="5511800"/>
              <a:ext cx="12700" cy="9525"/>
            </a:xfrm>
            <a:custGeom>
              <a:avLst/>
              <a:gdLst>
                <a:gd name="T0" fmla="*/ 2147483647 w 8"/>
                <a:gd name="T1" fmla="*/ 2147483647 h 6"/>
                <a:gd name="T2" fmla="*/ 2147483647 w 8"/>
                <a:gd name="T3" fmla="*/ 0 h 6"/>
                <a:gd name="T4" fmla="*/ 0 w 8"/>
                <a:gd name="T5" fmla="*/ 2147483647 h 6"/>
                <a:gd name="T6" fmla="*/ 2147483647 w 8"/>
                <a:gd name="T7" fmla="*/ 2147483647 h 6"/>
                <a:gd name="T8" fmla="*/ 2147483647 w 8"/>
                <a:gd name="T9" fmla="*/ 2147483647 h 6"/>
                <a:gd name="T10" fmla="*/ 2147483647 w 8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8" y="6"/>
                  </a:moveTo>
                  <a:lnTo>
                    <a:pt x="5" y="0"/>
                  </a:lnTo>
                  <a:lnTo>
                    <a:pt x="0" y="3"/>
                  </a:lnTo>
                  <a:lnTo>
                    <a:pt x="2" y="6"/>
                  </a:lnTo>
                  <a:lnTo>
                    <a:pt x="5" y="6"/>
                  </a:lnTo>
                  <a:lnTo>
                    <a:pt x="8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44" name="Rectangle 446"/>
            <p:cNvSpPr>
              <a:spLocks noChangeArrowheads="1"/>
            </p:cNvSpPr>
            <p:nvPr/>
          </p:nvSpPr>
          <p:spPr bwMode="auto">
            <a:xfrm>
              <a:off x="2470150" y="5535613"/>
              <a:ext cx="1588" cy="3175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45" name="Freeform 447"/>
            <p:cNvSpPr>
              <a:spLocks/>
            </p:cNvSpPr>
            <p:nvPr/>
          </p:nvSpPr>
          <p:spPr bwMode="auto">
            <a:xfrm>
              <a:off x="2470150" y="5535613"/>
              <a:ext cx="7938" cy="12700"/>
            </a:xfrm>
            <a:custGeom>
              <a:avLst/>
              <a:gdLst>
                <a:gd name="T0" fmla="*/ 2147483647 w 5"/>
                <a:gd name="T1" fmla="*/ 2147483647 h 8"/>
                <a:gd name="T2" fmla="*/ 2147483647 w 5"/>
                <a:gd name="T3" fmla="*/ 0 h 8"/>
                <a:gd name="T4" fmla="*/ 0 w 5"/>
                <a:gd name="T5" fmla="*/ 2147483647 h 8"/>
                <a:gd name="T6" fmla="*/ 2147483647 w 5"/>
                <a:gd name="T7" fmla="*/ 2147483647 h 8"/>
                <a:gd name="T8" fmla="*/ 2147483647 w 5"/>
                <a:gd name="T9" fmla="*/ 2147483647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8"/>
                <a:gd name="T17" fmla="*/ 5 w 5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8">
                  <a:moveTo>
                    <a:pt x="5" y="2"/>
                  </a:moveTo>
                  <a:lnTo>
                    <a:pt x="5" y="0"/>
                  </a:lnTo>
                  <a:lnTo>
                    <a:pt x="0" y="5"/>
                  </a:lnTo>
                  <a:lnTo>
                    <a:pt x="3" y="8"/>
                  </a:lnTo>
                  <a:lnTo>
                    <a:pt x="5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46" name="Freeform 448"/>
            <p:cNvSpPr>
              <a:spLocks/>
            </p:cNvSpPr>
            <p:nvPr/>
          </p:nvSpPr>
          <p:spPr bwMode="auto">
            <a:xfrm>
              <a:off x="2465388" y="5511800"/>
              <a:ext cx="4762" cy="9525"/>
            </a:xfrm>
            <a:custGeom>
              <a:avLst/>
              <a:gdLst>
                <a:gd name="T0" fmla="*/ 2147483647 w 3"/>
                <a:gd name="T1" fmla="*/ 2147483647 h 6"/>
                <a:gd name="T2" fmla="*/ 2147483647 w 3"/>
                <a:gd name="T3" fmla="*/ 0 h 6"/>
                <a:gd name="T4" fmla="*/ 0 w 3"/>
                <a:gd name="T5" fmla="*/ 0 h 6"/>
                <a:gd name="T6" fmla="*/ 2147483647 w 3"/>
                <a:gd name="T7" fmla="*/ 2147483647 h 6"/>
                <a:gd name="T8" fmla="*/ 2147483647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6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47" name="Freeform 449"/>
            <p:cNvSpPr>
              <a:spLocks/>
            </p:cNvSpPr>
            <p:nvPr/>
          </p:nvSpPr>
          <p:spPr bwMode="auto">
            <a:xfrm>
              <a:off x="2478088" y="5526088"/>
              <a:ext cx="4762" cy="4762"/>
            </a:xfrm>
            <a:custGeom>
              <a:avLst/>
              <a:gdLst>
                <a:gd name="T0" fmla="*/ 2147483647 w 3"/>
                <a:gd name="T1" fmla="*/ 0 h 3"/>
                <a:gd name="T2" fmla="*/ 2147483647 w 3"/>
                <a:gd name="T3" fmla="*/ 0 h 3"/>
                <a:gd name="T4" fmla="*/ 0 w 3"/>
                <a:gd name="T5" fmla="*/ 0 h 3"/>
                <a:gd name="T6" fmla="*/ 0 w 3"/>
                <a:gd name="T7" fmla="*/ 2147483647 h 3"/>
                <a:gd name="T8" fmla="*/ 0 w 3"/>
                <a:gd name="T9" fmla="*/ 2147483647 h 3"/>
                <a:gd name="T10" fmla="*/ 2147483647 w 3"/>
                <a:gd name="T11" fmla="*/ 2147483647 h 3"/>
                <a:gd name="T12" fmla="*/ 2147483647 w 3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"/>
                <a:gd name="T22" fmla="*/ 0 h 3"/>
                <a:gd name="T23" fmla="*/ 3 w 3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" h="3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48" name="Freeform 450"/>
            <p:cNvSpPr>
              <a:spLocks/>
            </p:cNvSpPr>
            <p:nvPr/>
          </p:nvSpPr>
          <p:spPr bwMode="auto">
            <a:xfrm>
              <a:off x="2470150" y="5499100"/>
              <a:ext cx="4763" cy="7938"/>
            </a:xfrm>
            <a:custGeom>
              <a:avLst/>
              <a:gdLst>
                <a:gd name="T0" fmla="*/ 2147483647 w 3"/>
                <a:gd name="T1" fmla="*/ 2147483647 h 5"/>
                <a:gd name="T2" fmla="*/ 2147483647 w 3"/>
                <a:gd name="T3" fmla="*/ 0 h 5"/>
                <a:gd name="T4" fmla="*/ 0 w 3"/>
                <a:gd name="T5" fmla="*/ 0 h 5"/>
                <a:gd name="T6" fmla="*/ 0 w 3"/>
                <a:gd name="T7" fmla="*/ 2147483647 h 5"/>
                <a:gd name="T8" fmla="*/ 2147483647 w 3"/>
                <a:gd name="T9" fmla="*/ 2147483647 h 5"/>
                <a:gd name="T10" fmla="*/ 2147483647 w 3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5"/>
                <a:gd name="T20" fmla="*/ 3 w 3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5">
                  <a:moveTo>
                    <a:pt x="3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3" y="5"/>
                  </a:lnTo>
                  <a:lnTo>
                    <a:pt x="3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49" name="Freeform 451"/>
            <p:cNvSpPr>
              <a:spLocks/>
            </p:cNvSpPr>
            <p:nvPr/>
          </p:nvSpPr>
          <p:spPr bwMode="auto">
            <a:xfrm>
              <a:off x="2465388" y="5507038"/>
              <a:ext cx="1587" cy="4762"/>
            </a:xfrm>
            <a:custGeom>
              <a:avLst/>
              <a:gdLst>
                <a:gd name="T0" fmla="*/ 0 w 1"/>
                <a:gd name="T1" fmla="*/ 2147483647 h 3"/>
                <a:gd name="T2" fmla="*/ 0 w 1"/>
                <a:gd name="T3" fmla="*/ 2147483647 h 3"/>
                <a:gd name="T4" fmla="*/ 0 w 1"/>
                <a:gd name="T5" fmla="*/ 2147483647 h 3"/>
                <a:gd name="T6" fmla="*/ 0 w 1"/>
                <a:gd name="T7" fmla="*/ 0 h 3"/>
                <a:gd name="T8" fmla="*/ 0 w 1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3"/>
                <a:gd name="T17" fmla="*/ 1 w 1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3">
                  <a:moveTo>
                    <a:pt x="0" y="3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50" name="Freeform 452"/>
            <p:cNvSpPr>
              <a:spLocks/>
            </p:cNvSpPr>
            <p:nvPr/>
          </p:nvSpPr>
          <p:spPr bwMode="auto">
            <a:xfrm>
              <a:off x="2460625" y="5538788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2147483647 h 6"/>
                <a:gd name="T4" fmla="*/ 2147483647 w 6"/>
                <a:gd name="T5" fmla="*/ 0 h 6"/>
                <a:gd name="T6" fmla="*/ 0 w 6"/>
                <a:gd name="T7" fmla="*/ 0 h 6"/>
                <a:gd name="T8" fmla="*/ 2147483647 w 6"/>
                <a:gd name="T9" fmla="*/ 2147483647 h 6"/>
                <a:gd name="T10" fmla="*/ 2147483647 w 6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6"/>
                <a:gd name="T20" fmla="*/ 6 w 6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6">
                  <a:moveTo>
                    <a:pt x="6" y="6"/>
                  </a:moveTo>
                  <a:lnTo>
                    <a:pt x="6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3"/>
                  </a:ln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51" name="Rectangle 453"/>
            <p:cNvSpPr>
              <a:spLocks noChangeArrowheads="1"/>
            </p:cNvSpPr>
            <p:nvPr/>
          </p:nvSpPr>
          <p:spPr bwMode="auto">
            <a:xfrm>
              <a:off x="2460625" y="5499100"/>
              <a:ext cx="4763" cy="3175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52" name="Freeform 454"/>
            <p:cNvSpPr>
              <a:spLocks/>
            </p:cNvSpPr>
            <p:nvPr/>
          </p:nvSpPr>
          <p:spPr bwMode="auto">
            <a:xfrm>
              <a:off x="2451100" y="5400675"/>
              <a:ext cx="9525" cy="14288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2147483647 h 9"/>
                <a:gd name="T4" fmla="*/ 2147483647 w 6"/>
                <a:gd name="T5" fmla="*/ 2147483647 h 9"/>
                <a:gd name="T6" fmla="*/ 2147483647 w 6"/>
                <a:gd name="T7" fmla="*/ 0 h 9"/>
                <a:gd name="T8" fmla="*/ 0 w 6"/>
                <a:gd name="T9" fmla="*/ 0 h 9"/>
                <a:gd name="T10" fmla="*/ 0 w 6"/>
                <a:gd name="T11" fmla="*/ 2147483647 h 9"/>
                <a:gd name="T12" fmla="*/ 0 w 6"/>
                <a:gd name="T13" fmla="*/ 2147483647 h 9"/>
                <a:gd name="T14" fmla="*/ 2147483647 w 6"/>
                <a:gd name="T15" fmla="*/ 2147483647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"/>
                <a:gd name="T25" fmla="*/ 0 h 9"/>
                <a:gd name="T26" fmla="*/ 6 w 6"/>
                <a:gd name="T27" fmla="*/ 9 h 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" h="9">
                  <a:moveTo>
                    <a:pt x="3" y="9"/>
                  </a:moveTo>
                  <a:lnTo>
                    <a:pt x="6" y="9"/>
                  </a:lnTo>
                  <a:lnTo>
                    <a:pt x="3" y="6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53" name="Freeform 455"/>
            <p:cNvSpPr>
              <a:spLocks/>
            </p:cNvSpPr>
            <p:nvPr/>
          </p:nvSpPr>
          <p:spPr bwMode="auto">
            <a:xfrm>
              <a:off x="2524125" y="5626100"/>
              <a:ext cx="4763" cy="4763"/>
            </a:xfrm>
            <a:custGeom>
              <a:avLst/>
              <a:gdLst>
                <a:gd name="T0" fmla="*/ 2147483647 w 3"/>
                <a:gd name="T1" fmla="*/ 0 h 3"/>
                <a:gd name="T2" fmla="*/ 0 w 3"/>
                <a:gd name="T3" fmla="*/ 2147483647 h 3"/>
                <a:gd name="T4" fmla="*/ 2147483647 w 3"/>
                <a:gd name="T5" fmla="*/ 2147483647 h 3"/>
                <a:gd name="T6" fmla="*/ 2147483647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3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54" name="Freeform 456"/>
            <p:cNvSpPr>
              <a:spLocks/>
            </p:cNvSpPr>
            <p:nvPr/>
          </p:nvSpPr>
          <p:spPr bwMode="auto">
            <a:xfrm>
              <a:off x="2528888" y="5643563"/>
              <a:ext cx="9525" cy="4762"/>
            </a:xfrm>
            <a:custGeom>
              <a:avLst/>
              <a:gdLst>
                <a:gd name="T0" fmla="*/ 2147483647 w 6"/>
                <a:gd name="T1" fmla="*/ 0 h 3"/>
                <a:gd name="T2" fmla="*/ 0 w 6"/>
                <a:gd name="T3" fmla="*/ 0 h 3"/>
                <a:gd name="T4" fmla="*/ 0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6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55" name="Rectangle 457"/>
            <p:cNvSpPr>
              <a:spLocks noChangeArrowheads="1"/>
            </p:cNvSpPr>
            <p:nvPr/>
          </p:nvSpPr>
          <p:spPr bwMode="auto">
            <a:xfrm>
              <a:off x="2528888" y="5635625"/>
              <a:ext cx="4762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56" name="Freeform 458"/>
            <p:cNvSpPr>
              <a:spLocks/>
            </p:cNvSpPr>
            <p:nvPr/>
          </p:nvSpPr>
          <p:spPr bwMode="auto">
            <a:xfrm>
              <a:off x="2514600" y="5648325"/>
              <a:ext cx="14288" cy="15875"/>
            </a:xfrm>
            <a:custGeom>
              <a:avLst/>
              <a:gdLst>
                <a:gd name="T0" fmla="*/ 2147483647 w 9"/>
                <a:gd name="T1" fmla="*/ 2147483647 h 9"/>
                <a:gd name="T2" fmla="*/ 2147483647 w 9"/>
                <a:gd name="T3" fmla="*/ 2147483647 h 9"/>
                <a:gd name="T4" fmla="*/ 2147483647 w 9"/>
                <a:gd name="T5" fmla="*/ 0 h 9"/>
                <a:gd name="T6" fmla="*/ 2147483647 w 9"/>
                <a:gd name="T7" fmla="*/ 0 h 9"/>
                <a:gd name="T8" fmla="*/ 2147483647 w 9"/>
                <a:gd name="T9" fmla="*/ 0 h 9"/>
                <a:gd name="T10" fmla="*/ 2147483647 w 9"/>
                <a:gd name="T11" fmla="*/ 0 h 9"/>
                <a:gd name="T12" fmla="*/ 0 w 9"/>
                <a:gd name="T13" fmla="*/ 0 h 9"/>
                <a:gd name="T14" fmla="*/ 0 w 9"/>
                <a:gd name="T15" fmla="*/ 0 h 9"/>
                <a:gd name="T16" fmla="*/ 0 w 9"/>
                <a:gd name="T17" fmla="*/ 2147483647 h 9"/>
                <a:gd name="T18" fmla="*/ 2147483647 w 9"/>
                <a:gd name="T19" fmla="*/ 2147483647 h 9"/>
                <a:gd name="T20" fmla="*/ 2147483647 w 9"/>
                <a:gd name="T21" fmla="*/ 2147483647 h 9"/>
                <a:gd name="T22" fmla="*/ 2147483647 w 9"/>
                <a:gd name="T23" fmla="*/ 2147483647 h 9"/>
                <a:gd name="T24" fmla="*/ 2147483647 w 9"/>
                <a:gd name="T25" fmla="*/ 2147483647 h 9"/>
                <a:gd name="T26" fmla="*/ 2147483647 w 9"/>
                <a:gd name="T27" fmla="*/ 2147483647 h 9"/>
                <a:gd name="T28" fmla="*/ 2147483647 w 9"/>
                <a:gd name="T29" fmla="*/ 2147483647 h 9"/>
                <a:gd name="T30" fmla="*/ 2147483647 w 9"/>
                <a:gd name="T31" fmla="*/ 2147483647 h 9"/>
                <a:gd name="T32" fmla="*/ 2147483647 w 9"/>
                <a:gd name="T33" fmla="*/ 2147483647 h 9"/>
                <a:gd name="T34" fmla="*/ 2147483647 w 9"/>
                <a:gd name="T35" fmla="*/ 2147483647 h 9"/>
                <a:gd name="T36" fmla="*/ 2147483647 w 9"/>
                <a:gd name="T37" fmla="*/ 2147483647 h 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9"/>
                <a:gd name="T58" fmla="*/ 0 h 9"/>
                <a:gd name="T59" fmla="*/ 9 w 9"/>
                <a:gd name="T60" fmla="*/ 9 h 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9" h="9">
                  <a:moveTo>
                    <a:pt x="6" y="3"/>
                  </a:move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6" y="3"/>
                  </a:lnTo>
                  <a:lnTo>
                    <a:pt x="6" y="9"/>
                  </a:lnTo>
                  <a:lnTo>
                    <a:pt x="9" y="6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57" name="Freeform 459"/>
            <p:cNvSpPr>
              <a:spLocks/>
            </p:cNvSpPr>
            <p:nvPr/>
          </p:nvSpPr>
          <p:spPr bwMode="auto">
            <a:xfrm>
              <a:off x="2511425" y="5640388"/>
              <a:ext cx="7938" cy="3175"/>
            </a:xfrm>
            <a:custGeom>
              <a:avLst/>
              <a:gdLst>
                <a:gd name="T0" fmla="*/ 2147483647 w 5"/>
                <a:gd name="T1" fmla="*/ 0 h 2"/>
                <a:gd name="T2" fmla="*/ 0 w 5"/>
                <a:gd name="T3" fmla="*/ 0 h 2"/>
                <a:gd name="T4" fmla="*/ 2147483647 w 5"/>
                <a:gd name="T5" fmla="*/ 2147483647 h 2"/>
                <a:gd name="T6" fmla="*/ 2147483647 w 5"/>
                <a:gd name="T7" fmla="*/ 2147483647 h 2"/>
                <a:gd name="T8" fmla="*/ 2147483647 w 5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5" y="0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5" y="2"/>
                  </a:ln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58" name="Freeform 460"/>
            <p:cNvSpPr>
              <a:spLocks/>
            </p:cNvSpPr>
            <p:nvPr/>
          </p:nvSpPr>
          <p:spPr bwMode="auto">
            <a:xfrm>
              <a:off x="2524125" y="5640388"/>
              <a:ext cx="4763" cy="3175"/>
            </a:xfrm>
            <a:custGeom>
              <a:avLst/>
              <a:gdLst>
                <a:gd name="T0" fmla="*/ 2147483647 w 3"/>
                <a:gd name="T1" fmla="*/ 2147483647 h 2"/>
                <a:gd name="T2" fmla="*/ 2147483647 w 3"/>
                <a:gd name="T3" fmla="*/ 2147483647 h 2"/>
                <a:gd name="T4" fmla="*/ 2147483647 w 3"/>
                <a:gd name="T5" fmla="*/ 0 h 2"/>
                <a:gd name="T6" fmla="*/ 2147483647 w 3"/>
                <a:gd name="T7" fmla="*/ 0 h 2"/>
                <a:gd name="T8" fmla="*/ 0 w 3"/>
                <a:gd name="T9" fmla="*/ 0 h 2"/>
                <a:gd name="T10" fmla="*/ 0 w 3"/>
                <a:gd name="T11" fmla="*/ 0 h 2"/>
                <a:gd name="T12" fmla="*/ 2147483647 w 3"/>
                <a:gd name="T13" fmla="*/ 2147483647 h 2"/>
                <a:gd name="T14" fmla="*/ 2147483647 w 3"/>
                <a:gd name="T15" fmla="*/ 2147483647 h 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"/>
                <a:gd name="T25" fmla="*/ 0 h 2"/>
                <a:gd name="T26" fmla="*/ 3 w 3"/>
                <a:gd name="T27" fmla="*/ 2 h 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" h="2">
                  <a:moveTo>
                    <a:pt x="3" y="2"/>
                  </a:moveTo>
                  <a:lnTo>
                    <a:pt x="3" y="2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59" name="Freeform 461"/>
            <p:cNvSpPr>
              <a:spLocks/>
            </p:cNvSpPr>
            <p:nvPr/>
          </p:nvSpPr>
          <p:spPr bwMode="auto">
            <a:xfrm>
              <a:off x="2511425" y="5611813"/>
              <a:ext cx="7938" cy="19050"/>
            </a:xfrm>
            <a:custGeom>
              <a:avLst/>
              <a:gdLst>
                <a:gd name="T0" fmla="*/ 2147483647 w 5"/>
                <a:gd name="T1" fmla="*/ 2147483647 h 12"/>
                <a:gd name="T2" fmla="*/ 2147483647 w 5"/>
                <a:gd name="T3" fmla="*/ 2147483647 h 12"/>
                <a:gd name="T4" fmla="*/ 2147483647 w 5"/>
                <a:gd name="T5" fmla="*/ 0 h 12"/>
                <a:gd name="T6" fmla="*/ 2147483647 w 5"/>
                <a:gd name="T7" fmla="*/ 2147483647 h 12"/>
                <a:gd name="T8" fmla="*/ 0 w 5"/>
                <a:gd name="T9" fmla="*/ 2147483647 h 12"/>
                <a:gd name="T10" fmla="*/ 0 w 5"/>
                <a:gd name="T11" fmla="*/ 2147483647 h 12"/>
                <a:gd name="T12" fmla="*/ 2147483647 w 5"/>
                <a:gd name="T13" fmla="*/ 2147483647 h 12"/>
                <a:gd name="T14" fmla="*/ 2147483647 w 5"/>
                <a:gd name="T15" fmla="*/ 2147483647 h 12"/>
                <a:gd name="T16" fmla="*/ 2147483647 w 5"/>
                <a:gd name="T17" fmla="*/ 2147483647 h 12"/>
                <a:gd name="T18" fmla="*/ 2147483647 w 5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"/>
                <a:gd name="T31" fmla="*/ 0 h 12"/>
                <a:gd name="T32" fmla="*/ 5 w 5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" h="12">
                  <a:moveTo>
                    <a:pt x="2" y="6"/>
                  </a:moveTo>
                  <a:lnTo>
                    <a:pt x="2" y="3"/>
                  </a:lnTo>
                  <a:lnTo>
                    <a:pt x="2" y="0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9"/>
                  </a:lnTo>
                  <a:lnTo>
                    <a:pt x="2" y="9"/>
                  </a:lnTo>
                  <a:lnTo>
                    <a:pt x="2" y="12"/>
                  </a:lnTo>
                  <a:lnTo>
                    <a:pt x="5" y="9"/>
                  </a:lnTo>
                  <a:lnTo>
                    <a:pt x="2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60" name="Freeform 462"/>
            <p:cNvSpPr>
              <a:spLocks/>
            </p:cNvSpPr>
            <p:nvPr/>
          </p:nvSpPr>
          <p:spPr bwMode="auto">
            <a:xfrm>
              <a:off x="2511425" y="5630863"/>
              <a:ext cx="7938" cy="4762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2147483647 h 3"/>
                <a:gd name="T4" fmla="*/ 2147483647 w 5"/>
                <a:gd name="T5" fmla="*/ 0 h 3"/>
                <a:gd name="T6" fmla="*/ 2147483647 w 5"/>
                <a:gd name="T7" fmla="*/ 0 h 3"/>
                <a:gd name="T8" fmla="*/ 2147483647 w 5"/>
                <a:gd name="T9" fmla="*/ 0 h 3"/>
                <a:gd name="T10" fmla="*/ 0 w 5"/>
                <a:gd name="T11" fmla="*/ 0 h 3"/>
                <a:gd name="T12" fmla="*/ 0 w 5"/>
                <a:gd name="T13" fmla="*/ 2147483647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3"/>
                <a:gd name="T23" fmla="*/ 5 w 5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3">
                  <a:moveTo>
                    <a:pt x="0" y="3"/>
                  </a:moveTo>
                  <a:lnTo>
                    <a:pt x="2" y="3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61" name="Freeform 463"/>
            <p:cNvSpPr>
              <a:spLocks/>
            </p:cNvSpPr>
            <p:nvPr/>
          </p:nvSpPr>
          <p:spPr bwMode="auto">
            <a:xfrm>
              <a:off x="2524125" y="5611813"/>
              <a:ext cx="4763" cy="4762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2147483647 h 3"/>
                <a:gd name="T4" fmla="*/ 2147483647 w 3"/>
                <a:gd name="T5" fmla="*/ 0 h 3"/>
                <a:gd name="T6" fmla="*/ 0 w 3"/>
                <a:gd name="T7" fmla="*/ 0 h 3"/>
                <a:gd name="T8" fmla="*/ 0 w 3"/>
                <a:gd name="T9" fmla="*/ 2147483647 h 3"/>
                <a:gd name="T10" fmla="*/ 0 w 3"/>
                <a:gd name="T11" fmla="*/ 2147483647 h 3"/>
                <a:gd name="T12" fmla="*/ 0 w 3"/>
                <a:gd name="T13" fmla="*/ 2147483647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"/>
                <a:gd name="T22" fmla="*/ 0 h 3"/>
                <a:gd name="T23" fmla="*/ 3 w 3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" h="3">
                  <a:moveTo>
                    <a:pt x="0" y="3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62" name="Freeform 464"/>
            <p:cNvSpPr>
              <a:spLocks/>
            </p:cNvSpPr>
            <p:nvPr/>
          </p:nvSpPr>
          <p:spPr bwMode="auto">
            <a:xfrm>
              <a:off x="2514600" y="5616575"/>
              <a:ext cx="14288" cy="9525"/>
            </a:xfrm>
            <a:custGeom>
              <a:avLst/>
              <a:gdLst>
                <a:gd name="T0" fmla="*/ 2147483647 w 9"/>
                <a:gd name="T1" fmla="*/ 2147483647 h 6"/>
                <a:gd name="T2" fmla="*/ 2147483647 w 9"/>
                <a:gd name="T3" fmla="*/ 2147483647 h 6"/>
                <a:gd name="T4" fmla="*/ 2147483647 w 9"/>
                <a:gd name="T5" fmla="*/ 2147483647 h 6"/>
                <a:gd name="T6" fmla="*/ 2147483647 w 9"/>
                <a:gd name="T7" fmla="*/ 0 h 6"/>
                <a:gd name="T8" fmla="*/ 0 w 9"/>
                <a:gd name="T9" fmla="*/ 2147483647 h 6"/>
                <a:gd name="T10" fmla="*/ 2147483647 w 9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6"/>
                <a:gd name="T20" fmla="*/ 9 w 9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6">
                  <a:moveTo>
                    <a:pt x="3" y="6"/>
                  </a:moveTo>
                  <a:lnTo>
                    <a:pt x="6" y="6"/>
                  </a:lnTo>
                  <a:lnTo>
                    <a:pt x="9" y="3"/>
                  </a:lnTo>
                  <a:lnTo>
                    <a:pt x="6" y="0"/>
                  </a:lnTo>
                  <a:lnTo>
                    <a:pt x="0" y="3"/>
                  </a:lnTo>
                  <a:lnTo>
                    <a:pt x="3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63" name="Freeform 465"/>
            <p:cNvSpPr>
              <a:spLocks/>
            </p:cNvSpPr>
            <p:nvPr/>
          </p:nvSpPr>
          <p:spPr bwMode="auto">
            <a:xfrm>
              <a:off x="2617788" y="5718175"/>
              <a:ext cx="7937" cy="9525"/>
            </a:xfrm>
            <a:custGeom>
              <a:avLst/>
              <a:gdLst>
                <a:gd name="T0" fmla="*/ 0 w 5"/>
                <a:gd name="T1" fmla="*/ 0 h 6"/>
                <a:gd name="T2" fmla="*/ 0 w 5"/>
                <a:gd name="T3" fmla="*/ 2147483647 h 6"/>
                <a:gd name="T4" fmla="*/ 2147483647 w 5"/>
                <a:gd name="T5" fmla="*/ 2147483647 h 6"/>
                <a:gd name="T6" fmla="*/ 2147483647 w 5"/>
                <a:gd name="T7" fmla="*/ 0 h 6"/>
                <a:gd name="T8" fmla="*/ 2147483647 w 5"/>
                <a:gd name="T9" fmla="*/ 0 h 6"/>
                <a:gd name="T10" fmla="*/ 2147483647 w 5"/>
                <a:gd name="T11" fmla="*/ 0 h 6"/>
                <a:gd name="T12" fmla="*/ 0 w 5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6"/>
                <a:gd name="T23" fmla="*/ 5 w 5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6">
                  <a:moveTo>
                    <a:pt x="0" y="0"/>
                  </a:moveTo>
                  <a:lnTo>
                    <a:pt x="0" y="6"/>
                  </a:lnTo>
                  <a:lnTo>
                    <a:pt x="2" y="3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64" name="Freeform 466"/>
            <p:cNvSpPr>
              <a:spLocks/>
            </p:cNvSpPr>
            <p:nvPr/>
          </p:nvSpPr>
          <p:spPr bwMode="auto">
            <a:xfrm>
              <a:off x="2460625" y="5446713"/>
              <a:ext cx="4763" cy="14287"/>
            </a:xfrm>
            <a:custGeom>
              <a:avLst/>
              <a:gdLst>
                <a:gd name="T0" fmla="*/ 0 w 3"/>
                <a:gd name="T1" fmla="*/ 2147483647 h 9"/>
                <a:gd name="T2" fmla="*/ 0 w 3"/>
                <a:gd name="T3" fmla="*/ 2147483647 h 9"/>
                <a:gd name="T4" fmla="*/ 2147483647 w 3"/>
                <a:gd name="T5" fmla="*/ 2147483647 h 9"/>
                <a:gd name="T6" fmla="*/ 2147483647 w 3"/>
                <a:gd name="T7" fmla="*/ 2147483647 h 9"/>
                <a:gd name="T8" fmla="*/ 0 w 3"/>
                <a:gd name="T9" fmla="*/ 0 h 9"/>
                <a:gd name="T10" fmla="*/ 0 w 3"/>
                <a:gd name="T11" fmla="*/ 214748364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9"/>
                <a:gd name="T20" fmla="*/ 3 w 3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9">
                  <a:moveTo>
                    <a:pt x="0" y="3"/>
                  </a:moveTo>
                  <a:lnTo>
                    <a:pt x="0" y="9"/>
                  </a:lnTo>
                  <a:lnTo>
                    <a:pt x="3" y="6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65" name="Freeform 467"/>
            <p:cNvSpPr>
              <a:spLocks/>
            </p:cNvSpPr>
            <p:nvPr/>
          </p:nvSpPr>
          <p:spPr bwMode="auto">
            <a:xfrm>
              <a:off x="2533650" y="5673725"/>
              <a:ext cx="22225" cy="17463"/>
            </a:xfrm>
            <a:custGeom>
              <a:avLst/>
              <a:gdLst>
                <a:gd name="T0" fmla="*/ 2147483647 w 14"/>
                <a:gd name="T1" fmla="*/ 2147483647 h 11"/>
                <a:gd name="T2" fmla="*/ 2147483647 w 14"/>
                <a:gd name="T3" fmla="*/ 2147483647 h 11"/>
                <a:gd name="T4" fmla="*/ 2147483647 w 14"/>
                <a:gd name="T5" fmla="*/ 0 h 11"/>
                <a:gd name="T6" fmla="*/ 0 w 14"/>
                <a:gd name="T7" fmla="*/ 0 h 11"/>
                <a:gd name="T8" fmla="*/ 0 w 14"/>
                <a:gd name="T9" fmla="*/ 2147483647 h 11"/>
                <a:gd name="T10" fmla="*/ 2147483647 w 14"/>
                <a:gd name="T11" fmla="*/ 2147483647 h 11"/>
                <a:gd name="T12" fmla="*/ 2147483647 w 14"/>
                <a:gd name="T13" fmla="*/ 2147483647 h 11"/>
                <a:gd name="T14" fmla="*/ 2147483647 w 14"/>
                <a:gd name="T15" fmla="*/ 2147483647 h 11"/>
                <a:gd name="T16" fmla="*/ 2147483647 w 14"/>
                <a:gd name="T17" fmla="*/ 2147483647 h 11"/>
                <a:gd name="T18" fmla="*/ 2147483647 w 14"/>
                <a:gd name="T19" fmla="*/ 2147483647 h 11"/>
                <a:gd name="T20" fmla="*/ 2147483647 w 14"/>
                <a:gd name="T21" fmla="*/ 2147483647 h 11"/>
                <a:gd name="T22" fmla="*/ 2147483647 w 14"/>
                <a:gd name="T23" fmla="*/ 2147483647 h 11"/>
                <a:gd name="T24" fmla="*/ 2147483647 w 14"/>
                <a:gd name="T25" fmla="*/ 2147483647 h 11"/>
                <a:gd name="T26" fmla="*/ 2147483647 w 14"/>
                <a:gd name="T27" fmla="*/ 2147483647 h 11"/>
                <a:gd name="T28" fmla="*/ 2147483647 w 14"/>
                <a:gd name="T29" fmla="*/ 2147483647 h 11"/>
                <a:gd name="T30" fmla="*/ 2147483647 w 14"/>
                <a:gd name="T31" fmla="*/ 2147483647 h 1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4"/>
                <a:gd name="T49" fmla="*/ 0 h 11"/>
                <a:gd name="T50" fmla="*/ 14 w 14"/>
                <a:gd name="T51" fmla="*/ 11 h 1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4" h="11">
                  <a:moveTo>
                    <a:pt x="11" y="5"/>
                  </a:moveTo>
                  <a:lnTo>
                    <a:pt x="6" y="3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6" y="5"/>
                  </a:lnTo>
                  <a:lnTo>
                    <a:pt x="8" y="8"/>
                  </a:lnTo>
                  <a:lnTo>
                    <a:pt x="11" y="8"/>
                  </a:lnTo>
                  <a:lnTo>
                    <a:pt x="14" y="8"/>
                  </a:lnTo>
                  <a:lnTo>
                    <a:pt x="14" y="11"/>
                  </a:lnTo>
                  <a:lnTo>
                    <a:pt x="14" y="8"/>
                  </a:lnTo>
                  <a:lnTo>
                    <a:pt x="11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66" name="Freeform 468"/>
            <p:cNvSpPr>
              <a:spLocks/>
            </p:cNvSpPr>
            <p:nvPr/>
          </p:nvSpPr>
          <p:spPr bwMode="auto">
            <a:xfrm>
              <a:off x="2538413" y="5643563"/>
              <a:ext cx="12700" cy="15875"/>
            </a:xfrm>
            <a:custGeom>
              <a:avLst/>
              <a:gdLst>
                <a:gd name="T0" fmla="*/ 0 w 8"/>
                <a:gd name="T1" fmla="*/ 0 h 9"/>
                <a:gd name="T2" fmla="*/ 0 w 8"/>
                <a:gd name="T3" fmla="*/ 2147483647 h 9"/>
                <a:gd name="T4" fmla="*/ 2147483647 w 8"/>
                <a:gd name="T5" fmla="*/ 2147483647 h 9"/>
                <a:gd name="T6" fmla="*/ 2147483647 w 8"/>
                <a:gd name="T7" fmla="*/ 2147483647 h 9"/>
                <a:gd name="T8" fmla="*/ 2147483647 w 8"/>
                <a:gd name="T9" fmla="*/ 2147483647 h 9"/>
                <a:gd name="T10" fmla="*/ 2147483647 w 8"/>
                <a:gd name="T11" fmla="*/ 2147483647 h 9"/>
                <a:gd name="T12" fmla="*/ 2147483647 w 8"/>
                <a:gd name="T13" fmla="*/ 2147483647 h 9"/>
                <a:gd name="T14" fmla="*/ 2147483647 w 8"/>
                <a:gd name="T15" fmla="*/ 2147483647 h 9"/>
                <a:gd name="T16" fmla="*/ 2147483647 w 8"/>
                <a:gd name="T17" fmla="*/ 2147483647 h 9"/>
                <a:gd name="T18" fmla="*/ 2147483647 w 8"/>
                <a:gd name="T19" fmla="*/ 2147483647 h 9"/>
                <a:gd name="T20" fmla="*/ 2147483647 w 8"/>
                <a:gd name="T21" fmla="*/ 0 h 9"/>
                <a:gd name="T22" fmla="*/ 2147483647 w 8"/>
                <a:gd name="T23" fmla="*/ 0 h 9"/>
                <a:gd name="T24" fmla="*/ 0 w 8"/>
                <a:gd name="T25" fmla="*/ 0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"/>
                <a:gd name="T40" fmla="*/ 0 h 9"/>
                <a:gd name="T41" fmla="*/ 8 w 8"/>
                <a:gd name="T42" fmla="*/ 9 h 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" h="9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3" y="9"/>
                  </a:lnTo>
                  <a:lnTo>
                    <a:pt x="5" y="9"/>
                  </a:lnTo>
                  <a:lnTo>
                    <a:pt x="8" y="9"/>
                  </a:lnTo>
                  <a:lnTo>
                    <a:pt x="8" y="6"/>
                  </a:lnTo>
                  <a:lnTo>
                    <a:pt x="5" y="6"/>
                  </a:lnTo>
                  <a:lnTo>
                    <a:pt x="3" y="6"/>
                  </a:lnTo>
                  <a:lnTo>
                    <a:pt x="5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67" name="Freeform 469"/>
            <p:cNvSpPr>
              <a:spLocks/>
            </p:cNvSpPr>
            <p:nvPr/>
          </p:nvSpPr>
          <p:spPr bwMode="auto">
            <a:xfrm>
              <a:off x="2506663" y="5608638"/>
              <a:ext cx="4762" cy="7937"/>
            </a:xfrm>
            <a:custGeom>
              <a:avLst/>
              <a:gdLst>
                <a:gd name="T0" fmla="*/ 0 w 3"/>
                <a:gd name="T1" fmla="*/ 0 h 5"/>
                <a:gd name="T2" fmla="*/ 0 w 3"/>
                <a:gd name="T3" fmla="*/ 2147483647 h 5"/>
                <a:gd name="T4" fmla="*/ 2147483647 w 3"/>
                <a:gd name="T5" fmla="*/ 2147483647 h 5"/>
                <a:gd name="T6" fmla="*/ 2147483647 w 3"/>
                <a:gd name="T7" fmla="*/ 2147483647 h 5"/>
                <a:gd name="T8" fmla="*/ 0 w 3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0" y="0"/>
                  </a:moveTo>
                  <a:lnTo>
                    <a:pt x="0" y="5"/>
                  </a:lnTo>
                  <a:lnTo>
                    <a:pt x="3" y="5"/>
                  </a:lnTo>
                  <a:lnTo>
                    <a:pt x="3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68" name="Rectangle 470"/>
            <p:cNvSpPr>
              <a:spLocks noChangeArrowheads="1"/>
            </p:cNvSpPr>
            <p:nvPr/>
          </p:nvSpPr>
          <p:spPr bwMode="auto">
            <a:xfrm>
              <a:off x="2538413" y="5640388"/>
              <a:ext cx="4762" cy="3175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69" name="Freeform 471"/>
            <p:cNvSpPr>
              <a:spLocks/>
            </p:cNvSpPr>
            <p:nvPr/>
          </p:nvSpPr>
          <p:spPr bwMode="auto">
            <a:xfrm>
              <a:off x="2555875" y="5654675"/>
              <a:ext cx="4763" cy="9525"/>
            </a:xfrm>
            <a:custGeom>
              <a:avLst/>
              <a:gdLst>
                <a:gd name="T0" fmla="*/ 0 w 3"/>
                <a:gd name="T1" fmla="*/ 2147483647 h 6"/>
                <a:gd name="T2" fmla="*/ 0 w 3"/>
                <a:gd name="T3" fmla="*/ 2147483647 h 6"/>
                <a:gd name="T4" fmla="*/ 2147483647 w 3"/>
                <a:gd name="T5" fmla="*/ 2147483647 h 6"/>
                <a:gd name="T6" fmla="*/ 2147483647 w 3"/>
                <a:gd name="T7" fmla="*/ 2147483647 h 6"/>
                <a:gd name="T8" fmla="*/ 2147483647 w 3"/>
                <a:gd name="T9" fmla="*/ 2147483647 h 6"/>
                <a:gd name="T10" fmla="*/ 0 w 3"/>
                <a:gd name="T11" fmla="*/ 0 h 6"/>
                <a:gd name="T12" fmla="*/ 0 w 3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"/>
                <a:gd name="T22" fmla="*/ 0 h 6"/>
                <a:gd name="T23" fmla="*/ 3 w 3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" h="6">
                  <a:moveTo>
                    <a:pt x="0" y="3"/>
                  </a:moveTo>
                  <a:lnTo>
                    <a:pt x="0" y="6"/>
                  </a:lnTo>
                  <a:lnTo>
                    <a:pt x="3" y="6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70" name="Rectangle 472"/>
            <p:cNvSpPr>
              <a:spLocks noChangeArrowheads="1"/>
            </p:cNvSpPr>
            <p:nvPr/>
          </p:nvSpPr>
          <p:spPr bwMode="auto">
            <a:xfrm>
              <a:off x="2551113" y="5648325"/>
              <a:ext cx="4762" cy="6350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71" name="Rectangle 473"/>
            <p:cNvSpPr>
              <a:spLocks noChangeArrowheads="1"/>
            </p:cNvSpPr>
            <p:nvPr/>
          </p:nvSpPr>
          <p:spPr bwMode="auto">
            <a:xfrm>
              <a:off x="2551113" y="5668963"/>
              <a:ext cx="4762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72" name="Freeform 474"/>
            <p:cNvSpPr>
              <a:spLocks/>
            </p:cNvSpPr>
            <p:nvPr/>
          </p:nvSpPr>
          <p:spPr bwMode="auto">
            <a:xfrm>
              <a:off x="2543175" y="5659438"/>
              <a:ext cx="3175" cy="4762"/>
            </a:xfrm>
            <a:custGeom>
              <a:avLst/>
              <a:gdLst>
                <a:gd name="T0" fmla="*/ 0 w 2"/>
                <a:gd name="T1" fmla="*/ 2147483647 h 3"/>
                <a:gd name="T2" fmla="*/ 2147483647 w 2"/>
                <a:gd name="T3" fmla="*/ 2147483647 h 3"/>
                <a:gd name="T4" fmla="*/ 2147483647 w 2"/>
                <a:gd name="T5" fmla="*/ 0 h 3"/>
                <a:gd name="T6" fmla="*/ 0 w 2"/>
                <a:gd name="T7" fmla="*/ 2147483647 h 3"/>
                <a:gd name="T8" fmla="*/ 0 w 2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0" y="3"/>
                  </a:moveTo>
                  <a:lnTo>
                    <a:pt x="2" y="3"/>
                  </a:lnTo>
                  <a:lnTo>
                    <a:pt x="2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73" name="Freeform 475"/>
            <p:cNvSpPr>
              <a:spLocks/>
            </p:cNvSpPr>
            <p:nvPr/>
          </p:nvSpPr>
          <p:spPr bwMode="auto">
            <a:xfrm>
              <a:off x="2533650" y="5654675"/>
              <a:ext cx="9525" cy="4763"/>
            </a:xfrm>
            <a:custGeom>
              <a:avLst/>
              <a:gdLst>
                <a:gd name="T0" fmla="*/ 2147483647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0 h 3"/>
                <a:gd name="T8" fmla="*/ 0 w 6"/>
                <a:gd name="T9" fmla="*/ 0 h 3"/>
                <a:gd name="T10" fmla="*/ 0 w 6"/>
                <a:gd name="T11" fmla="*/ 0 h 3"/>
                <a:gd name="T12" fmla="*/ 2147483647 w 6"/>
                <a:gd name="T13" fmla="*/ 0 h 3"/>
                <a:gd name="T14" fmla="*/ 2147483647 w 6"/>
                <a:gd name="T15" fmla="*/ 0 h 3"/>
                <a:gd name="T16" fmla="*/ 2147483647 w 6"/>
                <a:gd name="T17" fmla="*/ 2147483647 h 3"/>
                <a:gd name="T18" fmla="*/ 2147483647 w 6"/>
                <a:gd name="T19" fmla="*/ 2147483647 h 3"/>
                <a:gd name="T20" fmla="*/ 2147483647 w 6"/>
                <a:gd name="T21" fmla="*/ 2147483647 h 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"/>
                <a:gd name="T34" fmla="*/ 0 h 3"/>
                <a:gd name="T35" fmla="*/ 6 w 6"/>
                <a:gd name="T36" fmla="*/ 3 h 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" h="3">
                  <a:moveTo>
                    <a:pt x="3" y="3"/>
                  </a:moveTo>
                  <a:lnTo>
                    <a:pt x="3" y="3"/>
                  </a:lnTo>
                  <a:lnTo>
                    <a:pt x="6" y="3"/>
                  </a:lnTo>
                  <a:lnTo>
                    <a:pt x="6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74" name="Freeform 476"/>
            <p:cNvSpPr>
              <a:spLocks/>
            </p:cNvSpPr>
            <p:nvPr/>
          </p:nvSpPr>
          <p:spPr bwMode="auto">
            <a:xfrm>
              <a:off x="2460625" y="5461000"/>
              <a:ext cx="4763" cy="12700"/>
            </a:xfrm>
            <a:custGeom>
              <a:avLst/>
              <a:gdLst>
                <a:gd name="T0" fmla="*/ 2147483647 w 3"/>
                <a:gd name="T1" fmla="*/ 2147483647 h 8"/>
                <a:gd name="T2" fmla="*/ 0 w 3"/>
                <a:gd name="T3" fmla="*/ 0 h 8"/>
                <a:gd name="T4" fmla="*/ 0 w 3"/>
                <a:gd name="T5" fmla="*/ 2147483647 h 8"/>
                <a:gd name="T6" fmla="*/ 2147483647 w 3"/>
                <a:gd name="T7" fmla="*/ 2147483647 h 8"/>
                <a:gd name="T8" fmla="*/ 2147483647 w 3"/>
                <a:gd name="T9" fmla="*/ 2147483647 h 8"/>
                <a:gd name="T10" fmla="*/ 2147483647 w 3"/>
                <a:gd name="T11" fmla="*/ 2147483647 h 8"/>
                <a:gd name="T12" fmla="*/ 2147483647 w 3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"/>
                <a:gd name="T22" fmla="*/ 0 h 8"/>
                <a:gd name="T23" fmla="*/ 3 w 3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" h="8">
                  <a:moveTo>
                    <a:pt x="3" y="3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5"/>
                  </a:lnTo>
                  <a:lnTo>
                    <a:pt x="3" y="8"/>
                  </a:lnTo>
                  <a:lnTo>
                    <a:pt x="3" y="5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75" name="Freeform 477"/>
            <p:cNvSpPr>
              <a:spLocks/>
            </p:cNvSpPr>
            <p:nvPr/>
          </p:nvSpPr>
          <p:spPr bwMode="auto">
            <a:xfrm>
              <a:off x="2460625" y="5473700"/>
              <a:ext cx="9525" cy="4763"/>
            </a:xfrm>
            <a:custGeom>
              <a:avLst/>
              <a:gdLst>
                <a:gd name="T0" fmla="*/ 2147483647 w 6"/>
                <a:gd name="T1" fmla="*/ 0 h 3"/>
                <a:gd name="T2" fmla="*/ 2147483647 w 6"/>
                <a:gd name="T3" fmla="*/ 0 h 3"/>
                <a:gd name="T4" fmla="*/ 0 w 6"/>
                <a:gd name="T5" fmla="*/ 0 h 3"/>
                <a:gd name="T6" fmla="*/ 2147483647 w 6"/>
                <a:gd name="T7" fmla="*/ 2147483647 h 3"/>
                <a:gd name="T8" fmla="*/ 2147483647 w 6"/>
                <a:gd name="T9" fmla="*/ 2147483647 h 3"/>
                <a:gd name="T10" fmla="*/ 2147483647 w 6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3"/>
                  </a:lnTo>
                  <a:lnTo>
                    <a:pt x="6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76" name="Freeform 478"/>
            <p:cNvSpPr>
              <a:spLocks/>
            </p:cNvSpPr>
            <p:nvPr/>
          </p:nvSpPr>
          <p:spPr bwMode="auto">
            <a:xfrm>
              <a:off x="2432050" y="5492750"/>
              <a:ext cx="6350" cy="6350"/>
            </a:xfrm>
            <a:custGeom>
              <a:avLst/>
              <a:gdLst>
                <a:gd name="T0" fmla="*/ 0 w 3"/>
                <a:gd name="T1" fmla="*/ 2147483647 h 3"/>
                <a:gd name="T2" fmla="*/ 0 w 3"/>
                <a:gd name="T3" fmla="*/ 2147483647 h 3"/>
                <a:gd name="T4" fmla="*/ 2147483647 w 3"/>
                <a:gd name="T5" fmla="*/ 2147483647 h 3"/>
                <a:gd name="T6" fmla="*/ 2147483647 w 3"/>
                <a:gd name="T7" fmla="*/ 0 h 3"/>
                <a:gd name="T8" fmla="*/ 0 w 3"/>
                <a:gd name="T9" fmla="*/ 0 h 3"/>
                <a:gd name="T10" fmla="*/ 0 w 3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3"/>
                <a:gd name="T20" fmla="*/ 3 w 3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3">
                  <a:moveTo>
                    <a:pt x="0" y="3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77" name="Rectangle 479"/>
            <p:cNvSpPr>
              <a:spLocks noChangeArrowheads="1"/>
            </p:cNvSpPr>
            <p:nvPr/>
          </p:nvSpPr>
          <p:spPr bwMode="auto">
            <a:xfrm>
              <a:off x="2501900" y="5635625"/>
              <a:ext cx="4763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78" name="Freeform 480"/>
            <p:cNvSpPr>
              <a:spLocks/>
            </p:cNvSpPr>
            <p:nvPr/>
          </p:nvSpPr>
          <p:spPr bwMode="auto">
            <a:xfrm>
              <a:off x="2446338" y="5530850"/>
              <a:ext cx="14287" cy="12700"/>
            </a:xfrm>
            <a:custGeom>
              <a:avLst/>
              <a:gdLst>
                <a:gd name="T0" fmla="*/ 2147483647 w 9"/>
                <a:gd name="T1" fmla="*/ 2147483647 h 8"/>
                <a:gd name="T2" fmla="*/ 2147483647 w 9"/>
                <a:gd name="T3" fmla="*/ 2147483647 h 8"/>
                <a:gd name="T4" fmla="*/ 2147483647 w 9"/>
                <a:gd name="T5" fmla="*/ 2147483647 h 8"/>
                <a:gd name="T6" fmla="*/ 0 w 9"/>
                <a:gd name="T7" fmla="*/ 0 h 8"/>
                <a:gd name="T8" fmla="*/ 2147483647 w 9"/>
                <a:gd name="T9" fmla="*/ 2147483647 h 8"/>
                <a:gd name="T10" fmla="*/ 2147483647 w 9"/>
                <a:gd name="T11" fmla="*/ 2147483647 h 8"/>
                <a:gd name="T12" fmla="*/ 2147483647 w 9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8"/>
                <a:gd name="T23" fmla="*/ 9 w 9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8">
                  <a:moveTo>
                    <a:pt x="6" y="8"/>
                  </a:moveTo>
                  <a:lnTo>
                    <a:pt x="9" y="8"/>
                  </a:lnTo>
                  <a:lnTo>
                    <a:pt x="6" y="5"/>
                  </a:lnTo>
                  <a:lnTo>
                    <a:pt x="0" y="0"/>
                  </a:lnTo>
                  <a:lnTo>
                    <a:pt x="3" y="3"/>
                  </a:lnTo>
                  <a:lnTo>
                    <a:pt x="3" y="5"/>
                  </a:lnTo>
                  <a:lnTo>
                    <a:pt x="6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79" name="Freeform 481"/>
            <p:cNvSpPr>
              <a:spLocks/>
            </p:cNvSpPr>
            <p:nvPr/>
          </p:nvSpPr>
          <p:spPr bwMode="auto">
            <a:xfrm>
              <a:off x="2427288" y="5337175"/>
              <a:ext cx="4762" cy="4763"/>
            </a:xfrm>
            <a:custGeom>
              <a:avLst/>
              <a:gdLst>
                <a:gd name="T0" fmla="*/ 2147483647 w 3"/>
                <a:gd name="T1" fmla="*/ 2147483647 h 3"/>
                <a:gd name="T2" fmla="*/ 2147483647 w 3"/>
                <a:gd name="T3" fmla="*/ 0 h 3"/>
                <a:gd name="T4" fmla="*/ 2147483647 w 3"/>
                <a:gd name="T5" fmla="*/ 0 h 3"/>
                <a:gd name="T6" fmla="*/ 0 w 3"/>
                <a:gd name="T7" fmla="*/ 2147483647 h 3"/>
                <a:gd name="T8" fmla="*/ 2147483647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3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80" name="Freeform 482"/>
            <p:cNvSpPr>
              <a:spLocks/>
            </p:cNvSpPr>
            <p:nvPr/>
          </p:nvSpPr>
          <p:spPr bwMode="auto">
            <a:xfrm>
              <a:off x="2422525" y="5330825"/>
              <a:ext cx="9525" cy="11113"/>
            </a:xfrm>
            <a:custGeom>
              <a:avLst/>
              <a:gdLst>
                <a:gd name="T0" fmla="*/ 0 w 6"/>
                <a:gd name="T1" fmla="*/ 2147483647 h 6"/>
                <a:gd name="T2" fmla="*/ 2147483647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3"/>
                  </a:moveTo>
                  <a:lnTo>
                    <a:pt x="3" y="6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81" name="Freeform 483"/>
            <p:cNvSpPr>
              <a:spLocks/>
            </p:cNvSpPr>
            <p:nvPr/>
          </p:nvSpPr>
          <p:spPr bwMode="auto">
            <a:xfrm>
              <a:off x="2417763" y="5424488"/>
              <a:ext cx="4762" cy="4762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2147483647 h 3"/>
                <a:gd name="T4" fmla="*/ 2147483647 w 3"/>
                <a:gd name="T5" fmla="*/ 2147483647 h 3"/>
                <a:gd name="T6" fmla="*/ 2147483647 w 3"/>
                <a:gd name="T7" fmla="*/ 0 h 3"/>
                <a:gd name="T8" fmla="*/ 0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3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82" name="Freeform 484"/>
            <p:cNvSpPr>
              <a:spLocks/>
            </p:cNvSpPr>
            <p:nvPr/>
          </p:nvSpPr>
          <p:spPr bwMode="auto">
            <a:xfrm>
              <a:off x="2451100" y="5543550"/>
              <a:ext cx="9525" cy="19050"/>
            </a:xfrm>
            <a:custGeom>
              <a:avLst/>
              <a:gdLst>
                <a:gd name="T0" fmla="*/ 2147483647 w 6"/>
                <a:gd name="T1" fmla="*/ 2147483647 h 12"/>
                <a:gd name="T2" fmla="*/ 2147483647 w 6"/>
                <a:gd name="T3" fmla="*/ 2147483647 h 12"/>
                <a:gd name="T4" fmla="*/ 0 w 6"/>
                <a:gd name="T5" fmla="*/ 0 h 12"/>
                <a:gd name="T6" fmla="*/ 0 w 6"/>
                <a:gd name="T7" fmla="*/ 2147483647 h 12"/>
                <a:gd name="T8" fmla="*/ 2147483647 w 6"/>
                <a:gd name="T9" fmla="*/ 2147483647 h 12"/>
                <a:gd name="T10" fmla="*/ 2147483647 w 6"/>
                <a:gd name="T11" fmla="*/ 2147483647 h 12"/>
                <a:gd name="T12" fmla="*/ 2147483647 w 6"/>
                <a:gd name="T13" fmla="*/ 2147483647 h 12"/>
                <a:gd name="T14" fmla="*/ 2147483647 w 6"/>
                <a:gd name="T15" fmla="*/ 2147483647 h 12"/>
                <a:gd name="T16" fmla="*/ 2147483647 w 6"/>
                <a:gd name="T17" fmla="*/ 2147483647 h 12"/>
                <a:gd name="T18" fmla="*/ 2147483647 w 6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2"/>
                <a:gd name="T32" fmla="*/ 6 w 6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2">
                  <a:moveTo>
                    <a:pt x="3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3" y="9"/>
                  </a:lnTo>
                  <a:lnTo>
                    <a:pt x="6" y="12"/>
                  </a:lnTo>
                  <a:lnTo>
                    <a:pt x="6" y="9"/>
                  </a:lnTo>
                  <a:lnTo>
                    <a:pt x="6" y="6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83" name="Freeform 485"/>
            <p:cNvSpPr>
              <a:spLocks/>
            </p:cNvSpPr>
            <p:nvPr/>
          </p:nvSpPr>
          <p:spPr bwMode="auto">
            <a:xfrm>
              <a:off x="2413000" y="5432425"/>
              <a:ext cx="4763" cy="4763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2147483647 h 3"/>
                <a:gd name="T4" fmla="*/ 2147483647 w 3"/>
                <a:gd name="T5" fmla="*/ 0 h 3"/>
                <a:gd name="T6" fmla="*/ 0 w 3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3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84" name="Freeform 486"/>
            <p:cNvSpPr>
              <a:spLocks/>
            </p:cNvSpPr>
            <p:nvPr/>
          </p:nvSpPr>
          <p:spPr bwMode="auto">
            <a:xfrm>
              <a:off x="2422525" y="5465763"/>
              <a:ext cx="42863" cy="26987"/>
            </a:xfrm>
            <a:custGeom>
              <a:avLst/>
              <a:gdLst>
                <a:gd name="T0" fmla="*/ 2147483647 w 26"/>
                <a:gd name="T1" fmla="*/ 2147483647 h 17"/>
                <a:gd name="T2" fmla="*/ 2147483647 w 26"/>
                <a:gd name="T3" fmla="*/ 2147483647 h 17"/>
                <a:gd name="T4" fmla="*/ 2147483647 w 26"/>
                <a:gd name="T5" fmla="*/ 2147483647 h 17"/>
                <a:gd name="T6" fmla="*/ 2147483647 w 26"/>
                <a:gd name="T7" fmla="*/ 2147483647 h 17"/>
                <a:gd name="T8" fmla="*/ 2147483647 w 26"/>
                <a:gd name="T9" fmla="*/ 2147483647 h 17"/>
                <a:gd name="T10" fmla="*/ 2147483647 w 26"/>
                <a:gd name="T11" fmla="*/ 2147483647 h 17"/>
                <a:gd name="T12" fmla="*/ 2147483647 w 26"/>
                <a:gd name="T13" fmla="*/ 2147483647 h 17"/>
                <a:gd name="T14" fmla="*/ 2147483647 w 26"/>
                <a:gd name="T15" fmla="*/ 2147483647 h 17"/>
                <a:gd name="T16" fmla="*/ 2147483647 w 26"/>
                <a:gd name="T17" fmla="*/ 2147483647 h 17"/>
                <a:gd name="T18" fmla="*/ 2147483647 w 26"/>
                <a:gd name="T19" fmla="*/ 2147483647 h 17"/>
                <a:gd name="T20" fmla="*/ 2147483647 w 26"/>
                <a:gd name="T21" fmla="*/ 2147483647 h 17"/>
                <a:gd name="T22" fmla="*/ 2147483647 w 26"/>
                <a:gd name="T23" fmla="*/ 0 h 17"/>
                <a:gd name="T24" fmla="*/ 2147483647 w 26"/>
                <a:gd name="T25" fmla="*/ 0 h 17"/>
                <a:gd name="T26" fmla="*/ 2147483647 w 26"/>
                <a:gd name="T27" fmla="*/ 2147483647 h 17"/>
                <a:gd name="T28" fmla="*/ 2147483647 w 26"/>
                <a:gd name="T29" fmla="*/ 2147483647 h 17"/>
                <a:gd name="T30" fmla="*/ 2147483647 w 26"/>
                <a:gd name="T31" fmla="*/ 2147483647 h 17"/>
                <a:gd name="T32" fmla="*/ 2147483647 w 26"/>
                <a:gd name="T33" fmla="*/ 2147483647 h 17"/>
                <a:gd name="T34" fmla="*/ 0 w 26"/>
                <a:gd name="T35" fmla="*/ 2147483647 h 17"/>
                <a:gd name="T36" fmla="*/ 2147483647 w 26"/>
                <a:gd name="T37" fmla="*/ 2147483647 h 17"/>
                <a:gd name="T38" fmla="*/ 2147483647 w 26"/>
                <a:gd name="T39" fmla="*/ 2147483647 h 17"/>
                <a:gd name="T40" fmla="*/ 2147483647 w 26"/>
                <a:gd name="T41" fmla="*/ 2147483647 h 17"/>
                <a:gd name="T42" fmla="*/ 2147483647 w 26"/>
                <a:gd name="T43" fmla="*/ 2147483647 h 17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6"/>
                <a:gd name="T67" fmla="*/ 0 h 17"/>
                <a:gd name="T68" fmla="*/ 26 w 26"/>
                <a:gd name="T69" fmla="*/ 17 h 17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6" h="17">
                  <a:moveTo>
                    <a:pt x="20" y="17"/>
                  </a:moveTo>
                  <a:lnTo>
                    <a:pt x="23" y="17"/>
                  </a:lnTo>
                  <a:lnTo>
                    <a:pt x="26" y="17"/>
                  </a:lnTo>
                  <a:lnTo>
                    <a:pt x="26" y="14"/>
                  </a:lnTo>
                  <a:lnTo>
                    <a:pt x="26" y="8"/>
                  </a:lnTo>
                  <a:lnTo>
                    <a:pt x="20" y="8"/>
                  </a:lnTo>
                  <a:lnTo>
                    <a:pt x="20" y="5"/>
                  </a:lnTo>
                  <a:lnTo>
                    <a:pt x="20" y="8"/>
                  </a:lnTo>
                  <a:lnTo>
                    <a:pt x="20" y="2"/>
                  </a:lnTo>
                  <a:lnTo>
                    <a:pt x="17" y="0"/>
                  </a:lnTo>
                  <a:lnTo>
                    <a:pt x="14" y="0"/>
                  </a:lnTo>
                  <a:lnTo>
                    <a:pt x="11" y="2"/>
                  </a:lnTo>
                  <a:lnTo>
                    <a:pt x="14" y="5"/>
                  </a:lnTo>
                  <a:lnTo>
                    <a:pt x="11" y="5"/>
                  </a:lnTo>
                  <a:lnTo>
                    <a:pt x="6" y="8"/>
                  </a:lnTo>
                  <a:lnTo>
                    <a:pt x="0" y="14"/>
                  </a:lnTo>
                  <a:lnTo>
                    <a:pt x="3" y="17"/>
                  </a:lnTo>
                  <a:lnTo>
                    <a:pt x="11" y="14"/>
                  </a:lnTo>
                  <a:lnTo>
                    <a:pt x="14" y="17"/>
                  </a:lnTo>
                  <a:lnTo>
                    <a:pt x="20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85" name="Freeform 487"/>
            <p:cNvSpPr>
              <a:spLocks/>
            </p:cNvSpPr>
            <p:nvPr/>
          </p:nvSpPr>
          <p:spPr bwMode="auto">
            <a:xfrm>
              <a:off x="2501900" y="5611813"/>
              <a:ext cx="4763" cy="9525"/>
            </a:xfrm>
            <a:custGeom>
              <a:avLst/>
              <a:gdLst>
                <a:gd name="T0" fmla="*/ 2147483647 w 3"/>
                <a:gd name="T1" fmla="*/ 2147483647 h 6"/>
                <a:gd name="T2" fmla="*/ 2147483647 w 3"/>
                <a:gd name="T3" fmla="*/ 2147483647 h 6"/>
                <a:gd name="T4" fmla="*/ 0 w 3"/>
                <a:gd name="T5" fmla="*/ 0 h 6"/>
                <a:gd name="T6" fmla="*/ 0 w 3"/>
                <a:gd name="T7" fmla="*/ 2147483647 h 6"/>
                <a:gd name="T8" fmla="*/ 0 w 3"/>
                <a:gd name="T9" fmla="*/ 2147483647 h 6"/>
                <a:gd name="T10" fmla="*/ 2147483647 w 3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6"/>
                <a:gd name="T20" fmla="*/ 3 w 3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6">
                  <a:moveTo>
                    <a:pt x="3" y="6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86" name="Freeform 488"/>
            <p:cNvSpPr>
              <a:spLocks/>
            </p:cNvSpPr>
            <p:nvPr/>
          </p:nvSpPr>
          <p:spPr bwMode="auto">
            <a:xfrm>
              <a:off x="2474913" y="5580063"/>
              <a:ext cx="17462" cy="36512"/>
            </a:xfrm>
            <a:custGeom>
              <a:avLst/>
              <a:gdLst>
                <a:gd name="T0" fmla="*/ 2147483647 w 11"/>
                <a:gd name="T1" fmla="*/ 2147483647 h 23"/>
                <a:gd name="T2" fmla="*/ 2147483647 w 11"/>
                <a:gd name="T3" fmla="*/ 2147483647 h 23"/>
                <a:gd name="T4" fmla="*/ 2147483647 w 11"/>
                <a:gd name="T5" fmla="*/ 2147483647 h 23"/>
                <a:gd name="T6" fmla="*/ 2147483647 w 11"/>
                <a:gd name="T7" fmla="*/ 2147483647 h 23"/>
                <a:gd name="T8" fmla="*/ 2147483647 w 11"/>
                <a:gd name="T9" fmla="*/ 2147483647 h 23"/>
                <a:gd name="T10" fmla="*/ 2147483647 w 11"/>
                <a:gd name="T11" fmla="*/ 2147483647 h 23"/>
                <a:gd name="T12" fmla="*/ 2147483647 w 11"/>
                <a:gd name="T13" fmla="*/ 2147483647 h 23"/>
                <a:gd name="T14" fmla="*/ 2147483647 w 11"/>
                <a:gd name="T15" fmla="*/ 2147483647 h 23"/>
                <a:gd name="T16" fmla="*/ 2147483647 w 11"/>
                <a:gd name="T17" fmla="*/ 0 h 23"/>
                <a:gd name="T18" fmla="*/ 0 w 11"/>
                <a:gd name="T19" fmla="*/ 0 h 23"/>
                <a:gd name="T20" fmla="*/ 0 w 11"/>
                <a:gd name="T21" fmla="*/ 2147483647 h 23"/>
                <a:gd name="T22" fmla="*/ 0 w 11"/>
                <a:gd name="T23" fmla="*/ 2147483647 h 23"/>
                <a:gd name="T24" fmla="*/ 2147483647 w 11"/>
                <a:gd name="T25" fmla="*/ 2147483647 h 23"/>
                <a:gd name="T26" fmla="*/ 2147483647 w 11"/>
                <a:gd name="T27" fmla="*/ 2147483647 h 23"/>
                <a:gd name="T28" fmla="*/ 2147483647 w 11"/>
                <a:gd name="T29" fmla="*/ 2147483647 h 23"/>
                <a:gd name="T30" fmla="*/ 2147483647 w 11"/>
                <a:gd name="T31" fmla="*/ 2147483647 h 23"/>
                <a:gd name="T32" fmla="*/ 2147483647 w 11"/>
                <a:gd name="T33" fmla="*/ 2147483647 h 23"/>
                <a:gd name="T34" fmla="*/ 2147483647 w 11"/>
                <a:gd name="T35" fmla="*/ 2147483647 h 23"/>
                <a:gd name="T36" fmla="*/ 2147483647 w 11"/>
                <a:gd name="T37" fmla="*/ 2147483647 h 23"/>
                <a:gd name="T38" fmla="*/ 2147483647 w 11"/>
                <a:gd name="T39" fmla="*/ 2147483647 h 23"/>
                <a:gd name="T40" fmla="*/ 2147483647 w 11"/>
                <a:gd name="T41" fmla="*/ 2147483647 h 23"/>
                <a:gd name="T42" fmla="*/ 2147483647 w 11"/>
                <a:gd name="T43" fmla="*/ 2147483647 h 23"/>
                <a:gd name="T44" fmla="*/ 2147483647 w 11"/>
                <a:gd name="T45" fmla="*/ 2147483647 h 23"/>
                <a:gd name="T46" fmla="*/ 2147483647 w 11"/>
                <a:gd name="T47" fmla="*/ 2147483647 h 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1"/>
                <a:gd name="T73" fmla="*/ 0 h 23"/>
                <a:gd name="T74" fmla="*/ 11 w 11"/>
                <a:gd name="T75" fmla="*/ 23 h 23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1" h="23">
                  <a:moveTo>
                    <a:pt x="8" y="15"/>
                  </a:moveTo>
                  <a:lnTo>
                    <a:pt x="11" y="12"/>
                  </a:lnTo>
                  <a:lnTo>
                    <a:pt x="11" y="9"/>
                  </a:lnTo>
                  <a:lnTo>
                    <a:pt x="8" y="12"/>
                  </a:lnTo>
                  <a:lnTo>
                    <a:pt x="8" y="9"/>
                  </a:lnTo>
                  <a:lnTo>
                    <a:pt x="5" y="6"/>
                  </a:lnTo>
                  <a:lnTo>
                    <a:pt x="5" y="3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5" y="3"/>
                  </a:lnTo>
                  <a:lnTo>
                    <a:pt x="2" y="9"/>
                  </a:lnTo>
                  <a:lnTo>
                    <a:pt x="5" y="15"/>
                  </a:lnTo>
                  <a:lnTo>
                    <a:pt x="8" y="15"/>
                  </a:lnTo>
                  <a:lnTo>
                    <a:pt x="5" y="18"/>
                  </a:lnTo>
                  <a:lnTo>
                    <a:pt x="8" y="20"/>
                  </a:lnTo>
                  <a:lnTo>
                    <a:pt x="8" y="23"/>
                  </a:lnTo>
                  <a:lnTo>
                    <a:pt x="11" y="23"/>
                  </a:lnTo>
                  <a:lnTo>
                    <a:pt x="8" y="20"/>
                  </a:lnTo>
                  <a:lnTo>
                    <a:pt x="11" y="18"/>
                  </a:lnTo>
                  <a:lnTo>
                    <a:pt x="11" y="15"/>
                  </a:lnTo>
                  <a:lnTo>
                    <a:pt x="8" y="1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87" name="Freeform 489"/>
            <p:cNvSpPr>
              <a:spLocks/>
            </p:cNvSpPr>
            <p:nvPr/>
          </p:nvSpPr>
          <p:spPr bwMode="auto">
            <a:xfrm>
              <a:off x="2497138" y="5594350"/>
              <a:ext cx="14287" cy="14288"/>
            </a:xfrm>
            <a:custGeom>
              <a:avLst/>
              <a:gdLst>
                <a:gd name="T0" fmla="*/ 2147483647 w 9"/>
                <a:gd name="T1" fmla="*/ 2147483647 h 9"/>
                <a:gd name="T2" fmla="*/ 2147483647 w 9"/>
                <a:gd name="T3" fmla="*/ 2147483647 h 9"/>
                <a:gd name="T4" fmla="*/ 2147483647 w 9"/>
                <a:gd name="T5" fmla="*/ 2147483647 h 9"/>
                <a:gd name="T6" fmla="*/ 2147483647 w 9"/>
                <a:gd name="T7" fmla="*/ 2147483647 h 9"/>
                <a:gd name="T8" fmla="*/ 2147483647 w 9"/>
                <a:gd name="T9" fmla="*/ 2147483647 h 9"/>
                <a:gd name="T10" fmla="*/ 2147483647 w 9"/>
                <a:gd name="T11" fmla="*/ 0 h 9"/>
                <a:gd name="T12" fmla="*/ 2147483647 w 9"/>
                <a:gd name="T13" fmla="*/ 0 h 9"/>
                <a:gd name="T14" fmla="*/ 0 w 9"/>
                <a:gd name="T15" fmla="*/ 0 h 9"/>
                <a:gd name="T16" fmla="*/ 2147483647 w 9"/>
                <a:gd name="T17" fmla="*/ 2147483647 h 9"/>
                <a:gd name="T18" fmla="*/ 2147483647 w 9"/>
                <a:gd name="T19" fmla="*/ 2147483647 h 9"/>
                <a:gd name="T20" fmla="*/ 0 w 9"/>
                <a:gd name="T21" fmla="*/ 2147483647 h 9"/>
                <a:gd name="T22" fmla="*/ 0 w 9"/>
                <a:gd name="T23" fmla="*/ 2147483647 h 9"/>
                <a:gd name="T24" fmla="*/ 2147483647 w 9"/>
                <a:gd name="T25" fmla="*/ 2147483647 h 9"/>
                <a:gd name="T26" fmla="*/ 2147483647 w 9"/>
                <a:gd name="T27" fmla="*/ 2147483647 h 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9"/>
                <a:gd name="T43" fmla="*/ 0 h 9"/>
                <a:gd name="T44" fmla="*/ 9 w 9"/>
                <a:gd name="T45" fmla="*/ 9 h 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9" h="9">
                  <a:moveTo>
                    <a:pt x="3" y="9"/>
                  </a:moveTo>
                  <a:lnTo>
                    <a:pt x="6" y="6"/>
                  </a:lnTo>
                  <a:lnTo>
                    <a:pt x="9" y="3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3"/>
                  </a:lnTo>
                  <a:lnTo>
                    <a:pt x="3" y="6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6"/>
                  </a:lnTo>
                  <a:lnTo>
                    <a:pt x="3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88" name="Freeform 490"/>
            <p:cNvSpPr>
              <a:spLocks/>
            </p:cNvSpPr>
            <p:nvPr/>
          </p:nvSpPr>
          <p:spPr bwMode="auto">
            <a:xfrm>
              <a:off x="2501900" y="5626100"/>
              <a:ext cx="4763" cy="4763"/>
            </a:xfrm>
            <a:custGeom>
              <a:avLst/>
              <a:gdLst>
                <a:gd name="T0" fmla="*/ 2147483647 w 3"/>
                <a:gd name="T1" fmla="*/ 2147483647 h 3"/>
                <a:gd name="T2" fmla="*/ 2147483647 w 3"/>
                <a:gd name="T3" fmla="*/ 2147483647 h 3"/>
                <a:gd name="T4" fmla="*/ 0 w 3"/>
                <a:gd name="T5" fmla="*/ 0 h 3"/>
                <a:gd name="T6" fmla="*/ 0 w 3"/>
                <a:gd name="T7" fmla="*/ 2147483647 h 3"/>
                <a:gd name="T8" fmla="*/ 2147483647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89" name="Freeform 491"/>
            <p:cNvSpPr>
              <a:spLocks/>
            </p:cNvSpPr>
            <p:nvPr/>
          </p:nvSpPr>
          <p:spPr bwMode="auto">
            <a:xfrm>
              <a:off x="2460625" y="5548313"/>
              <a:ext cx="9525" cy="9525"/>
            </a:xfrm>
            <a:custGeom>
              <a:avLst/>
              <a:gdLst>
                <a:gd name="T0" fmla="*/ 2147483647 w 6"/>
                <a:gd name="T1" fmla="*/ 0 h 6"/>
                <a:gd name="T2" fmla="*/ 2147483647 w 6"/>
                <a:gd name="T3" fmla="*/ 0 h 6"/>
                <a:gd name="T4" fmla="*/ 0 w 6"/>
                <a:gd name="T5" fmla="*/ 0 h 6"/>
                <a:gd name="T6" fmla="*/ 0 w 6"/>
                <a:gd name="T7" fmla="*/ 0 h 6"/>
                <a:gd name="T8" fmla="*/ 2147483647 w 6"/>
                <a:gd name="T9" fmla="*/ 2147483647 h 6"/>
                <a:gd name="T10" fmla="*/ 2147483647 w 6"/>
                <a:gd name="T11" fmla="*/ 2147483647 h 6"/>
                <a:gd name="T12" fmla="*/ 2147483647 w 6"/>
                <a:gd name="T13" fmla="*/ 2147483647 h 6"/>
                <a:gd name="T14" fmla="*/ 2147483647 w 6"/>
                <a:gd name="T15" fmla="*/ 0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"/>
                <a:gd name="T25" fmla="*/ 0 h 6"/>
                <a:gd name="T26" fmla="*/ 6 w 6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3"/>
                  </a:lnTo>
                  <a:lnTo>
                    <a:pt x="3" y="6"/>
                  </a:lnTo>
                  <a:lnTo>
                    <a:pt x="6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90" name="Rectangle 492"/>
            <p:cNvSpPr>
              <a:spLocks noChangeArrowheads="1"/>
            </p:cNvSpPr>
            <p:nvPr/>
          </p:nvSpPr>
          <p:spPr bwMode="auto">
            <a:xfrm>
              <a:off x="2465388" y="5557838"/>
              <a:ext cx="4762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91" name="Freeform 493"/>
            <p:cNvSpPr>
              <a:spLocks/>
            </p:cNvSpPr>
            <p:nvPr/>
          </p:nvSpPr>
          <p:spPr bwMode="auto">
            <a:xfrm>
              <a:off x="2492375" y="5608638"/>
              <a:ext cx="4763" cy="7937"/>
            </a:xfrm>
            <a:custGeom>
              <a:avLst/>
              <a:gdLst>
                <a:gd name="T0" fmla="*/ 2147483647 w 3"/>
                <a:gd name="T1" fmla="*/ 2147483647 h 5"/>
                <a:gd name="T2" fmla="*/ 2147483647 w 3"/>
                <a:gd name="T3" fmla="*/ 2147483647 h 5"/>
                <a:gd name="T4" fmla="*/ 2147483647 w 3"/>
                <a:gd name="T5" fmla="*/ 2147483647 h 5"/>
                <a:gd name="T6" fmla="*/ 2147483647 w 3"/>
                <a:gd name="T7" fmla="*/ 0 h 5"/>
                <a:gd name="T8" fmla="*/ 0 w 3"/>
                <a:gd name="T9" fmla="*/ 0 h 5"/>
                <a:gd name="T10" fmla="*/ 2147483647 w 3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5"/>
                <a:gd name="T20" fmla="*/ 3 w 3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5">
                  <a:moveTo>
                    <a:pt x="3" y="2"/>
                  </a:moveTo>
                  <a:lnTo>
                    <a:pt x="3" y="5"/>
                  </a:lnTo>
                  <a:lnTo>
                    <a:pt x="3" y="2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92" name="Freeform 494"/>
            <p:cNvSpPr>
              <a:spLocks/>
            </p:cNvSpPr>
            <p:nvPr/>
          </p:nvSpPr>
          <p:spPr bwMode="auto">
            <a:xfrm>
              <a:off x="2460625" y="5562600"/>
              <a:ext cx="9525" cy="4763"/>
            </a:xfrm>
            <a:custGeom>
              <a:avLst/>
              <a:gdLst>
                <a:gd name="T0" fmla="*/ 2147483647 w 6"/>
                <a:gd name="T1" fmla="*/ 0 h 3"/>
                <a:gd name="T2" fmla="*/ 0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0 h 3"/>
                <a:gd name="T10" fmla="*/ 2147483647 w 6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3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6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93" name="Freeform 495"/>
            <p:cNvSpPr>
              <a:spLocks/>
            </p:cNvSpPr>
            <p:nvPr/>
          </p:nvSpPr>
          <p:spPr bwMode="auto">
            <a:xfrm>
              <a:off x="2470150" y="5548313"/>
              <a:ext cx="31750" cy="31750"/>
            </a:xfrm>
            <a:custGeom>
              <a:avLst/>
              <a:gdLst>
                <a:gd name="T0" fmla="*/ 2147483647 w 20"/>
                <a:gd name="T1" fmla="*/ 2147483647 h 20"/>
                <a:gd name="T2" fmla="*/ 2147483647 w 20"/>
                <a:gd name="T3" fmla="*/ 2147483647 h 20"/>
                <a:gd name="T4" fmla="*/ 2147483647 w 20"/>
                <a:gd name="T5" fmla="*/ 2147483647 h 20"/>
                <a:gd name="T6" fmla="*/ 2147483647 w 20"/>
                <a:gd name="T7" fmla="*/ 2147483647 h 20"/>
                <a:gd name="T8" fmla="*/ 2147483647 w 20"/>
                <a:gd name="T9" fmla="*/ 2147483647 h 20"/>
                <a:gd name="T10" fmla="*/ 2147483647 w 20"/>
                <a:gd name="T11" fmla="*/ 2147483647 h 20"/>
                <a:gd name="T12" fmla="*/ 2147483647 w 20"/>
                <a:gd name="T13" fmla="*/ 2147483647 h 20"/>
                <a:gd name="T14" fmla="*/ 2147483647 w 20"/>
                <a:gd name="T15" fmla="*/ 2147483647 h 20"/>
                <a:gd name="T16" fmla="*/ 2147483647 w 20"/>
                <a:gd name="T17" fmla="*/ 2147483647 h 20"/>
                <a:gd name="T18" fmla="*/ 2147483647 w 20"/>
                <a:gd name="T19" fmla="*/ 0 h 20"/>
                <a:gd name="T20" fmla="*/ 2147483647 w 20"/>
                <a:gd name="T21" fmla="*/ 2147483647 h 20"/>
                <a:gd name="T22" fmla="*/ 2147483647 w 20"/>
                <a:gd name="T23" fmla="*/ 2147483647 h 20"/>
                <a:gd name="T24" fmla="*/ 2147483647 w 20"/>
                <a:gd name="T25" fmla="*/ 2147483647 h 20"/>
                <a:gd name="T26" fmla="*/ 2147483647 w 20"/>
                <a:gd name="T27" fmla="*/ 2147483647 h 20"/>
                <a:gd name="T28" fmla="*/ 2147483647 w 20"/>
                <a:gd name="T29" fmla="*/ 2147483647 h 20"/>
                <a:gd name="T30" fmla="*/ 2147483647 w 20"/>
                <a:gd name="T31" fmla="*/ 2147483647 h 20"/>
                <a:gd name="T32" fmla="*/ 2147483647 w 20"/>
                <a:gd name="T33" fmla="*/ 2147483647 h 20"/>
                <a:gd name="T34" fmla="*/ 2147483647 w 20"/>
                <a:gd name="T35" fmla="*/ 2147483647 h 20"/>
                <a:gd name="T36" fmla="*/ 2147483647 w 20"/>
                <a:gd name="T37" fmla="*/ 2147483647 h 20"/>
                <a:gd name="T38" fmla="*/ 2147483647 w 20"/>
                <a:gd name="T39" fmla="*/ 2147483647 h 20"/>
                <a:gd name="T40" fmla="*/ 0 w 20"/>
                <a:gd name="T41" fmla="*/ 2147483647 h 20"/>
                <a:gd name="T42" fmla="*/ 2147483647 w 20"/>
                <a:gd name="T43" fmla="*/ 2147483647 h 20"/>
                <a:gd name="T44" fmla="*/ 2147483647 w 20"/>
                <a:gd name="T45" fmla="*/ 2147483647 h 2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20"/>
                <a:gd name="T70" fmla="*/ 0 h 20"/>
                <a:gd name="T71" fmla="*/ 20 w 20"/>
                <a:gd name="T72" fmla="*/ 20 h 20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20" h="20">
                  <a:moveTo>
                    <a:pt x="8" y="17"/>
                  </a:moveTo>
                  <a:lnTo>
                    <a:pt x="11" y="15"/>
                  </a:lnTo>
                  <a:lnTo>
                    <a:pt x="17" y="15"/>
                  </a:lnTo>
                  <a:lnTo>
                    <a:pt x="20" y="12"/>
                  </a:lnTo>
                  <a:lnTo>
                    <a:pt x="20" y="6"/>
                  </a:lnTo>
                  <a:lnTo>
                    <a:pt x="14" y="6"/>
                  </a:lnTo>
                  <a:lnTo>
                    <a:pt x="14" y="9"/>
                  </a:lnTo>
                  <a:lnTo>
                    <a:pt x="14" y="6"/>
                  </a:lnTo>
                  <a:lnTo>
                    <a:pt x="14" y="3"/>
                  </a:lnTo>
                  <a:lnTo>
                    <a:pt x="8" y="0"/>
                  </a:lnTo>
                  <a:lnTo>
                    <a:pt x="11" y="3"/>
                  </a:lnTo>
                  <a:lnTo>
                    <a:pt x="11" y="6"/>
                  </a:lnTo>
                  <a:lnTo>
                    <a:pt x="8" y="6"/>
                  </a:lnTo>
                  <a:lnTo>
                    <a:pt x="8" y="3"/>
                  </a:lnTo>
                  <a:lnTo>
                    <a:pt x="5" y="3"/>
                  </a:lnTo>
                  <a:lnTo>
                    <a:pt x="3" y="3"/>
                  </a:lnTo>
                  <a:lnTo>
                    <a:pt x="5" y="9"/>
                  </a:lnTo>
                  <a:lnTo>
                    <a:pt x="8" y="12"/>
                  </a:lnTo>
                  <a:lnTo>
                    <a:pt x="5" y="12"/>
                  </a:lnTo>
                  <a:lnTo>
                    <a:pt x="0" y="15"/>
                  </a:lnTo>
                  <a:lnTo>
                    <a:pt x="3" y="20"/>
                  </a:lnTo>
                  <a:lnTo>
                    <a:pt x="8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94" name="Freeform 496"/>
            <p:cNvSpPr>
              <a:spLocks/>
            </p:cNvSpPr>
            <p:nvPr/>
          </p:nvSpPr>
          <p:spPr bwMode="auto">
            <a:xfrm>
              <a:off x="7265988" y="4368800"/>
              <a:ext cx="1109662" cy="884238"/>
            </a:xfrm>
            <a:custGeom>
              <a:avLst/>
              <a:gdLst>
                <a:gd name="T0" fmla="*/ 2147483647 w 692"/>
                <a:gd name="T1" fmla="*/ 2147483647 h 551"/>
                <a:gd name="T2" fmla="*/ 2147483647 w 692"/>
                <a:gd name="T3" fmla="*/ 2147483647 h 551"/>
                <a:gd name="T4" fmla="*/ 2147483647 w 692"/>
                <a:gd name="T5" fmla="*/ 2147483647 h 551"/>
                <a:gd name="T6" fmla="*/ 2147483647 w 692"/>
                <a:gd name="T7" fmla="*/ 2147483647 h 551"/>
                <a:gd name="T8" fmla="*/ 2147483647 w 692"/>
                <a:gd name="T9" fmla="*/ 2147483647 h 551"/>
                <a:gd name="T10" fmla="*/ 2147483647 w 692"/>
                <a:gd name="T11" fmla="*/ 2147483647 h 551"/>
                <a:gd name="T12" fmla="*/ 2147483647 w 692"/>
                <a:gd name="T13" fmla="*/ 2147483647 h 551"/>
                <a:gd name="T14" fmla="*/ 2147483647 w 692"/>
                <a:gd name="T15" fmla="*/ 2147483647 h 551"/>
                <a:gd name="T16" fmla="*/ 2147483647 w 692"/>
                <a:gd name="T17" fmla="*/ 2147483647 h 551"/>
                <a:gd name="T18" fmla="*/ 2147483647 w 692"/>
                <a:gd name="T19" fmla="*/ 0 h 551"/>
                <a:gd name="T20" fmla="*/ 2147483647 w 692"/>
                <a:gd name="T21" fmla="*/ 2147483647 h 551"/>
                <a:gd name="T22" fmla="*/ 2147483647 w 692"/>
                <a:gd name="T23" fmla="*/ 2147483647 h 551"/>
                <a:gd name="T24" fmla="*/ 2147483647 w 692"/>
                <a:gd name="T25" fmla="*/ 2147483647 h 551"/>
                <a:gd name="T26" fmla="*/ 2147483647 w 692"/>
                <a:gd name="T27" fmla="*/ 2147483647 h 551"/>
                <a:gd name="T28" fmla="*/ 2147483647 w 692"/>
                <a:gd name="T29" fmla="*/ 2147483647 h 551"/>
                <a:gd name="T30" fmla="*/ 2147483647 w 692"/>
                <a:gd name="T31" fmla="*/ 2147483647 h 551"/>
                <a:gd name="T32" fmla="*/ 2147483647 w 692"/>
                <a:gd name="T33" fmla="*/ 2147483647 h 551"/>
                <a:gd name="T34" fmla="*/ 2147483647 w 692"/>
                <a:gd name="T35" fmla="*/ 2147483647 h 551"/>
                <a:gd name="T36" fmla="*/ 2147483647 w 692"/>
                <a:gd name="T37" fmla="*/ 2147483647 h 551"/>
                <a:gd name="T38" fmla="*/ 2147483647 w 692"/>
                <a:gd name="T39" fmla="*/ 2147483647 h 551"/>
                <a:gd name="T40" fmla="*/ 2147483647 w 692"/>
                <a:gd name="T41" fmla="*/ 2147483647 h 551"/>
                <a:gd name="T42" fmla="*/ 2147483647 w 692"/>
                <a:gd name="T43" fmla="*/ 2147483647 h 551"/>
                <a:gd name="T44" fmla="*/ 2147483647 w 692"/>
                <a:gd name="T45" fmla="*/ 2147483647 h 551"/>
                <a:gd name="T46" fmla="*/ 2147483647 w 692"/>
                <a:gd name="T47" fmla="*/ 2147483647 h 551"/>
                <a:gd name="T48" fmla="*/ 2147483647 w 692"/>
                <a:gd name="T49" fmla="*/ 2147483647 h 551"/>
                <a:gd name="T50" fmla="*/ 2147483647 w 692"/>
                <a:gd name="T51" fmla="*/ 2147483647 h 551"/>
                <a:gd name="T52" fmla="*/ 2147483647 w 692"/>
                <a:gd name="T53" fmla="*/ 2147483647 h 551"/>
                <a:gd name="T54" fmla="*/ 2147483647 w 692"/>
                <a:gd name="T55" fmla="*/ 2147483647 h 551"/>
                <a:gd name="T56" fmla="*/ 2147483647 w 692"/>
                <a:gd name="T57" fmla="*/ 2147483647 h 551"/>
                <a:gd name="T58" fmla="*/ 2147483647 w 692"/>
                <a:gd name="T59" fmla="*/ 2147483647 h 551"/>
                <a:gd name="T60" fmla="*/ 2147483647 w 692"/>
                <a:gd name="T61" fmla="*/ 2147483647 h 551"/>
                <a:gd name="T62" fmla="*/ 2147483647 w 692"/>
                <a:gd name="T63" fmla="*/ 2147483647 h 551"/>
                <a:gd name="T64" fmla="*/ 2147483647 w 692"/>
                <a:gd name="T65" fmla="*/ 2147483647 h 551"/>
                <a:gd name="T66" fmla="*/ 2147483647 w 692"/>
                <a:gd name="T67" fmla="*/ 2147483647 h 551"/>
                <a:gd name="T68" fmla="*/ 2147483647 w 692"/>
                <a:gd name="T69" fmla="*/ 2147483647 h 551"/>
                <a:gd name="T70" fmla="*/ 2147483647 w 692"/>
                <a:gd name="T71" fmla="*/ 2147483647 h 551"/>
                <a:gd name="T72" fmla="*/ 2147483647 w 692"/>
                <a:gd name="T73" fmla="*/ 2147483647 h 551"/>
                <a:gd name="T74" fmla="*/ 2147483647 w 692"/>
                <a:gd name="T75" fmla="*/ 2147483647 h 551"/>
                <a:gd name="T76" fmla="*/ 2147483647 w 692"/>
                <a:gd name="T77" fmla="*/ 2147483647 h 551"/>
                <a:gd name="T78" fmla="*/ 2147483647 w 692"/>
                <a:gd name="T79" fmla="*/ 2147483647 h 551"/>
                <a:gd name="T80" fmla="*/ 2147483647 w 692"/>
                <a:gd name="T81" fmla="*/ 2147483647 h 551"/>
                <a:gd name="T82" fmla="*/ 2147483647 w 692"/>
                <a:gd name="T83" fmla="*/ 2147483647 h 551"/>
                <a:gd name="T84" fmla="*/ 2147483647 w 692"/>
                <a:gd name="T85" fmla="*/ 2147483647 h 551"/>
                <a:gd name="T86" fmla="*/ 2147483647 w 692"/>
                <a:gd name="T87" fmla="*/ 2147483647 h 551"/>
                <a:gd name="T88" fmla="*/ 2147483647 w 692"/>
                <a:gd name="T89" fmla="*/ 2147483647 h 551"/>
                <a:gd name="T90" fmla="*/ 2147483647 w 692"/>
                <a:gd name="T91" fmla="*/ 2147483647 h 551"/>
                <a:gd name="T92" fmla="*/ 2147483647 w 692"/>
                <a:gd name="T93" fmla="*/ 2147483647 h 551"/>
                <a:gd name="T94" fmla="*/ 2147483647 w 692"/>
                <a:gd name="T95" fmla="*/ 2147483647 h 551"/>
                <a:gd name="T96" fmla="*/ 2147483647 w 692"/>
                <a:gd name="T97" fmla="*/ 2147483647 h 551"/>
                <a:gd name="T98" fmla="*/ 2147483647 w 692"/>
                <a:gd name="T99" fmla="*/ 2147483647 h 551"/>
                <a:gd name="T100" fmla="*/ 2147483647 w 692"/>
                <a:gd name="T101" fmla="*/ 2147483647 h 551"/>
                <a:gd name="T102" fmla="*/ 2147483647 w 692"/>
                <a:gd name="T103" fmla="*/ 2147483647 h 551"/>
                <a:gd name="T104" fmla="*/ 2147483647 w 692"/>
                <a:gd name="T105" fmla="*/ 2147483647 h 551"/>
                <a:gd name="T106" fmla="*/ 2147483647 w 692"/>
                <a:gd name="T107" fmla="*/ 2147483647 h 551"/>
                <a:gd name="T108" fmla="*/ 2147483647 w 692"/>
                <a:gd name="T109" fmla="*/ 2147483647 h 551"/>
                <a:gd name="T110" fmla="*/ 2147483647 w 692"/>
                <a:gd name="T111" fmla="*/ 2147483647 h 551"/>
                <a:gd name="T112" fmla="*/ 2147483647 w 692"/>
                <a:gd name="T113" fmla="*/ 2147483647 h 551"/>
                <a:gd name="T114" fmla="*/ 2147483647 w 692"/>
                <a:gd name="T115" fmla="*/ 2147483647 h 55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2"/>
                <a:gd name="T175" fmla="*/ 0 h 551"/>
                <a:gd name="T176" fmla="*/ 692 w 692"/>
                <a:gd name="T177" fmla="*/ 551 h 551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2" h="551">
                  <a:moveTo>
                    <a:pt x="677" y="307"/>
                  </a:moveTo>
                  <a:lnTo>
                    <a:pt x="677" y="307"/>
                  </a:lnTo>
                  <a:lnTo>
                    <a:pt x="680" y="302"/>
                  </a:lnTo>
                  <a:lnTo>
                    <a:pt x="680" y="299"/>
                  </a:lnTo>
                  <a:lnTo>
                    <a:pt x="683" y="293"/>
                  </a:lnTo>
                  <a:lnTo>
                    <a:pt x="686" y="287"/>
                  </a:lnTo>
                  <a:lnTo>
                    <a:pt x="692" y="282"/>
                  </a:lnTo>
                  <a:lnTo>
                    <a:pt x="692" y="270"/>
                  </a:lnTo>
                  <a:lnTo>
                    <a:pt x="689" y="279"/>
                  </a:lnTo>
                  <a:lnTo>
                    <a:pt x="686" y="282"/>
                  </a:lnTo>
                  <a:lnTo>
                    <a:pt x="680" y="282"/>
                  </a:lnTo>
                  <a:lnTo>
                    <a:pt x="677" y="279"/>
                  </a:lnTo>
                  <a:lnTo>
                    <a:pt x="674" y="276"/>
                  </a:lnTo>
                  <a:lnTo>
                    <a:pt x="674" y="273"/>
                  </a:lnTo>
                  <a:lnTo>
                    <a:pt x="677" y="273"/>
                  </a:lnTo>
                  <a:lnTo>
                    <a:pt x="674" y="270"/>
                  </a:lnTo>
                  <a:lnTo>
                    <a:pt x="671" y="261"/>
                  </a:lnTo>
                  <a:lnTo>
                    <a:pt x="669" y="259"/>
                  </a:lnTo>
                  <a:lnTo>
                    <a:pt x="666" y="256"/>
                  </a:lnTo>
                  <a:lnTo>
                    <a:pt x="663" y="256"/>
                  </a:lnTo>
                  <a:lnTo>
                    <a:pt x="663" y="253"/>
                  </a:lnTo>
                  <a:lnTo>
                    <a:pt x="663" y="244"/>
                  </a:lnTo>
                  <a:lnTo>
                    <a:pt x="657" y="247"/>
                  </a:lnTo>
                  <a:lnTo>
                    <a:pt x="660" y="230"/>
                  </a:lnTo>
                  <a:lnTo>
                    <a:pt x="657" y="224"/>
                  </a:lnTo>
                  <a:lnTo>
                    <a:pt x="654" y="227"/>
                  </a:lnTo>
                  <a:lnTo>
                    <a:pt x="654" y="230"/>
                  </a:lnTo>
                  <a:lnTo>
                    <a:pt x="651" y="230"/>
                  </a:lnTo>
                  <a:lnTo>
                    <a:pt x="649" y="227"/>
                  </a:lnTo>
                  <a:lnTo>
                    <a:pt x="646" y="221"/>
                  </a:lnTo>
                  <a:lnTo>
                    <a:pt x="643" y="227"/>
                  </a:lnTo>
                  <a:lnTo>
                    <a:pt x="643" y="224"/>
                  </a:lnTo>
                  <a:lnTo>
                    <a:pt x="640" y="221"/>
                  </a:lnTo>
                  <a:lnTo>
                    <a:pt x="640" y="218"/>
                  </a:lnTo>
                  <a:lnTo>
                    <a:pt x="640" y="210"/>
                  </a:lnTo>
                  <a:lnTo>
                    <a:pt x="637" y="198"/>
                  </a:lnTo>
                  <a:lnTo>
                    <a:pt x="634" y="198"/>
                  </a:lnTo>
                  <a:lnTo>
                    <a:pt x="631" y="195"/>
                  </a:lnTo>
                  <a:lnTo>
                    <a:pt x="631" y="193"/>
                  </a:lnTo>
                  <a:lnTo>
                    <a:pt x="634" y="187"/>
                  </a:lnTo>
                  <a:lnTo>
                    <a:pt x="637" y="184"/>
                  </a:lnTo>
                  <a:lnTo>
                    <a:pt x="626" y="181"/>
                  </a:lnTo>
                  <a:lnTo>
                    <a:pt x="620" y="175"/>
                  </a:lnTo>
                  <a:lnTo>
                    <a:pt x="617" y="170"/>
                  </a:lnTo>
                  <a:lnTo>
                    <a:pt x="617" y="167"/>
                  </a:lnTo>
                  <a:lnTo>
                    <a:pt x="614" y="167"/>
                  </a:lnTo>
                  <a:lnTo>
                    <a:pt x="608" y="164"/>
                  </a:lnTo>
                  <a:lnTo>
                    <a:pt x="600" y="158"/>
                  </a:lnTo>
                  <a:lnTo>
                    <a:pt x="600" y="155"/>
                  </a:lnTo>
                  <a:lnTo>
                    <a:pt x="600" y="150"/>
                  </a:lnTo>
                  <a:lnTo>
                    <a:pt x="603" y="147"/>
                  </a:lnTo>
                  <a:lnTo>
                    <a:pt x="603" y="144"/>
                  </a:lnTo>
                  <a:lnTo>
                    <a:pt x="597" y="150"/>
                  </a:lnTo>
                  <a:lnTo>
                    <a:pt x="597" y="147"/>
                  </a:lnTo>
                  <a:lnTo>
                    <a:pt x="594" y="147"/>
                  </a:lnTo>
                  <a:lnTo>
                    <a:pt x="597" y="141"/>
                  </a:lnTo>
                  <a:lnTo>
                    <a:pt x="603" y="129"/>
                  </a:lnTo>
                  <a:lnTo>
                    <a:pt x="600" y="124"/>
                  </a:lnTo>
                  <a:lnTo>
                    <a:pt x="600" y="118"/>
                  </a:lnTo>
                  <a:lnTo>
                    <a:pt x="591" y="112"/>
                  </a:lnTo>
                  <a:lnTo>
                    <a:pt x="591" y="109"/>
                  </a:lnTo>
                  <a:lnTo>
                    <a:pt x="594" y="104"/>
                  </a:lnTo>
                  <a:lnTo>
                    <a:pt x="597" y="98"/>
                  </a:lnTo>
                  <a:lnTo>
                    <a:pt x="591" y="92"/>
                  </a:lnTo>
                  <a:lnTo>
                    <a:pt x="591" y="89"/>
                  </a:lnTo>
                  <a:lnTo>
                    <a:pt x="594" y="89"/>
                  </a:lnTo>
                  <a:lnTo>
                    <a:pt x="594" y="81"/>
                  </a:lnTo>
                  <a:lnTo>
                    <a:pt x="588" y="75"/>
                  </a:lnTo>
                  <a:lnTo>
                    <a:pt x="583" y="69"/>
                  </a:lnTo>
                  <a:lnTo>
                    <a:pt x="577" y="72"/>
                  </a:lnTo>
                  <a:lnTo>
                    <a:pt x="574" y="72"/>
                  </a:lnTo>
                  <a:lnTo>
                    <a:pt x="571" y="72"/>
                  </a:lnTo>
                  <a:lnTo>
                    <a:pt x="571" y="55"/>
                  </a:lnTo>
                  <a:lnTo>
                    <a:pt x="571" y="32"/>
                  </a:lnTo>
                  <a:lnTo>
                    <a:pt x="565" y="32"/>
                  </a:lnTo>
                  <a:lnTo>
                    <a:pt x="565" y="23"/>
                  </a:lnTo>
                  <a:lnTo>
                    <a:pt x="562" y="20"/>
                  </a:lnTo>
                  <a:lnTo>
                    <a:pt x="562" y="6"/>
                  </a:lnTo>
                  <a:lnTo>
                    <a:pt x="560" y="0"/>
                  </a:lnTo>
                  <a:lnTo>
                    <a:pt x="557" y="0"/>
                  </a:lnTo>
                  <a:lnTo>
                    <a:pt x="554" y="0"/>
                  </a:lnTo>
                  <a:lnTo>
                    <a:pt x="554" y="3"/>
                  </a:lnTo>
                  <a:lnTo>
                    <a:pt x="548" y="15"/>
                  </a:lnTo>
                  <a:lnTo>
                    <a:pt x="548" y="17"/>
                  </a:lnTo>
                  <a:lnTo>
                    <a:pt x="545" y="23"/>
                  </a:lnTo>
                  <a:lnTo>
                    <a:pt x="542" y="23"/>
                  </a:lnTo>
                  <a:lnTo>
                    <a:pt x="537" y="32"/>
                  </a:lnTo>
                  <a:lnTo>
                    <a:pt x="539" y="35"/>
                  </a:lnTo>
                  <a:lnTo>
                    <a:pt x="542" y="35"/>
                  </a:lnTo>
                  <a:lnTo>
                    <a:pt x="537" y="40"/>
                  </a:lnTo>
                  <a:lnTo>
                    <a:pt x="539" y="49"/>
                  </a:lnTo>
                  <a:lnTo>
                    <a:pt x="537" y="49"/>
                  </a:lnTo>
                  <a:lnTo>
                    <a:pt x="534" y="55"/>
                  </a:lnTo>
                  <a:lnTo>
                    <a:pt x="534" y="61"/>
                  </a:lnTo>
                  <a:lnTo>
                    <a:pt x="537" y="66"/>
                  </a:lnTo>
                  <a:lnTo>
                    <a:pt x="534" y="72"/>
                  </a:lnTo>
                  <a:lnTo>
                    <a:pt x="534" y="81"/>
                  </a:lnTo>
                  <a:lnTo>
                    <a:pt x="534" y="86"/>
                  </a:lnTo>
                  <a:lnTo>
                    <a:pt x="531" y="89"/>
                  </a:lnTo>
                  <a:lnTo>
                    <a:pt x="528" y="95"/>
                  </a:lnTo>
                  <a:lnTo>
                    <a:pt x="525" y="98"/>
                  </a:lnTo>
                  <a:lnTo>
                    <a:pt x="522" y="112"/>
                  </a:lnTo>
                  <a:lnTo>
                    <a:pt x="519" y="118"/>
                  </a:lnTo>
                  <a:lnTo>
                    <a:pt x="516" y="121"/>
                  </a:lnTo>
                  <a:lnTo>
                    <a:pt x="514" y="124"/>
                  </a:lnTo>
                  <a:lnTo>
                    <a:pt x="511" y="127"/>
                  </a:lnTo>
                  <a:lnTo>
                    <a:pt x="511" y="129"/>
                  </a:lnTo>
                  <a:lnTo>
                    <a:pt x="508" y="129"/>
                  </a:lnTo>
                  <a:lnTo>
                    <a:pt x="499" y="132"/>
                  </a:lnTo>
                  <a:lnTo>
                    <a:pt x="494" y="129"/>
                  </a:lnTo>
                  <a:lnTo>
                    <a:pt x="488" y="127"/>
                  </a:lnTo>
                  <a:lnTo>
                    <a:pt x="485" y="124"/>
                  </a:lnTo>
                  <a:lnTo>
                    <a:pt x="482" y="121"/>
                  </a:lnTo>
                  <a:lnTo>
                    <a:pt x="479" y="115"/>
                  </a:lnTo>
                  <a:lnTo>
                    <a:pt x="473" y="115"/>
                  </a:lnTo>
                  <a:lnTo>
                    <a:pt x="471" y="115"/>
                  </a:lnTo>
                  <a:lnTo>
                    <a:pt x="468" y="112"/>
                  </a:lnTo>
                  <a:lnTo>
                    <a:pt x="465" y="106"/>
                  </a:lnTo>
                  <a:lnTo>
                    <a:pt x="462" y="104"/>
                  </a:lnTo>
                  <a:lnTo>
                    <a:pt x="459" y="101"/>
                  </a:lnTo>
                  <a:lnTo>
                    <a:pt x="453" y="101"/>
                  </a:lnTo>
                  <a:lnTo>
                    <a:pt x="445" y="92"/>
                  </a:lnTo>
                  <a:lnTo>
                    <a:pt x="430" y="83"/>
                  </a:lnTo>
                  <a:lnTo>
                    <a:pt x="428" y="81"/>
                  </a:lnTo>
                  <a:lnTo>
                    <a:pt x="428" y="78"/>
                  </a:lnTo>
                  <a:lnTo>
                    <a:pt x="430" y="75"/>
                  </a:lnTo>
                  <a:lnTo>
                    <a:pt x="433" y="69"/>
                  </a:lnTo>
                  <a:lnTo>
                    <a:pt x="439" y="63"/>
                  </a:lnTo>
                  <a:lnTo>
                    <a:pt x="442" y="61"/>
                  </a:lnTo>
                  <a:lnTo>
                    <a:pt x="445" y="55"/>
                  </a:lnTo>
                  <a:lnTo>
                    <a:pt x="442" y="55"/>
                  </a:lnTo>
                  <a:lnTo>
                    <a:pt x="439" y="52"/>
                  </a:lnTo>
                  <a:lnTo>
                    <a:pt x="436" y="49"/>
                  </a:lnTo>
                  <a:lnTo>
                    <a:pt x="439" y="49"/>
                  </a:lnTo>
                  <a:lnTo>
                    <a:pt x="445" y="46"/>
                  </a:lnTo>
                  <a:lnTo>
                    <a:pt x="448" y="46"/>
                  </a:lnTo>
                  <a:lnTo>
                    <a:pt x="448" y="49"/>
                  </a:lnTo>
                  <a:lnTo>
                    <a:pt x="453" y="43"/>
                  </a:lnTo>
                  <a:lnTo>
                    <a:pt x="450" y="40"/>
                  </a:lnTo>
                  <a:lnTo>
                    <a:pt x="456" y="35"/>
                  </a:lnTo>
                  <a:lnTo>
                    <a:pt x="462" y="29"/>
                  </a:lnTo>
                  <a:lnTo>
                    <a:pt x="459" y="29"/>
                  </a:lnTo>
                  <a:lnTo>
                    <a:pt x="456" y="23"/>
                  </a:lnTo>
                  <a:lnTo>
                    <a:pt x="453" y="20"/>
                  </a:lnTo>
                  <a:lnTo>
                    <a:pt x="453" y="17"/>
                  </a:lnTo>
                  <a:lnTo>
                    <a:pt x="448" y="23"/>
                  </a:lnTo>
                  <a:lnTo>
                    <a:pt x="450" y="29"/>
                  </a:lnTo>
                  <a:lnTo>
                    <a:pt x="448" y="32"/>
                  </a:lnTo>
                  <a:lnTo>
                    <a:pt x="448" y="29"/>
                  </a:lnTo>
                  <a:lnTo>
                    <a:pt x="445" y="26"/>
                  </a:lnTo>
                  <a:lnTo>
                    <a:pt x="442" y="23"/>
                  </a:lnTo>
                  <a:lnTo>
                    <a:pt x="442" y="17"/>
                  </a:lnTo>
                  <a:lnTo>
                    <a:pt x="430" y="26"/>
                  </a:lnTo>
                  <a:lnTo>
                    <a:pt x="422" y="20"/>
                  </a:lnTo>
                  <a:lnTo>
                    <a:pt x="419" y="23"/>
                  </a:lnTo>
                  <a:lnTo>
                    <a:pt x="413" y="23"/>
                  </a:lnTo>
                  <a:lnTo>
                    <a:pt x="407" y="17"/>
                  </a:lnTo>
                  <a:lnTo>
                    <a:pt x="402" y="12"/>
                  </a:lnTo>
                  <a:lnTo>
                    <a:pt x="402" y="15"/>
                  </a:lnTo>
                  <a:lnTo>
                    <a:pt x="399" y="17"/>
                  </a:lnTo>
                  <a:lnTo>
                    <a:pt x="396" y="15"/>
                  </a:lnTo>
                  <a:lnTo>
                    <a:pt x="390" y="9"/>
                  </a:lnTo>
                  <a:lnTo>
                    <a:pt x="390" y="12"/>
                  </a:lnTo>
                  <a:lnTo>
                    <a:pt x="387" y="3"/>
                  </a:lnTo>
                  <a:lnTo>
                    <a:pt x="384" y="6"/>
                  </a:lnTo>
                  <a:lnTo>
                    <a:pt x="379" y="9"/>
                  </a:lnTo>
                  <a:lnTo>
                    <a:pt x="376" y="6"/>
                  </a:lnTo>
                  <a:lnTo>
                    <a:pt x="373" y="12"/>
                  </a:lnTo>
                  <a:lnTo>
                    <a:pt x="379" y="15"/>
                  </a:lnTo>
                  <a:lnTo>
                    <a:pt x="384" y="15"/>
                  </a:lnTo>
                  <a:lnTo>
                    <a:pt x="387" y="20"/>
                  </a:lnTo>
                  <a:lnTo>
                    <a:pt x="384" y="26"/>
                  </a:lnTo>
                  <a:lnTo>
                    <a:pt x="376" y="26"/>
                  </a:lnTo>
                  <a:lnTo>
                    <a:pt x="373" y="26"/>
                  </a:lnTo>
                  <a:lnTo>
                    <a:pt x="367" y="26"/>
                  </a:lnTo>
                  <a:lnTo>
                    <a:pt x="359" y="23"/>
                  </a:lnTo>
                  <a:lnTo>
                    <a:pt x="359" y="26"/>
                  </a:lnTo>
                  <a:lnTo>
                    <a:pt x="356" y="29"/>
                  </a:lnTo>
                  <a:lnTo>
                    <a:pt x="350" y="29"/>
                  </a:lnTo>
                  <a:lnTo>
                    <a:pt x="350" y="35"/>
                  </a:lnTo>
                  <a:lnTo>
                    <a:pt x="347" y="35"/>
                  </a:lnTo>
                  <a:lnTo>
                    <a:pt x="344" y="40"/>
                  </a:lnTo>
                  <a:lnTo>
                    <a:pt x="339" y="43"/>
                  </a:lnTo>
                  <a:lnTo>
                    <a:pt x="339" y="49"/>
                  </a:lnTo>
                  <a:lnTo>
                    <a:pt x="333" y="55"/>
                  </a:lnTo>
                  <a:lnTo>
                    <a:pt x="333" y="61"/>
                  </a:lnTo>
                  <a:lnTo>
                    <a:pt x="330" y="63"/>
                  </a:lnTo>
                  <a:lnTo>
                    <a:pt x="324" y="72"/>
                  </a:lnTo>
                  <a:lnTo>
                    <a:pt x="330" y="75"/>
                  </a:lnTo>
                  <a:lnTo>
                    <a:pt x="330" y="78"/>
                  </a:lnTo>
                  <a:lnTo>
                    <a:pt x="321" y="78"/>
                  </a:lnTo>
                  <a:lnTo>
                    <a:pt x="318" y="81"/>
                  </a:lnTo>
                  <a:lnTo>
                    <a:pt x="318" y="78"/>
                  </a:lnTo>
                  <a:lnTo>
                    <a:pt x="310" y="75"/>
                  </a:lnTo>
                  <a:lnTo>
                    <a:pt x="304" y="78"/>
                  </a:lnTo>
                  <a:lnTo>
                    <a:pt x="304" y="81"/>
                  </a:lnTo>
                  <a:lnTo>
                    <a:pt x="304" y="72"/>
                  </a:lnTo>
                  <a:lnTo>
                    <a:pt x="301" y="69"/>
                  </a:lnTo>
                  <a:lnTo>
                    <a:pt x="298" y="69"/>
                  </a:lnTo>
                  <a:lnTo>
                    <a:pt x="298" y="66"/>
                  </a:lnTo>
                  <a:lnTo>
                    <a:pt x="295" y="63"/>
                  </a:lnTo>
                  <a:lnTo>
                    <a:pt x="293" y="61"/>
                  </a:lnTo>
                  <a:lnTo>
                    <a:pt x="293" y="58"/>
                  </a:lnTo>
                  <a:lnTo>
                    <a:pt x="287" y="61"/>
                  </a:lnTo>
                  <a:lnTo>
                    <a:pt x="284" y="55"/>
                  </a:lnTo>
                  <a:lnTo>
                    <a:pt x="278" y="61"/>
                  </a:lnTo>
                  <a:lnTo>
                    <a:pt x="275" y="63"/>
                  </a:lnTo>
                  <a:lnTo>
                    <a:pt x="272" y="58"/>
                  </a:lnTo>
                  <a:lnTo>
                    <a:pt x="270" y="66"/>
                  </a:lnTo>
                  <a:lnTo>
                    <a:pt x="267" y="72"/>
                  </a:lnTo>
                  <a:lnTo>
                    <a:pt x="264" y="72"/>
                  </a:lnTo>
                  <a:lnTo>
                    <a:pt x="261" y="66"/>
                  </a:lnTo>
                  <a:lnTo>
                    <a:pt x="258" y="66"/>
                  </a:lnTo>
                  <a:lnTo>
                    <a:pt x="258" y="72"/>
                  </a:lnTo>
                  <a:lnTo>
                    <a:pt x="252" y="75"/>
                  </a:lnTo>
                  <a:lnTo>
                    <a:pt x="252" y="81"/>
                  </a:lnTo>
                  <a:lnTo>
                    <a:pt x="247" y="81"/>
                  </a:lnTo>
                  <a:lnTo>
                    <a:pt x="247" y="89"/>
                  </a:lnTo>
                  <a:lnTo>
                    <a:pt x="241" y="89"/>
                  </a:lnTo>
                  <a:lnTo>
                    <a:pt x="238" y="95"/>
                  </a:lnTo>
                  <a:lnTo>
                    <a:pt x="241" y="98"/>
                  </a:lnTo>
                  <a:lnTo>
                    <a:pt x="241" y="101"/>
                  </a:lnTo>
                  <a:lnTo>
                    <a:pt x="235" y="104"/>
                  </a:lnTo>
                  <a:lnTo>
                    <a:pt x="235" y="106"/>
                  </a:lnTo>
                  <a:lnTo>
                    <a:pt x="238" y="112"/>
                  </a:lnTo>
                  <a:lnTo>
                    <a:pt x="232" y="106"/>
                  </a:lnTo>
                  <a:lnTo>
                    <a:pt x="229" y="106"/>
                  </a:lnTo>
                  <a:lnTo>
                    <a:pt x="227" y="106"/>
                  </a:lnTo>
                  <a:lnTo>
                    <a:pt x="224" y="104"/>
                  </a:lnTo>
                  <a:lnTo>
                    <a:pt x="221" y="109"/>
                  </a:lnTo>
                  <a:lnTo>
                    <a:pt x="218" y="112"/>
                  </a:lnTo>
                  <a:lnTo>
                    <a:pt x="224" y="118"/>
                  </a:lnTo>
                  <a:lnTo>
                    <a:pt x="221" y="124"/>
                  </a:lnTo>
                  <a:lnTo>
                    <a:pt x="221" y="121"/>
                  </a:lnTo>
                  <a:lnTo>
                    <a:pt x="218" y="129"/>
                  </a:lnTo>
                  <a:lnTo>
                    <a:pt x="215" y="127"/>
                  </a:lnTo>
                  <a:lnTo>
                    <a:pt x="215" y="124"/>
                  </a:lnTo>
                  <a:lnTo>
                    <a:pt x="212" y="118"/>
                  </a:lnTo>
                  <a:lnTo>
                    <a:pt x="209" y="112"/>
                  </a:lnTo>
                  <a:lnTo>
                    <a:pt x="209" y="109"/>
                  </a:lnTo>
                  <a:lnTo>
                    <a:pt x="204" y="115"/>
                  </a:lnTo>
                  <a:lnTo>
                    <a:pt x="198" y="121"/>
                  </a:lnTo>
                  <a:lnTo>
                    <a:pt x="195" y="127"/>
                  </a:lnTo>
                  <a:lnTo>
                    <a:pt x="195" y="135"/>
                  </a:lnTo>
                  <a:lnTo>
                    <a:pt x="195" y="141"/>
                  </a:lnTo>
                  <a:lnTo>
                    <a:pt x="186" y="150"/>
                  </a:lnTo>
                  <a:lnTo>
                    <a:pt x="175" y="164"/>
                  </a:lnTo>
                  <a:lnTo>
                    <a:pt x="172" y="170"/>
                  </a:lnTo>
                  <a:lnTo>
                    <a:pt x="169" y="172"/>
                  </a:lnTo>
                  <a:lnTo>
                    <a:pt x="158" y="175"/>
                  </a:lnTo>
                  <a:lnTo>
                    <a:pt x="149" y="178"/>
                  </a:lnTo>
                  <a:lnTo>
                    <a:pt x="140" y="181"/>
                  </a:lnTo>
                  <a:lnTo>
                    <a:pt x="138" y="178"/>
                  </a:lnTo>
                  <a:lnTo>
                    <a:pt x="129" y="184"/>
                  </a:lnTo>
                  <a:lnTo>
                    <a:pt x="117" y="184"/>
                  </a:lnTo>
                  <a:lnTo>
                    <a:pt x="115" y="187"/>
                  </a:lnTo>
                  <a:lnTo>
                    <a:pt x="112" y="190"/>
                  </a:lnTo>
                  <a:lnTo>
                    <a:pt x="109" y="193"/>
                  </a:lnTo>
                  <a:lnTo>
                    <a:pt x="103" y="193"/>
                  </a:lnTo>
                  <a:lnTo>
                    <a:pt x="97" y="193"/>
                  </a:lnTo>
                  <a:lnTo>
                    <a:pt x="92" y="190"/>
                  </a:lnTo>
                  <a:lnTo>
                    <a:pt x="80" y="198"/>
                  </a:lnTo>
                  <a:lnTo>
                    <a:pt x="63" y="210"/>
                  </a:lnTo>
                  <a:lnTo>
                    <a:pt x="57" y="213"/>
                  </a:lnTo>
                  <a:lnTo>
                    <a:pt x="51" y="218"/>
                  </a:lnTo>
                  <a:lnTo>
                    <a:pt x="49" y="224"/>
                  </a:lnTo>
                  <a:lnTo>
                    <a:pt x="46" y="227"/>
                  </a:lnTo>
                  <a:lnTo>
                    <a:pt x="43" y="227"/>
                  </a:lnTo>
                  <a:lnTo>
                    <a:pt x="40" y="227"/>
                  </a:lnTo>
                  <a:lnTo>
                    <a:pt x="43" y="227"/>
                  </a:lnTo>
                  <a:lnTo>
                    <a:pt x="43" y="224"/>
                  </a:lnTo>
                  <a:lnTo>
                    <a:pt x="43" y="216"/>
                  </a:lnTo>
                  <a:lnTo>
                    <a:pt x="34" y="230"/>
                  </a:lnTo>
                  <a:lnTo>
                    <a:pt x="37" y="236"/>
                  </a:lnTo>
                  <a:lnTo>
                    <a:pt x="34" y="247"/>
                  </a:lnTo>
                  <a:lnTo>
                    <a:pt x="23" y="264"/>
                  </a:lnTo>
                  <a:lnTo>
                    <a:pt x="23" y="267"/>
                  </a:lnTo>
                  <a:lnTo>
                    <a:pt x="23" y="270"/>
                  </a:lnTo>
                  <a:lnTo>
                    <a:pt x="26" y="270"/>
                  </a:lnTo>
                  <a:lnTo>
                    <a:pt x="28" y="284"/>
                  </a:lnTo>
                  <a:lnTo>
                    <a:pt x="28" y="290"/>
                  </a:lnTo>
                  <a:lnTo>
                    <a:pt x="31" y="296"/>
                  </a:lnTo>
                  <a:lnTo>
                    <a:pt x="28" y="299"/>
                  </a:lnTo>
                  <a:lnTo>
                    <a:pt x="26" y="302"/>
                  </a:lnTo>
                  <a:lnTo>
                    <a:pt x="26" y="299"/>
                  </a:lnTo>
                  <a:lnTo>
                    <a:pt x="26" y="296"/>
                  </a:lnTo>
                  <a:lnTo>
                    <a:pt x="23" y="299"/>
                  </a:lnTo>
                  <a:lnTo>
                    <a:pt x="23" y="293"/>
                  </a:lnTo>
                  <a:lnTo>
                    <a:pt x="20" y="287"/>
                  </a:lnTo>
                  <a:lnTo>
                    <a:pt x="17" y="290"/>
                  </a:lnTo>
                  <a:lnTo>
                    <a:pt x="17" y="293"/>
                  </a:lnTo>
                  <a:lnTo>
                    <a:pt x="20" y="299"/>
                  </a:lnTo>
                  <a:lnTo>
                    <a:pt x="23" y="302"/>
                  </a:lnTo>
                  <a:lnTo>
                    <a:pt x="20" y="307"/>
                  </a:lnTo>
                  <a:lnTo>
                    <a:pt x="20" y="305"/>
                  </a:lnTo>
                  <a:lnTo>
                    <a:pt x="17" y="302"/>
                  </a:lnTo>
                  <a:lnTo>
                    <a:pt x="17" y="299"/>
                  </a:lnTo>
                  <a:lnTo>
                    <a:pt x="14" y="296"/>
                  </a:lnTo>
                  <a:lnTo>
                    <a:pt x="11" y="290"/>
                  </a:lnTo>
                  <a:lnTo>
                    <a:pt x="11" y="284"/>
                  </a:lnTo>
                  <a:lnTo>
                    <a:pt x="11" y="296"/>
                  </a:lnTo>
                  <a:lnTo>
                    <a:pt x="14" y="305"/>
                  </a:lnTo>
                  <a:lnTo>
                    <a:pt x="17" y="310"/>
                  </a:lnTo>
                  <a:lnTo>
                    <a:pt x="23" y="328"/>
                  </a:lnTo>
                  <a:lnTo>
                    <a:pt x="23" y="333"/>
                  </a:lnTo>
                  <a:lnTo>
                    <a:pt x="20" y="339"/>
                  </a:lnTo>
                  <a:lnTo>
                    <a:pt x="23" y="345"/>
                  </a:lnTo>
                  <a:lnTo>
                    <a:pt x="26" y="348"/>
                  </a:lnTo>
                  <a:lnTo>
                    <a:pt x="26" y="353"/>
                  </a:lnTo>
                  <a:lnTo>
                    <a:pt x="26" y="362"/>
                  </a:lnTo>
                  <a:lnTo>
                    <a:pt x="26" y="376"/>
                  </a:lnTo>
                  <a:lnTo>
                    <a:pt x="23" y="388"/>
                  </a:lnTo>
                  <a:lnTo>
                    <a:pt x="23" y="394"/>
                  </a:lnTo>
                  <a:lnTo>
                    <a:pt x="23" y="399"/>
                  </a:lnTo>
                  <a:lnTo>
                    <a:pt x="26" y="414"/>
                  </a:lnTo>
                  <a:lnTo>
                    <a:pt x="26" y="419"/>
                  </a:lnTo>
                  <a:lnTo>
                    <a:pt x="23" y="422"/>
                  </a:lnTo>
                  <a:lnTo>
                    <a:pt x="20" y="428"/>
                  </a:lnTo>
                  <a:lnTo>
                    <a:pt x="17" y="437"/>
                  </a:lnTo>
                  <a:lnTo>
                    <a:pt x="11" y="445"/>
                  </a:lnTo>
                  <a:lnTo>
                    <a:pt x="6" y="445"/>
                  </a:lnTo>
                  <a:lnTo>
                    <a:pt x="3" y="445"/>
                  </a:lnTo>
                  <a:lnTo>
                    <a:pt x="0" y="451"/>
                  </a:lnTo>
                  <a:lnTo>
                    <a:pt x="0" y="457"/>
                  </a:lnTo>
                  <a:lnTo>
                    <a:pt x="3" y="460"/>
                  </a:lnTo>
                  <a:lnTo>
                    <a:pt x="6" y="462"/>
                  </a:lnTo>
                  <a:lnTo>
                    <a:pt x="11" y="468"/>
                  </a:lnTo>
                  <a:lnTo>
                    <a:pt x="17" y="474"/>
                  </a:lnTo>
                  <a:lnTo>
                    <a:pt x="26" y="474"/>
                  </a:lnTo>
                  <a:lnTo>
                    <a:pt x="37" y="474"/>
                  </a:lnTo>
                  <a:lnTo>
                    <a:pt x="43" y="471"/>
                  </a:lnTo>
                  <a:lnTo>
                    <a:pt x="51" y="468"/>
                  </a:lnTo>
                  <a:lnTo>
                    <a:pt x="60" y="462"/>
                  </a:lnTo>
                  <a:lnTo>
                    <a:pt x="63" y="462"/>
                  </a:lnTo>
                  <a:lnTo>
                    <a:pt x="69" y="462"/>
                  </a:lnTo>
                  <a:lnTo>
                    <a:pt x="74" y="460"/>
                  </a:lnTo>
                  <a:lnTo>
                    <a:pt x="77" y="457"/>
                  </a:lnTo>
                  <a:lnTo>
                    <a:pt x="83" y="451"/>
                  </a:lnTo>
                  <a:lnTo>
                    <a:pt x="97" y="451"/>
                  </a:lnTo>
                  <a:lnTo>
                    <a:pt x="109" y="451"/>
                  </a:lnTo>
                  <a:lnTo>
                    <a:pt x="126" y="451"/>
                  </a:lnTo>
                  <a:lnTo>
                    <a:pt x="132" y="454"/>
                  </a:lnTo>
                  <a:lnTo>
                    <a:pt x="140" y="451"/>
                  </a:lnTo>
                  <a:lnTo>
                    <a:pt x="149" y="448"/>
                  </a:lnTo>
                  <a:lnTo>
                    <a:pt x="152" y="439"/>
                  </a:lnTo>
                  <a:lnTo>
                    <a:pt x="158" y="437"/>
                  </a:lnTo>
                  <a:lnTo>
                    <a:pt x="161" y="434"/>
                  </a:lnTo>
                  <a:lnTo>
                    <a:pt x="166" y="434"/>
                  </a:lnTo>
                  <a:lnTo>
                    <a:pt x="175" y="428"/>
                  </a:lnTo>
                  <a:lnTo>
                    <a:pt x="186" y="422"/>
                  </a:lnTo>
                  <a:lnTo>
                    <a:pt x="192" y="419"/>
                  </a:lnTo>
                  <a:lnTo>
                    <a:pt x="198" y="422"/>
                  </a:lnTo>
                  <a:lnTo>
                    <a:pt x="212" y="419"/>
                  </a:lnTo>
                  <a:lnTo>
                    <a:pt x="232" y="414"/>
                  </a:lnTo>
                  <a:lnTo>
                    <a:pt x="247" y="408"/>
                  </a:lnTo>
                  <a:lnTo>
                    <a:pt x="264" y="405"/>
                  </a:lnTo>
                  <a:lnTo>
                    <a:pt x="267" y="405"/>
                  </a:lnTo>
                  <a:lnTo>
                    <a:pt x="270" y="408"/>
                  </a:lnTo>
                  <a:lnTo>
                    <a:pt x="272" y="408"/>
                  </a:lnTo>
                  <a:lnTo>
                    <a:pt x="278" y="405"/>
                  </a:lnTo>
                  <a:lnTo>
                    <a:pt x="284" y="405"/>
                  </a:lnTo>
                  <a:lnTo>
                    <a:pt x="293" y="408"/>
                  </a:lnTo>
                  <a:lnTo>
                    <a:pt x="298" y="414"/>
                  </a:lnTo>
                  <a:lnTo>
                    <a:pt x="304" y="414"/>
                  </a:lnTo>
                  <a:lnTo>
                    <a:pt x="310" y="419"/>
                  </a:lnTo>
                  <a:lnTo>
                    <a:pt x="316" y="417"/>
                  </a:lnTo>
                  <a:lnTo>
                    <a:pt x="321" y="417"/>
                  </a:lnTo>
                  <a:lnTo>
                    <a:pt x="318" y="422"/>
                  </a:lnTo>
                  <a:lnTo>
                    <a:pt x="324" y="422"/>
                  </a:lnTo>
                  <a:lnTo>
                    <a:pt x="327" y="428"/>
                  </a:lnTo>
                  <a:lnTo>
                    <a:pt x="321" y="431"/>
                  </a:lnTo>
                  <a:lnTo>
                    <a:pt x="318" y="431"/>
                  </a:lnTo>
                  <a:lnTo>
                    <a:pt x="321" y="437"/>
                  </a:lnTo>
                  <a:lnTo>
                    <a:pt x="330" y="437"/>
                  </a:lnTo>
                  <a:lnTo>
                    <a:pt x="330" y="439"/>
                  </a:lnTo>
                  <a:lnTo>
                    <a:pt x="327" y="445"/>
                  </a:lnTo>
                  <a:lnTo>
                    <a:pt x="330" y="448"/>
                  </a:lnTo>
                  <a:lnTo>
                    <a:pt x="330" y="460"/>
                  </a:lnTo>
                  <a:lnTo>
                    <a:pt x="324" y="465"/>
                  </a:lnTo>
                  <a:lnTo>
                    <a:pt x="333" y="471"/>
                  </a:lnTo>
                  <a:lnTo>
                    <a:pt x="336" y="465"/>
                  </a:lnTo>
                  <a:lnTo>
                    <a:pt x="339" y="462"/>
                  </a:lnTo>
                  <a:lnTo>
                    <a:pt x="341" y="462"/>
                  </a:lnTo>
                  <a:lnTo>
                    <a:pt x="347" y="457"/>
                  </a:lnTo>
                  <a:lnTo>
                    <a:pt x="350" y="454"/>
                  </a:lnTo>
                  <a:lnTo>
                    <a:pt x="356" y="451"/>
                  </a:lnTo>
                  <a:lnTo>
                    <a:pt x="364" y="448"/>
                  </a:lnTo>
                  <a:lnTo>
                    <a:pt x="370" y="439"/>
                  </a:lnTo>
                  <a:lnTo>
                    <a:pt x="379" y="434"/>
                  </a:lnTo>
                  <a:lnTo>
                    <a:pt x="382" y="431"/>
                  </a:lnTo>
                  <a:lnTo>
                    <a:pt x="384" y="425"/>
                  </a:lnTo>
                  <a:lnTo>
                    <a:pt x="384" y="434"/>
                  </a:lnTo>
                  <a:lnTo>
                    <a:pt x="379" y="437"/>
                  </a:lnTo>
                  <a:lnTo>
                    <a:pt x="376" y="445"/>
                  </a:lnTo>
                  <a:lnTo>
                    <a:pt x="367" y="451"/>
                  </a:lnTo>
                  <a:lnTo>
                    <a:pt x="364" y="462"/>
                  </a:lnTo>
                  <a:lnTo>
                    <a:pt x="364" y="465"/>
                  </a:lnTo>
                  <a:lnTo>
                    <a:pt x="359" y="468"/>
                  </a:lnTo>
                  <a:lnTo>
                    <a:pt x="356" y="471"/>
                  </a:lnTo>
                  <a:lnTo>
                    <a:pt x="353" y="471"/>
                  </a:lnTo>
                  <a:lnTo>
                    <a:pt x="350" y="468"/>
                  </a:lnTo>
                  <a:lnTo>
                    <a:pt x="344" y="477"/>
                  </a:lnTo>
                  <a:lnTo>
                    <a:pt x="347" y="480"/>
                  </a:lnTo>
                  <a:lnTo>
                    <a:pt x="350" y="477"/>
                  </a:lnTo>
                  <a:lnTo>
                    <a:pt x="353" y="474"/>
                  </a:lnTo>
                  <a:lnTo>
                    <a:pt x="356" y="474"/>
                  </a:lnTo>
                  <a:lnTo>
                    <a:pt x="359" y="474"/>
                  </a:lnTo>
                  <a:lnTo>
                    <a:pt x="361" y="474"/>
                  </a:lnTo>
                  <a:lnTo>
                    <a:pt x="364" y="468"/>
                  </a:lnTo>
                  <a:lnTo>
                    <a:pt x="373" y="457"/>
                  </a:lnTo>
                  <a:lnTo>
                    <a:pt x="376" y="465"/>
                  </a:lnTo>
                  <a:lnTo>
                    <a:pt x="373" y="474"/>
                  </a:lnTo>
                  <a:lnTo>
                    <a:pt x="373" y="480"/>
                  </a:lnTo>
                  <a:lnTo>
                    <a:pt x="367" y="483"/>
                  </a:lnTo>
                  <a:lnTo>
                    <a:pt x="364" y="483"/>
                  </a:lnTo>
                  <a:lnTo>
                    <a:pt x="364" y="485"/>
                  </a:lnTo>
                  <a:lnTo>
                    <a:pt x="367" y="488"/>
                  </a:lnTo>
                  <a:lnTo>
                    <a:pt x="373" y="485"/>
                  </a:lnTo>
                  <a:lnTo>
                    <a:pt x="376" y="485"/>
                  </a:lnTo>
                  <a:lnTo>
                    <a:pt x="379" y="485"/>
                  </a:lnTo>
                  <a:lnTo>
                    <a:pt x="382" y="488"/>
                  </a:lnTo>
                  <a:lnTo>
                    <a:pt x="384" y="491"/>
                  </a:lnTo>
                  <a:lnTo>
                    <a:pt x="384" y="497"/>
                  </a:lnTo>
                  <a:lnTo>
                    <a:pt x="376" y="508"/>
                  </a:lnTo>
                  <a:lnTo>
                    <a:pt x="373" y="514"/>
                  </a:lnTo>
                  <a:lnTo>
                    <a:pt x="373" y="517"/>
                  </a:lnTo>
                  <a:lnTo>
                    <a:pt x="376" y="523"/>
                  </a:lnTo>
                  <a:lnTo>
                    <a:pt x="379" y="531"/>
                  </a:lnTo>
                  <a:lnTo>
                    <a:pt x="387" y="531"/>
                  </a:lnTo>
                  <a:lnTo>
                    <a:pt x="393" y="534"/>
                  </a:lnTo>
                  <a:lnTo>
                    <a:pt x="393" y="537"/>
                  </a:lnTo>
                  <a:lnTo>
                    <a:pt x="399" y="534"/>
                  </a:lnTo>
                  <a:lnTo>
                    <a:pt x="402" y="534"/>
                  </a:lnTo>
                  <a:lnTo>
                    <a:pt x="402" y="537"/>
                  </a:lnTo>
                  <a:lnTo>
                    <a:pt x="410" y="537"/>
                  </a:lnTo>
                  <a:lnTo>
                    <a:pt x="413" y="543"/>
                  </a:lnTo>
                  <a:lnTo>
                    <a:pt x="422" y="546"/>
                  </a:lnTo>
                  <a:lnTo>
                    <a:pt x="425" y="546"/>
                  </a:lnTo>
                  <a:lnTo>
                    <a:pt x="425" y="543"/>
                  </a:lnTo>
                  <a:lnTo>
                    <a:pt x="433" y="540"/>
                  </a:lnTo>
                  <a:lnTo>
                    <a:pt x="442" y="537"/>
                  </a:lnTo>
                  <a:lnTo>
                    <a:pt x="450" y="540"/>
                  </a:lnTo>
                  <a:lnTo>
                    <a:pt x="453" y="543"/>
                  </a:lnTo>
                  <a:lnTo>
                    <a:pt x="459" y="543"/>
                  </a:lnTo>
                  <a:lnTo>
                    <a:pt x="462" y="543"/>
                  </a:lnTo>
                  <a:lnTo>
                    <a:pt x="462" y="546"/>
                  </a:lnTo>
                  <a:lnTo>
                    <a:pt x="465" y="551"/>
                  </a:lnTo>
                  <a:lnTo>
                    <a:pt x="465" y="549"/>
                  </a:lnTo>
                  <a:lnTo>
                    <a:pt x="473" y="546"/>
                  </a:lnTo>
                  <a:lnTo>
                    <a:pt x="482" y="540"/>
                  </a:lnTo>
                  <a:lnTo>
                    <a:pt x="491" y="534"/>
                  </a:lnTo>
                  <a:lnTo>
                    <a:pt x="499" y="528"/>
                  </a:lnTo>
                  <a:lnTo>
                    <a:pt x="505" y="528"/>
                  </a:lnTo>
                  <a:lnTo>
                    <a:pt x="508" y="528"/>
                  </a:lnTo>
                  <a:lnTo>
                    <a:pt x="516" y="526"/>
                  </a:lnTo>
                  <a:lnTo>
                    <a:pt x="528" y="526"/>
                  </a:lnTo>
                  <a:lnTo>
                    <a:pt x="531" y="526"/>
                  </a:lnTo>
                  <a:lnTo>
                    <a:pt x="537" y="523"/>
                  </a:lnTo>
                  <a:lnTo>
                    <a:pt x="548" y="503"/>
                  </a:lnTo>
                  <a:lnTo>
                    <a:pt x="557" y="491"/>
                  </a:lnTo>
                  <a:lnTo>
                    <a:pt x="562" y="485"/>
                  </a:lnTo>
                  <a:lnTo>
                    <a:pt x="568" y="477"/>
                  </a:lnTo>
                  <a:lnTo>
                    <a:pt x="574" y="471"/>
                  </a:lnTo>
                  <a:lnTo>
                    <a:pt x="577" y="468"/>
                  </a:lnTo>
                  <a:lnTo>
                    <a:pt x="583" y="460"/>
                  </a:lnTo>
                  <a:lnTo>
                    <a:pt x="591" y="454"/>
                  </a:lnTo>
                  <a:lnTo>
                    <a:pt x="597" y="451"/>
                  </a:lnTo>
                  <a:lnTo>
                    <a:pt x="597" y="448"/>
                  </a:lnTo>
                  <a:lnTo>
                    <a:pt x="600" y="442"/>
                  </a:lnTo>
                  <a:lnTo>
                    <a:pt x="608" y="434"/>
                  </a:lnTo>
                  <a:lnTo>
                    <a:pt x="620" y="431"/>
                  </a:lnTo>
                  <a:lnTo>
                    <a:pt x="626" y="425"/>
                  </a:lnTo>
                  <a:lnTo>
                    <a:pt x="626" y="422"/>
                  </a:lnTo>
                  <a:lnTo>
                    <a:pt x="628" y="417"/>
                  </a:lnTo>
                  <a:lnTo>
                    <a:pt x="634" y="411"/>
                  </a:lnTo>
                  <a:lnTo>
                    <a:pt x="643" y="402"/>
                  </a:lnTo>
                  <a:lnTo>
                    <a:pt x="649" y="394"/>
                  </a:lnTo>
                  <a:lnTo>
                    <a:pt x="649" y="388"/>
                  </a:lnTo>
                  <a:lnTo>
                    <a:pt x="654" y="382"/>
                  </a:lnTo>
                  <a:lnTo>
                    <a:pt x="660" y="373"/>
                  </a:lnTo>
                  <a:lnTo>
                    <a:pt x="666" y="359"/>
                  </a:lnTo>
                  <a:lnTo>
                    <a:pt x="669" y="350"/>
                  </a:lnTo>
                  <a:lnTo>
                    <a:pt x="671" y="350"/>
                  </a:lnTo>
                  <a:lnTo>
                    <a:pt x="674" y="348"/>
                  </a:lnTo>
                  <a:lnTo>
                    <a:pt x="674" y="342"/>
                  </a:lnTo>
                  <a:lnTo>
                    <a:pt x="677" y="336"/>
                  </a:lnTo>
                  <a:lnTo>
                    <a:pt x="674" y="328"/>
                  </a:lnTo>
                  <a:lnTo>
                    <a:pt x="671" y="322"/>
                  </a:lnTo>
                  <a:lnTo>
                    <a:pt x="674" y="316"/>
                  </a:lnTo>
                  <a:lnTo>
                    <a:pt x="677" y="30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95" name="Freeform 497"/>
            <p:cNvSpPr>
              <a:spLocks/>
            </p:cNvSpPr>
            <p:nvPr/>
          </p:nvSpPr>
          <p:spPr bwMode="auto">
            <a:xfrm>
              <a:off x="7983538" y="4462463"/>
              <a:ext cx="14287" cy="12700"/>
            </a:xfrm>
            <a:custGeom>
              <a:avLst/>
              <a:gdLst>
                <a:gd name="T0" fmla="*/ 2147483647 w 8"/>
                <a:gd name="T1" fmla="*/ 0 h 8"/>
                <a:gd name="T2" fmla="*/ 0 w 8"/>
                <a:gd name="T3" fmla="*/ 2147483647 h 8"/>
                <a:gd name="T4" fmla="*/ 0 w 8"/>
                <a:gd name="T5" fmla="*/ 2147483647 h 8"/>
                <a:gd name="T6" fmla="*/ 2147483647 w 8"/>
                <a:gd name="T7" fmla="*/ 2147483647 h 8"/>
                <a:gd name="T8" fmla="*/ 2147483647 w 8"/>
                <a:gd name="T9" fmla="*/ 2147483647 h 8"/>
                <a:gd name="T10" fmla="*/ 2147483647 w 8"/>
                <a:gd name="T11" fmla="*/ 2147483647 h 8"/>
                <a:gd name="T12" fmla="*/ 2147483647 w 8"/>
                <a:gd name="T13" fmla="*/ 0 h 8"/>
                <a:gd name="T14" fmla="*/ 2147483647 w 8"/>
                <a:gd name="T15" fmla="*/ 0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"/>
                <a:gd name="T25" fmla="*/ 0 h 8"/>
                <a:gd name="T26" fmla="*/ 8 w 8"/>
                <a:gd name="T27" fmla="*/ 8 h 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" h="8">
                  <a:moveTo>
                    <a:pt x="2" y="0"/>
                  </a:moveTo>
                  <a:lnTo>
                    <a:pt x="0" y="3"/>
                  </a:lnTo>
                  <a:lnTo>
                    <a:pt x="0" y="8"/>
                  </a:lnTo>
                  <a:lnTo>
                    <a:pt x="5" y="8"/>
                  </a:lnTo>
                  <a:lnTo>
                    <a:pt x="8" y="5"/>
                  </a:lnTo>
                  <a:lnTo>
                    <a:pt x="2" y="5"/>
                  </a:lnTo>
                  <a:lnTo>
                    <a:pt x="8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96" name="Freeform 498"/>
            <p:cNvSpPr>
              <a:spLocks/>
            </p:cNvSpPr>
            <p:nvPr/>
          </p:nvSpPr>
          <p:spPr bwMode="auto">
            <a:xfrm>
              <a:off x="8370888" y="5294313"/>
              <a:ext cx="307975" cy="188912"/>
            </a:xfrm>
            <a:custGeom>
              <a:avLst/>
              <a:gdLst>
                <a:gd name="T0" fmla="*/ 2147483647 w 192"/>
                <a:gd name="T1" fmla="*/ 2147483647 h 118"/>
                <a:gd name="T2" fmla="*/ 2147483647 w 192"/>
                <a:gd name="T3" fmla="*/ 2147483647 h 118"/>
                <a:gd name="T4" fmla="*/ 2147483647 w 192"/>
                <a:gd name="T5" fmla="*/ 2147483647 h 118"/>
                <a:gd name="T6" fmla="*/ 2147483647 w 192"/>
                <a:gd name="T7" fmla="*/ 2147483647 h 118"/>
                <a:gd name="T8" fmla="*/ 2147483647 w 192"/>
                <a:gd name="T9" fmla="*/ 2147483647 h 118"/>
                <a:gd name="T10" fmla="*/ 2147483647 w 192"/>
                <a:gd name="T11" fmla="*/ 0 h 118"/>
                <a:gd name="T12" fmla="*/ 2147483647 w 192"/>
                <a:gd name="T13" fmla="*/ 2147483647 h 118"/>
                <a:gd name="T14" fmla="*/ 2147483647 w 192"/>
                <a:gd name="T15" fmla="*/ 2147483647 h 118"/>
                <a:gd name="T16" fmla="*/ 2147483647 w 192"/>
                <a:gd name="T17" fmla="*/ 2147483647 h 118"/>
                <a:gd name="T18" fmla="*/ 2147483647 w 192"/>
                <a:gd name="T19" fmla="*/ 2147483647 h 118"/>
                <a:gd name="T20" fmla="*/ 2147483647 w 192"/>
                <a:gd name="T21" fmla="*/ 2147483647 h 118"/>
                <a:gd name="T22" fmla="*/ 2147483647 w 192"/>
                <a:gd name="T23" fmla="*/ 2147483647 h 118"/>
                <a:gd name="T24" fmla="*/ 2147483647 w 192"/>
                <a:gd name="T25" fmla="*/ 2147483647 h 118"/>
                <a:gd name="T26" fmla="*/ 2147483647 w 192"/>
                <a:gd name="T27" fmla="*/ 2147483647 h 118"/>
                <a:gd name="T28" fmla="*/ 2147483647 w 192"/>
                <a:gd name="T29" fmla="*/ 2147483647 h 118"/>
                <a:gd name="T30" fmla="*/ 2147483647 w 192"/>
                <a:gd name="T31" fmla="*/ 2147483647 h 118"/>
                <a:gd name="T32" fmla="*/ 2147483647 w 192"/>
                <a:gd name="T33" fmla="*/ 2147483647 h 118"/>
                <a:gd name="T34" fmla="*/ 2147483647 w 192"/>
                <a:gd name="T35" fmla="*/ 2147483647 h 118"/>
                <a:gd name="T36" fmla="*/ 2147483647 w 192"/>
                <a:gd name="T37" fmla="*/ 2147483647 h 118"/>
                <a:gd name="T38" fmla="*/ 2147483647 w 192"/>
                <a:gd name="T39" fmla="*/ 2147483647 h 118"/>
                <a:gd name="T40" fmla="*/ 2147483647 w 192"/>
                <a:gd name="T41" fmla="*/ 2147483647 h 118"/>
                <a:gd name="T42" fmla="*/ 2147483647 w 192"/>
                <a:gd name="T43" fmla="*/ 2147483647 h 118"/>
                <a:gd name="T44" fmla="*/ 2147483647 w 192"/>
                <a:gd name="T45" fmla="*/ 2147483647 h 118"/>
                <a:gd name="T46" fmla="*/ 2147483647 w 192"/>
                <a:gd name="T47" fmla="*/ 2147483647 h 118"/>
                <a:gd name="T48" fmla="*/ 2147483647 w 192"/>
                <a:gd name="T49" fmla="*/ 2147483647 h 118"/>
                <a:gd name="T50" fmla="*/ 2147483647 w 192"/>
                <a:gd name="T51" fmla="*/ 2147483647 h 118"/>
                <a:gd name="T52" fmla="*/ 2147483647 w 192"/>
                <a:gd name="T53" fmla="*/ 2147483647 h 118"/>
                <a:gd name="T54" fmla="*/ 2147483647 w 192"/>
                <a:gd name="T55" fmla="*/ 2147483647 h 118"/>
                <a:gd name="T56" fmla="*/ 2147483647 w 192"/>
                <a:gd name="T57" fmla="*/ 2147483647 h 118"/>
                <a:gd name="T58" fmla="*/ 2147483647 w 192"/>
                <a:gd name="T59" fmla="*/ 2147483647 h 118"/>
                <a:gd name="T60" fmla="*/ 2147483647 w 192"/>
                <a:gd name="T61" fmla="*/ 2147483647 h 118"/>
                <a:gd name="T62" fmla="*/ 2147483647 w 192"/>
                <a:gd name="T63" fmla="*/ 2147483647 h 118"/>
                <a:gd name="T64" fmla="*/ 2147483647 w 192"/>
                <a:gd name="T65" fmla="*/ 2147483647 h 118"/>
                <a:gd name="T66" fmla="*/ 2147483647 w 192"/>
                <a:gd name="T67" fmla="*/ 2147483647 h 118"/>
                <a:gd name="T68" fmla="*/ 2147483647 w 192"/>
                <a:gd name="T69" fmla="*/ 2147483647 h 118"/>
                <a:gd name="T70" fmla="*/ 2147483647 w 192"/>
                <a:gd name="T71" fmla="*/ 2147483647 h 118"/>
                <a:gd name="T72" fmla="*/ 2147483647 w 192"/>
                <a:gd name="T73" fmla="*/ 2147483647 h 118"/>
                <a:gd name="T74" fmla="*/ 2147483647 w 192"/>
                <a:gd name="T75" fmla="*/ 2147483647 h 118"/>
                <a:gd name="T76" fmla="*/ 2147483647 w 192"/>
                <a:gd name="T77" fmla="*/ 2147483647 h 118"/>
                <a:gd name="T78" fmla="*/ 2147483647 w 192"/>
                <a:gd name="T79" fmla="*/ 2147483647 h 118"/>
                <a:gd name="T80" fmla="*/ 2147483647 w 192"/>
                <a:gd name="T81" fmla="*/ 2147483647 h 118"/>
                <a:gd name="T82" fmla="*/ 2147483647 w 192"/>
                <a:gd name="T83" fmla="*/ 2147483647 h 118"/>
                <a:gd name="T84" fmla="*/ 2147483647 w 192"/>
                <a:gd name="T85" fmla="*/ 2147483647 h 118"/>
                <a:gd name="T86" fmla="*/ 2147483647 w 192"/>
                <a:gd name="T87" fmla="*/ 2147483647 h 118"/>
                <a:gd name="T88" fmla="*/ 2147483647 w 192"/>
                <a:gd name="T89" fmla="*/ 2147483647 h 11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92"/>
                <a:gd name="T136" fmla="*/ 0 h 118"/>
                <a:gd name="T137" fmla="*/ 192 w 192"/>
                <a:gd name="T138" fmla="*/ 118 h 11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92" h="118">
                  <a:moveTo>
                    <a:pt x="192" y="6"/>
                  </a:moveTo>
                  <a:lnTo>
                    <a:pt x="186" y="6"/>
                  </a:lnTo>
                  <a:lnTo>
                    <a:pt x="181" y="12"/>
                  </a:lnTo>
                  <a:lnTo>
                    <a:pt x="175" y="15"/>
                  </a:lnTo>
                  <a:lnTo>
                    <a:pt x="175" y="18"/>
                  </a:lnTo>
                  <a:lnTo>
                    <a:pt x="172" y="15"/>
                  </a:lnTo>
                  <a:lnTo>
                    <a:pt x="172" y="12"/>
                  </a:lnTo>
                  <a:lnTo>
                    <a:pt x="175" y="9"/>
                  </a:lnTo>
                  <a:lnTo>
                    <a:pt x="178" y="6"/>
                  </a:lnTo>
                  <a:lnTo>
                    <a:pt x="178" y="0"/>
                  </a:lnTo>
                  <a:lnTo>
                    <a:pt x="172" y="3"/>
                  </a:lnTo>
                  <a:lnTo>
                    <a:pt x="169" y="6"/>
                  </a:lnTo>
                  <a:lnTo>
                    <a:pt x="158" y="15"/>
                  </a:lnTo>
                  <a:lnTo>
                    <a:pt x="143" y="23"/>
                  </a:lnTo>
                  <a:lnTo>
                    <a:pt x="140" y="23"/>
                  </a:lnTo>
                  <a:lnTo>
                    <a:pt x="138" y="26"/>
                  </a:lnTo>
                  <a:lnTo>
                    <a:pt x="129" y="35"/>
                  </a:lnTo>
                  <a:lnTo>
                    <a:pt x="123" y="40"/>
                  </a:lnTo>
                  <a:lnTo>
                    <a:pt x="115" y="46"/>
                  </a:lnTo>
                  <a:lnTo>
                    <a:pt x="109" y="49"/>
                  </a:lnTo>
                  <a:lnTo>
                    <a:pt x="103" y="52"/>
                  </a:lnTo>
                  <a:lnTo>
                    <a:pt x="86" y="61"/>
                  </a:lnTo>
                  <a:lnTo>
                    <a:pt x="77" y="63"/>
                  </a:lnTo>
                  <a:lnTo>
                    <a:pt x="71" y="63"/>
                  </a:lnTo>
                  <a:lnTo>
                    <a:pt x="66" y="66"/>
                  </a:lnTo>
                  <a:lnTo>
                    <a:pt x="57" y="69"/>
                  </a:lnTo>
                  <a:lnTo>
                    <a:pt x="51" y="69"/>
                  </a:lnTo>
                  <a:lnTo>
                    <a:pt x="49" y="72"/>
                  </a:lnTo>
                  <a:lnTo>
                    <a:pt x="43" y="78"/>
                  </a:lnTo>
                  <a:lnTo>
                    <a:pt x="26" y="86"/>
                  </a:lnTo>
                  <a:lnTo>
                    <a:pt x="14" y="98"/>
                  </a:lnTo>
                  <a:lnTo>
                    <a:pt x="3" y="104"/>
                  </a:lnTo>
                  <a:lnTo>
                    <a:pt x="5" y="107"/>
                  </a:lnTo>
                  <a:lnTo>
                    <a:pt x="0" y="109"/>
                  </a:lnTo>
                  <a:lnTo>
                    <a:pt x="11" y="112"/>
                  </a:lnTo>
                  <a:lnTo>
                    <a:pt x="14" y="109"/>
                  </a:lnTo>
                  <a:lnTo>
                    <a:pt x="17" y="112"/>
                  </a:lnTo>
                  <a:lnTo>
                    <a:pt x="20" y="115"/>
                  </a:lnTo>
                  <a:lnTo>
                    <a:pt x="20" y="118"/>
                  </a:lnTo>
                  <a:lnTo>
                    <a:pt x="26" y="118"/>
                  </a:lnTo>
                  <a:lnTo>
                    <a:pt x="37" y="118"/>
                  </a:lnTo>
                  <a:lnTo>
                    <a:pt x="46" y="115"/>
                  </a:lnTo>
                  <a:lnTo>
                    <a:pt x="54" y="112"/>
                  </a:lnTo>
                  <a:lnTo>
                    <a:pt x="60" y="109"/>
                  </a:lnTo>
                  <a:lnTo>
                    <a:pt x="63" y="107"/>
                  </a:lnTo>
                  <a:lnTo>
                    <a:pt x="69" y="104"/>
                  </a:lnTo>
                  <a:lnTo>
                    <a:pt x="66" y="101"/>
                  </a:lnTo>
                  <a:lnTo>
                    <a:pt x="74" y="98"/>
                  </a:lnTo>
                  <a:lnTo>
                    <a:pt x="80" y="92"/>
                  </a:lnTo>
                  <a:lnTo>
                    <a:pt x="86" y="89"/>
                  </a:lnTo>
                  <a:lnTo>
                    <a:pt x="92" y="84"/>
                  </a:lnTo>
                  <a:lnTo>
                    <a:pt x="97" y="78"/>
                  </a:lnTo>
                  <a:lnTo>
                    <a:pt x="106" y="72"/>
                  </a:lnTo>
                  <a:lnTo>
                    <a:pt x="112" y="69"/>
                  </a:lnTo>
                  <a:lnTo>
                    <a:pt x="123" y="66"/>
                  </a:lnTo>
                  <a:lnTo>
                    <a:pt x="135" y="63"/>
                  </a:lnTo>
                  <a:lnTo>
                    <a:pt x="138" y="61"/>
                  </a:lnTo>
                  <a:lnTo>
                    <a:pt x="135" y="61"/>
                  </a:lnTo>
                  <a:lnTo>
                    <a:pt x="140" y="55"/>
                  </a:lnTo>
                  <a:lnTo>
                    <a:pt x="160" y="40"/>
                  </a:lnTo>
                  <a:lnTo>
                    <a:pt x="181" y="29"/>
                  </a:lnTo>
                  <a:lnTo>
                    <a:pt x="186" y="20"/>
                  </a:lnTo>
                  <a:lnTo>
                    <a:pt x="192" y="18"/>
                  </a:lnTo>
                  <a:lnTo>
                    <a:pt x="192" y="15"/>
                  </a:lnTo>
                  <a:lnTo>
                    <a:pt x="189" y="9"/>
                  </a:lnTo>
                  <a:lnTo>
                    <a:pt x="192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97" name="Freeform 499"/>
            <p:cNvSpPr>
              <a:spLocks/>
            </p:cNvSpPr>
            <p:nvPr/>
          </p:nvSpPr>
          <p:spPr bwMode="auto">
            <a:xfrm>
              <a:off x="8351838" y="4876800"/>
              <a:ext cx="4762" cy="14288"/>
            </a:xfrm>
            <a:custGeom>
              <a:avLst/>
              <a:gdLst>
                <a:gd name="T0" fmla="*/ 2147483647 w 3"/>
                <a:gd name="T1" fmla="*/ 0 h 9"/>
                <a:gd name="T2" fmla="*/ 0 w 3"/>
                <a:gd name="T3" fmla="*/ 2147483647 h 9"/>
                <a:gd name="T4" fmla="*/ 0 w 3"/>
                <a:gd name="T5" fmla="*/ 2147483647 h 9"/>
                <a:gd name="T6" fmla="*/ 2147483647 w 3"/>
                <a:gd name="T7" fmla="*/ 2147483647 h 9"/>
                <a:gd name="T8" fmla="*/ 2147483647 w 3"/>
                <a:gd name="T9" fmla="*/ 0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9"/>
                <a:gd name="T17" fmla="*/ 3 w 3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9">
                  <a:moveTo>
                    <a:pt x="3" y="0"/>
                  </a:moveTo>
                  <a:lnTo>
                    <a:pt x="0" y="3"/>
                  </a:lnTo>
                  <a:lnTo>
                    <a:pt x="0" y="9"/>
                  </a:lnTo>
                  <a:lnTo>
                    <a:pt x="3" y="6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98" name="Freeform 500"/>
            <p:cNvSpPr>
              <a:spLocks/>
            </p:cNvSpPr>
            <p:nvPr/>
          </p:nvSpPr>
          <p:spPr bwMode="auto">
            <a:xfrm>
              <a:off x="7988300" y="4516438"/>
              <a:ext cx="4763" cy="9525"/>
            </a:xfrm>
            <a:custGeom>
              <a:avLst/>
              <a:gdLst>
                <a:gd name="T0" fmla="*/ 2147483647 w 3"/>
                <a:gd name="T1" fmla="*/ 0 h 6"/>
                <a:gd name="T2" fmla="*/ 0 w 3"/>
                <a:gd name="T3" fmla="*/ 0 h 6"/>
                <a:gd name="T4" fmla="*/ 2147483647 w 3"/>
                <a:gd name="T5" fmla="*/ 2147483647 h 6"/>
                <a:gd name="T6" fmla="*/ 2147483647 w 3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6"/>
                <a:gd name="T14" fmla="*/ 3 w 3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6">
                  <a:moveTo>
                    <a:pt x="3" y="0"/>
                  </a:moveTo>
                  <a:lnTo>
                    <a:pt x="0" y="0"/>
                  </a:lnTo>
                  <a:lnTo>
                    <a:pt x="3" y="6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99" name="Freeform 501"/>
            <p:cNvSpPr>
              <a:spLocks/>
            </p:cNvSpPr>
            <p:nvPr/>
          </p:nvSpPr>
          <p:spPr bwMode="auto">
            <a:xfrm>
              <a:off x="8688388" y="5106988"/>
              <a:ext cx="169862" cy="219075"/>
            </a:xfrm>
            <a:custGeom>
              <a:avLst/>
              <a:gdLst>
                <a:gd name="T0" fmla="*/ 2147483647 w 106"/>
                <a:gd name="T1" fmla="*/ 2147483647 h 137"/>
                <a:gd name="T2" fmla="*/ 2147483647 w 106"/>
                <a:gd name="T3" fmla="*/ 2147483647 h 137"/>
                <a:gd name="T4" fmla="*/ 2147483647 w 106"/>
                <a:gd name="T5" fmla="*/ 2147483647 h 137"/>
                <a:gd name="T6" fmla="*/ 2147483647 w 106"/>
                <a:gd name="T7" fmla="*/ 2147483647 h 137"/>
                <a:gd name="T8" fmla="*/ 2147483647 w 106"/>
                <a:gd name="T9" fmla="*/ 2147483647 h 137"/>
                <a:gd name="T10" fmla="*/ 2147483647 w 106"/>
                <a:gd name="T11" fmla="*/ 2147483647 h 137"/>
                <a:gd name="T12" fmla="*/ 2147483647 w 106"/>
                <a:gd name="T13" fmla="*/ 2147483647 h 137"/>
                <a:gd name="T14" fmla="*/ 2147483647 w 106"/>
                <a:gd name="T15" fmla="*/ 2147483647 h 137"/>
                <a:gd name="T16" fmla="*/ 2147483647 w 106"/>
                <a:gd name="T17" fmla="*/ 2147483647 h 137"/>
                <a:gd name="T18" fmla="*/ 2147483647 w 106"/>
                <a:gd name="T19" fmla="*/ 2147483647 h 137"/>
                <a:gd name="T20" fmla="*/ 2147483647 w 106"/>
                <a:gd name="T21" fmla="*/ 2147483647 h 137"/>
                <a:gd name="T22" fmla="*/ 2147483647 w 106"/>
                <a:gd name="T23" fmla="*/ 0 h 137"/>
                <a:gd name="T24" fmla="*/ 2147483647 w 106"/>
                <a:gd name="T25" fmla="*/ 2147483647 h 137"/>
                <a:gd name="T26" fmla="*/ 2147483647 w 106"/>
                <a:gd name="T27" fmla="*/ 2147483647 h 137"/>
                <a:gd name="T28" fmla="*/ 2147483647 w 106"/>
                <a:gd name="T29" fmla="*/ 2147483647 h 137"/>
                <a:gd name="T30" fmla="*/ 2147483647 w 106"/>
                <a:gd name="T31" fmla="*/ 2147483647 h 137"/>
                <a:gd name="T32" fmla="*/ 2147483647 w 106"/>
                <a:gd name="T33" fmla="*/ 2147483647 h 137"/>
                <a:gd name="T34" fmla="*/ 2147483647 w 106"/>
                <a:gd name="T35" fmla="*/ 2147483647 h 137"/>
                <a:gd name="T36" fmla="*/ 2147483647 w 106"/>
                <a:gd name="T37" fmla="*/ 2147483647 h 137"/>
                <a:gd name="T38" fmla="*/ 2147483647 w 106"/>
                <a:gd name="T39" fmla="*/ 2147483647 h 137"/>
                <a:gd name="T40" fmla="*/ 2147483647 w 106"/>
                <a:gd name="T41" fmla="*/ 2147483647 h 137"/>
                <a:gd name="T42" fmla="*/ 2147483647 w 106"/>
                <a:gd name="T43" fmla="*/ 2147483647 h 137"/>
                <a:gd name="T44" fmla="*/ 2147483647 w 106"/>
                <a:gd name="T45" fmla="*/ 2147483647 h 137"/>
                <a:gd name="T46" fmla="*/ 2147483647 w 106"/>
                <a:gd name="T47" fmla="*/ 2147483647 h 137"/>
                <a:gd name="T48" fmla="*/ 0 w 106"/>
                <a:gd name="T49" fmla="*/ 2147483647 h 137"/>
                <a:gd name="T50" fmla="*/ 2147483647 w 106"/>
                <a:gd name="T51" fmla="*/ 2147483647 h 137"/>
                <a:gd name="T52" fmla="*/ 2147483647 w 106"/>
                <a:gd name="T53" fmla="*/ 2147483647 h 137"/>
                <a:gd name="T54" fmla="*/ 2147483647 w 106"/>
                <a:gd name="T55" fmla="*/ 2147483647 h 137"/>
                <a:gd name="T56" fmla="*/ 2147483647 w 106"/>
                <a:gd name="T57" fmla="*/ 2147483647 h 137"/>
                <a:gd name="T58" fmla="*/ 2147483647 w 106"/>
                <a:gd name="T59" fmla="*/ 2147483647 h 137"/>
                <a:gd name="T60" fmla="*/ 2147483647 w 106"/>
                <a:gd name="T61" fmla="*/ 2147483647 h 137"/>
                <a:gd name="T62" fmla="*/ 2147483647 w 106"/>
                <a:gd name="T63" fmla="*/ 2147483647 h 137"/>
                <a:gd name="T64" fmla="*/ 2147483647 w 106"/>
                <a:gd name="T65" fmla="*/ 2147483647 h 137"/>
                <a:gd name="T66" fmla="*/ 2147483647 w 106"/>
                <a:gd name="T67" fmla="*/ 2147483647 h 137"/>
                <a:gd name="T68" fmla="*/ 2147483647 w 106"/>
                <a:gd name="T69" fmla="*/ 2147483647 h 13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06"/>
                <a:gd name="T106" fmla="*/ 0 h 137"/>
                <a:gd name="T107" fmla="*/ 106 w 106"/>
                <a:gd name="T108" fmla="*/ 137 h 137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06" h="137">
                  <a:moveTo>
                    <a:pt x="95" y="63"/>
                  </a:moveTo>
                  <a:lnTo>
                    <a:pt x="95" y="63"/>
                  </a:lnTo>
                  <a:lnTo>
                    <a:pt x="89" y="68"/>
                  </a:lnTo>
                  <a:lnTo>
                    <a:pt x="80" y="68"/>
                  </a:lnTo>
                  <a:lnTo>
                    <a:pt x="72" y="66"/>
                  </a:lnTo>
                  <a:lnTo>
                    <a:pt x="69" y="60"/>
                  </a:lnTo>
                  <a:lnTo>
                    <a:pt x="72" y="51"/>
                  </a:lnTo>
                  <a:lnTo>
                    <a:pt x="74" y="46"/>
                  </a:lnTo>
                  <a:lnTo>
                    <a:pt x="69" y="40"/>
                  </a:lnTo>
                  <a:lnTo>
                    <a:pt x="63" y="48"/>
                  </a:lnTo>
                  <a:lnTo>
                    <a:pt x="63" y="46"/>
                  </a:lnTo>
                  <a:lnTo>
                    <a:pt x="60" y="46"/>
                  </a:lnTo>
                  <a:lnTo>
                    <a:pt x="63" y="40"/>
                  </a:lnTo>
                  <a:lnTo>
                    <a:pt x="60" y="31"/>
                  </a:lnTo>
                  <a:lnTo>
                    <a:pt x="66" y="23"/>
                  </a:lnTo>
                  <a:lnTo>
                    <a:pt x="66" y="14"/>
                  </a:lnTo>
                  <a:lnTo>
                    <a:pt x="60" y="11"/>
                  </a:lnTo>
                  <a:lnTo>
                    <a:pt x="51" y="5"/>
                  </a:lnTo>
                  <a:lnTo>
                    <a:pt x="54" y="0"/>
                  </a:lnTo>
                  <a:lnTo>
                    <a:pt x="49" y="0"/>
                  </a:lnTo>
                  <a:lnTo>
                    <a:pt x="49" y="11"/>
                  </a:lnTo>
                  <a:lnTo>
                    <a:pt x="46" y="17"/>
                  </a:lnTo>
                  <a:lnTo>
                    <a:pt x="49" y="23"/>
                  </a:lnTo>
                  <a:lnTo>
                    <a:pt x="51" y="31"/>
                  </a:lnTo>
                  <a:lnTo>
                    <a:pt x="49" y="51"/>
                  </a:lnTo>
                  <a:lnTo>
                    <a:pt x="49" y="63"/>
                  </a:lnTo>
                  <a:lnTo>
                    <a:pt x="43" y="71"/>
                  </a:lnTo>
                  <a:lnTo>
                    <a:pt x="37" y="80"/>
                  </a:lnTo>
                  <a:lnTo>
                    <a:pt x="28" y="86"/>
                  </a:lnTo>
                  <a:lnTo>
                    <a:pt x="17" y="91"/>
                  </a:lnTo>
                  <a:lnTo>
                    <a:pt x="11" y="94"/>
                  </a:lnTo>
                  <a:lnTo>
                    <a:pt x="11" y="100"/>
                  </a:lnTo>
                  <a:lnTo>
                    <a:pt x="14" y="103"/>
                  </a:lnTo>
                  <a:lnTo>
                    <a:pt x="20" y="106"/>
                  </a:lnTo>
                  <a:lnTo>
                    <a:pt x="23" y="106"/>
                  </a:lnTo>
                  <a:lnTo>
                    <a:pt x="23" y="112"/>
                  </a:lnTo>
                  <a:lnTo>
                    <a:pt x="14" y="120"/>
                  </a:lnTo>
                  <a:lnTo>
                    <a:pt x="0" y="132"/>
                  </a:lnTo>
                  <a:lnTo>
                    <a:pt x="3" y="137"/>
                  </a:lnTo>
                  <a:lnTo>
                    <a:pt x="14" y="132"/>
                  </a:lnTo>
                  <a:lnTo>
                    <a:pt x="28" y="123"/>
                  </a:lnTo>
                  <a:lnTo>
                    <a:pt x="51" y="109"/>
                  </a:lnTo>
                  <a:lnTo>
                    <a:pt x="60" y="100"/>
                  </a:lnTo>
                  <a:lnTo>
                    <a:pt x="57" y="97"/>
                  </a:lnTo>
                  <a:lnTo>
                    <a:pt x="69" y="91"/>
                  </a:lnTo>
                  <a:lnTo>
                    <a:pt x="77" y="94"/>
                  </a:lnTo>
                  <a:lnTo>
                    <a:pt x="80" y="89"/>
                  </a:lnTo>
                  <a:lnTo>
                    <a:pt x="86" y="83"/>
                  </a:lnTo>
                  <a:lnTo>
                    <a:pt x="95" y="80"/>
                  </a:lnTo>
                  <a:lnTo>
                    <a:pt x="100" y="71"/>
                  </a:lnTo>
                  <a:lnTo>
                    <a:pt x="106" y="66"/>
                  </a:lnTo>
                  <a:lnTo>
                    <a:pt x="106" y="60"/>
                  </a:lnTo>
                  <a:lnTo>
                    <a:pt x="100" y="60"/>
                  </a:lnTo>
                  <a:lnTo>
                    <a:pt x="97" y="60"/>
                  </a:lnTo>
                  <a:lnTo>
                    <a:pt x="95" y="6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00" name="Freeform 502"/>
            <p:cNvSpPr>
              <a:spLocks/>
            </p:cNvSpPr>
            <p:nvPr/>
          </p:nvSpPr>
          <p:spPr bwMode="auto">
            <a:xfrm>
              <a:off x="7288213" y="4806950"/>
              <a:ext cx="9525" cy="14288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2147483647 h 9"/>
                <a:gd name="T4" fmla="*/ 2147483647 w 6"/>
                <a:gd name="T5" fmla="*/ 0 h 9"/>
                <a:gd name="T6" fmla="*/ 0 w 6"/>
                <a:gd name="T7" fmla="*/ 2147483647 h 9"/>
                <a:gd name="T8" fmla="*/ 2147483647 w 6"/>
                <a:gd name="T9" fmla="*/ 2147483647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9"/>
                <a:gd name="T17" fmla="*/ 6 w 6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9">
                  <a:moveTo>
                    <a:pt x="3" y="9"/>
                  </a:moveTo>
                  <a:lnTo>
                    <a:pt x="6" y="3"/>
                  </a:lnTo>
                  <a:lnTo>
                    <a:pt x="3" y="0"/>
                  </a:lnTo>
                  <a:lnTo>
                    <a:pt x="0" y="9"/>
                  </a:lnTo>
                  <a:lnTo>
                    <a:pt x="3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01" name="Freeform 503"/>
            <p:cNvSpPr>
              <a:spLocks/>
            </p:cNvSpPr>
            <p:nvPr/>
          </p:nvSpPr>
          <p:spPr bwMode="auto">
            <a:xfrm>
              <a:off x="7140575" y="4213225"/>
              <a:ext cx="263525" cy="92075"/>
            </a:xfrm>
            <a:custGeom>
              <a:avLst/>
              <a:gdLst>
                <a:gd name="T0" fmla="*/ 2147483647 w 164"/>
                <a:gd name="T1" fmla="*/ 2147483647 h 57"/>
                <a:gd name="T2" fmla="*/ 2147483647 w 164"/>
                <a:gd name="T3" fmla="*/ 2147483647 h 57"/>
                <a:gd name="T4" fmla="*/ 2147483647 w 164"/>
                <a:gd name="T5" fmla="*/ 2147483647 h 57"/>
                <a:gd name="T6" fmla="*/ 2147483647 w 164"/>
                <a:gd name="T7" fmla="*/ 2147483647 h 57"/>
                <a:gd name="T8" fmla="*/ 2147483647 w 164"/>
                <a:gd name="T9" fmla="*/ 2147483647 h 57"/>
                <a:gd name="T10" fmla="*/ 2147483647 w 164"/>
                <a:gd name="T11" fmla="*/ 2147483647 h 57"/>
                <a:gd name="T12" fmla="*/ 2147483647 w 164"/>
                <a:gd name="T13" fmla="*/ 2147483647 h 57"/>
                <a:gd name="T14" fmla="*/ 2147483647 w 164"/>
                <a:gd name="T15" fmla="*/ 2147483647 h 57"/>
                <a:gd name="T16" fmla="*/ 2147483647 w 164"/>
                <a:gd name="T17" fmla="*/ 2147483647 h 57"/>
                <a:gd name="T18" fmla="*/ 2147483647 w 164"/>
                <a:gd name="T19" fmla="*/ 2147483647 h 57"/>
                <a:gd name="T20" fmla="*/ 2147483647 w 164"/>
                <a:gd name="T21" fmla="*/ 2147483647 h 57"/>
                <a:gd name="T22" fmla="*/ 2147483647 w 164"/>
                <a:gd name="T23" fmla="*/ 2147483647 h 57"/>
                <a:gd name="T24" fmla="*/ 2147483647 w 164"/>
                <a:gd name="T25" fmla="*/ 2147483647 h 57"/>
                <a:gd name="T26" fmla="*/ 2147483647 w 164"/>
                <a:gd name="T27" fmla="*/ 2147483647 h 57"/>
                <a:gd name="T28" fmla="*/ 2147483647 w 164"/>
                <a:gd name="T29" fmla="*/ 2147483647 h 57"/>
                <a:gd name="T30" fmla="*/ 2147483647 w 164"/>
                <a:gd name="T31" fmla="*/ 2147483647 h 57"/>
                <a:gd name="T32" fmla="*/ 2147483647 w 164"/>
                <a:gd name="T33" fmla="*/ 2147483647 h 57"/>
                <a:gd name="T34" fmla="*/ 2147483647 w 164"/>
                <a:gd name="T35" fmla="*/ 2147483647 h 57"/>
                <a:gd name="T36" fmla="*/ 2147483647 w 164"/>
                <a:gd name="T37" fmla="*/ 2147483647 h 57"/>
                <a:gd name="T38" fmla="*/ 2147483647 w 164"/>
                <a:gd name="T39" fmla="*/ 2147483647 h 57"/>
                <a:gd name="T40" fmla="*/ 2147483647 w 164"/>
                <a:gd name="T41" fmla="*/ 2147483647 h 57"/>
                <a:gd name="T42" fmla="*/ 2147483647 w 164"/>
                <a:gd name="T43" fmla="*/ 2147483647 h 57"/>
                <a:gd name="T44" fmla="*/ 2147483647 w 164"/>
                <a:gd name="T45" fmla="*/ 2147483647 h 57"/>
                <a:gd name="T46" fmla="*/ 2147483647 w 164"/>
                <a:gd name="T47" fmla="*/ 2147483647 h 57"/>
                <a:gd name="T48" fmla="*/ 2147483647 w 164"/>
                <a:gd name="T49" fmla="*/ 2147483647 h 57"/>
                <a:gd name="T50" fmla="*/ 2147483647 w 164"/>
                <a:gd name="T51" fmla="*/ 2147483647 h 57"/>
                <a:gd name="T52" fmla="*/ 2147483647 w 164"/>
                <a:gd name="T53" fmla="*/ 2147483647 h 57"/>
                <a:gd name="T54" fmla="*/ 2147483647 w 164"/>
                <a:gd name="T55" fmla="*/ 2147483647 h 57"/>
                <a:gd name="T56" fmla="*/ 2147483647 w 164"/>
                <a:gd name="T57" fmla="*/ 2147483647 h 57"/>
                <a:gd name="T58" fmla="*/ 2147483647 w 164"/>
                <a:gd name="T59" fmla="*/ 2147483647 h 57"/>
                <a:gd name="T60" fmla="*/ 2147483647 w 164"/>
                <a:gd name="T61" fmla="*/ 2147483647 h 57"/>
                <a:gd name="T62" fmla="*/ 2147483647 w 164"/>
                <a:gd name="T63" fmla="*/ 2147483647 h 57"/>
                <a:gd name="T64" fmla="*/ 0 w 164"/>
                <a:gd name="T65" fmla="*/ 2147483647 h 57"/>
                <a:gd name="T66" fmla="*/ 2147483647 w 164"/>
                <a:gd name="T67" fmla="*/ 2147483647 h 57"/>
                <a:gd name="T68" fmla="*/ 2147483647 w 164"/>
                <a:gd name="T69" fmla="*/ 2147483647 h 57"/>
                <a:gd name="T70" fmla="*/ 2147483647 w 164"/>
                <a:gd name="T71" fmla="*/ 2147483647 h 57"/>
                <a:gd name="T72" fmla="*/ 2147483647 w 164"/>
                <a:gd name="T73" fmla="*/ 2147483647 h 57"/>
                <a:gd name="T74" fmla="*/ 2147483647 w 164"/>
                <a:gd name="T75" fmla="*/ 2147483647 h 57"/>
                <a:gd name="T76" fmla="*/ 2147483647 w 164"/>
                <a:gd name="T77" fmla="*/ 2147483647 h 57"/>
                <a:gd name="T78" fmla="*/ 2147483647 w 164"/>
                <a:gd name="T79" fmla="*/ 2147483647 h 57"/>
                <a:gd name="T80" fmla="*/ 2147483647 w 164"/>
                <a:gd name="T81" fmla="*/ 2147483647 h 57"/>
                <a:gd name="T82" fmla="*/ 2147483647 w 164"/>
                <a:gd name="T83" fmla="*/ 2147483647 h 57"/>
                <a:gd name="T84" fmla="*/ 2147483647 w 164"/>
                <a:gd name="T85" fmla="*/ 2147483647 h 57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64"/>
                <a:gd name="T130" fmla="*/ 0 h 57"/>
                <a:gd name="T131" fmla="*/ 164 w 164"/>
                <a:gd name="T132" fmla="*/ 57 h 57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64" h="57">
                  <a:moveTo>
                    <a:pt x="101" y="48"/>
                  </a:moveTo>
                  <a:lnTo>
                    <a:pt x="101" y="48"/>
                  </a:lnTo>
                  <a:lnTo>
                    <a:pt x="121" y="51"/>
                  </a:lnTo>
                  <a:lnTo>
                    <a:pt x="127" y="51"/>
                  </a:lnTo>
                  <a:lnTo>
                    <a:pt x="132" y="48"/>
                  </a:lnTo>
                  <a:lnTo>
                    <a:pt x="135" y="48"/>
                  </a:lnTo>
                  <a:lnTo>
                    <a:pt x="141" y="48"/>
                  </a:lnTo>
                  <a:lnTo>
                    <a:pt x="155" y="54"/>
                  </a:lnTo>
                  <a:lnTo>
                    <a:pt x="158" y="57"/>
                  </a:lnTo>
                  <a:lnTo>
                    <a:pt x="164" y="57"/>
                  </a:lnTo>
                  <a:lnTo>
                    <a:pt x="158" y="54"/>
                  </a:lnTo>
                  <a:lnTo>
                    <a:pt x="155" y="51"/>
                  </a:lnTo>
                  <a:lnTo>
                    <a:pt x="158" y="48"/>
                  </a:lnTo>
                  <a:lnTo>
                    <a:pt x="158" y="43"/>
                  </a:lnTo>
                  <a:lnTo>
                    <a:pt x="158" y="34"/>
                  </a:lnTo>
                  <a:lnTo>
                    <a:pt x="155" y="31"/>
                  </a:lnTo>
                  <a:lnTo>
                    <a:pt x="150" y="34"/>
                  </a:lnTo>
                  <a:lnTo>
                    <a:pt x="144" y="34"/>
                  </a:lnTo>
                  <a:lnTo>
                    <a:pt x="141" y="31"/>
                  </a:lnTo>
                  <a:lnTo>
                    <a:pt x="144" y="28"/>
                  </a:lnTo>
                  <a:lnTo>
                    <a:pt x="150" y="25"/>
                  </a:lnTo>
                  <a:lnTo>
                    <a:pt x="155" y="23"/>
                  </a:lnTo>
                  <a:lnTo>
                    <a:pt x="155" y="20"/>
                  </a:lnTo>
                  <a:lnTo>
                    <a:pt x="150" y="20"/>
                  </a:lnTo>
                  <a:lnTo>
                    <a:pt x="141" y="20"/>
                  </a:lnTo>
                  <a:lnTo>
                    <a:pt x="127" y="20"/>
                  </a:lnTo>
                  <a:lnTo>
                    <a:pt x="118" y="17"/>
                  </a:lnTo>
                  <a:lnTo>
                    <a:pt x="112" y="17"/>
                  </a:lnTo>
                  <a:lnTo>
                    <a:pt x="106" y="17"/>
                  </a:lnTo>
                  <a:lnTo>
                    <a:pt x="106" y="14"/>
                  </a:lnTo>
                  <a:lnTo>
                    <a:pt x="104" y="11"/>
                  </a:lnTo>
                  <a:lnTo>
                    <a:pt x="98" y="11"/>
                  </a:lnTo>
                  <a:lnTo>
                    <a:pt x="95" y="11"/>
                  </a:lnTo>
                  <a:lnTo>
                    <a:pt x="95" y="14"/>
                  </a:lnTo>
                  <a:lnTo>
                    <a:pt x="95" y="17"/>
                  </a:lnTo>
                  <a:lnTo>
                    <a:pt x="92" y="20"/>
                  </a:lnTo>
                  <a:lnTo>
                    <a:pt x="86" y="20"/>
                  </a:lnTo>
                  <a:lnTo>
                    <a:pt x="84" y="20"/>
                  </a:lnTo>
                  <a:lnTo>
                    <a:pt x="75" y="20"/>
                  </a:lnTo>
                  <a:lnTo>
                    <a:pt x="63" y="20"/>
                  </a:lnTo>
                  <a:lnTo>
                    <a:pt x="61" y="17"/>
                  </a:lnTo>
                  <a:lnTo>
                    <a:pt x="58" y="11"/>
                  </a:lnTo>
                  <a:lnTo>
                    <a:pt x="55" y="8"/>
                  </a:lnTo>
                  <a:lnTo>
                    <a:pt x="49" y="8"/>
                  </a:lnTo>
                  <a:lnTo>
                    <a:pt x="43" y="5"/>
                  </a:lnTo>
                  <a:lnTo>
                    <a:pt x="40" y="2"/>
                  </a:lnTo>
                  <a:lnTo>
                    <a:pt x="38" y="0"/>
                  </a:lnTo>
                  <a:lnTo>
                    <a:pt x="35" y="2"/>
                  </a:lnTo>
                  <a:lnTo>
                    <a:pt x="32" y="5"/>
                  </a:lnTo>
                  <a:lnTo>
                    <a:pt x="29" y="5"/>
                  </a:lnTo>
                  <a:lnTo>
                    <a:pt x="26" y="2"/>
                  </a:lnTo>
                  <a:lnTo>
                    <a:pt x="20" y="2"/>
                  </a:lnTo>
                  <a:lnTo>
                    <a:pt x="18" y="2"/>
                  </a:lnTo>
                  <a:lnTo>
                    <a:pt x="15" y="2"/>
                  </a:lnTo>
                  <a:lnTo>
                    <a:pt x="12" y="11"/>
                  </a:lnTo>
                  <a:lnTo>
                    <a:pt x="9" y="11"/>
                  </a:lnTo>
                  <a:lnTo>
                    <a:pt x="9" y="14"/>
                  </a:lnTo>
                  <a:lnTo>
                    <a:pt x="6" y="17"/>
                  </a:lnTo>
                  <a:lnTo>
                    <a:pt x="0" y="17"/>
                  </a:lnTo>
                  <a:lnTo>
                    <a:pt x="0" y="20"/>
                  </a:lnTo>
                  <a:lnTo>
                    <a:pt x="3" y="20"/>
                  </a:lnTo>
                  <a:lnTo>
                    <a:pt x="12" y="20"/>
                  </a:lnTo>
                  <a:lnTo>
                    <a:pt x="15" y="20"/>
                  </a:lnTo>
                  <a:lnTo>
                    <a:pt x="18" y="23"/>
                  </a:lnTo>
                  <a:lnTo>
                    <a:pt x="26" y="23"/>
                  </a:lnTo>
                  <a:lnTo>
                    <a:pt x="23" y="25"/>
                  </a:lnTo>
                  <a:lnTo>
                    <a:pt x="20" y="28"/>
                  </a:lnTo>
                  <a:lnTo>
                    <a:pt x="23" y="31"/>
                  </a:lnTo>
                  <a:lnTo>
                    <a:pt x="32" y="31"/>
                  </a:lnTo>
                  <a:lnTo>
                    <a:pt x="43" y="34"/>
                  </a:lnTo>
                  <a:lnTo>
                    <a:pt x="40" y="37"/>
                  </a:lnTo>
                  <a:lnTo>
                    <a:pt x="43" y="40"/>
                  </a:lnTo>
                  <a:lnTo>
                    <a:pt x="52" y="40"/>
                  </a:lnTo>
                  <a:lnTo>
                    <a:pt x="58" y="37"/>
                  </a:lnTo>
                  <a:lnTo>
                    <a:pt x="61" y="37"/>
                  </a:lnTo>
                  <a:lnTo>
                    <a:pt x="66" y="37"/>
                  </a:lnTo>
                  <a:lnTo>
                    <a:pt x="84" y="43"/>
                  </a:lnTo>
                  <a:lnTo>
                    <a:pt x="92" y="46"/>
                  </a:lnTo>
                  <a:lnTo>
                    <a:pt x="101" y="4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02" name="Freeform 504"/>
            <p:cNvSpPr>
              <a:spLocks/>
            </p:cNvSpPr>
            <p:nvPr/>
          </p:nvSpPr>
          <p:spPr bwMode="auto">
            <a:xfrm>
              <a:off x="6869113" y="3854450"/>
              <a:ext cx="303212" cy="358775"/>
            </a:xfrm>
            <a:custGeom>
              <a:avLst/>
              <a:gdLst>
                <a:gd name="T0" fmla="*/ 2147483647 w 189"/>
                <a:gd name="T1" fmla="*/ 2147483647 h 224"/>
                <a:gd name="T2" fmla="*/ 2147483647 w 189"/>
                <a:gd name="T3" fmla="*/ 2147483647 h 224"/>
                <a:gd name="T4" fmla="*/ 2147483647 w 189"/>
                <a:gd name="T5" fmla="*/ 2147483647 h 224"/>
                <a:gd name="T6" fmla="*/ 2147483647 w 189"/>
                <a:gd name="T7" fmla="*/ 2147483647 h 224"/>
                <a:gd name="T8" fmla="*/ 2147483647 w 189"/>
                <a:gd name="T9" fmla="*/ 2147483647 h 224"/>
                <a:gd name="T10" fmla="*/ 2147483647 w 189"/>
                <a:gd name="T11" fmla="*/ 2147483647 h 224"/>
                <a:gd name="T12" fmla="*/ 2147483647 w 189"/>
                <a:gd name="T13" fmla="*/ 2147483647 h 224"/>
                <a:gd name="T14" fmla="*/ 2147483647 w 189"/>
                <a:gd name="T15" fmla="*/ 2147483647 h 224"/>
                <a:gd name="T16" fmla="*/ 2147483647 w 189"/>
                <a:gd name="T17" fmla="*/ 2147483647 h 224"/>
                <a:gd name="T18" fmla="*/ 2147483647 w 189"/>
                <a:gd name="T19" fmla="*/ 2147483647 h 224"/>
                <a:gd name="T20" fmla="*/ 2147483647 w 189"/>
                <a:gd name="T21" fmla="*/ 2147483647 h 224"/>
                <a:gd name="T22" fmla="*/ 2147483647 w 189"/>
                <a:gd name="T23" fmla="*/ 2147483647 h 224"/>
                <a:gd name="T24" fmla="*/ 2147483647 w 189"/>
                <a:gd name="T25" fmla="*/ 2147483647 h 224"/>
                <a:gd name="T26" fmla="*/ 2147483647 w 189"/>
                <a:gd name="T27" fmla="*/ 2147483647 h 224"/>
                <a:gd name="T28" fmla="*/ 2147483647 w 189"/>
                <a:gd name="T29" fmla="*/ 2147483647 h 224"/>
                <a:gd name="T30" fmla="*/ 2147483647 w 189"/>
                <a:gd name="T31" fmla="*/ 2147483647 h 224"/>
                <a:gd name="T32" fmla="*/ 2147483647 w 189"/>
                <a:gd name="T33" fmla="*/ 2147483647 h 224"/>
                <a:gd name="T34" fmla="*/ 2147483647 w 189"/>
                <a:gd name="T35" fmla="*/ 2147483647 h 224"/>
                <a:gd name="T36" fmla="*/ 2147483647 w 189"/>
                <a:gd name="T37" fmla="*/ 2147483647 h 224"/>
                <a:gd name="T38" fmla="*/ 2147483647 w 189"/>
                <a:gd name="T39" fmla="*/ 2147483647 h 224"/>
                <a:gd name="T40" fmla="*/ 2147483647 w 189"/>
                <a:gd name="T41" fmla="*/ 2147483647 h 224"/>
                <a:gd name="T42" fmla="*/ 2147483647 w 189"/>
                <a:gd name="T43" fmla="*/ 2147483647 h 224"/>
                <a:gd name="T44" fmla="*/ 2147483647 w 189"/>
                <a:gd name="T45" fmla="*/ 2147483647 h 224"/>
                <a:gd name="T46" fmla="*/ 2147483647 w 189"/>
                <a:gd name="T47" fmla="*/ 2147483647 h 224"/>
                <a:gd name="T48" fmla="*/ 2147483647 w 189"/>
                <a:gd name="T49" fmla="*/ 2147483647 h 224"/>
                <a:gd name="T50" fmla="*/ 2147483647 w 189"/>
                <a:gd name="T51" fmla="*/ 2147483647 h 224"/>
                <a:gd name="T52" fmla="*/ 2147483647 w 189"/>
                <a:gd name="T53" fmla="*/ 2147483647 h 224"/>
                <a:gd name="T54" fmla="*/ 2147483647 w 189"/>
                <a:gd name="T55" fmla="*/ 2147483647 h 224"/>
                <a:gd name="T56" fmla="*/ 2147483647 w 189"/>
                <a:gd name="T57" fmla="*/ 2147483647 h 224"/>
                <a:gd name="T58" fmla="*/ 2147483647 w 189"/>
                <a:gd name="T59" fmla="*/ 2147483647 h 224"/>
                <a:gd name="T60" fmla="*/ 2147483647 w 189"/>
                <a:gd name="T61" fmla="*/ 2147483647 h 224"/>
                <a:gd name="T62" fmla="*/ 2147483647 w 189"/>
                <a:gd name="T63" fmla="*/ 2147483647 h 224"/>
                <a:gd name="T64" fmla="*/ 2147483647 w 189"/>
                <a:gd name="T65" fmla="*/ 2147483647 h 224"/>
                <a:gd name="T66" fmla="*/ 2147483647 w 189"/>
                <a:gd name="T67" fmla="*/ 2147483647 h 224"/>
                <a:gd name="T68" fmla="*/ 2147483647 w 189"/>
                <a:gd name="T69" fmla="*/ 0 h 224"/>
                <a:gd name="T70" fmla="*/ 0 w 189"/>
                <a:gd name="T71" fmla="*/ 0 h 224"/>
                <a:gd name="T72" fmla="*/ 2147483647 w 189"/>
                <a:gd name="T73" fmla="*/ 2147483647 h 224"/>
                <a:gd name="T74" fmla="*/ 2147483647 w 189"/>
                <a:gd name="T75" fmla="*/ 2147483647 h 224"/>
                <a:gd name="T76" fmla="*/ 2147483647 w 189"/>
                <a:gd name="T77" fmla="*/ 2147483647 h 224"/>
                <a:gd name="T78" fmla="*/ 2147483647 w 189"/>
                <a:gd name="T79" fmla="*/ 2147483647 h 224"/>
                <a:gd name="T80" fmla="*/ 2147483647 w 189"/>
                <a:gd name="T81" fmla="*/ 2147483647 h 224"/>
                <a:gd name="T82" fmla="*/ 2147483647 w 189"/>
                <a:gd name="T83" fmla="*/ 2147483647 h 224"/>
                <a:gd name="T84" fmla="*/ 2147483647 w 189"/>
                <a:gd name="T85" fmla="*/ 2147483647 h 224"/>
                <a:gd name="T86" fmla="*/ 2147483647 w 189"/>
                <a:gd name="T87" fmla="*/ 2147483647 h 224"/>
                <a:gd name="T88" fmla="*/ 2147483647 w 189"/>
                <a:gd name="T89" fmla="*/ 2147483647 h 224"/>
                <a:gd name="T90" fmla="*/ 2147483647 w 189"/>
                <a:gd name="T91" fmla="*/ 2147483647 h 224"/>
                <a:gd name="T92" fmla="*/ 2147483647 w 189"/>
                <a:gd name="T93" fmla="*/ 2147483647 h 224"/>
                <a:gd name="T94" fmla="*/ 2147483647 w 189"/>
                <a:gd name="T95" fmla="*/ 2147483647 h 224"/>
                <a:gd name="T96" fmla="*/ 2147483647 w 189"/>
                <a:gd name="T97" fmla="*/ 2147483647 h 224"/>
                <a:gd name="T98" fmla="*/ 2147483647 w 189"/>
                <a:gd name="T99" fmla="*/ 2147483647 h 224"/>
                <a:gd name="T100" fmla="*/ 2147483647 w 189"/>
                <a:gd name="T101" fmla="*/ 2147483647 h 224"/>
                <a:gd name="T102" fmla="*/ 2147483647 w 189"/>
                <a:gd name="T103" fmla="*/ 2147483647 h 224"/>
                <a:gd name="T104" fmla="*/ 2147483647 w 189"/>
                <a:gd name="T105" fmla="*/ 2147483647 h 224"/>
                <a:gd name="T106" fmla="*/ 2147483647 w 189"/>
                <a:gd name="T107" fmla="*/ 2147483647 h 224"/>
                <a:gd name="T108" fmla="*/ 2147483647 w 189"/>
                <a:gd name="T109" fmla="*/ 2147483647 h 224"/>
                <a:gd name="T110" fmla="*/ 2147483647 w 189"/>
                <a:gd name="T111" fmla="*/ 2147483647 h 224"/>
                <a:gd name="T112" fmla="*/ 2147483647 w 189"/>
                <a:gd name="T113" fmla="*/ 2147483647 h 22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89"/>
                <a:gd name="T172" fmla="*/ 0 h 224"/>
                <a:gd name="T173" fmla="*/ 189 w 189"/>
                <a:gd name="T174" fmla="*/ 224 h 22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89" h="224">
                  <a:moveTo>
                    <a:pt x="175" y="221"/>
                  </a:moveTo>
                  <a:lnTo>
                    <a:pt x="175" y="221"/>
                  </a:lnTo>
                  <a:lnTo>
                    <a:pt x="181" y="224"/>
                  </a:lnTo>
                  <a:lnTo>
                    <a:pt x="184" y="209"/>
                  </a:lnTo>
                  <a:lnTo>
                    <a:pt x="184" y="198"/>
                  </a:lnTo>
                  <a:lnTo>
                    <a:pt x="184" y="192"/>
                  </a:lnTo>
                  <a:lnTo>
                    <a:pt x="184" y="189"/>
                  </a:lnTo>
                  <a:lnTo>
                    <a:pt x="187" y="186"/>
                  </a:lnTo>
                  <a:lnTo>
                    <a:pt x="184" y="183"/>
                  </a:lnTo>
                  <a:lnTo>
                    <a:pt x="187" y="178"/>
                  </a:lnTo>
                  <a:lnTo>
                    <a:pt x="189" y="172"/>
                  </a:lnTo>
                  <a:lnTo>
                    <a:pt x="187" y="166"/>
                  </a:lnTo>
                  <a:lnTo>
                    <a:pt x="184" y="160"/>
                  </a:lnTo>
                  <a:lnTo>
                    <a:pt x="181" y="158"/>
                  </a:lnTo>
                  <a:lnTo>
                    <a:pt x="169" y="158"/>
                  </a:lnTo>
                  <a:lnTo>
                    <a:pt x="169" y="155"/>
                  </a:lnTo>
                  <a:lnTo>
                    <a:pt x="169" y="152"/>
                  </a:lnTo>
                  <a:lnTo>
                    <a:pt x="166" y="149"/>
                  </a:lnTo>
                  <a:lnTo>
                    <a:pt x="166" y="146"/>
                  </a:lnTo>
                  <a:lnTo>
                    <a:pt x="164" y="140"/>
                  </a:lnTo>
                  <a:lnTo>
                    <a:pt x="161" y="132"/>
                  </a:lnTo>
                  <a:lnTo>
                    <a:pt x="152" y="129"/>
                  </a:lnTo>
                  <a:lnTo>
                    <a:pt x="146" y="126"/>
                  </a:lnTo>
                  <a:lnTo>
                    <a:pt x="143" y="120"/>
                  </a:lnTo>
                  <a:lnTo>
                    <a:pt x="149" y="115"/>
                  </a:lnTo>
                  <a:lnTo>
                    <a:pt x="146" y="112"/>
                  </a:lnTo>
                  <a:lnTo>
                    <a:pt x="149" y="109"/>
                  </a:lnTo>
                  <a:lnTo>
                    <a:pt x="146" y="100"/>
                  </a:lnTo>
                  <a:lnTo>
                    <a:pt x="143" y="94"/>
                  </a:lnTo>
                  <a:lnTo>
                    <a:pt x="138" y="97"/>
                  </a:lnTo>
                  <a:lnTo>
                    <a:pt x="141" y="92"/>
                  </a:lnTo>
                  <a:lnTo>
                    <a:pt x="132" y="86"/>
                  </a:lnTo>
                  <a:lnTo>
                    <a:pt x="126" y="92"/>
                  </a:lnTo>
                  <a:lnTo>
                    <a:pt x="126" y="80"/>
                  </a:lnTo>
                  <a:lnTo>
                    <a:pt x="123" y="80"/>
                  </a:lnTo>
                  <a:lnTo>
                    <a:pt x="120" y="77"/>
                  </a:lnTo>
                  <a:lnTo>
                    <a:pt x="112" y="77"/>
                  </a:lnTo>
                  <a:lnTo>
                    <a:pt x="115" y="74"/>
                  </a:lnTo>
                  <a:lnTo>
                    <a:pt x="115" y="71"/>
                  </a:lnTo>
                  <a:lnTo>
                    <a:pt x="109" y="71"/>
                  </a:lnTo>
                  <a:lnTo>
                    <a:pt x="106" y="71"/>
                  </a:lnTo>
                  <a:lnTo>
                    <a:pt x="103" y="66"/>
                  </a:lnTo>
                  <a:lnTo>
                    <a:pt x="100" y="66"/>
                  </a:lnTo>
                  <a:lnTo>
                    <a:pt x="98" y="66"/>
                  </a:lnTo>
                  <a:lnTo>
                    <a:pt x="98" y="69"/>
                  </a:lnTo>
                  <a:lnTo>
                    <a:pt x="95" y="69"/>
                  </a:lnTo>
                  <a:lnTo>
                    <a:pt x="92" y="66"/>
                  </a:lnTo>
                  <a:lnTo>
                    <a:pt x="89" y="60"/>
                  </a:lnTo>
                  <a:lnTo>
                    <a:pt x="83" y="54"/>
                  </a:lnTo>
                  <a:lnTo>
                    <a:pt x="77" y="48"/>
                  </a:lnTo>
                  <a:lnTo>
                    <a:pt x="72" y="43"/>
                  </a:lnTo>
                  <a:lnTo>
                    <a:pt x="69" y="40"/>
                  </a:lnTo>
                  <a:lnTo>
                    <a:pt x="60" y="34"/>
                  </a:lnTo>
                  <a:lnTo>
                    <a:pt x="52" y="28"/>
                  </a:lnTo>
                  <a:lnTo>
                    <a:pt x="54" y="26"/>
                  </a:lnTo>
                  <a:lnTo>
                    <a:pt x="54" y="23"/>
                  </a:lnTo>
                  <a:lnTo>
                    <a:pt x="49" y="20"/>
                  </a:lnTo>
                  <a:lnTo>
                    <a:pt x="49" y="17"/>
                  </a:lnTo>
                  <a:lnTo>
                    <a:pt x="49" y="14"/>
                  </a:lnTo>
                  <a:lnTo>
                    <a:pt x="43" y="8"/>
                  </a:lnTo>
                  <a:lnTo>
                    <a:pt x="37" y="8"/>
                  </a:lnTo>
                  <a:lnTo>
                    <a:pt x="34" y="8"/>
                  </a:lnTo>
                  <a:lnTo>
                    <a:pt x="31" y="8"/>
                  </a:lnTo>
                  <a:lnTo>
                    <a:pt x="26" y="5"/>
                  </a:lnTo>
                  <a:lnTo>
                    <a:pt x="20" y="8"/>
                  </a:lnTo>
                  <a:lnTo>
                    <a:pt x="14" y="8"/>
                  </a:lnTo>
                  <a:lnTo>
                    <a:pt x="11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8"/>
                  </a:lnTo>
                  <a:lnTo>
                    <a:pt x="3" y="14"/>
                  </a:lnTo>
                  <a:lnTo>
                    <a:pt x="6" y="17"/>
                  </a:lnTo>
                  <a:lnTo>
                    <a:pt x="14" y="26"/>
                  </a:lnTo>
                  <a:lnTo>
                    <a:pt x="20" y="31"/>
                  </a:lnTo>
                  <a:lnTo>
                    <a:pt x="20" y="34"/>
                  </a:lnTo>
                  <a:lnTo>
                    <a:pt x="23" y="37"/>
                  </a:lnTo>
                  <a:lnTo>
                    <a:pt x="29" y="37"/>
                  </a:lnTo>
                  <a:lnTo>
                    <a:pt x="31" y="37"/>
                  </a:lnTo>
                  <a:lnTo>
                    <a:pt x="31" y="40"/>
                  </a:lnTo>
                  <a:lnTo>
                    <a:pt x="37" y="51"/>
                  </a:lnTo>
                  <a:lnTo>
                    <a:pt x="40" y="54"/>
                  </a:lnTo>
                  <a:lnTo>
                    <a:pt x="43" y="57"/>
                  </a:lnTo>
                  <a:lnTo>
                    <a:pt x="43" y="60"/>
                  </a:lnTo>
                  <a:lnTo>
                    <a:pt x="43" y="66"/>
                  </a:lnTo>
                  <a:lnTo>
                    <a:pt x="46" y="66"/>
                  </a:lnTo>
                  <a:lnTo>
                    <a:pt x="52" y="69"/>
                  </a:lnTo>
                  <a:lnTo>
                    <a:pt x="57" y="71"/>
                  </a:lnTo>
                  <a:lnTo>
                    <a:pt x="60" y="74"/>
                  </a:lnTo>
                  <a:lnTo>
                    <a:pt x="69" y="94"/>
                  </a:lnTo>
                  <a:lnTo>
                    <a:pt x="69" y="100"/>
                  </a:lnTo>
                  <a:lnTo>
                    <a:pt x="72" y="103"/>
                  </a:lnTo>
                  <a:lnTo>
                    <a:pt x="75" y="106"/>
                  </a:lnTo>
                  <a:lnTo>
                    <a:pt x="83" y="117"/>
                  </a:lnTo>
                  <a:lnTo>
                    <a:pt x="89" y="126"/>
                  </a:lnTo>
                  <a:lnTo>
                    <a:pt x="95" y="137"/>
                  </a:lnTo>
                  <a:lnTo>
                    <a:pt x="100" y="158"/>
                  </a:lnTo>
                  <a:lnTo>
                    <a:pt x="112" y="175"/>
                  </a:lnTo>
                  <a:lnTo>
                    <a:pt x="118" y="178"/>
                  </a:lnTo>
                  <a:lnTo>
                    <a:pt x="123" y="183"/>
                  </a:lnTo>
                  <a:lnTo>
                    <a:pt x="123" y="186"/>
                  </a:lnTo>
                  <a:lnTo>
                    <a:pt x="126" y="192"/>
                  </a:lnTo>
                  <a:lnTo>
                    <a:pt x="138" y="201"/>
                  </a:lnTo>
                  <a:lnTo>
                    <a:pt x="143" y="206"/>
                  </a:lnTo>
                  <a:lnTo>
                    <a:pt x="152" y="218"/>
                  </a:lnTo>
                  <a:lnTo>
                    <a:pt x="158" y="224"/>
                  </a:lnTo>
                  <a:lnTo>
                    <a:pt x="161" y="224"/>
                  </a:lnTo>
                  <a:lnTo>
                    <a:pt x="164" y="221"/>
                  </a:lnTo>
                  <a:lnTo>
                    <a:pt x="166" y="221"/>
                  </a:lnTo>
                  <a:lnTo>
                    <a:pt x="172" y="224"/>
                  </a:lnTo>
                  <a:lnTo>
                    <a:pt x="172" y="221"/>
                  </a:lnTo>
                  <a:lnTo>
                    <a:pt x="175" y="218"/>
                  </a:lnTo>
                  <a:lnTo>
                    <a:pt x="175" y="22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03" name="Freeform 505"/>
            <p:cNvSpPr>
              <a:spLocks/>
            </p:cNvSpPr>
            <p:nvPr/>
          </p:nvSpPr>
          <p:spPr bwMode="auto">
            <a:xfrm>
              <a:off x="7915275" y="5294313"/>
              <a:ext cx="109538" cy="98425"/>
            </a:xfrm>
            <a:custGeom>
              <a:avLst/>
              <a:gdLst>
                <a:gd name="T0" fmla="*/ 2147483647 w 68"/>
                <a:gd name="T1" fmla="*/ 2147483647 h 61"/>
                <a:gd name="T2" fmla="*/ 2147483647 w 68"/>
                <a:gd name="T3" fmla="*/ 2147483647 h 61"/>
                <a:gd name="T4" fmla="*/ 2147483647 w 68"/>
                <a:gd name="T5" fmla="*/ 2147483647 h 61"/>
                <a:gd name="T6" fmla="*/ 2147483647 w 68"/>
                <a:gd name="T7" fmla="*/ 2147483647 h 61"/>
                <a:gd name="T8" fmla="*/ 2147483647 w 68"/>
                <a:gd name="T9" fmla="*/ 2147483647 h 61"/>
                <a:gd name="T10" fmla="*/ 2147483647 w 68"/>
                <a:gd name="T11" fmla="*/ 2147483647 h 61"/>
                <a:gd name="T12" fmla="*/ 2147483647 w 68"/>
                <a:gd name="T13" fmla="*/ 2147483647 h 61"/>
                <a:gd name="T14" fmla="*/ 2147483647 w 68"/>
                <a:gd name="T15" fmla="*/ 2147483647 h 61"/>
                <a:gd name="T16" fmla="*/ 2147483647 w 68"/>
                <a:gd name="T17" fmla="*/ 0 h 61"/>
                <a:gd name="T18" fmla="*/ 2147483647 w 68"/>
                <a:gd name="T19" fmla="*/ 0 h 61"/>
                <a:gd name="T20" fmla="*/ 2147483647 w 68"/>
                <a:gd name="T21" fmla="*/ 0 h 61"/>
                <a:gd name="T22" fmla="*/ 2147483647 w 68"/>
                <a:gd name="T23" fmla="*/ 2147483647 h 61"/>
                <a:gd name="T24" fmla="*/ 2147483647 w 68"/>
                <a:gd name="T25" fmla="*/ 2147483647 h 61"/>
                <a:gd name="T26" fmla="*/ 2147483647 w 68"/>
                <a:gd name="T27" fmla="*/ 2147483647 h 61"/>
                <a:gd name="T28" fmla="*/ 2147483647 w 68"/>
                <a:gd name="T29" fmla="*/ 2147483647 h 61"/>
                <a:gd name="T30" fmla="*/ 2147483647 w 68"/>
                <a:gd name="T31" fmla="*/ 2147483647 h 61"/>
                <a:gd name="T32" fmla="*/ 2147483647 w 68"/>
                <a:gd name="T33" fmla="*/ 2147483647 h 61"/>
                <a:gd name="T34" fmla="*/ 2147483647 w 68"/>
                <a:gd name="T35" fmla="*/ 2147483647 h 61"/>
                <a:gd name="T36" fmla="*/ 2147483647 w 68"/>
                <a:gd name="T37" fmla="*/ 2147483647 h 61"/>
                <a:gd name="T38" fmla="*/ 2147483647 w 68"/>
                <a:gd name="T39" fmla="*/ 2147483647 h 61"/>
                <a:gd name="T40" fmla="*/ 2147483647 w 68"/>
                <a:gd name="T41" fmla="*/ 2147483647 h 61"/>
                <a:gd name="T42" fmla="*/ 2147483647 w 68"/>
                <a:gd name="T43" fmla="*/ 2147483647 h 61"/>
                <a:gd name="T44" fmla="*/ 2147483647 w 68"/>
                <a:gd name="T45" fmla="*/ 2147483647 h 61"/>
                <a:gd name="T46" fmla="*/ 2147483647 w 68"/>
                <a:gd name="T47" fmla="*/ 2147483647 h 61"/>
                <a:gd name="T48" fmla="*/ 2147483647 w 68"/>
                <a:gd name="T49" fmla="*/ 2147483647 h 61"/>
                <a:gd name="T50" fmla="*/ 0 w 68"/>
                <a:gd name="T51" fmla="*/ 2147483647 h 61"/>
                <a:gd name="T52" fmla="*/ 0 w 68"/>
                <a:gd name="T53" fmla="*/ 2147483647 h 61"/>
                <a:gd name="T54" fmla="*/ 2147483647 w 68"/>
                <a:gd name="T55" fmla="*/ 2147483647 h 61"/>
                <a:gd name="T56" fmla="*/ 2147483647 w 68"/>
                <a:gd name="T57" fmla="*/ 2147483647 h 61"/>
                <a:gd name="T58" fmla="*/ 2147483647 w 68"/>
                <a:gd name="T59" fmla="*/ 2147483647 h 61"/>
                <a:gd name="T60" fmla="*/ 2147483647 w 68"/>
                <a:gd name="T61" fmla="*/ 2147483647 h 61"/>
                <a:gd name="T62" fmla="*/ 2147483647 w 68"/>
                <a:gd name="T63" fmla="*/ 2147483647 h 61"/>
                <a:gd name="T64" fmla="*/ 2147483647 w 68"/>
                <a:gd name="T65" fmla="*/ 2147483647 h 61"/>
                <a:gd name="T66" fmla="*/ 2147483647 w 68"/>
                <a:gd name="T67" fmla="*/ 2147483647 h 61"/>
                <a:gd name="T68" fmla="*/ 2147483647 w 68"/>
                <a:gd name="T69" fmla="*/ 2147483647 h 61"/>
                <a:gd name="T70" fmla="*/ 2147483647 w 68"/>
                <a:gd name="T71" fmla="*/ 2147483647 h 61"/>
                <a:gd name="T72" fmla="*/ 2147483647 w 68"/>
                <a:gd name="T73" fmla="*/ 2147483647 h 61"/>
                <a:gd name="T74" fmla="*/ 2147483647 w 68"/>
                <a:gd name="T75" fmla="*/ 2147483647 h 61"/>
                <a:gd name="T76" fmla="*/ 2147483647 w 68"/>
                <a:gd name="T77" fmla="*/ 2147483647 h 61"/>
                <a:gd name="T78" fmla="*/ 2147483647 w 68"/>
                <a:gd name="T79" fmla="*/ 2147483647 h 61"/>
                <a:gd name="T80" fmla="*/ 2147483647 w 68"/>
                <a:gd name="T81" fmla="*/ 2147483647 h 61"/>
                <a:gd name="T82" fmla="*/ 2147483647 w 68"/>
                <a:gd name="T83" fmla="*/ 2147483647 h 61"/>
                <a:gd name="T84" fmla="*/ 2147483647 w 68"/>
                <a:gd name="T85" fmla="*/ 2147483647 h 61"/>
                <a:gd name="T86" fmla="*/ 2147483647 w 68"/>
                <a:gd name="T87" fmla="*/ 2147483647 h 61"/>
                <a:gd name="T88" fmla="*/ 2147483647 w 68"/>
                <a:gd name="T89" fmla="*/ 2147483647 h 61"/>
                <a:gd name="T90" fmla="*/ 2147483647 w 68"/>
                <a:gd name="T91" fmla="*/ 2147483647 h 6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68"/>
                <a:gd name="T139" fmla="*/ 0 h 61"/>
                <a:gd name="T140" fmla="*/ 68 w 68"/>
                <a:gd name="T141" fmla="*/ 61 h 61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68" h="61">
                  <a:moveTo>
                    <a:pt x="57" y="9"/>
                  </a:moveTo>
                  <a:lnTo>
                    <a:pt x="57" y="9"/>
                  </a:lnTo>
                  <a:lnTo>
                    <a:pt x="51" y="12"/>
                  </a:lnTo>
                  <a:lnTo>
                    <a:pt x="48" y="12"/>
                  </a:lnTo>
                  <a:lnTo>
                    <a:pt x="40" y="15"/>
                  </a:lnTo>
                  <a:lnTo>
                    <a:pt x="28" y="12"/>
                  </a:lnTo>
                  <a:lnTo>
                    <a:pt x="20" y="3"/>
                  </a:lnTo>
                  <a:lnTo>
                    <a:pt x="20" y="0"/>
                  </a:lnTo>
                  <a:lnTo>
                    <a:pt x="17" y="0"/>
                  </a:lnTo>
                  <a:lnTo>
                    <a:pt x="14" y="6"/>
                  </a:lnTo>
                  <a:lnTo>
                    <a:pt x="11" y="9"/>
                  </a:lnTo>
                  <a:lnTo>
                    <a:pt x="8" y="9"/>
                  </a:lnTo>
                  <a:lnTo>
                    <a:pt x="8" y="12"/>
                  </a:lnTo>
                  <a:lnTo>
                    <a:pt x="5" y="20"/>
                  </a:lnTo>
                  <a:lnTo>
                    <a:pt x="5" y="26"/>
                  </a:lnTo>
                  <a:lnTo>
                    <a:pt x="8" y="32"/>
                  </a:lnTo>
                  <a:lnTo>
                    <a:pt x="5" y="35"/>
                  </a:lnTo>
                  <a:lnTo>
                    <a:pt x="2" y="40"/>
                  </a:lnTo>
                  <a:lnTo>
                    <a:pt x="0" y="52"/>
                  </a:lnTo>
                  <a:lnTo>
                    <a:pt x="5" y="61"/>
                  </a:lnTo>
                  <a:lnTo>
                    <a:pt x="8" y="61"/>
                  </a:lnTo>
                  <a:lnTo>
                    <a:pt x="14" y="61"/>
                  </a:lnTo>
                  <a:lnTo>
                    <a:pt x="20" y="58"/>
                  </a:lnTo>
                  <a:lnTo>
                    <a:pt x="28" y="52"/>
                  </a:lnTo>
                  <a:lnTo>
                    <a:pt x="37" y="55"/>
                  </a:lnTo>
                  <a:lnTo>
                    <a:pt x="40" y="49"/>
                  </a:lnTo>
                  <a:lnTo>
                    <a:pt x="43" y="46"/>
                  </a:lnTo>
                  <a:lnTo>
                    <a:pt x="48" y="38"/>
                  </a:lnTo>
                  <a:lnTo>
                    <a:pt x="54" y="32"/>
                  </a:lnTo>
                  <a:lnTo>
                    <a:pt x="54" y="35"/>
                  </a:lnTo>
                  <a:lnTo>
                    <a:pt x="60" y="29"/>
                  </a:lnTo>
                  <a:lnTo>
                    <a:pt x="66" y="18"/>
                  </a:lnTo>
                  <a:lnTo>
                    <a:pt x="68" y="9"/>
                  </a:lnTo>
                  <a:lnTo>
                    <a:pt x="63" y="6"/>
                  </a:lnTo>
                  <a:lnTo>
                    <a:pt x="57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04" name="Freeform 506"/>
            <p:cNvSpPr>
              <a:spLocks/>
            </p:cNvSpPr>
            <p:nvPr/>
          </p:nvSpPr>
          <p:spPr bwMode="auto">
            <a:xfrm>
              <a:off x="8029575" y="5272088"/>
              <a:ext cx="14288" cy="26987"/>
            </a:xfrm>
            <a:custGeom>
              <a:avLst/>
              <a:gdLst>
                <a:gd name="T0" fmla="*/ 0 w 9"/>
                <a:gd name="T1" fmla="*/ 2147483647 h 17"/>
                <a:gd name="T2" fmla="*/ 0 w 9"/>
                <a:gd name="T3" fmla="*/ 2147483647 h 17"/>
                <a:gd name="T4" fmla="*/ 0 w 9"/>
                <a:gd name="T5" fmla="*/ 2147483647 h 17"/>
                <a:gd name="T6" fmla="*/ 0 w 9"/>
                <a:gd name="T7" fmla="*/ 2147483647 h 17"/>
                <a:gd name="T8" fmla="*/ 0 w 9"/>
                <a:gd name="T9" fmla="*/ 2147483647 h 17"/>
                <a:gd name="T10" fmla="*/ 2147483647 w 9"/>
                <a:gd name="T11" fmla="*/ 2147483647 h 17"/>
                <a:gd name="T12" fmla="*/ 2147483647 w 9"/>
                <a:gd name="T13" fmla="*/ 2147483647 h 17"/>
                <a:gd name="T14" fmla="*/ 2147483647 w 9"/>
                <a:gd name="T15" fmla="*/ 2147483647 h 17"/>
                <a:gd name="T16" fmla="*/ 2147483647 w 9"/>
                <a:gd name="T17" fmla="*/ 0 h 17"/>
                <a:gd name="T18" fmla="*/ 2147483647 w 9"/>
                <a:gd name="T19" fmla="*/ 0 h 17"/>
                <a:gd name="T20" fmla="*/ 2147483647 w 9"/>
                <a:gd name="T21" fmla="*/ 0 h 17"/>
                <a:gd name="T22" fmla="*/ 0 w 9"/>
                <a:gd name="T23" fmla="*/ 2147483647 h 17"/>
                <a:gd name="T24" fmla="*/ 0 w 9"/>
                <a:gd name="T25" fmla="*/ 2147483647 h 1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9"/>
                <a:gd name="T40" fmla="*/ 0 h 17"/>
                <a:gd name="T41" fmla="*/ 9 w 9"/>
                <a:gd name="T42" fmla="*/ 17 h 1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9" h="17">
                  <a:moveTo>
                    <a:pt x="0" y="3"/>
                  </a:moveTo>
                  <a:lnTo>
                    <a:pt x="0" y="3"/>
                  </a:lnTo>
                  <a:lnTo>
                    <a:pt x="0" y="9"/>
                  </a:lnTo>
                  <a:lnTo>
                    <a:pt x="0" y="17"/>
                  </a:lnTo>
                  <a:lnTo>
                    <a:pt x="3" y="14"/>
                  </a:lnTo>
                  <a:lnTo>
                    <a:pt x="6" y="11"/>
                  </a:lnTo>
                  <a:lnTo>
                    <a:pt x="9" y="6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05" name="Freeform 507"/>
            <p:cNvSpPr>
              <a:spLocks/>
            </p:cNvSpPr>
            <p:nvPr/>
          </p:nvSpPr>
          <p:spPr bwMode="auto">
            <a:xfrm>
              <a:off x="7997825" y="5245100"/>
              <a:ext cx="4763" cy="4763"/>
            </a:xfrm>
            <a:custGeom>
              <a:avLst/>
              <a:gdLst>
                <a:gd name="T0" fmla="*/ 2147483647 w 3"/>
                <a:gd name="T1" fmla="*/ 0 h 3"/>
                <a:gd name="T2" fmla="*/ 0 w 3"/>
                <a:gd name="T3" fmla="*/ 0 h 3"/>
                <a:gd name="T4" fmla="*/ 2147483647 w 3"/>
                <a:gd name="T5" fmla="*/ 2147483647 h 3"/>
                <a:gd name="T6" fmla="*/ 2147483647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3" y="0"/>
                  </a:moveTo>
                  <a:lnTo>
                    <a:pt x="0" y="0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06" name="Freeform 508"/>
            <p:cNvSpPr>
              <a:spLocks/>
            </p:cNvSpPr>
            <p:nvPr/>
          </p:nvSpPr>
          <p:spPr bwMode="auto">
            <a:xfrm>
              <a:off x="7804150" y="5143500"/>
              <a:ext cx="41275" cy="17463"/>
            </a:xfrm>
            <a:custGeom>
              <a:avLst/>
              <a:gdLst>
                <a:gd name="T0" fmla="*/ 2147483647 w 25"/>
                <a:gd name="T1" fmla="*/ 0 h 11"/>
                <a:gd name="T2" fmla="*/ 2147483647 w 25"/>
                <a:gd name="T3" fmla="*/ 0 h 11"/>
                <a:gd name="T4" fmla="*/ 0 w 25"/>
                <a:gd name="T5" fmla="*/ 2147483647 h 11"/>
                <a:gd name="T6" fmla="*/ 0 w 25"/>
                <a:gd name="T7" fmla="*/ 2147483647 h 11"/>
                <a:gd name="T8" fmla="*/ 2147483647 w 25"/>
                <a:gd name="T9" fmla="*/ 2147483647 h 11"/>
                <a:gd name="T10" fmla="*/ 2147483647 w 25"/>
                <a:gd name="T11" fmla="*/ 2147483647 h 11"/>
                <a:gd name="T12" fmla="*/ 2147483647 w 25"/>
                <a:gd name="T13" fmla="*/ 2147483647 h 11"/>
                <a:gd name="T14" fmla="*/ 2147483647 w 25"/>
                <a:gd name="T15" fmla="*/ 2147483647 h 11"/>
                <a:gd name="T16" fmla="*/ 2147483647 w 25"/>
                <a:gd name="T17" fmla="*/ 2147483647 h 11"/>
                <a:gd name="T18" fmla="*/ 2147483647 w 25"/>
                <a:gd name="T19" fmla="*/ 0 h 11"/>
                <a:gd name="T20" fmla="*/ 2147483647 w 25"/>
                <a:gd name="T21" fmla="*/ 0 h 1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5"/>
                <a:gd name="T34" fmla="*/ 0 h 11"/>
                <a:gd name="T35" fmla="*/ 25 w 25"/>
                <a:gd name="T36" fmla="*/ 11 h 1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5" h="11">
                  <a:moveTo>
                    <a:pt x="17" y="0"/>
                  </a:moveTo>
                  <a:lnTo>
                    <a:pt x="5" y="0"/>
                  </a:lnTo>
                  <a:lnTo>
                    <a:pt x="0" y="5"/>
                  </a:lnTo>
                  <a:lnTo>
                    <a:pt x="0" y="8"/>
                  </a:lnTo>
                  <a:lnTo>
                    <a:pt x="3" y="11"/>
                  </a:lnTo>
                  <a:lnTo>
                    <a:pt x="8" y="11"/>
                  </a:lnTo>
                  <a:lnTo>
                    <a:pt x="14" y="11"/>
                  </a:lnTo>
                  <a:lnTo>
                    <a:pt x="17" y="5"/>
                  </a:lnTo>
                  <a:lnTo>
                    <a:pt x="25" y="5"/>
                  </a:lnTo>
                  <a:lnTo>
                    <a:pt x="20" y="0"/>
                  </a:lnTo>
                  <a:lnTo>
                    <a:pt x="17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07" name="Freeform 509"/>
            <p:cNvSpPr>
              <a:spLocks/>
            </p:cNvSpPr>
            <p:nvPr/>
          </p:nvSpPr>
          <p:spPr bwMode="auto">
            <a:xfrm>
              <a:off x="7927975" y="5267325"/>
              <a:ext cx="9525" cy="19050"/>
            </a:xfrm>
            <a:custGeom>
              <a:avLst/>
              <a:gdLst>
                <a:gd name="T0" fmla="*/ 2147483647 w 6"/>
                <a:gd name="T1" fmla="*/ 2147483647 h 12"/>
                <a:gd name="T2" fmla="*/ 2147483647 w 6"/>
                <a:gd name="T3" fmla="*/ 0 h 12"/>
                <a:gd name="T4" fmla="*/ 2147483647 w 6"/>
                <a:gd name="T5" fmla="*/ 0 h 12"/>
                <a:gd name="T6" fmla="*/ 0 w 6"/>
                <a:gd name="T7" fmla="*/ 2147483647 h 12"/>
                <a:gd name="T8" fmla="*/ 0 w 6"/>
                <a:gd name="T9" fmla="*/ 2147483647 h 12"/>
                <a:gd name="T10" fmla="*/ 0 w 6"/>
                <a:gd name="T11" fmla="*/ 2147483647 h 12"/>
                <a:gd name="T12" fmla="*/ 0 w 6"/>
                <a:gd name="T13" fmla="*/ 2147483647 h 12"/>
                <a:gd name="T14" fmla="*/ 2147483647 w 6"/>
                <a:gd name="T15" fmla="*/ 2147483647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"/>
                <a:gd name="T25" fmla="*/ 0 h 12"/>
                <a:gd name="T26" fmla="*/ 6 w 6"/>
                <a:gd name="T27" fmla="*/ 12 h 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" h="12">
                  <a:moveTo>
                    <a:pt x="6" y="9"/>
                  </a:moveTo>
                  <a:lnTo>
                    <a:pt x="6" y="0"/>
                  </a:lnTo>
                  <a:lnTo>
                    <a:pt x="0" y="6"/>
                  </a:lnTo>
                  <a:lnTo>
                    <a:pt x="0" y="12"/>
                  </a:lnTo>
                  <a:lnTo>
                    <a:pt x="6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08" name="Freeform 510"/>
            <p:cNvSpPr>
              <a:spLocks/>
            </p:cNvSpPr>
            <p:nvPr/>
          </p:nvSpPr>
          <p:spPr bwMode="auto">
            <a:xfrm>
              <a:off x="7799388" y="5114925"/>
              <a:ext cx="9525" cy="14288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2147483647 h 9"/>
                <a:gd name="T4" fmla="*/ 2147483647 w 6"/>
                <a:gd name="T5" fmla="*/ 0 h 9"/>
                <a:gd name="T6" fmla="*/ 0 w 6"/>
                <a:gd name="T7" fmla="*/ 2147483647 h 9"/>
                <a:gd name="T8" fmla="*/ 2147483647 w 6"/>
                <a:gd name="T9" fmla="*/ 2147483647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9"/>
                <a:gd name="T17" fmla="*/ 6 w 6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9">
                  <a:moveTo>
                    <a:pt x="3" y="9"/>
                  </a:moveTo>
                  <a:lnTo>
                    <a:pt x="6" y="3"/>
                  </a:lnTo>
                  <a:lnTo>
                    <a:pt x="3" y="0"/>
                  </a:lnTo>
                  <a:lnTo>
                    <a:pt x="0" y="9"/>
                  </a:lnTo>
                  <a:lnTo>
                    <a:pt x="3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09" name="Freeform 511"/>
            <p:cNvSpPr>
              <a:spLocks/>
            </p:cNvSpPr>
            <p:nvPr/>
          </p:nvSpPr>
          <p:spPr bwMode="auto">
            <a:xfrm>
              <a:off x="2487613" y="5580063"/>
              <a:ext cx="9525" cy="9525"/>
            </a:xfrm>
            <a:custGeom>
              <a:avLst/>
              <a:gdLst>
                <a:gd name="T0" fmla="*/ 2147483647 w 6"/>
                <a:gd name="T1" fmla="*/ 0 h 6"/>
                <a:gd name="T2" fmla="*/ 0 w 6"/>
                <a:gd name="T3" fmla="*/ 0 h 6"/>
                <a:gd name="T4" fmla="*/ 2147483647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2147483647 w 6"/>
                <a:gd name="T11" fmla="*/ 2147483647 h 6"/>
                <a:gd name="T12" fmla="*/ 2147483647 w 6"/>
                <a:gd name="T13" fmla="*/ 0 h 6"/>
                <a:gd name="T14" fmla="*/ 2147483647 w 6"/>
                <a:gd name="T15" fmla="*/ 0 h 6"/>
                <a:gd name="T16" fmla="*/ 2147483647 w 6"/>
                <a:gd name="T17" fmla="*/ 0 h 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"/>
                <a:gd name="T28" fmla="*/ 0 h 6"/>
                <a:gd name="T29" fmla="*/ 6 w 6"/>
                <a:gd name="T30" fmla="*/ 6 h 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" h="6">
                  <a:moveTo>
                    <a:pt x="3" y="0"/>
                  </a:moveTo>
                  <a:lnTo>
                    <a:pt x="0" y="0"/>
                  </a:lnTo>
                  <a:lnTo>
                    <a:pt x="3" y="3"/>
                  </a:lnTo>
                  <a:lnTo>
                    <a:pt x="3" y="6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10" name="Freeform 512"/>
            <p:cNvSpPr>
              <a:spLocks/>
            </p:cNvSpPr>
            <p:nvPr/>
          </p:nvSpPr>
          <p:spPr bwMode="auto">
            <a:xfrm>
              <a:off x="5419725" y="4406900"/>
              <a:ext cx="212725" cy="422275"/>
            </a:xfrm>
            <a:custGeom>
              <a:avLst/>
              <a:gdLst>
                <a:gd name="T0" fmla="*/ 2147483647 w 132"/>
                <a:gd name="T1" fmla="*/ 2147483647 h 264"/>
                <a:gd name="T2" fmla="*/ 2147483647 w 132"/>
                <a:gd name="T3" fmla="*/ 2147483647 h 264"/>
                <a:gd name="T4" fmla="*/ 2147483647 w 132"/>
                <a:gd name="T5" fmla="*/ 0 h 264"/>
                <a:gd name="T6" fmla="*/ 2147483647 w 132"/>
                <a:gd name="T7" fmla="*/ 2147483647 h 264"/>
                <a:gd name="T8" fmla="*/ 2147483647 w 132"/>
                <a:gd name="T9" fmla="*/ 2147483647 h 264"/>
                <a:gd name="T10" fmla="*/ 2147483647 w 132"/>
                <a:gd name="T11" fmla="*/ 2147483647 h 264"/>
                <a:gd name="T12" fmla="*/ 2147483647 w 132"/>
                <a:gd name="T13" fmla="*/ 2147483647 h 264"/>
                <a:gd name="T14" fmla="*/ 2147483647 w 132"/>
                <a:gd name="T15" fmla="*/ 2147483647 h 264"/>
                <a:gd name="T16" fmla="*/ 2147483647 w 132"/>
                <a:gd name="T17" fmla="*/ 2147483647 h 264"/>
                <a:gd name="T18" fmla="*/ 2147483647 w 132"/>
                <a:gd name="T19" fmla="*/ 2147483647 h 264"/>
                <a:gd name="T20" fmla="*/ 2147483647 w 132"/>
                <a:gd name="T21" fmla="*/ 2147483647 h 264"/>
                <a:gd name="T22" fmla="*/ 2147483647 w 132"/>
                <a:gd name="T23" fmla="*/ 2147483647 h 264"/>
                <a:gd name="T24" fmla="*/ 2147483647 w 132"/>
                <a:gd name="T25" fmla="*/ 2147483647 h 264"/>
                <a:gd name="T26" fmla="*/ 2147483647 w 132"/>
                <a:gd name="T27" fmla="*/ 2147483647 h 264"/>
                <a:gd name="T28" fmla="*/ 2147483647 w 132"/>
                <a:gd name="T29" fmla="*/ 2147483647 h 264"/>
                <a:gd name="T30" fmla="*/ 2147483647 w 132"/>
                <a:gd name="T31" fmla="*/ 2147483647 h 264"/>
                <a:gd name="T32" fmla="*/ 2147483647 w 132"/>
                <a:gd name="T33" fmla="*/ 2147483647 h 264"/>
                <a:gd name="T34" fmla="*/ 2147483647 w 132"/>
                <a:gd name="T35" fmla="*/ 2147483647 h 264"/>
                <a:gd name="T36" fmla="*/ 2147483647 w 132"/>
                <a:gd name="T37" fmla="*/ 2147483647 h 264"/>
                <a:gd name="T38" fmla="*/ 2147483647 w 132"/>
                <a:gd name="T39" fmla="*/ 2147483647 h 264"/>
                <a:gd name="T40" fmla="*/ 2147483647 w 132"/>
                <a:gd name="T41" fmla="*/ 2147483647 h 264"/>
                <a:gd name="T42" fmla="*/ 2147483647 w 132"/>
                <a:gd name="T43" fmla="*/ 2147483647 h 264"/>
                <a:gd name="T44" fmla="*/ 2147483647 w 132"/>
                <a:gd name="T45" fmla="*/ 2147483647 h 264"/>
                <a:gd name="T46" fmla="*/ 2147483647 w 132"/>
                <a:gd name="T47" fmla="*/ 2147483647 h 264"/>
                <a:gd name="T48" fmla="*/ 2147483647 w 132"/>
                <a:gd name="T49" fmla="*/ 2147483647 h 264"/>
                <a:gd name="T50" fmla="*/ 2147483647 w 132"/>
                <a:gd name="T51" fmla="*/ 2147483647 h 264"/>
                <a:gd name="T52" fmla="*/ 2147483647 w 132"/>
                <a:gd name="T53" fmla="*/ 2147483647 h 264"/>
                <a:gd name="T54" fmla="*/ 2147483647 w 132"/>
                <a:gd name="T55" fmla="*/ 2147483647 h 264"/>
                <a:gd name="T56" fmla="*/ 2147483647 w 132"/>
                <a:gd name="T57" fmla="*/ 2147483647 h 264"/>
                <a:gd name="T58" fmla="*/ 2147483647 w 132"/>
                <a:gd name="T59" fmla="*/ 2147483647 h 264"/>
                <a:gd name="T60" fmla="*/ 2147483647 w 132"/>
                <a:gd name="T61" fmla="*/ 2147483647 h 264"/>
                <a:gd name="T62" fmla="*/ 2147483647 w 132"/>
                <a:gd name="T63" fmla="*/ 2147483647 h 264"/>
                <a:gd name="T64" fmla="*/ 2147483647 w 132"/>
                <a:gd name="T65" fmla="*/ 2147483647 h 264"/>
                <a:gd name="T66" fmla="*/ 2147483647 w 132"/>
                <a:gd name="T67" fmla="*/ 2147483647 h 264"/>
                <a:gd name="T68" fmla="*/ 2147483647 w 132"/>
                <a:gd name="T69" fmla="*/ 2147483647 h 264"/>
                <a:gd name="T70" fmla="*/ 2147483647 w 132"/>
                <a:gd name="T71" fmla="*/ 2147483647 h 264"/>
                <a:gd name="T72" fmla="*/ 2147483647 w 132"/>
                <a:gd name="T73" fmla="*/ 2147483647 h 264"/>
                <a:gd name="T74" fmla="*/ 2147483647 w 132"/>
                <a:gd name="T75" fmla="*/ 2147483647 h 264"/>
                <a:gd name="T76" fmla="*/ 2147483647 w 132"/>
                <a:gd name="T77" fmla="*/ 2147483647 h 264"/>
                <a:gd name="T78" fmla="*/ 2147483647 w 132"/>
                <a:gd name="T79" fmla="*/ 2147483647 h 264"/>
                <a:gd name="T80" fmla="*/ 2147483647 w 132"/>
                <a:gd name="T81" fmla="*/ 2147483647 h 264"/>
                <a:gd name="T82" fmla="*/ 2147483647 w 132"/>
                <a:gd name="T83" fmla="*/ 2147483647 h 264"/>
                <a:gd name="T84" fmla="*/ 2147483647 w 132"/>
                <a:gd name="T85" fmla="*/ 2147483647 h 264"/>
                <a:gd name="T86" fmla="*/ 2147483647 w 132"/>
                <a:gd name="T87" fmla="*/ 2147483647 h 264"/>
                <a:gd name="T88" fmla="*/ 2147483647 w 132"/>
                <a:gd name="T89" fmla="*/ 2147483647 h 264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32"/>
                <a:gd name="T136" fmla="*/ 0 h 264"/>
                <a:gd name="T137" fmla="*/ 132 w 132"/>
                <a:gd name="T138" fmla="*/ 264 h 264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32" h="264">
                  <a:moveTo>
                    <a:pt x="126" y="23"/>
                  </a:moveTo>
                  <a:lnTo>
                    <a:pt x="126" y="23"/>
                  </a:lnTo>
                  <a:lnTo>
                    <a:pt x="120" y="15"/>
                  </a:lnTo>
                  <a:lnTo>
                    <a:pt x="117" y="12"/>
                  </a:lnTo>
                  <a:lnTo>
                    <a:pt x="115" y="9"/>
                  </a:lnTo>
                  <a:lnTo>
                    <a:pt x="115" y="6"/>
                  </a:lnTo>
                  <a:lnTo>
                    <a:pt x="112" y="0"/>
                  </a:lnTo>
                  <a:lnTo>
                    <a:pt x="112" y="6"/>
                  </a:lnTo>
                  <a:lnTo>
                    <a:pt x="109" y="6"/>
                  </a:lnTo>
                  <a:lnTo>
                    <a:pt x="106" y="12"/>
                  </a:lnTo>
                  <a:lnTo>
                    <a:pt x="106" y="20"/>
                  </a:lnTo>
                  <a:lnTo>
                    <a:pt x="103" y="29"/>
                  </a:lnTo>
                  <a:lnTo>
                    <a:pt x="100" y="29"/>
                  </a:lnTo>
                  <a:lnTo>
                    <a:pt x="97" y="32"/>
                  </a:lnTo>
                  <a:lnTo>
                    <a:pt x="94" y="35"/>
                  </a:lnTo>
                  <a:lnTo>
                    <a:pt x="89" y="32"/>
                  </a:lnTo>
                  <a:lnTo>
                    <a:pt x="89" y="40"/>
                  </a:lnTo>
                  <a:lnTo>
                    <a:pt x="86" y="43"/>
                  </a:lnTo>
                  <a:lnTo>
                    <a:pt x="86" y="46"/>
                  </a:lnTo>
                  <a:lnTo>
                    <a:pt x="80" y="58"/>
                  </a:lnTo>
                  <a:lnTo>
                    <a:pt x="80" y="52"/>
                  </a:lnTo>
                  <a:lnTo>
                    <a:pt x="71" y="63"/>
                  </a:lnTo>
                  <a:lnTo>
                    <a:pt x="71" y="66"/>
                  </a:lnTo>
                  <a:lnTo>
                    <a:pt x="71" y="69"/>
                  </a:lnTo>
                  <a:lnTo>
                    <a:pt x="71" y="66"/>
                  </a:lnTo>
                  <a:lnTo>
                    <a:pt x="66" y="66"/>
                  </a:lnTo>
                  <a:lnTo>
                    <a:pt x="60" y="72"/>
                  </a:lnTo>
                  <a:lnTo>
                    <a:pt x="60" y="75"/>
                  </a:lnTo>
                  <a:lnTo>
                    <a:pt x="57" y="75"/>
                  </a:lnTo>
                  <a:lnTo>
                    <a:pt x="48" y="75"/>
                  </a:lnTo>
                  <a:lnTo>
                    <a:pt x="40" y="81"/>
                  </a:lnTo>
                  <a:lnTo>
                    <a:pt x="31" y="81"/>
                  </a:lnTo>
                  <a:lnTo>
                    <a:pt x="28" y="78"/>
                  </a:lnTo>
                  <a:lnTo>
                    <a:pt x="26" y="83"/>
                  </a:lnTo>
                  <a:lnTo>
                    <a:pt x="28" y="86"/>
                  </a:lnTo>
                  <a:lnTo>
                    <a:pt x="26" y="95"/>
                  </a:lnTo>
                  <a:lnTo>
                    <a:pt x="20" y="104"/>
                  </a:lnTo>
                  <a:lnTo>
                    <a:pt x="20" y="115"/>
                  </a:lnTo>
                  <a:lnTo>
                    <a:pt x="20" y="129"/>
                  </a:lnTo>
                  <a:lnTo>
                    <a:pt x="20" y="138"/>
                  </a:lnTo>
                  <a:lnTo>
                    <a:pt x="23" y="144"/>
                  </a:lnTo>
                  <a:lnTo>
                    <a:pt x="23" y="149"/>
                  </a:lnTo>
                  <a:lnTo>
                    <a:pt x="23" y="158"/>
                  </a:lnTo>
                  <a:lnTo>
                    <a:pt x="20" y="164"/>
                  </a:lnTo>
                  <a:lnTo>
                    <a:pt x="17" y="172"/>
                  </a:lnTo>
                  <a:lnTo>
                    <a:pt x="14" y="178"/>
                  </a:lnTo>
                  <a:lnTo>
                    <a:pt x="11" y="181"/>
                  </a:lnTo>
                  <a:lnTo>
                    <a:pt x="8" y="184"/>
                  </a:lnTo>
                  <a:lnTo>
                    <a:pt x="3" y="195"/>
                  </a:lnTo>
                  <a:lnTo>
                    <a:pt x="0" y="204"/>
                  </a:lnTo>
                  <a:lnTo>
                    <a:pt x="5" y="218"/>
                  </a:lnTo>
                  <a:lnTo>
                    <a:pt x="8" y="221"/>
                  </a:lnTo>
                  <a:lnTo>
                    <a:pt x="8" y="227"/>
                  </a:lnTo>
                  <a:lnTo>
                    <a:pt x="8" y="236"/>
                  </a:lnTo>
                  <a:lnTo>
                    <a:pt x="8" y="238"/>
                  </a:lnTo>
                  <a:lnTo>
                    <a:pt x="8" y="250"/>
                  </a:lnTo>
                  <a:lnTo>
                    <a:pt x="14" y="259"/>
                  </a:lnTo>
                  <a:lnTo>
                    <a:pt x="23" y="264"/>
                  </a:lnTo>
                  <a:lnTo>
                    <a:pt x="31" y="264"/>
                  </a:lnTo>
                  <a:lnTo>
                    <a:pt x="40" y="261"/>
                  </a:lnTo>
                  <a:lnTo>
                    <a:pt x="46" y="259"/>
                  </a:lnTo>
                  <a:lnTo>
                    <a:pt x="48" y="259"/>
                  </a:lnTo>
                  <a:lnTo>
                    <a:pt x="51" y="259"/>
                  </a:lnTo>
                  <a:lnTo>
                    <a:pt x="57" y="259"/>
                  </a:lnTo>
                  <a:lnTo>
                    <a:pt x="60" y="253"/>
                  </a:lnTo>
                  <a:lnTo>
                    <a:pt x="66" y="247"/>
                  </a:lnTo>
                  <a:lnTo>
                    <a:pt x="71" y="230"/>
                  </a:lnTo>
                  <a:lnTo>
                    <a:pt x="83" y="198"/>
                  </a:lnTo>
                  <a:lnTo>
                    <a:pt x="94" y="164"/>
                  </a:lnTo>
                  <a:lnTo>
                    <a:pt x="109" y="121"/>
                  </a:lnTo>
                  <a:lnTo>
                    <a:pt x="112" y="112"/>
                  </a:lnTo>
                  <a:lnTo>
                    <a:pt x="112" y="106"/>
                  </a:lnTo>
                  <a:lnTo>
                    <a:pt x="115" y="95"/>
                  </a:lnTo>
                  <a:lnTo>
                    <a:pt x="117" y="92"/>
                  </a:lnTo>
                  <a:lnTo>
                    <a:pt x="117" y="86"/>
                  </a:lnTo>
                  <a:lnTo>
                    <a:pt x="115" y="69"/>
                  </a:lnTo>
                  <a:lnTo>
                    <a:pt x="117" y="69"/>
                  </a:lnTo>
                  <a:lnTo>
                    <a:pt x="120" y="72"/>
                  </a:lnTo>
                  <a:lnTo>
                    <a:pt x="123" y="78"/>
                  </a:lnTo>
                  <a:lnTo>
                    <a:pt x="126" y="78"/>
                  </a:lnTo>
                  <a:lnTo>
                    <a:pt x="129" y="75"/>
                  </a:lnTo>
                  <a:lnTo>
                    <a:pt x="132" y="69"/>
                  </a:lnTo>
                  <a:lnTo>
                    <a:pt x="132" y="66"/>
                  </a:lnTo>
                  <a:lnTo>
                    <a:pt x="132" y="60"/>
                  </a:lnTo>
                  <a:lnTo>
                    <a:pt x="129" y="55"/>
                  </a:lnTo>
                  <a:lnTo>
                    <a:pt x="126" y="2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11" name="Freeform 513"/>
            <p:cNvSpPr>
              <a:spLocks/>
            </p:cNvSpPr>
            <p:nvPr/>
          </p:nvSpPr>
          <p:spPr bwMode="auto">
            <a:xfrm>
              <a:off x="5414963" y="3440113"/>
              <a:ext cx="285750" cy="193675"/>
            </a:xfrm>
            <a:custGeom>
              <a:avLst/>
              <a:gdLst>
                <a:gd name="T0" fmla="*/ 2147483647 w 178"/>
                <a:gd name="T1" fmla="*/ 2147483647 h 121"/>
                <a:gd name="T2" fmla="*/ 2147483647 w 178"/>
                <a:gd name="T3" fmla="*/ 0 h 121"/>
                <a:gd name="T4" fmla="*/ 2147483647 w 178"/>
                <a:gd name="T5" fmla="*/ 0 h 121"/>
                <a:gd name="T6" fmla="*/ 2147483647 w 178"/>
                <a:gd name="T7" fmla="*/ 2147483647 h 121"/>
                <a:gd name="T8" fmla="*/ 2147483647 w 178"/>
                <a:gd name="T9" fmla="*/ 2147483647 h 121"/>
                <a:gd name="T10" fmla="*/ 2147483647 w 178"/>
                <a:gd name="T11" fmla="*/ 2147483647 h 121"/>
                <a:gd name="T12" fmla="*/ 2147483647 w 178"/>
                <a:gd name="T13" fmla="*/ 2147483647 h 121"/>
                <a:gd name="T14" fmla="*/ 2147483647 w 178"/>
                <a:gd name="T15" fmla="*/ 2147483647 h 121"/>
                <a:gd name="T16" fmla="*/ 2147483647 w 178"/>
                <a:gd name="T17" fmla="*/ 2147483647 h 121"/>
                <a:gd name="T18" fmla="*/ 2147483647 w 178"/>
                <a:gd name="T19" fmla="*/ 2147483647 h 121"/>
                <a:gd name="T20" fmla="*/ 2147483647 w 178"/>
                <a:gd name="T21" fmla="*/ 2147483647 h 121"/>
                <a:gd name="T22" fmla="*/ 2147483647 w 178"/>
                <a:gd name="T23" fmla="*/ 2147483647 h 121"/>
                <a:gd name="T24" fmla="*/ 2147483647 w 178"/>
                <a:gd name="T25" fmla="*/ 2147483647 h 121"/>
                <a:gd name="T26" fmla="*/ 2147483647 w 178"/>
                <a:gd name="T27" fmla="*/ 2147483647 h 121"/>
                <a:gd name="T28" fmla="*/ 2147483647 w 178"/>
                <a:gd name="T29" fmla="*/ 2147483647 h 121"/>
                <a:gd name="T30" fmla="*/ 2147483647 w 178"/>
                <a:gd name="T31" fmla="*/ 2147483647 h 121"/>
                <a:gd name="T32" fmla="*/ 2147483647 w 178"/>
                <a:gd name="T33" fmla="*/ 2147483647 h 121"/>
                <a:gd name="T34" fmla="*/ 2147483647 w 178"/>
                <a:gd name="T35" fmla="*/ 2147483647 h 121"/>
                <a:gd name="T36" fmla="*/ 2147483647 w 178"/>
                <a:gd name="T37" fmla="*/ 2147483647 h 121"/>
                <a:gd name="T38" fmla="*/ 0 w 178"/>
                <a:gd name="T39" fmla="*/ 2147483647 h 121"/>
                <a:gd name="T40" fmla="*/ 0 w 178"/>
                <a:gd name="T41" fmla="*/ 2147483647 h 121"/>
                <a:gd name="T42" fmla="*/ 2147483647 w 178"/>
                <a:gd name="T43" fmla="*/ 2147483647 h 121"/>
                <a:gd name="T44" fmla="*/ 2147483647 w 178"/>
                <a:gd name="T45" fmla="*/ 2147483647 h 121"/>
                <a:gd name="T46" fmla="*/ 2147483647 w 178"/>
                <a:gd name="T47" fmla="*/ 2147483647 h 121"/>
                <a:gd name="T48" fmla="*/ 2147483647 w 178"/>
                <a:gd name="T49" fmla="*/ 2147483647 h 121"/>
                <a:gd name="T50" fmla="*/ 2147483647 w 178"/>
                <a:gd name="T51" fmla="*/ 2147483647 h 121"/>
                <a:gd name="T52" fmla="*/ 2147483647 w 178"/>
                <a:gd name="T53" fmla="*/ 2147483647 h 121"/>
                <a:gd name="T54" fmla="*/ 2147483647 w 178"/>
                <a:gd name="T55" fmla="*/ 2147483647 h 121"/>
                <a:gd name="T56" fmla="*/ 2147483647 w 178"/>
                <a:gd name="T57" fmla="*/ 2147483647 h 121"/>
                <a:gd name="T58" fmla="*/ 2147483647 w 178"/>
                <a:gd name="T59" fmla="*/ 2147483647 h 121"/>
                <a:gd name="T60" fmla="*/ 2147483647 w 178"/>
                <a:gd name="T61" fmla="*/ 2147483647 h 121"/>
                <a:gd name="T62" fmla="*/ 2147483647 w 178"/>
                <a:gd name="T63" fmla="*/ 2147483647 h 121"/>
                <a:gd name="T64" fmla="*/ 2147483647 w 178"/>
                <a:gd name="T65" fmla="*/ 2147483647 h 121"/>
                <a:gd name="T66" fmla="*/ 2147483647 w 178"/>
                <a:gd name="T67" fmla="*/ 2147483647 h 121"/>
                <a:gd name="T68" fmla="*/ 2147483647 w 178"/>
                <a:gd name="T69" fmla="*/ 2147483647 h 121"/>
                <a:gd name="T70" fmla="*/ 2147483647 w 178"/>
                <a:gd name="T71" fmla="*/ 2147483647 h 121"/>
                <a:gd name="T72" fmla="*/ 2147483647 w 178"/>
                <a:gd name="T73" fmla="*/ 2147483647 h 121"/>
                <a:gd name="T74" fmla="*/ 2147483647 w 178"/>
                <a:gd name="T75" fmla="*/ 2147483647 h 121"/>
                <a:gd name="T76" fmla="*/ 2147483647 w 178"/>
                <a:gd name="T77" fmla="*/ 2147483647 h 121"/>
                <a:gd name="T78" fmla="*/ 2147483647 w 178"/>
                <a:gd name="T79" fmla="*/ 2147483647 h 121"/>
                <a:gd name="T80" fmla="*/ 2147483647 w 178"/>
                <a:gd name="T81" fmla="*/ 2147483647 h 121"/>
                <a:gd name="T82" fmla="*/ 2147483647 w 178"/>
                <a:gd name="T83" fmla="*/ 2147483647 h 121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78"/>
                <a:gd name="T127" fmla="*/ 0 h 121"/>
                <a:gd name="T128" fmla="*/ 178 w 178"/>
                <a:gd name="T129" fmla="*/ 121 h 121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78" h="121">
                  <a:moveTo>
                    <a:pt x="166" y="52"/>
                  </a:moveTo>
                  <a:lnTo>
                    <a:pt x="166" y="52"/>
                  </a:lnTo>
                  <a:lnTo>
                    <a:pt x="178" y="46"/>
                  </a:lnTo>
                  <a:lnTo>
                    <a:pt x="155" y="0"/>
                  </a:lnTo>
                  <a:lnTo>
                    <a:pt x="149" y="0"/>
                  </a:lnTo>
                  <a:lnTo>
                    <a:pt x="129" y="6"/>
                  </a:lnTo>
                  <a:lnTo>
                    <a:pt x="112" y="9"/>
                  </a:lnTo>
                  <a:lnTo>
                    <a:pt x="103" y="12"/>
                  </a:lnTo>
                  <a:lnTo>
                    <a:pt x="95" y="17"/>
                  </a:lnTo>
                  <a:lnTo>
                    <a:pt x="86" y="29"/>
                  </a:lnTo>
                  <a:lnTo>
                    <a:pt x="80" y="35"/>
                  </a:lnTo>
                  <a:lnTo>
                    <a:pt x="74" y="40"/>
                  </a:lnTo>
                  <a:lnTo>
                    <a:pt x="69" y="35"/>
                  </a:lnTo>
                  <a:lnTo>
                    <a:pt x="49" y="32"/>
                  </a:lnTo>
                  <a:lnTo>
                    <a:pt x="37" y="29"/>
                  </a:lnTo>
                  <a:lnTo>
                    <a:pt x="26" y="32"/>
                  </a:lnTo>
                  <a:lnTo>
                    <a:pt x="17" y="35"/>
                  </a:lnTo>
                  <a:lnTo>
                    <a:pt x="17" y="32"/>
                  </a:lnTo>
                  <a:lnTo>
                    <a:pt x="14" y="29"/>
                  </a:lnTo>
                  <a:lnTo>
                    <a:pt x="11" y="32"/>
                  </a:lnTo>
                  <a:lnTo>
                    <a:pt x="8" y="46"/>
                  </a:lnTo>
                  <a:lnTo>
                    <a:pt x="3" y="52"/>
                  </a:lnTo>
                  <a:lnTo>
                    <a:pt x="3" y="55"/>
                  </a:lnTo>
                  <a:lnTo>
                    <a:pt x="3" y="58"/>
                  </a:lnTo>
                  <a:lnTo>
                    <a:pt x="0" y="58"/>
                  </a:lnTo>
                  <a:lnTo>
                    <a:pt x="0" y="63"/>
                  </a:lnTo>
                  <a:lnTo>
                    <a:pt x="0" y="69"/>
                  </a:lnTo>
                  <a:lnTo>
                    <a:pt x="3" y="72"/>
                  </a:lnTo>
                  <a:lnTo>
                    <a:pt x="6" y="78"/>
                  </a:lnTo>
                  <a:lnTo>
                    <a:pt x="8" y="86"/>
                  </a:lnTo>
                  <a:lnTo>
                    <a:pt x="11" y="95"/>
                  </a:lnTo>
                  <a:lnTo>
                    <a:pt x="11" y="106"/>
                  </a:lnTo>
                  <a:lnTo>
                    <a:pt x="14" y="115"/>
                  </a:lnTo>
                  <a:lnTo>
                    <a:pt x="17" y="121"/>
                  </a:lnTo>
                  <a:lnTo>
                    <a:pt x="29" y="121"/>
                  </a:lnTo>
                  <a:lnTo>
                    <a:pt x="40" y="121"/>
                  </a:lnTo>
                  <a:lnTo>
                    <a:pt x="51" y="109"/>
                  </a:lnTo>
                  <a:lnTo>
                    <a:pt x="63" y="109"/>
                  </a:lnTo>
                  <a:lnTo>
                    <a:pt x="80" y="104"/>
                  </a:lnTo>
                  <a:lnTo>
                    <a:pt x="89" y="101"/>
                  </a:lnTo>
                  <a:lnTo>
                    <a:pt x="95" y="98"/>
                  </a:lnTo>
                  <a:lnTo>
                    <a:pt x="100" y="98"/>
                  </a:lnTo>
                  <a:lnTo>
                    <a:pt x="106" y="95"/>
                  </a:lnTo>
                  <a:lnTo>
                    <a:pt x="109" y="89"/>
                  </a:lnTo>
                  <a:lnTo>
                    <a:pt x="109" y="86"/>
                  </a:lnTo>
                  <a:lnTo>
                    <a:pt x="112" y="84"/>
                  </a:lnTo>
                  <a:lnTo>
                    <a:pt x="120" y="81"/>
                  </a:lnTo>
                  <a:lnTo>
                    <a:pt x="123" y="78"/>
                  </a:lnTo>
                  <a:lnTo>
                    <a:pt x="129" y="78"/>
                  </a:lnTo>
                  <a:lnTo>
                    <a:pt x="138" y="78"/>
                  </a:lnTo>
                  <a:lnTo>
                    <a:pt x="149" y="72"/>
                  </a:lnTo>
                  <a:lnTo>
                    <a:pt x="161" y="63"/>
                  </a:lnTo>
                  <a:lnTo>
                    <a:pt x="161" y="61"/>
                  </a:lnTo>
                  <a:lnTo>
                    <a:pt x="163" y="55"/>
                  </a:lnTo>
                  <a:lnTo>
                    <a:pt x="166" y="5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12" name="Freeform 514"/>
            <p:cNvSpPr>
              <a:spLocks/>
            </p:cNvSpPr>
            <p:nvPr/>
          </p:nvSpPr>
          <p:spPr bwMode="auto">
            <a:xfrm>
              <a:off x="5383213" y="3656013"/>
              <a:ext cx="271462" cy="419100"/>
            </a:xfrm>
            <a:custGeom>
              <a:avLst/>
              <a:gdLst>
                <a:gd name="T0" fmla="*/ 2147483647 w 169"/>
                <a:gd name="T1" fmla="*/ 2147483647 h 261"/>
                <a:gd name="T2" fmla="*/ 2147483647 w 169"/>
                <a:gd name="T3" fmla="*/ 2147483647 h 261"/>
                <a:gd name="T4" fmla="*/ 2147483647 w 169"/>
                <a:gd name="T5" fmla="*/ 2147483647 h 261"/>
                <a:gd name="T6" fmla="*/ 2147483647 w 169"/>
                <a:gd name="T7" fmla="*/ 2147483647 h 261"/>
                <a:gd name="T8" fmla="*/ 2147483647 w 169"/>
                <a:gd name="T9" fmla="*/ 2147483647 h 261"/>
                <a:gd name="T10" fmla="*/ 2147483647 w 169"/>
                <a:gd name="T11" fmla="*/ 2147483647 h 261"/>
                <a:gd name="T12" fmla="*/ 2147483647 w 169"/>
                <a:gd name="T13" fmla="*/ 2147483647 h 261"/>
                <a:gd name="T14" fmla="*/ 2147483647 w 169"/>
                <a:gd name="T15" fmla="*/ 2147483647 h 261"/>
                <a:gd name="T16" fmla="*/ 2147483647 w 169"/>
                <a:gd name="T17" fmla="*/ 2147483647 h 261"/>
                <a:gd name="T18" fmla="*/ 2147483647 w 169"/>
                <a:gd name="T19" fmla="*/ 2147483647 h 261"/>
                <a:gd name="T20" fmla="*/ 2147483647 w 169"/>
                <a:gd name="T21" fmla="*/ 2147483647 h 261"/>
                <a:gd name="T22" fmla="*/ 2147483647 w 169"/>
                <a:gd name="T23" fmla="*/ 2147483647 h 261"/>
                <a:gd name="T24" fmla="*/ 2147483647 w 169"/>
                <a:gd name="T25" fmla="*/ 2147483647 h 261"/>
                <a:gd name="T26" fmla="*/ 2147483647 w 169"/>
                <a:gd name="T27" fmla="*/ 2147483647 h 261"/>
                <a:gd name="T28" fmla="*/ 2147483647 w 169"/>
                <a:gd name="T29" fmla="*/ 2147483647 h 261"/>
                <a:gd name="T30" fmla="*/ 2147483647 w 169"/>
                <a:gd name="T31" fmla="*/ 2147483647 h 261"/>
                <a:gd name="T32" fmla="*/ 2147483647 w 169"/>
                <a:gd name="T33" fmla="*/ 2147483647 h 261"/>
                <a:gd name="T34" fmla="*/ 2147483647 w 169"/>
                <a:gd name="T35" fmla="*/ 2147483647 h 261"/>
                <a:gd name="T36" fmla="*/ 2147483647 w 169"/>
                <a:gd name="T37" fmla="*/ 2147483647 h 261"/>
                <a:gd name="T38" fmla="*/ 2147483647 w 169"/>
                <a:gd name="T39" fmla="*/ 2147483647 h 261"/>
                <a:gd name="T40" fmla="*/ 2147483647 w 169"/>
                <a:gd name="T41" fmla="*/ 2147483647 h 261"/>
                <a:gd name="T42" fmla="*/ 2147483647 w 169"/>
                <a:gd name="T43" fmla="*/ 2147483647 h 261"/>
                <a:gd name="T44" fmla="*/ 2147483647 w 169"/>
                <a:gd name="T45" fmla="*/ 2147483647 h 261"/>
                <a:gd name="T46" fmla="*/ 2147483647 w 169"/>
                <a:gd name="T47" fmla="*/ 2147483647 h 261"/>
                <a:gd name="T48" fmla="*/ 2147483647 w 169"/>
                <a:gd name="T49" fmla="*/ 2147483647 h 261"/>
                <a:gd name="T50" fmla="*/ 2147483647 w 169"/>
                <a:gd name="T51" fmla="*/ 2147483647 h 261"/>
                <a:gd name="T52" fmla="*/ 2147483647 w 169"/>
                <a:gd name="T53" fmla="*/ 2147483647 h 261"/>
                <a:gd name="T54" fmla="*/ 2147483647 w 169"/>
                <a:gd name="T55" fmla="*/ 2147483647 h 261"/>
                <a:gd name="T56" fmla="*/ 2147483647 w 169"/>
                <a:gd name="T57" fmla="*/ 2147483647 h 261"/>
                <a:gd name="T58" fmla="*/ 2147483647 w 169"/>
                <a:gd name="T59" fmla="*/ 2147483647 h 261"/>
                <a:gd name="T60" fmla="*/ 2147483647 w 169"/>
                <a:gd name="T61" fmla="*/ 2147483647 h 261"/>
                <a:gd name="T62" fmla="*/ 2147483647 w 169"/>
                <a:gd name="T63" fmla="*/ 2147483647 h 261"/>
                <a:gd name="T64" fmla="*/ 2147483647 w 169"/>
                <a:gd name="T65" fmla="*/ 2147483647 h 261"/>
                <a:gd name="T66" fmla="*/ 2147483647 w 169"/>
                <a:gd name="T67" fmla="*/ 2147483647 h 261"/>
                <a:gd name="T68" fmla="*/ 2147483647 w 169"/>
                <a:gd name="T69" fmla="*/ 2147483647 h 261"/>
                <a:gd name="T70" fmla="*/ 0 w 169"/>
                <a:gd name="T71" fmla="*/ 2147483647 h 261"/>
                <a:gd name="T72" fmla="*/ 2147483647 w 169"/>
                <a:gd name="T73" fmla="*/ 2147483647 h 261"/>
                <a:gd name="T74" fmla="*/ 2147483647 w 169"/>
                <a:gd name="T75" fmla="*/ 2147483647 h 261"/>
                <a:gd name="T76" fmla="*/ 2147483647 w 169"/>
                <a:gd name="T77" fmla="*/ 2147483647 h 261"/>
                <a:gd name="T78" fmla="*/ 2147483647 w 169"/>
                <a:gd name="T79" fmla="*/ 2147483647 h 261"/>
                <a:gd name="T80" fmla="*/ 2147483647 w 169"/>
                <a:gd name="T81" fmla="*/ 2147483647 h 261"/>
                <a:gd name="T82" fmla="*/ 2147483647 w 169"/>
                <a:gd name="T83" fmla="*/ 2147483647 h 261"/>
                <a:gd name="T84" fmla="*/ 2147483647 w 169"/>
                <a:gd name="T85" fmla="*/ 2147483647 h 261"/>
                <a:gd name="T86" fmla="*/ 2147483647 w 169"/>
                <a:gd name="T87" fmla="*/ 2147483647 h 261"/>
                <a:gd name="T88" fmla="*/ 2147483647 w 169"/>
                <a:gd name="T89" fmla="*/ 2147483647 h 261"/>
                <a:gd name="T90" fmla="*/ 2147483647 w 169"/>
                <a:gd name="T91" fmla="*/ 2147483647 h 261"/>
                <a:gd name="T92" fmla="*/ 2147483647 w 169"/>
                <a:gd name="T93" fmla="*/ 2147483647 h 261"/>
                <a:gd name="T94" fmla="*/ 2147483647 w 169"/>
                <a:gd name="T95" fmla="*/ 2147483647 h 261"/>
                <a:gd name="T96" fmla="*/ 2147483647 w 169"/>
                <a:gd name="T97" fmla="*/ 2147483647 h 26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69"/>
                <a:gd name="T148" fmla="*/ 0 h 261"/>
                <a:gd name="T149" fmla="*/ 169 w 169"/>
                <a:gd name="T150" fmla="*/ 261 h 261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69" h="261">
                  <a:moveTo>
                    <a:pt x="166" y="17"/>
                  </a:moveTo>
                  <a:lnTo>
                    <a:pt x="166" y="17"/>
                  </a:lnTo>
                  <a:lnTo>
                    <a:pt x="169" y="6"/>
                  </a:lnTo>
                  <a:lnTo>
                    <a:pt x="163" y="3"/>
                  </a:lnTo>
                  <a:lnTo>
                    <a:pt x="160" y="0"/>
                  </a:lnTo>
                  <a:lnTo>
                    <a:pt x="158" y="6"/>
                  </a:lnTo>
                  <a:lnTo>
                    <a:pt x="155" y="9"/>
                  </a:lnTo>
                  <a:lnTo>
                    <a:pt x="146" y="12"/>
                  </a:lnTo>
                  <a:lnTo>
                    <a:pt x="138" y="15"/>
                  </a:lnTo>
                  <a:lnTo>
                    <a:pt x="135" y="15"/>
                  </a:lnTo>
                  <a:lnTo>
                    <a:pt x="129" y="15"/>
                  </a:lnTo>
                  <a:lnTo>
                    <a:pt x="123" y="15"/>
                  </a:lnTo>
                  <a:lnTo>
                    <a:pt x="115" y="17"/>
                  </a:lnTo>
                  <a:lnTo>
                    <a:pt x="103" y="17"/>
                  </a:lnTo>
                  <a:lnTo>
                    <a:pt x="92" y="26"/>
                  </a:lnTo>
                  <a:lnTo>
                    <a:pt x="89" y="26"/>
                  </a:lnTo>
                  <a:lnTo>
                    <a:pt x="83" y="23"/>
                  </a:lnTo>
                  <a:lnTo>
                    <a:pt x="80" y="23"/>
                  </a:lnTo>
                  <a:lnTo>
                    <a:pt x="74" y="23"/>
                  </a:lnTo>
                  <a:lnTo>
                    <a:pt x="71" y="29"/>
                  </a:lnTo>
                  <a:lnTo>
                    <a:pt x="69" y="29"/>
                  </a:lnTo>
                  <a:lnTo>
                    <a:pt x="63" y="32"/>
                  </a:lnTo>
                  <a:lnTo>
                    <a:pt x="51" y="29"/>
                  </a:lnTo>
                  <a:lnTo>
                    <a:pt x="49" y="29"/>
                  </a:lnTo>
                  <a:lnTo>
                    <a:pt x="46" y="26"/>
                  </a:lnTo>
                  <a:lnTo>
                    <a:pt x="37" y="15"/>
                  </a:lnTo>
                  <a:lnTo>
                    <a:pt x="28" y="20"/>
                  </a:lnTo>
                  <a:lnTo>
                    <a:pt x="26" y="26"/>
                  </a:lnTo>
                  <a:lnTo>
                    <a:pt x="28" y="35"/>
                  </a:lnTo>
                  <a:lnTo>
                    <a:pt x="37" y="43"/>
                  </a:lnTo>
                  <a:lnTo>
                    <a:pt x="46" y="55"/>
                  </a:lnTo>
                  <a:lnTo>
                    <a:pt x="69" y="66"/>
                  </a:lnTo>
                  <a:lnTo>
                    <a:pt x="100" y="78"/>
                  </a:lnTo>
                  <a:lnTo>
                    <a:pt x="120" y="78"/>
                  </a:lnTo>
                  <a:lnTo>
                    <a:pt x="66" y="141"/>
                  </a:lnTo>
                  <a:lnTo>
                    <a:pt x="66" y="138"/>
                  </a:lnTo>
                  <a:lnTo>
                    <a:pt x="57" y="138"/>
                  </a:lnTo>
                  <a:lnTo>
                    <a:pt x="40" y="141"/>
                  </a:lnTo>
                  <a:lnTo>
                    <a:pt x="37" y="144"/>
                  </a:lnTo>
                  <a:lnTo>
                    <a:pt x="34" y="147"/>
                  </a:lnTo>
                  <a:lnTo>
                    <a:pt x="28" y="150"/>
                  </a:lnTo>
                  <a:lnTo>
                    <a:pt x="28" y="152"/>
                  </a:lnTo>
                  <a:lnTo>
                    <a:pt x="20" y="152"/>
                  </a:lnTo>
                  <a:lnTo>
                    <a:pt x="14" y="155"/>
                  </a:lnTo>
                  <a:lnTo>
                    <a:pt x="8" y="167"/>
                  </a:lnTo>
                  <a:lnTo>
                    <a:pt x="0" y="181"/>
                  </a:lnTo>
                  <a:lnTo>
                    <a:pt x="0" y="250"/>
                  </a:lnTo>
                  <a:lnTo>
                    <a:pt x="11" y="261"/>
                  </a:lnTo>
                  <a:lnTo>
                    <a:pt x="23" y="241"/>
                  </a:lnTo>
                  <a:lnTo>
                    <a:pt x="37" y="224"/>
                  </a:lnTo>
                  <a:lnTo>
                    <a:pt x="49" y="213"/>
                  </a:lnTo>
                  <a:lnTo>
                    <a:pt x="63" y="201"/>
                  </a:lnTo>
                  <a:lnTo>
                    <a:pt x="86" y="181"/>
                  </a:lnTo>
                  <a:lnTo>
                    <a:pt x="112" y="155"/>
                  </a:lnTo>
                  <a:lnTo>
                    <a:pt x="123" y="135"/>
                  </a:lnTo>
                  <a:lnTo>
                    <a:pt x="132" y="121"/>
                  </a:lnTo>
                  <a:lnTo>
                    <a:pt x="138" y="106"/>
                  </a:lnTo>
                  <a:lnTo>
                    <a:pt x="146" y="83"/>
                  </a:lnTo>
                  <a:lnTo>
                    <a:pt x="158" y="66"/>
                  </a:lnTo>
                  <a:lnTo>
                    <a:pt x="163" y="52"/>
                  </a:lnTo>
                  <a:lnTo>
                    <a:pt x="163" y="40"/>
                  </a:lnTo>
                  <a:lnTo>
                    <a:pt x="166" y="32"/>
                  </a:lnTo>
                  <a:lnTo>
                    <a:pt x="166" y="26"/>
                  </a:lnTo>
                  <a:lnTo>
                    <a:pt x="166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13" name="Freeform 515"/>
            <p:cNvSpPr>
              <a:spLocks/>
            </p:cNvSpPr>
            <p:nvPr/>
          </p:nvSpPr>
          <p:spPr bwMode="auto">
            <a:xfrm>
              <a:off x="4251325" y="3687763"/>
              <a:ext cx="44450" cy="157162"/>
            </a:xfrm>
            <a:custGeom>
              <a:avLst/>
              <a:gdLst>
                <a:gd name="T0" fmla="*/ 2147483647 w 28"/>
                <a:gd name="T1" fmla="*/ 2147483647 h 98"/>
                <a:gd name="T2" fmla="*/ 2147483647 w 28"/>
                <a:gd name="T3" fmla="*/ 2147483647 h 98"/>
                <a:gd name="T4" fmla="*/ 2147483647 w 28"/>
                <a:gd name="T5" fmla="*/ 2147483647 h 98"/>
                <a:gd name="T6" fmla="*/ 2147483647 w 28"/>
                <a:gd name="T7" fmla="*/ 2147483647 h 98"/>
                <a:gd name="T8" fmla="*/ 2147483647 w 28"/>
                <a:gd name="T9" fmla="*/ 2147483647 h 98"/>
                <a:gd name="T10" fmla="*/ 2147483647 w 28"/>
                <a:gd name="T11" fmla="*/ 2147483647 h 98"/>
                <a:gd name="T12" fmla="*/ 2147483647 w 28"/>
                <a:gd name="T13" fmla="*/ 0 h 98"/>
                <a:gd name="T14" fmla="*/ 0 w 28"/>
                <a:gd name="T15" fmla="*/ 0 h 98"/>
                <a:gd name="T16" fmla="*/ 0 w 28"/>
                <a:gd name="T17" fmla="*/ 0 h 98"/>
                <a:gd name="T18" fmla="*/ 0 w 28"/>
                <a:gd name="T19" fmla="*/ 2147483647 h 98"/>
                <a:gd name="T20" fmla="*/ 2147483647 w 28"/>
                <a:gd name="T21" fmla="*/ 2147483647 h 98"/>
                <a:gd name="T22" fmla="*/ 2147483647 w 28"/>
                <a:gd name="T23" fmla="*/ 2147483647 h 98"/>
                <a:gd name="T24" fmla="*/ 2147483647 w 28"/>
                <a:gd name="T25" fmla="*/ 2147483647 h 98"/>
                <a:gd name="T26" fmla="*/ 2147483647 w 28"/>
                <a:gd name="T27" fmla="*/ 2147483647 h 98"/>
                <a:gd name="T28" fmla="*/ 2147483647 w 28"/>
                <a:gd name="T29" fmla="*/ 2147483647 h 98"/>
                <a:gd name="T30" fmla="*/ 2147483647 w 28"/>
                <a:gd name="T31" fmla="*/ 2147483647 h 98"/>
                <a:gd name="T32" fmla="*/ 2147483647 w 28"/>
                <a:gd name="T33" fmla="*/ 2147483647 h 98"/>
                <a:gd name="T34" fmla="*/ 2147483647 w 28"/>
                <a:gd name="T35" fmla="*/ 2147483647 h 98"/>
                <a:gd name="T36" fmla="*/ 2147483647 w 28"/>
                <a:gd name="T37" fmla="*/ 2147483647 h 98"/>
                <a:gd name="T38" fmla="*/ 2147483647 w 28"/>
                <a:gd name="T39" fmla="*/ 2147483647 h 98"/>
                <a:gd name="T40" fmla="*/ 2147483647 w 28"/>
                <a:gd name="T41" fmla="*/ 2147483647 h 98"/>
                <a:gd name="T42" fmla="*/ 2147483647 w 28"/>
                <a:gd name="T43" fmla="*/ 2147483647 h 98"/>
                <a:gd name="T44" fmla="*/ 2147483647 w 28"/>
                <a:gd name="T45" fmla="*/ 2147483647 h 98"/>
                <a:gd name="T46" fmla="*/ 2147483647 w 28"/>
                <a:gd name="T47" fmla="*/ 2147483647 h 98"/>
                <a:gd name="T48" fmla="*/ 2147483647 w 28"/>
                <a:gd name="T49" fmla="*/ 2147483647 h 98"/>
                <a:gd name="T50" fmla="*/ 2147483647 w 28"/>
                <a:gd name="T51" fmla="*/ 2147483647 h 98"/>
                <a:gd name="T52" fmla="*/ 2147483647 w 28"/>
                <a:gd name="T53" fmla="*/ 2147483647 h 98"/>
                <a:gd name="T54" fmla="*/ 2147483647 w 28"/>
                <a:gd name="T55" fmla="*/ 2147483647 h 98"/>
                <a:gd name="T56" fmla="*/ 2147483647 w 28"/>
                <a:gd name="T57" fmla="*/ 2147483647 h 98"/>
                <a:gd name="T58" fmla="*/ 2147483647 w 28"/>
                <a:gd name="T59" fmla="*/ 2147483647 h 98"/>
                <a:gd name="T60" fmla="*/ 2147483647 w 28"/>
                <a:gd name="T61" fmla="*/ 2147483647 h 98"/>
                <a:gd name="T62" fmla="*/ 2147483647 w 28"/>
                <a:gd name="T63" fmla="*/ 2147483647 h 98"/>
                <a:gd name="T64" fmla="*/ 2147483647 w 28"/>
                <a:gd name="T65" fmla="*/ 2147483647 h 98"/>
                <a:gd name="T66" fmla="*/ 2147483647 w 28"/>
                <a:gd name="T67" fmla="*/ 2147483647 h 98"/>
                <a:gd name="T68" fmla="*/ 2147483647 w 28"/>
                <a:gd name="T69" fmla="*/ 2147483647 h 98"/>
                <a:gd name="T70" fmla="*/ 2147483647 w 28"/>
                <a:gd name="T71" fmla="*/ 2147483647 h 98"/>
                <a:gd name="T72" fmla="*/ 2147483647 w 28"/>
                <a:gd name="T73" fmla="*/ 2147483647 h 98"/>
                <a:gd name="T74" fmla="*/ 2147483647 w 28"/>
                <a:gd name="T75" fmla="*/ 2147483647 h 9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8"/>
                <a:gd name="T115" fmla="*/ 0 h 98"/>
                <a:gd name="T116" fmla="*/ 28 w 28"/>
                <a:gd name="T117" fmla="*/ 98 h 9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8" h="98">
                  <a:moveTo>
                    <a:pt x="23" y="81"/>
                  </a:moveTo>
                  <a:lnTo>
                    <a:pt x="25" y="66"/>
                  </a:lnTo>
                  <a:lnTo>
                    <a:pt x="25" y="41"/>
                  </a:lnTo>
                  <a:lnTo>
                    <a:pt x="20" y="32"/>
                  </a:lnTo>
                  <a:lnTo>
                    <a:pt x="20" y="20"/>
                  </a:lnTo>
                  <a:lnTo>
                    <a:pt x="8" y="12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5" y="12"/>
                  </a:lnTo>
                  <a:lnTo>
                    <a:pt x="5" y="18"/>
                  </a:lnTo>
                  <a:lnTo>
                    <a:pt x="5" y="20"/>
                  </a:lnTo>
                  <a:lnTo>
                    <a:pt x="5" y="29"/>
                  </a:lnTo>
                  <a:lnTo>
                    <a:pt x="8" y="32"/>
                  </a:lnTo>
                  <a:lnTo>
                    <a:pt x="8" y="35"/>
                  </a:lnTo>
                  <a:lnTo>
                    <a:pt x="5" y="41"/>
                  </a:lnTo>
                  <a:lnTo>
                    <a:pt x="8" y="46"/>
                  </a:lnTo>
                  <a:lnTo>
                    <a:pt x="11" y="52"/>
                  </a:lnTo>
                  <a:lnTo>
                    <a:pt x="8" y="66"/>
                  </a:lnTo>
                  <a:lnTo>
                    <a:pt x="8" y="81"/>
                  </a:lnTo>
                  <a:lnTo>
                    <a:pt x="17" y="95"/>
                  </a:lnTo>
                  <a:lnTo>
                    <a:pt x="20" y="98"/>
                  </a:lnTo>
                  <a:lnTo>
                    <a:pt x="28" y="95"/>
                  </a:lnTo>
                  <a:lnTo>
                    <a:pt x="25" y="89"/>
                  </a:lnTo>
                  <a:lnTo>
                    <a:pt x="23" y="8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14" name="Freeform 516"/>
            <p:cNvSpPr>
              <a:spLocks/>
            </p:cNvSpPr>
            <p:nvPr/>
          </p:nvSpPr>
          <p:spPr bwMode="auto">
            <a:xfrm>
              <a:off x="4162425" y="3683000"/>
              <a:ext cx="115888" cy="203200"/>
            </a:xfrm>
            <a:custGeom>
              <a:avLst/>
              <a:gdLst>
                <a:gd name="T0" fmla="*/ 2147483647 w 72"/>
                <a:gd name="T1" fmla="*/ 2147483647 h 127"/>
                <a:gd name="T2" fmla="*/ 2147483647 w 72"/>
                <a:gd name="T3" fmla="*/ 2147483647 h 127"/>
                <a:gd name="T4" fmla="*/ 2147483647 w 72"/>
                <a:gd name="T5" fmla="*/ 2147483647 h 127"/>
                <a:gd name="T6" fmla="*/ 2147483647 w 72"/>
                <a:gd name="T7" fmla="*/ 2147483647 h 127"/>
                <a:gd name="T8" fmla="*/ 2147483647 w 72"/>
                <a:gd name="T9" fmla="*/ 2147483647 h 127"/>
                <a:gd name="T10" fmla="*/ 2147483647 w 72"/>
                <a:gd name="T11" fmla="*/ 2147483647 h 127"/>
                <a:gd name="T12" fmla="*/ 2147483647 w 72"/>
                <a:gd name="T13" fmla="*/ 2147483647 h 127"/>
                <a:gd name="T14" fmla="*/ 2147483647 w 72"/>
                <a:gd name="T15" fmla="*/ 2147483647 h 127"/>
                <a:gd name="T16" fmla="*/ 2147483647 w 72"/>
                <a:gd name="T17" fmla="*/ 2147483647 h 127"/>
                <a:gd name="T18" fmla="*/ 2147483647 w 72"/>
                <a:gd name="T19" fmla="*/ 2147483647 h 127"/>
                <a:gd name="T20" fmla="*/ 2147483647 w 72"/>
                <a:gd name="T21" fmla="*/ 2147483647 h 127"/>
                <a:gd name="T22" fmla="*/ 2147483647 w 72"/>
                <a:gd name="T23" fmla="*/ 2147483647 h 127"/>
                <a:gd name="T24" fmla="*/ 2147483647 w 72"/>
                <a:gd name="T25" fmla="*/ 2147483647 h 127"/>
                <a:gd name="T26" fmla="*/ 2147483647 w 72"/>
                <a:gd name="T27" fmla="*/ 2147483647 h 127"/>
                <a:gd name="T28" fmla="*/ 2147483647 w 72"/>
                <a:gd name="T29" fmla="*/ 2147483647 h 127"/>
                <a:gd name="T30" fmla="*/ 2147483647 w 72"/>
                <a:gd name="T31" fmla="*/ 2147483647 h 127"/>
                <a:gd name="T32" fmla="*/ 2147483647 w 72"/>
                <a:gd name="T33" fmla="*/ 2147483647 h 127"/>
                <a:gd name="T34" fmla="*/ 2147483647 w 72"/>
                <a:gd name="T35" fmla="*/ 0 h 127"/>
                <a:gd name="T36" fmla="*/ 2147483647 w 72"/>
                <a:gd name="T37" fmla="*/ 0 h 127"/>
                <a:gd name="T38" fmla="*/ 2147483647 w 72"/>
                <a:gd name="T39" fmla="*/ 2147483647 h 127"/>
                <a:gd name="T40" fmla="*/ 2147483647 w 72"/>
                <a:gd name="T41" fmla="*/ 2147483647 h 127"/>
                <a:gd name="T42" fmla="*/ 2147483647 w 72"/>
                <a:gd name="T43" fmla="*/ 2147483647 h 127"/>
                <a:gd name="T44" fmla="*/ 2147483647 w 72"/>
                <a:gd name="T45" fmla="*/ 2147483647 h 127"/>
                <a:gd name="T46" fmla="*/ 2147483647 w 72"/>
                <a:gd name="T47" fmla="*/ 2147483647 h 127"/>
                <a:gd name="T48" fmla="*/ 2147483647 w 72"/>
                <a:gd name="T49" fmla="*/ 2147483647 h 127"/>
                <a:gd name="T50" fmla="*/ 2147483647 w 72"/>
                <a:gd name="T51" fmla="*/ 2147483647 h 127"/>
                <a:gd name="T52" fmla="*/ 2147483647 w 72"/>
                <a:gd name="T53" fmla="*/ 2147483647 h 127"/>
                <a:gd name="T54" fmla="*/ 2147483647 w 72"/>
                <a:gd name="T55" fmla="*/ 2147483647 h 127"/>
                <a:gd name="T56" fmla="*/ 2147483647 w 72"/>
                <a:gd name="T57" fmla="*/ 2147483647 h 127"/>
                <a:gd name="T58" fmla="*/ 2147483647 w 72"/>
                <a:gd name="T59" fmla="*/ 2147483647 h 127"/>
                <a:gd name="T60" fmla="*/ 2147483647 w 72"/>
                <a:gd name="T61" fmla="*/ 2147483647 h 127"/>
                <a:gd name="T62" fmla="*/ 2147483647 w 72"/>
                <a:gd name="T63" fmla="*/ 2147483647 h 127"/>
                <a:gd name="T64" fmla="*/ 2147483647 w 72"/>
                <a:gd name="T65" fmla="*/ 2147483647 h 127"/>
                <a:gd name="T66" fmla="*/ 2147483647 w 72"/>
                <a:gd name="T67" fmla="*/ 2147483647 h 127"/>
                <a:gd name="T68" fmla="*/ 2147483647 w 72"/>
                <a:gd name="T69" fmla="*/ 2147483647 h 127"/>
                <a:gd name="T70" fmla="*/ 2147483647 w 72"/>
                <a:gd name="T71" fmla="*/ 2147483647 h 127"/>
                <a:gd name="T72" fmla="*/ 2147483647 w 72"/>
                <a:gd name="T73" fmla="*/ 2147483647 h 127"/>
                <a:gd name="T74" fmla="*/ 2147483647 w 72"/>
                <a:gd name="T75" fmla="*/ 2147483647 h 127"/>
                <a:gd name="T76" fmla="*/ 2147483647 w 72"/>
                <a:gd name="T77" fmla="*/ 2147483647 h 127"/>
                <a:gd name="T78" fmla="*/ 0 w 72"/>
                <a:gd name="T79" fmla="*/ 2147483647 h 127"/>
                <a:gd name="T80" fmla="*/ 0 w 72"/>
                <a:gd name="T81" fmla="*/ 2147483647 h 127"/>
                <a:gd name="T82" fmla="*/ 0 w 72"/>
                <a:gd name="T83" fmla="*/ 2147483647 h 127"/>
                <a:gd name="T84" fmla="*/ 2147483647 w 72"/>
                <a:gd name="T85" fmla="*/ 2147483647 h 127"/>
                <a:gd name="T86" fmla="*/ 2147483647 w 72"/>
                <a:gd name="T87" fmla="*/ 2147483647 h 127"/>
                <a:gd name="T88" fmla="*/ 2147483647 w 72"/>
                <a:gd name="T89" fmla="*/ 2147483647 h 127"/>
                <a:gd name="T90" fmla="*/ 2147483647 w 72"/>
                <a:gd name="T91" fmla="*/ 2147483647 h 127"/>
                <a:gd name="T92" fmla="*/ 2147483647 w 72"/>
                <a:gd name="T93" fmla="*/ 2147483647 h 127"/>
                <a:gd name="T94" fmla="*/ 2147483647 w 72"/>
                <a:gd name="T95" fmla="*/ 2147483647 h 127"/>
                <a:gd name="T96" fmla="*/ 2147483647 w 72"/>
                <a:gd name="T97" fmla="*/ 2147483647 h 127"/>
                <a:gd name="T98" fmla="*/ 2147483647 w 72"/>
                <a:gd name="T99" fmla="*/ 2147483647 h 127"/>
                <a:gd name="T100" fmla="*/ 2147483647 w 72"/>
                <a:gd name="T101" fmla="*/ 2147483647 h 127"/>
                <a:gd name="T102" fmla="*/ 2147483647 w 72"/>
                <a:gd name="T103" fmla="*/ 2147483647 h 127"/>
                <a:gd name="T104" fmla="*/ 2147483647 w 72"/>
                <a:gd name="T105" fmla="*/ 2147483647 h 127"/>
                <a:gd name="T106" fmla="*/ 2147483647 w 72"/>
                <a:gd name="T107" fmla="*/ 2147483647 h 127"/>
                <a:gd name="T108" fmla="*/ 2147483647 w 72"/>
                <a:gd name="T109" fmla="*/ 2147483647 h 127"/>
                <a:gd name="T110" fmla="*/ 2147483647 w 72"/>
                <a:gd name="T111" fmla="*/ 2147483647 h 127"/>
                <a:gd name="T112" fmla="*/ 2147483647 w 72"/>
                <a:gd name="T113" fmla="*/ 2147483647 h 127"/>
                <a:gd name="T114" fmla="*/ 2147483647 w 72"/>
                <a:gd name="T115" fmla="*/ 2147483647 h 127"/>
                <a:gd name="T116" fmla="*/ 2147483647 w 72"/>
                <a:gd name="T117" fmla="*/ 2147483647 h 127"/>
                <a:gd name="T118" fmla="*/ 2147483647 w 72"/>
                <a:gd name="T119" fmla="*/ 2147483647 h 127"/>
                <a:gd name="T120" fmla="*/ 2147483647 w 72"/>
                <a:gd name="T121" fmla="*/ 2147483647 h 1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2"/>
                <a:gd name="T184" fmla="*/ 0 h 127"/>
                <a:gd name="T185" fmla="*/ 72 w 72"/>
                <a:gd name="T186" fmla="*/ 127 h 12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2" h="127">
                  <a:moveTo>
                    <a:pt x="60" y="87"/>
                  </a:moveTo>
                  <a:lnTo>
                    <a:pt x="60" y="69"/>
                  </a:lnTo>
                  <a:lnTo>
                    <a:pt x="63" y="58"/>
                  </a:lnTo>
                  <a:lnTo>
                    <a:pt x="60" y="49"/>
                  </a:lnTo>
                  <a:lnTo>
                    <a:pt x="57" y="44"/>
                  </a:lnTo>
                  <a:lnTo>
                    <a:pt x="60" y="38"/>
                  </a:lnTo>
                  <a:lnTo>
                    <a:pt x="57" y="32"/>
                  </a:lnTo>
                  <a:lnTo>
                    <a:pt x="57" y="23"/>
                  </a:lnTo>
                  <a:lnTo>
                    <a:pt x="57" y="15"/>
                  </a:lnTo>
                  <a:lnTo>
                    <a:pt x="52" y="9"/>
                  </a:lnTo>
                  <a:lnTo>
                    <a:pt x="52" y="3"/>
                  </a:lnTo>
                  <a:lnTo>
                    <a:pt x="52" y="0"/>
                  </a:lnTo>
                  <a:lnTo>
                    <a:pt x="49" y="0"/>
                  </a:lnTo>
                  <a:lnTo>
                    <a:pt x="43" y="6"/>
                  </a:lnTo>
                  <a:lnTo>
                    <a:pt x="37" y="6"/>
                  </a:lnTo>
                  <a:lnTo>
                    <a:pt x="23" y="3"/>
                  </a:lnTo>
                  <a:lnTo>
                    <a:pt x="9" y="6"/>
                  </a:lnTo>
                  <a:lnTo>
                    <a:pt x="6" y="12"/>
                  </a:lnTo>
                  <a:lnTo>
                    <a:pt x="9" y="35"/>
                  </a:lnTo>
                  <a:lnTo>
                    <a:pt x="9" y="38"/>
                  </a:lnTo>
                  <a:lnTo>
                    <a:pt x="14" y="55"/>
                  </a:lnTo>
                  <a:lnTo>
                    <a:pt x="14" y="58"/>
                  </a:lnTo>
                  <a:lnTo>
                    <a:pt x="9" y="64"/>
                  </a:lnTo>
                  <a:lnTo>
                    <a:pt x="6" y="72"/>
                  </a:lnTo>
                  <a:lnTo>
                    <a:pt x="0" y="81"/>
                  </a:lnTo>
                  <a:lnTo>
                    <a:pt x="0" y="89"/>
                  </a:lnTo>
                  <a:lnTo>
                    <a:pt x="3" y="101"/>
                  </a:lnTo>
                  <a:lnTo>
                    <a:pt x="9" y="110"/>
                  </a:lnTo>
                  <a:lnTo>
                    <a:pt x="6" y="121"/>
                  </a:lnTo>
                  <a:lnTo>
                    <a:pt x="14" y="127"/>
                  </a:lnTo>
                  <a:lnTo>
                    <a:pt x="20" y="121"/>
                  </a:lnTo>
                  <a:lnTo>
                    <a:pt x="23" y="118"/>
                  </a:lnTo>
                  <a:lnTo>
                    <a:pt x="32" y="118"/>
                  </a:lnTo>
                  <a:lnTo>
                    <a:pt x="43" y="115"/>
                  </a:lnTo>
                  <a:lnTo>
                    <a:pt x="46" y="112"/>
                  </a:lnTo>
                  <a:lnTo>
                    <a:pt x="57" y="107"/>
                  </a:lnTo>
                  <a:lnTo>
                    <a:pt x="63" y="104"/>
                  </a:lnTo>
                  <a:lnTo>
                    <a:pt x="72" y="104"/>
                  </a:lnTo>
                  <a:lnTo>
                    <a:pt x="69" y="98"/>
                  </a:lnTo>
                  <a:lnTo>
                    <a:pt x="60" y="8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15" name="Freeform 517"/>
            <p:cNvSpPr>
              <a:spLocks/>
            </p:cNvSpPr>
            <p:nvPr/>
          </p:nvSpPr>
          <p:spPr bwMode="auto">
            <a:xfrm>
              <a:off x="4273550" y="3646488"/>
              <a:ext cx="79375" cy="188912"/>
            </a:xfrm>
            <a:custGeom>
              <a:avLst/>
              <a:gdLst>
                <a:gd name="T0" fmla="*/ 2147483647 w 49"/>
                <a:gd name="T1" fmla="*/ 2147483647 h 118"/>
                <a:gd name="T2" fmla="*/ 2147483647 w 49"/>
                <a:gd name="T3" fmla="*/ 2147483647 h 118"/>
                <a:gd name="T4" fmla="*/ 2147483647 w 49"/>
                <a:gd name="T5" fmla="*/ 2147483647 h 118"/>
                <a:gd name="T6" fmla="*/ 2147483647 w 49"/>
                <a:gd name="T7" fmla="*/ 2147483647 h 118"/>
                <a:gd name="T8" fmla="*/ 2147483647 w 49"/>
                <a:gd name="T9" fmla="*/ 2147483647 h 118"/>
                <a:gd name="T10" fmla="*/ 2147483647 w 49"/>
                <a:gd name="T11" fmla="*/ 2147483647 h 118"/>
                <a:gd name="T12" fmla="*/ 2147483647 w 49"/>
                <a:gd name="T13" fmla="*/ 2147483647 h 118"/>
                <a:gd name="T14" fmla="*/ 2147483647 w 49"/>
                <a:gd name="T15" fmla="*/ 2147483647 h 118"/>
                <a:gd name="T16" fmla="*/ 2147483647 w 49"/>
                <a:gd name="T17" fmla="*/ 2147483647 h 118"/>
                <a:gd name="T18" fmla="*/ 2147483647 w 49"/>
                <a:gd name="T19" fmla="*/ 2147483647 h 118"/>
                <a:gd name="T20" fmla="*/ 2147483647 w 49"/>
                <a:gd name="T21" fmla="*/ 2147483647 h 118"/>
                <a:gd name="T22" fmla="*/ 2147483647 w 49"/>
                <a:gd name="T23" fmla="*/ 0 h 118"/>
                <a:gd name="T24" fmla="*/ 2147483647 w 49"/>
                <a:gd name="T25" fmla="*/ 2147483647 h 118"/>
                <a:gd name="T26" fmla="*/ 2147483647 w 49"/>
                <a:gd name="T27" fmla="*/ 2147483647 h 118"/>
                <a:gd name="T28" fmla="*/ 2147483647 w 49"/>
                <a:gd name="T29" fmla="*/ 2147483647 h 118"/>
                <a:gd name="T30" fmla="*/ 2147483647 w 49"/>
                <a:gd name="T31" fmla="*/ 2147483647 h 118"/>
                <a:gd name="T32" fmla="*/ 0 w 49"/>
                <a:gd name="T33" fmla="*/ 2147483647 h 118"/>
                <a:gd name="T34" fmla="*/ 0 w 49"/>
                <a:gd name="T35" fmla="*/ 2147483647 h 118"/>
                <a:gd name="T36" fmla="*/ 2147483647 w 49"/>
                <a:gd name="T37" fmla="*/ 2147483647 h 118"/>
                <a:gd name="T38" fmla="*/ 2147483647 w 49"/>
                <a:gd name="T39" fmla="*/ 2147483647 h 118"/>
                <a:gd name="T40" fmla="*/ 2147483647 w 49"/>
                <a:gd name="T41" fmla="*/ 2147483647 h 118"/>
                <a:gd name="T42" fmla="*/ 2147483647 w 49"/>
                <a:gd name="T43" fmla="*/ 2147483647 h 118"/>
                <a:gd name="T44" fmla="*/ 2147483647 w 49"/>
                <a:gd name="T45" fmla="*/ 2147483647 h 118"/>
                <a:gd name="T46" fmla="*/ 2147483647 w 49"/>
                <a:gd name="T47" fmla="*/ 2147483647 h 118"/>
                <a:gd name="T48" fmla="*/ 2147483647 w 49"/>
                <a:gd name="T49" fmla="*/ 2147483647 h 118"/>
                <a:gd name="T50" fmla="*/ 2147483647 w 49"/>
                <a:gd name="T51" fmla="*/ 2147483647 h 118"/>
                <a:gd name="T52" fmla="*/ 2147483647 w 49"/>
                <a:gd name="T53" fmla="*/ 2147483647 h 118"/>
                <a:gd name="T54" fmla="*/ 2147483647 w 49"/>
                <a:gd name="T55" fmla="*/ 2147483647 h 118"/>
                <a:gd name="T56" fmla="*/ 2147483647 w 49"/>
                <a:gd name="T57" fmla="*/ 2147483647 h 118"/>
                <a:gd name="T58" fmla="*/ 2147483647 w 49"/>
                <a:gd name="T59" fmla="*/ 2147483647 h 118"/>
                <a:gd name="T60" fmla="*/ 2147483647 w 49"/>
                <a:gd name="T61" fmla="*/ 2147483647 h 11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49"/>
                <a:gd name="T94" fmla="*/ 0 h 118"/>
                <a:gd name="T95" fmla="*/ 49 w 49"/>
                <a:gd name="T96" fmla="*/ 118 h 118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49" h="118">
                  <a:moveTo>
                    <a:pt x="32" y="84"/>
                  </a:moveTo>
                  <a:lnTo>
                    <a:pt x="29" y="67"/>
                  </a:lnTo>
                  <a:lnTo>
                    <a:pt x="34" y="64"/>
                  </a:lnTo>
                  <a:lnTo>
                    <a:pt x="40" y="52"/>
                  </a:lnTo>
                  <a:lnTo>
                    <a:pt x="46" y="44"/>
                  </a:lnTo>
                  <a:lnTo>
                    <a:pt x="46" y="38"/>
                  </a:lnTo>
                  <a:lnTo>
                    <a:pt x="49" y="32"/>
                  </a:lnTo>
                  <a:lnTo>
                    <a:pt x="43" y="18"/>
                  </a:lnTo>
                  <a:lnTo>
                    <a:pt x="43" y="12"/>
                  </a:lnTo>
                  <a:lnTo>
                    <a:pt x="40" y="6"/>
                  </a:lnTo>
                  <a:lnTo>
                    <a:pt x="34" y="0"/>
                  </a:lnTo>
                  <a:lnTo>
                    <a:pt x="29" y="3"/>
                  </a:lnTo>
                  <a:lnTo>
                    <a:pt x="29" y="9"/>
                  </a:lnTo>
                  <a:lnTo>
                    <a:pt x="20" y="18"/>
                  </a:lnTo>
                  <a:lnTo>
                    <a:pt x="9" y="21"/>
                  </a:lnTo>
                  <a:lnTo>
                    <a:pt x="0" y="29"/>
                  </a:lnTo>
                  <a:lnTo>
                    <a:pt x="0" y="38"/>
                  </a:lnTo>
                  <a:lnTo>
                    <a:pt x="9" y="46"/>
                  </a:lnTo>
                  <a:lnTo>
                    <a:pt x="9" y="55"/>
                  </a:lnTo>
                  <a:lnTo>
                    <a:pt x="14" y="67"/>
                  </a:lnTo>
                  <a:lnTo>
                    <a:pt x="14" y="92"/>
                  </a:lnTo>
                  <a:lnTo>
                    <a:pt x="11" y="107"/>
                  </a:lnTo>
                  <a:lnTo>
                    <a:pt x="14" y="112"/>
                  </a:lnTo>
                  <a:lnTo>
                    <a:pt x="17" y="118"/>
                  </a:lnTo>
                  <a:lnTo>
                    <a:pt x="20" y="118"/>
                  </a:lnTo>
                  <a:lnTo>
                    <a:pt x="32" y="118"/>
                  </a:lnTo>
                  <a:lnTo>
                    <a:pt x="29" y="107"/>
                  </a:lnTo>
                  <a:lnTo>
                    <a:pt x="32" y="8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16" name="Freeform 518"/>
            <p:cNvSpPr>
              <a:spLocks/>
            </p:cNvSpPr>
            <p:nvPr/>
          </p:nvSpPr>
          <p:spPr bwMode="auto">
            <a:xfrm>
              <a:off x="3840163" y="3638550"/>
              <a:ext cx="195262" cy="165100"/>
            </a:xfrm>
            <a:custGeom>
              <a:avLst/>
              <a:gdLst>
                <a:gd name="T0" fmla="*/ 2147483647 w 121"/>
                <a:gd name="T1" fmla="*/ 2147483647 h 103"/>
                <a:gd name="T2" fmla="*/ 2147483647 w 121"/>
                <a:gd name="T3" fmla="*/ 2147483647 h 103"/>
                <a:gd name="T4" fmla="*/ 2147483647 w 121"/>
                <a:gd name="T5" fmla="*/ 2147483647 h 103"/>
                <a:gd name="T6" fmla="*/ 2147483647 w 121"/>
                <a:gd name="T7" fmla="*/ 2147483647 h 103"/>
                <a:gd name="T8" fmla="*/ 2147483647 w 121"/>
                <a:gd name="T9" fmla="*/ 2147483647 h 103"/>
                <a:gd name="T10" fmla="*/ 2147483647 w 121"/>
                <a:gd name="T11" fmla="*/ 2147483647 h 103"/>
                <a:gd name="T12" fmla="*/ 2147483647 w 121"/>
                <a:gd name="T13" fmla="*/ 2147483647 h 103"/>
                <a:gd name="T14" fmla="*/ 2147483647 w 121"/>
                <a:gd name="T15" fmla="*/ 2147483647 h 103"/>
                <a:gd name="T16" fmla="*/ 2147483647 w 121"/>
                <a:gd name="T17" fmla="*/ 2147483647 h 103"/>
                <a:gd name="T18" fmla="*/ 2147483647 w 121"/>
                <a:gd name="T19" fmla="*/ 2147483647 h 103"/>
                <a:gd name="T20" fmla="*/ 2147483647 w 121"/>
                <a:gd name="T21" fmla="*/ 2147483647 h 103"/>
                <a:gd name="T22" fmla="*/ 2147483647 w 121"/>
                <a:gd name="T23" fmla="*/ 2147483647 h 103"/>
                <a:gd name="T24" fmla="*/ 2147483647 w 121"/>
                <a:gd name="T25" fmla="*/ 2147483647 h 103"/>
                <a:gd name="T26" fmla="*/ 2147483647 w 121"/>
                <a:gd name="T27" fmla="*/ 2147483647 h 103"/>
                <a:gd name="T28" fmla="*/ 2147483647 w 121"/>
                <a:gd name="T29" fmla="*/ 2147483647 h 103"/>
                <a:gd name="T30" fmla="*/ 2147483647 w 121"/>
                <a:gd name="T31" fmla="*/ 2147483647 h 103"/>
                <a:gd name="T32" fmla="*/ 2147483647 w 121"/>
                <a:gd name="T33" fmla="*/ 2147483647 h 103"/>
                <a:gd name="T34" fmla="*/ 2147483647 w 121"/>
                <a:gd name="T35" fmla="*/ 2147483647 h 103"/>
                <a:gd name="T36" fmla="*/ 2147483647 w 121"/>
                <a:gd name="T37" fmla="*/ 2147483647 h 103"/>
                <a:gd name="T38" fmla="*/ 2147483647 w 121"/>
                <a:gd name="T39" fmla="*/ 2147483647 h 103"/>
                <a:gd name="T40" fmla="*/ 2147483647 w 121"/>
                <a:gd name="T41" fmla="*/ 2147483647 h 103"/>
                <a:gd name="T42" fmla="*/ 2147483647 w 121"/>
                <a:gd name="T43" fmla="*/ 2147483647 h 103"/>
                <a:gd name="T44" fmla="*/ 2147483647 w 121"/>
                <a:gd name="T45" fmla="*/ 2147483647 h 103"/>
                <a:gd name="T46" fmla="*/ 2147483647 w 121"/>
                <a:gd name="T47" fmla="*/ 2147483647 h 103"/>
                <a:gd name="T48" fmla="*/ 2147483647 w 121"/>
                <a:gd name="T49" fmla="*/ 2147483647 h 103"/>
                <a:gd name="T50" fmla="*/ 2147483647 w 121"/>
                <a:gd name="T51" fmla="*/ 2147483647 h 103"/>
                <a:gd name="T52" fmla="*/ 2147483647 w 121"/>
                <a:gd name="T53" fmla="*/ 2147483647 h 103"/>
                <a:gd name="T54" fmla="*/ 2147483647 w 121"/>
                <a:gd name="T55" fmla="*/ 2147483647 h 103"/>
                <a:gd name="T56" fmla="*/ 2147483647 w 121"/>
                <a:gd name="T57" fmla="*/ 2147483647 h 103"/>
                <a:gd name="T58" fmla="*/ 2147483647 w 121"/>
                <a:gd name="T59" fmla="*/ 2147483647 h 103"/>
                <a:gd name="T60" fmla="*/ 2147483647 w 121"/>
                <a:gd name="T61" fmla="*/ 2147483647 h 103"/>
                <a:gd name="T62" fmla="*/ 2147483647 w 121"/>
                <a:gd name="T63" fmla="*/ 2147483647 h 103"/>
                <a:gd name="T64" fmla="*/ 2147483647 w 121"/>
                <a:gd name="T65" fmla="*/ 2147483647 h 103"/>
                <a:gd name="T66" fmla="*/ 2147483647 w 121"/>
                <a:gd name="T67" fmla="*/ 2147483647 h 103"/>
                <a:gd name="T68" fmla="*/ 2147483647 w 121"/>
                <a:gd name="T69" fmla="*/ 2147483647 h 103"/>
                <a:gd name="T70" fmla="*/ 2147483647 w 121"/>
                <a:gd name="T71" fmla="*/ 2147483647 h 103"/>
                <a:gd name="T72" fmla="*/ 2147483647 w 121"/>
                <a:gd name="T73" fmla="*/ 2147483647 h 103"/>
                <a:gd name="T74" fmla="*/ 2147483647 w 121"/>
                <a:gd name="T75" fmla="*/ 2147483647 h 103"/>
                <a:gd name="T76" fmla="*/ 2147483647 w 121"/>
                <a:gd name="T77" fmla="*/ 0 h 103"/>
                <a:gd name="T78" fmla="*/ 2147483647 w 121"/>
                <a:gd name="T79" fmla="*/ 2147483647 h 103"/>
                <a:gd name="T80" fmla="*/ 2147483647 w 121"/>
                <a:gd name="T81" fmla="*/ 2147483647 h 103"/>
                <a:gd name="T82" fmla="*/ 2147483647 w 121"/>
                <a:gd name="T83" fmla="*/ 2147483647 h 103"/>
                <a:gd name="T84" fmla="*/ 2147483647 w 121"/>
                <a:gd name="T85" fmla="*/ 2147483647 h 103"/>
                <a:gd name="T86" fmla="*/ 2147483647 w 121"/>
                <a:gd name="T87" fmla="*/ 2147483647 h 103"/>
                <a:gd name="T88" fmla="*/ 0 w 121"/>
                <a:gd name="T89" fmla="*/ 2147483647 h 103"/>
                <a:gd name="T90" fmla="*/ 0 w 121"/>
                <a:gd name="T91" fmla="*/ 2147483647 h 103"/>
                <a:gd name="T92" fmla="*/ 2147483647 w 121"/>
                <a:gd name="T93" fmla="*/ 2147483647 h 103"/>
                <a:gd name="T94" fmla="*/ 2147483647 w 121"/>
                <a:gd name="T95" fmla="*/ 2147483647 h 103"/>
                <a:gd name="T96" fmla="*/ 2147483647 w 121"/>
                <a:gd name="T97" fmla="*/ 2147483647 h 103"/>
                <a:gd name="T98" fmla="*/ 2147483647 w 121"/>
                <a:gd name="T99" fmla="*/ 2147483647 h 103"/>
                <a:gd name="T100" fmla="*/ 2147483647 w 121"/>
                <a:gd name="T101" fmla="*/ 2147483647 h 103"/>
                <a:gd name="T102" fmla="*/ 2147483647 w 121"/>
                <a:gd name="T103" fmla="*/ 2147483647 h 10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21"/>
                <a:gd name="T157" fmla="*/ 0 h 103"/>
                <a:gd name="T158" fmla="*/ 121 w 121"/>
                <a:gd name="T159" fmla="*/ 103 h 103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21" h="103">
                  <a:moveTo>
                    <a:pt x="26" y="69"/>
                  </a:moveTo>
                  <a:lnTo>
                    <a:pt x="32" y="66"/>
                  </a:lnTo>
                  <a:lnTo>
                    <a:pt x="37" y="54"/>
                  </a:lnTo>
                  <a:lnTo>
                    <a:pt x="46" y="49"/>
                  </a:lnTo>
                  <a:lnTo>
                    <a:pt x="52" y="49"/>
                  </a:lnTo>
                  <a:lnTo>
                    <a:pt x="63" y="51"/>
                  </a:lnTo>
                  <a:lnTo>
                    <a:pt x="72" y="63"/>
                  </a:lnTo>
                  <a:lnTo>
                    <a:pt x="78" y="74"/>
                  </a:lnTo>
                  <a:lnTo>
                    <a:pt x="75" y="80"/>
                  </a:lnTo>
                  <a:lnTo>
                    <a:pt x="78" y="77"/>
                  </a:lnTo>
                  <a:lnTo>
                    <a:pt x="83" y="77"/>
                  </a:lnTo>
                  <a:lnTo>
                    <a:pt x="89" y="77"/>
                  </a:lnTo>
                  <a:lnTo>
                    <a:pt x="92" y="86"/>
                  </a:lnTo>
                  <a:lnTo>
                    <a:pt x="92" y="89"/>
                  </a:lnTo>
                  <a:lnTo>
                    <a:pt x="95" y="100"/>
                  </a:lnTo>
                  <a:lnTo>
                    <a:pt x="101" y="103"/>
                  </a:lnTo>
                  <a:lnTo>
                    <a:pt x="106" y="92"/>
                  </a:lnTo>
                  <a:lnTo>
                    <a:pt x="112" y="97"/>
                  </a:lnTo>
                  <a:lnTo>
                    <a:pt x="115" y="92"/>
                  </a:lnTo>
                  <a:lnTo>
                    <a:pt x="112" y="89"/>
                  </a:lnTo>
                  <a:lnTo>
                    <a:pt x="112" y="83"/>
                  </a:lnTo>
                  <a:lnTo>
                    <a:pt x="112" y="80"/>
                  </a:lnTo>
                  <a:lnTo>
                    <a:pt x="115" y="80"/>
                  </a:lnTo>
                  <a:lnTo>
                    <a:pt x="121" y="80"/>
                  </a:lnTo>
                  <a:lnTo>
                    <a:pt x="121" y="77"/>
                  </a:lnTo>
                  <a:lnTo>
                    <a:pt x="118" y="74"/>
                  </a:lnTo>
                  <a:lnTo>
                    <a:pt x="118" y="72"/>
                  </a:lnTo>
                  <a:lnTo>
                    <a:pt x="118" y="66"/>
                  </a:lnTo>
                  <a:lnTo>
                    <a:pt x="115" y="66"/>
                  </a:lnTo>
                  <a:lnTo>
                    <a:pt x="112" y="51"/>
                  </a:lnTo>
                  <a:lnTo>
                    <a:pt x="115" y="46"/>
                  </a:lnTo>
                  <a:lnTo>
                    <a:pt x="112" y="43"/>
                  </a:lnTo>
                  <a:lnTo>
                    <a:pt x="112" y="34"/>
                  </a:lnTo>
                  <a:lnTo>
                    <a:pt x="106" y="34"/>
                  </a:lnTo>
                  <a:lnTo>
                    <a:pt x="106" y="31"/>
                  </a:lnTo>
                  <a:lnTo>
                    <a:pt x="109" y="26"/>
                  </a:lnTo>
                  <a:lnTo>
                    <a:pt x="103" y="20"/>
                  </a:lnTo>
                  <a:lnTo>
                    <a:pt x="103" y="14"/>
                  </a:lnTo>
                  <a:lnTo>
                    <a:pt x="101" y="5"/>
                  </a:lnTo>
                  <a:lnTo>
                    <a:pt x="98" y="3"/>
                  </a:lnTo>
                  <a:lnTo>
                    <a:pt x="98" y="5"/>
                  </a:lnTo>
                  <a:lnTo>
                    <a:pt x="92" y="14"/>
                  </a:lnTo>
                  <a:lnTo>
                    <a:pt x="83" y="8"/>
                  </a:lnTo>
                  <a:lnTo>
                    <a:pt x="72" y="14"/>
                  </a:lnTo>
                  <a:lnTo>
                    <a:pt x="69" y="14"/>
                  </a:lnTo>
                  <a:lnTo>
                    <a:pt x="66" y="11"/>
                  </a:lnTo>
                  <a:lnTo>
                    <a:pt x="63" y="14"/>
                  </a:lnTo>
                  <a:lnTo>
                    <a:pt x="60" y="14"/>
                  </a:lnTo>
                  <a:lnTo>
                    <a:pt x="58" y="8"/>
                  </a:lnTo>
                  <a:lnTo>
                    <a:pt x="58" y="5"/>
                  </a:lnTo>
                  <a:lnTo>
                    <a:pt x="49" y="3"/>
                  </a:lnTo>
                  <a:lnTo>
                    <a:pt x="46" y="5"/>
                  </a:lnTo>
                  <a:lnTo>
                    <a:pt x="35" y="3"/>
                  </a:lnTo>
                  <a:lnTo>
                    <a:pt x="29" y="0"/>
                  </a:lnTo>
                  <a:lnTo>
                    <a:pt x="23" y="0"/>
                  </a:lnTo>
                  <a:lnTo>
                    <a:pt x="23" y="8"/>
                  </a:lnTo>
                  <a:lnTo>
                    <a:pt x="20" y="8"/>
                  </a:lnTo>
                  <a:lnTo>
                    <a:pt x="23" y="11"/>
                  </a:lnTo>
                  <a:lnTo>
                    <a:pt x="23" y="17"/>
                  </a:lnTo>
                  <a:lnTo>
                    <a:pt x="20" y="17"/>
                  </a:lnTo>
                  <a:lnTo>
                    <a:pt x="14" y="20"/>
                  </a:lnTo>
                  <a:lnTo>
                    <a:pt x="9" y="23"/>
                  </a:lnTo>
                  <a:lnTo>
                    <a:pt x="0" y="26"/>
                  </a:lnTo>
                  <a:lnTo>
                    <a:pt x="0" y="31"/>
                  </a:lnTo>
                  <a:lnTo>
                    <a:pt x="3" y="34"/>
                  </a:lnTo>
                  <a:lnTo>
                    <a:pt x="6" y="46"/>
                  </a:lnTo>
                  <a:lnTo>
                    <a:pt x="9" y="49"/>
                  </a:lnTo>
                  <a:lnTo>
                    <a:pt x="17" y="54"/>
                  </a:lnTo>
                  <a:lnTo>
                    <a:pt x="23" y="60"/>
                  </a:lnTo>
                  <a:lnTo>
                    <a:pt x="26" y="66"/>
                  </a:lnTo>
                  <a:lnTo>
                    <a:pt x="26" y="6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17" name="Freeform 519"/>
            <p:cNvSpPr>
              <a:spLocks/>
            </p:cNvSpPr>
            <p:nvPr/>
          </p:nvSpPr>
          <p:spPr bwMode="auto">
            <a:xfrm>
              <a:off x="4014788" y="3702050"/>
              <a:ext cx="161925" cy="193675"/>
            </a:xfrm>
            <a:custGeom>
              <a:avLst/>
              <a:gdLst>
                <a:gd name="T0" fmla="*/ 2147483647 w 101"/>
                <a:gd name="T1" fmla="*/ 2147483647 h 121"/>
                <a:gd name="T2" fmla="*/ 2147483647 w 101"/>
                <a:gd name="T3" fmla="*/ 2147483647 h 121"/>
                <a:gd name="T4" fmla="*/ 2147483647 w 101"/>
                <a:gd name="T5" fmla="*/ 2147483647 h 121"/>
                <a:gd name="T6" fmla="*/ 2147483647 w 101"/>
                <a:gd name="T7" fmla="*/ 2147483647 h 121"/>
                <a:gd name="T8" fmla="*/ 2147483647 w 101"/>
                <a:gd name="T9" fmla="*/ 2147483647 h 121"/>
                <a:gd name="T10" fmla="*/ 2147483647 w 101"/>
                <a:gd name="T11" fmla="*/ 2147483647 h 121"/>
                <a:gd name="T12" fmla="*/ 2147483647 w 101"/>
                <a:gd name="T13" fmla="*/ 2147483647 h 121"/>
                <a:gd name="T14" fmla="*/ 2147483647 w 101"/>
                <a:gd name="T15" fmla="*/ 2147483647 h 121"/>
                <a:gd name="T16" fmla="*/ 2147483647 w 101"/>
                <a:gd name="T17" fmla="*/ 2147483647 h 121"/>
                <a:gd name="T18" fmla="*/ 2147483647 w 101"/>
                <a:gd name="T19" fmla="*/ 2147483647 h 121"/>
                <a:gd name="T20" fmla="*/ 2147483647 w 101"/>
                <a:gd name="T21" fmla="*/ 2147483647 h 121"/>
                <a:gd name="T22" fmla="*/ 2147483647 w 101"/>
                <a:gd name="T23" fmla="*/ 2147483647 h 121"/>
                <a:gd name="T24" fmla="*/ 2147483647 w 101"/>
                <a:gd name="T25" fmla="*/ 2147483647 h 121"/>
                <a:gd name="T26" fmla="*/ 2147483647 w 101"/>
                <a:gd name="T27" fmla="*/ 0 h 121"/>
                <a:gd name="T28" fmla="*/ 2147483647 w 101"/>
                <a:gd name="T29" fmla="*/ 2147483647 h 121"/>
                <a:gd name="T30" fmla="*/ 2147483647 w 101"/>
                <a:gd name="T31" fmla="*/ 2147483647 h 121"/>
                <a:gd name="T32" fmla="*/ 2147483647 w 101"/>
                <a:gd name="T33" fmla="*/ 2147483647 h 121"/>
                <a:gd name="T34" fmla="*/ 2147483647 w 101"/>
                <a:gd name="T35" fmla="*/ 2147483647 h 121"/>
                <a:gd name="T36" fmla="*/ 2147483647 w 101"/>
                <a:gd name="T37" fmla="*/ 2147483647 h 121"/>
                <a:gd name="T38" fmla="*/ 2147483647 w 101"/>
                <a:gd name="T39" fmla="*/ 2147483647 h 121"/>
                <a:gd name="T40" fmla="*/ 2147483647 w 101"/>
                <a:gd name="T41" fmla="*/ 2147483647 h 121"/>
                <a:gd name="T42" fmla="*/ 2147483647 w 101"/>
                <a:gd name="T43" fmla="*/ 2147483647 h 121"/>
                <a:gd name="T44" fmla="*/ 2147483647 w 101"/>
                <a:gd name="T45" fmla="*/ 2147483647 h 121"/>
                <a:gd name="T46" fmla="*/ 2147483647 w 101"/>
                <a:gd name="T47" fmla="*/ 2147483647 h 121"/>
                <a:gd name="T48" fmla="*/ 2147483647 w 101"/>
                <a:gd name="T49" fmla="*/ 2147483647 h 121"/>
                <a:gd name="T50" fmla="*/ 2147483647 w 101"/>
                <a:gd name="T51" fmla="*/ 2147483647 h 121"/>
                <a:gd name="T52" fmla="*/ 2147483647 w 101"/>
                <a:gd name="T53" fmla="*/ 2147483647 h 121"/>
                <a:gd name="T54" fmla="*/ 2147483647 w 101"/>
                <a:gd name="T55" fmla="*/ 2147483647 h 121"/>
                <a:gd name="T56" fmla="*/ 0 w 101"/>
                <a:gd name="T57" fmla="*/ 2147483647 h 121"/>
                <a:gd name="T58" fmla="*/ 2147483647 w 101"/>
                <a:gd name="T59" fmla="*/ 2147483647 h 121"/>
                <a:gd name="T60" fmla="*/ 2147483647 w 101"/>
                <a:gd name="T61" fmla="*/ 2147483647 h 121"/>
                <a:gd name="T62" fmla="*/ 2147483647 w 101"/>
                <a:gd name="T63" fmla="*/ 2147483647 h 121"/>
                <a:gd name="T64" fmla="*/ 2147483647 w 101"/>
                <a:gd name="T65" fmla="*/ 2147483647 h 121"/>
                <a:gd name="T66" fmla="*/ 2147483647 w 101"/>
                <a:gd name="T67" fmla="*/ 2147483647 h 121"/>
                <a:gd name="T68" fmla="*/ 2147483647 w 101"/>
                <a:gd name="T69" fmla="*/ 2147483647 h 121"/>
                <a:gd name="T70" fmla="*/ 2147483647 w 101"/>
                <a:gd name="T71" fmla="*/ 2147483647 h 121"/>
                <a:gd name="T72" fmla="*/ 2147483647 w 101"/>
                <a:gd name="T73" fmla="*/ 2147483647 h 121"/>
                <a:gd name="T74" fmla="*/ 2147483647 w 101"/>
                <a:gd name="T75" fmla="*/ 2147483647 h 121"/>
                <a:gd name="T76" fmla="*/ 2147483647 w 101"/>
                <a:gd name="T77" fmla="*/ 2147483647 h 121"/>
                <a:gd name="T78" fmla="*/ 2147483647 w 101"/>
                <a:gd name="T79" fmla="*/ 2147483647 h 121"/>
                <a:gd name="T80" fmla="*/ 2147483647 w 101"/>
                <a:gd name="T81" fmla="*/ 2147483647 h 12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01"/>
                <a:gd name="T124" fmla="*/ 0 h 121"/>
                <a:gd name="T125" fmla="*/ 101 w 101"/>
                <a:gd name="T126" fmla="*/ 121 h 121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01" h="121">
                  <a:moveTo>
                    <a:pt x="89" y="77"/>
                  </a:moveTo>
                  <a:lnTo>
                    <a:pt x="89" y="77"/>
                  </a:lnTo>
                  <a:lnTo>
                    <a:pt x="89" y="72"/>
                  </a:lnTo>
                  <a:lnTo>
                    <a:pt x="92" y="69"/>
                  </a:lnTo>
                  <a:lnTo>
                    <a:pt x="95" y="60"/>
                  </a:lnTo>
                  <a:lnTo>
                    <a:pt x="98" y="52"/>
                  </a:lnTo>
                  <a:lnTo>
                    <a:pt x="101" y="43"/>
                  </a:lnTo>
                  <a:lnTo>
                    <a:pt x="98" y="26"/>
                  </a:lnTo>
                  <a:lnTo>
                    <a:pt x="89" y="14"/>
                  </a:lnTo>
                  <a:lnTo>
                    <a:pt x="81" y="14"/>
                  </a:lnTo>
                  <a:lnTo>
                    <a:pt x="69" y="20"/>
                  </a:lnTo>
                  <a:lnTo>
                    <a:pt x="60" y="14"/>
                  </a:lnTo>
                  <a:lnTo>
                    <a:pt x="55" y="9"/>
                  </a:lnTo>
                  <a:lnTo>
                    <a:pt x="52" y="3"/>
                  </a:lnTo>
                  <a:lnTo>
                    <a:pt x="46" y="6"/>
                  </a:lnTo>
                  <a:lnTo>
                    <a:pt x="43" y="9"/>
                  </a:lnTo>
                  <a:lnTo>
                    <a:pt x="40" y="9"/>
                  </a:lnTo>
                  <a:lnTo>
                    <a:pt x="37" y="6"/>
                  </a:lnTo>
                  <a:lnTo>
                    <a:pt x="37" y="0"/>
                  </a:lnTo>
                  <a:lnTo>
                    <a:pt x="35" y="3"/>
                  </a:lnTo>
                  <a:lnTo>
                    <a:pt x="32" y="0"/>
                  </a:lnTo>
                  <a:lnTo>
                    <a:pt x="32" y="6"/>
                  </a:lnTo>
                  <a:lnTo>
                    <a:pt x="29" y="9"/>
                  </a:lnTo>
                  <a:lnTo>
                    <a:pt x="26" y="9"/>
                  </a:lnTo>
                  <a:lnTo>
                    <a:pt x="20" y="6"/>
                  </a:lnTo>
                  <a:lnTo>
                    <a:pt x="15" y="3"/>
                  </a:lnTo>
                  <a:lnTo>
                    <a:pt x="12" y="9"/>
                  </a:lnTo>
                  <a:lnTo>
                    <a:pt x="6" y="11"/>
                  </a:lnTo>
                  <a:lnTo>
                    <a:pt x="9" y="23"/>
                  </a:lnTo>
                  <a:lnTo>
                    <a:pt x="17" y="20"/>
                  </a:lnTo>
                  <a:lnTo>
                    <a:pt x="15" y="23"/>
                  </a:lnTo>
                  <a:lnTo>
                    <a:pt x="12" y="29"/>
                  </a:lnTo>
                  <a:lnTo>
                    <a:pt x="12" y="32"/>
                  </a:lnTo>
                  <a:lnTo>
                    <a:pt x="17" y="37"/>
                  </a:lnTo>
                  <a:lnTo>
                    <a:pt x="15" y="46"/>
                  </a:lnTo>
                  <a:lnTo>
                    <a:pt x="6" y="43"/>
                  </a:lnTo>
                  <a:lnTo>
                    <a:pt x="6" y="46"/>
                  </a:lnTo>
                  <a:lnTo>
                    <a:pt x="9" y="52"/>
                  </a:lnTo>
                  <a:lnTo>
                    <a:pt x="3" y="60"/>
                  </a:lnTo>
                  <a:lnTo>
                    <a:pt x="3" y="72"/>
                  </a:lnTo>
                  <a:lnTo>
                    <a:pt x="0" y="77"/>
                  </a:lnTo>
                  <a:lnTo>
                    <a:pt x="3" y="80"/>
                  </a:lnTo>
                  <a:lnTo>
                    <a:pt x="9" y="80"/>
                  </a:lnTo>
                  <a:lnTo>
                    <a:pt x="9" y="83"/>
                  </a:lnTo>
                  <a:lnTo>
                    <a:pt x="17" y="89"/>
                  </a:lnTo>
                  <a:lnTo>
                    <a:pt x="20" y="100"/>
                  </a:lnTo>
                  <a:lnTo>
                    <a:pt x="17" y="112"/>
                  </a:lnTo>
                  <a:lnTo>
                    <a:pt x="17" y="121"/>
                  </a:lnTo>
                  <a:lnTo>
                    <a:pt x="26" y="115"/>
                  </a:lnTo>
                  <a:lnTo>
                    <a:pt x="35" y="115"/>
                  </a:lnTo>
                  <a:lnTo>
                    <a:pt x="49" y="109"/>
                  </a:lnTo>
                  <a:lnTo>
                    <a:pt x="60" y="106"/>
                  </a:lnTo>
                  <a:lnTo>
                    <a:pt x="69" y="103"/>
                  </a:lnTo>
                  <a:lnTo>
                    <a:pt x="75" y="103"/>
                  </a:lnTo>
                  <a:lnTo>
                    <a:pt x="81" y="106"/>
                  </a:lnTo>
                  <a:lnTo>
                    <a:pt x="89" y="106"/>
                  </a:lnTo>
                  <a:lnTo>
                    <a:pt x="95" y="106"/>
                  </a:lnTo>
                  <a:lnTo>
                    <a:pt x="98" y="100"/>
                  </a:lnTo>
                  <a:lnTo>
                    <a:pt x="92" y="92"/>
                  </a:lnTo>
                  <a:lnTo>
                    <a:pt x="89" y="7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18" name="Freeform 520"/>
            <p:cNvSpPr>
              <a:spLocks/>
            </p:cNvSpPr>
            <p:nvPr/>
          </p:nvSpPr>
          <p:spPr bwMode="auto">
            <a:xfrm>
              <a:off x="3883025" y="3719513"/>
              <a:ext cx="77788" cy="98425"/>
            </a:xfrm>
            <a:custGeom>
              <a:avLst/>
              <a:gdLst>
                <a:gd name="T0" fmla="*/ 2147483647 w 49"/>
                <a:gd name="T1" fmla="*/ 2147483647 h 61"/>
                <a:gd name="T2" fmla="*/ 2147483647 w 49"/>
                <a:gd name="T3" fmla="*/ 2147483647 h 61"/>
                <a:gd name="T4" fmla="*/ 2147483647 w 49"/>
                <a:gd name="T5" fmla="*/ 2147483647 h 61"/>
                <a:gd name="T6" fmla="*/ 2147483647 w 49"/>
                <a:gd name="T7" fmla="*/ 2147483647 h 61"/>
                <a:gd name="T8" fmla="*/ 2147483647 w 49"/>
                <a:gd name="T9" fmla="*/ 2147483647 h 61"/>
                <a:gd name="T10" fmla="*/ 2147483647 w 49"/>
                <a:gd name="T11" fmla="*/ 2147483647 h 61"/>
                <a:gd name="T12" fmla="*/ 2147483647 w 49"/>
                <a:gd name="T13" fmla="*/ 2147483647 h 61"/>
                <a:gd name="T14" fmla="*/ 2147483647 w 49"/>
                <a:gd name="T15" fmla="*/ 2147483647 h 61"/>
                <a:gd name="T16" fmla="*/ 2147483647 w 49"/>
                <a:gd name="T17" fmla="*/ 0 h 61"/>
                <a:gd name="T18" fmla="*/ 2147483647 w 49"/>
                <a:gd name="T19" fmla="*/ 0 h 61"/>
                <a:gd name="T20" fmla="*/ 2147483647 w 49"/>
                <a:gd name="T21" fmla="*/ 2147483647 h 61"/>
                <a:gd name="T22" fmla="*/ 2147483647 w 49"/>
                <a:gd name="T23" fmla="*/ 2147483647 h 61"/>
                <a:gd name="T24" fmla="*/ 0 w 49"/>
                <a:gd name="T25" fmla="*/ 2147483647 h 61"/>
                <a:gd name="T26" fmla="*/ 0 w 49"/>
                <a:gd name="T27" fmla="*/ 2147483647 h 61"/>
                <a:gd name="T28" fmla="*/ 0 w 49"/>
                <a:gd name="T29" fmla="*/ 2147483647 h 61"/>
                <a:gd name="T30" fmla="*/ 0 w 49"/>
                <a:gd name="T31" fmla="*/ 2147483647 h 61"/>
                <a:gd name="T32" fmla="*/ 0 w 49"/>
                <a:gd name="T33" fmla="*/ 2147483647 h 61"/>
                <a:gd name="T34" fmla="*/ 2147483647 w 49"/>
                <a:gd name="T35" fmla="*/ 2147483647 h 61"/>
                <a:gd name="T36" fmla="*/ 2147483647 w 49"/>
                <a:gd name="T37" fmla="*/ 2147483647 h 61"/>
                <a:gd name="T38" fmla="*/ 2147483647 w 49"/>
                <a:gd name="T39" fmla="*/ 2147483647 h 61"/>
                <a:gd name="T40" fmla="*/ 2147483647 w 49"/>
                <a:gd name="T41" fmla="*/ 2147483647 h 61"/>
                <a:gd name="T42" fmla="*/ 2147483647 w 49"/>
                <a:gd name="T43" fmla="*/ 2147483647 h 61"/>
                <a:gd name="T44" fmla="*/ 2147483647 w 49"/>
                <a:gd name="T45" fmla="*/ 2147483647 h 61"/>
                <a:gd name="T46" fmla="*/ 2147483647 w 49"/>
                <a:gd name="T47" fmla="*/ 2147483647 h 61"/>
                <a:gd name="T48" fmla="*/ 2147483647 w 49"/>
                <a:gd name="T49" fmla="*/ 2147483647 h 61"/>
                <a:gd name="T50" fmla="*/ 2147483647 w 49"/>
                <a:gd name="T51" fmla="*/ 2147483647 h 61"/>
                <a:gd name="T52" fmla="*/ 2147483647 w 49"/>
                <a:gd name="T53" fmla="*/ 2147483647 h 61"/>
                <a:gd name="T54" fmla="*/ 2147483647 w 49"/>
                <a:gd name="T55" fmla="*/ 2147483647 h 61"/>
                <a:gd name="T56" fmla="*/ 2147483647 w 49"/>
                <a:gd name="T57" fmla="*/ 2147483647 h 61"/>
                <a:gd name="T58" fmla="*/ 2147483647 w 49"/>
                <a:gd name="T59" fmla="*/ 2147483647 h 61"/>
                <a:gd name="T60" fmla="*/ 2147483647 w 49"/>
                <a:gd name="T61" fmla="*/ 2147483647 h 61"/>
                <a:gd name="T62" fmla="*/ 2147483647 w 49"/>
                <a:gd name="T63" fmla="*/ 2147483647 h 61"/>
                <a:gd name="T64" fmla="*/ 2147483647 w 49"/>
                <a:gd name="T65" fmla="*/ 2147483647 h 6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49"/>
                <a:gd name="T100" fmla="*/ 0 h 61"/>
                <a:gd name="T101" fmla="*/ 49 w 49"/>
                <a:gd name="T102" fmla="*/ 61 h 6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49" h="61">
                  <a:moveTo>
                    <a:pt x="46" y="38"/>
                  </a:moveTo>
                  <a:lnTo>
                    <a:pt x="46" y="38"/>
                  </a:lnTo>
                  <a:lnTo>
                    <a:pt x="49" y="35"/>
                  </a:lnTo>
                  <a:lnTo>
                    <a:pt x="49" y="32"/>
                  </a:lnTo>
                  <a:lnTo>
                    <a:pt x="43" y="38"/>
                  </a:lnTo>
                  <a:lnTo>
                    <a:pt x="49" y="23"/>
                  </a:lnTo>
                  <a:lnTo>
                    <a:pt x="43" y="15"/>
                  </a:lnTo>
                  <a:lnTo>
                    <a:pt x="34" y="3"/>
                  </a:lnTo>
                  <a:lnTo>
                    <a:pt x="26" y="0"/>
                  </a:lnTo>
                  <a:lnTo>
                    <a:pt x="23" y="0"/>
                  </a:lnTo>
                  <a:lnTo>
                    <a:pt x="14" y="6"/>
                  </a:lnTo>
                  <a:lnTo>
                    <a:pt x="9" y="18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3" y="32"/>
                  </a:lnTo>
                  <a:lnTo>
                    <a:pt x="6" y="35"/>
                  </a:lnTo>
                  <a:lnTo>
                    <a:pt x="9" y="38"/>
                  </a:lnTo>
                  <a:lnTo>
                    <a:pt x="9" y="46"/>
                  </a:lnTo>
                  <a:lnTo>
                    <a:pt x="17" y="55"/>
                  </a:lnTo>
                  <a:lnTo>
                    <a:pt x="20" y="52"/>
                  </a:lnTo>
                  <a:lnTo>
                    <a:pt x="23" y="52"/>
                  </a:lnTo>
                  <a:lnTo>
                    <a:pt x="26" y="55"/>
                  </a:lnTo>
                  <a:lnTo>
                    <a:pt x="29" y="61"/>
                  </a:lnTo>
                  <a:lnTo>
                    <a:pt x="43" y="43"/>
                  </a:lnTo>
                  <a:lnTo>
                    <a:pt x="46" y="3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19" name="Freeform 521"/>
            <p:cNvSpPr>
              <a:spLocks/>
            </p:cNvSpPr>
            <p:nvPr/>
          </p:nvSpPr>
          <p:spPr bwMode="auto">
            <a:xfrm>
              <a:off x="3933825" y="3767138"/>
              <a:ext cx="109538" cy="128587"/>
            </a:xfrm>
            <a:custGeom>
              <a:avLst/>
              <a:gdLst>
                <a:gd name="T0" fmla="*/ 2147483647 w 68"/>
                <a:gd name="T1" fmla="*/ 2147483647 h 81"/>
                <a:gd name="T2" fmla="*/ 2147483647 w 68"/>
                <a:gd name="T3" fmla="*/ 2147483647 h 81"/>
                <a:gd name="T4" fmla="*/ 2147483647 w 68"/>
                <a:gd name="T5" fmla="*/ 2147483647 h 81"/>
                <a:gd name="T6" fmla="*/ 2147483647 w 68"/>
                <a:gd name="T7" fmla="*/ 2147483647 h 81"/>
                <a:gd name="T8" fmla="*/ 2147483647 w 68"/>
                <a:gd name="T9" fmla="*/ 2147483647 h 81"/>
                <a:gd name="T10" fmla="*/ 2147483647 w 68"/>
                <a:gd name="T11" fmla="*/ 2147483647 h 81"/>
                <a:gd name="T12" fmla="*/ 2147483647 w 68"/>
                <a:gd name="T13" fmla="*/ 2147483647 h 81"/>
                <a:gd name="T14" fmla="*/ 2147483647 w 68"/>
                <a:gd name="T15" fmla="*/ 2147483647 h 81"/>
                <a:gd name="T16" fmla="*/ 2147483647 w 68"/>
                <a:gd name="T17" fmla="*/ 2147483647 h 81"/>
                <a:gd name="T18" fmla="*/ 2147483647 w 68"/>
                <a:gd name="T19" fmla="*/ 2147483647 h 81"/>
                <a:gd name="T20" fmla="*/ 2147483647 w 68"/>
                <a:gd name="T21" fmla="*/ 2147483647 h 81"/>
                <a:gd name="T22" fmla="*/ 2147483647 w 68"/>
                <a:gd name="T23" fmla="*/ 2147483647 h 81"/>
                <a:gd name="T24" fmla="*/ 2147483647 w 68"/>
                <a:gd name="T25" fmla="*/ 2147483647 h 81"/>
                <a:gd name="T26" fmla="*/ 2147483647 w 68"/>
                <a:gd name="T27" fmla="*/ 2147483647 h 81"/>
                <a:gd name="T28" fmla="*/ 2147483647 w 68"/>
                <a:gd name="T29" fmla="*/ 2147483647 h 81"/>
                <a:gd name="T30" fmla="*/ 2147483647 w 68"/>
                <a:gd name="T31" fmla="*/ 2147483647 h 81"/>
                <a:gd name="T32" fmla="*/ 2147483647 w 68"/>
                <a:gd name="T33" fmla="*/ 2147483647 h 81"/>
                <a:gd name="T34" fmla="*/ 2147483647 w 68"/>
                <a:gd name="T35" fmla="*/ 2147483647 h 81"/>
                <a:gd name="T36" fmla="*/ 2147483647 w 68"/>
                <a:gd name="T37" fmla="*/ 2147483647 h 81"/>
                <a:gd name="T38" fmla="*/ 2147483647 w 68"/>
                <a:gd name="T39" fmla="*/ 2147483647 h 81"/>
                <a:gd name="T40" fmla="*/ 2147483647 w 68"/>
                <a:gd name="T41" fmla="*/ 2147483647 h 81"/>
                <a:gd name="T42" fmla="*/ 2147483647 w 68"/>
                <a:gd name="T43" fmla="*/ 2147483647 h 81"/>
                <a:gd name="T44" fmla="*/ 2147483647 w 68"/>
                <a:gd name="T45" fmla="*/ 0 h 81"/>
                <a:gd name="T46" fmla="*/ 2147483647 w 68"/>
                <a:gd name="T47" fmla="*/ 0 h 81"/>
                <a:gd name="T48" fmla="*/ 2147483647 w 68"/>
                <a:gd name="T49" fmla="*/ 2147483647 h 81"/>
                <a:gd name="T50" fmla="*/ 2147483647 w 68"/>
                <a:gd name="T51" fmla="*/ 2147483647 h 81"/>
                <a:gd name="T52" fmla="*/ 2147483647 w 68"/>
                <a:gd name="T53" fmla="*/ 2147483647 h 81"/>
                <a:gd name="T54" fmla="*/ 2147483647 w 68"/>
                <a:gd name="T55" fmla="*/ 2147483647 h 81"/>
                <a:gd name="T56" fmla="*/ 2147483647 w 68"/>
                <a:gd name="T57" fmla="*/ 2147483647 h 81"/>
                <a:gd name="T58" fmla="*/ 0 w 68"/>
                <a:gd name="T59" fmla="*/ 2147483647 h 81"/>
                <a:gd name="T60" fmla="*/ 0 w 68"/>
                <a:gd name="T61" fmla="*/ 2147483647 h 81"/>
                <a:gd name="T62" fmla="*/ 2147483647 w 68"/>
                <a:gd name="T63" fmla="*/ 2147483647 h 81"/>
                <a:gd name="T64" fmla="*/ 2147483647 w 68"/>
                <a:gd name="T65" fmla="*/ 2147483647 h 81"/>
                <a:gd name="T66" fmla="*/ 2147483647 w 68"/>
                <a:gd name="T67" fmla="*/ 2147483647 h 81"/>
                <a:gd name="T68" fmla="*/ 2147483647 w 68"/>
                <a:gd name="T69" fmla="*/ 2147483647 h 81"/>
                <a:gd name="T70" fmla="*/ 2147483647 w 68"/>
                <a:gd name="T71" fmla="*/ 2147483647 h 81"/>
                <a:gd name="T72" fmla="*/ 2147483647 w 68"/>
                <a:gd name="T73" fmla="*/ 2147483647 h 81"/>
                <a:gd name="T74" fmla="*/ 2147483647 w 68"/>
                <a:gd name="T75" fmla="*/ 2147483647 h 81"/>
                <a:gd name="T76" fmla="*/ 2147483647 w 68"/>
                <a:gd name="T77" fmla="*/ 2147483647 h 81"/>
                <a:gd name="T78" fmla="*/ 2147483647 w 68"/>
                <a:gd name="T79" fmla="*/ 2147483647 h 81"/>
                <a:gd name="T80" fmla="*/ 2147483647 w 68"/>
                <a:gd name="T81" fmla="*/ 2147483647 h 81"/>
                <a:gd name="T82" fmla="*/ 2147483647 w 68"/>
                <a:gd name="T83" fmla="*/ 2147483647 h 81"/>
                <a:gd name="T84" fmla="*/ 2147483647 w 68"/>
                <a:gd name="T85" fmla="*/ 2147483647 h 81"/>
                <a:gd name="T86" fmla="*/ 2147483647 w 68"/>
                <a:gd name="T87" fmla="*/ 2147483647 h 81"/>
                <a:gd name="T88" fmla="*/ 2147483647 w 68"/>
                <a:gd name="T89" fmla="*/ 2147483647 h 81"/>
                <a:gd name="T90" fmla="*/ 2147483647 w 68"/>
                <a:gd name="T91" fmla="*/ 2147483647 h 81"/>
                <a:gd name="T92" fmla="*/ 2147483647 w 68"/>
                <a:gd name="T93" fmla="*/ 2147483647 h 8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68"/>
                <a:gd name="T142" fmla="*/ 0 h 81"/>
                <a:gd name="T143" fmla="*/ 68 w 68"/>
                <a:gd name="T144" fmla="*/ 81 h 81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68" h="81">
                  <a:moveTo>
                    <a:pt x="57" y="46"/>
                  </a:moveTo>
                  <a:lnTo>
                    <a:pt x="57" y="46"/>
                  </a:lnTo>
                  <a:lnTo>
                    <a:pt x="51" y="40"/>
                  </a:lnTo>
                  <a:lnTo>
                    <a:pt x="48" y="40"/>
                  </a:lnTo>
                  <a:lnTo>
                    <a:pt x="45" y="40"/>
                  </a:lnTo>
                  <a:lnTo>
                    <a:pt x="51" y="32"/>
                  </a:lnTo>
                  <a:lnTo>
                    <a:pt x="51" y="20"/>
                  </a:lnTo>
                  <a:lnTo>
                    <a:pt x="48" y="17"/>
                  </a:lnTo>
                  <a:lnTo>
                    <a:pt x="43" y="26"/>
                  </a:lnTo>
                  <a:lnTo>
                    <a:pt x="37" y="26"/>
                  </a:lnTo>
                  <a:lnTo>
                    <a:pt x="34" y="23"/>
                  </a:lnTo>
                  <a:lnTo>
                    <a:pt x="31" y="20"/>
                  </a:lnTo>
                  <a:lnTo>
                    <a:pt x="31" y="17"/>
                  </a:lnTo>
                  <a:lnTo>
                    <a:pt x="31" y="9"/>
                  </a:lnTo>
                  <a:lnTo>
                    <a:pt x="31" y="6"/>
                  </a:lnTo>
                  <a:lnTo>
                    <a:pt x="28" y="0"/>
                  </a:lnTo>
                  <a:lnTo>
                    <a:pt x="25" y="0"/>
                  </a:lnTo>
                  <a:lnTo>
                    <a:pt x="20" y="3"/>
                  </a:lnTo>
                  <a:lnTo>
                    <a:pt x="22" y="9"/>
                  </a:lnTo>
                  <a:lnTo>
                    <a:pt x="20" y="9"/>
                  </a:lnTo>
                  <a:lnTo>
                    <a:pt x="17" y="12"/>
                  </a:lnTo>
                  <a:lnTo>
                    <a:pt x="14" y="14"/>
                  </a:lnTo>
                  <a:lnTo>
                    <a:pt x="0" y="35"/>
                  </a:lnTo>
                  <a:lnTo>
                    <a:pt x="5" y="37"/>
                  </a:lnTo>
                  <a:lnTo>
                    <a:pt x="17" y="46"/>
                  </a:lnTo>
                  <a:lnTo>
                    <a:pt x="25" y="55"/>
                  </a:lnTo>
                  <a:lnTo>
                    <a:pt x="43" y="69"/>
                  </a:lnTo>
                  <a:lnTo>
                    <a:pt x="54" y="75"/>
                  </a:lnTo>
                  <a:lnTo>
                    <a:pt x="66" y="81"/>
                  </a:lnTo>
                  <a:lnTo>
                    <a:pt x="66" y="69"/>
                  </a:lnTo>
                  <a:lnTo>
                    <a:pt x="68" y="60"/>
                  </a:lnTo>
                  <a:lnTo>
                    <a:pt x="66" y="52"/>
                  </a:lnTo>
                  <a:lnTo>
                    <a:pt x="57" y="4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20" name="Freeform 522"/>
            <p:cNvSpPr>
              <a:spLocks/>
            </p:cNvSpPr>
            <p:nvPr/>
          </p:nvSpPr>
          <p:spPr bwMode="auto">
            <a:xfrm>
              <a:off x="5078413" y="4838700"/>
              <a:ext cx="36512" cy="47625"/>
            </a:xfrm>
            <a:custGeom>
              <a:avLst/>
              <a:gdLst>
                <a:gd name="T0" fmla="*/ 2147483647 w 23"/>
                <a:gd name="T1" fmla="*/ 2147483647 h 29"/>
                <a:gd name="T2" fmla="*/ 2147483647 w 23"/>
                <a:gd name="T3" fmla="*/ 2147483647 h 29"/>
                <a:gd name="T4" fmla="*/ 2147483647 w 23"/>
                <a:gd name="T5" fmla="*/ 2147483647 h 29"/>
                <a:gd name="T6" fmla="*/ 2147483647 w 23"/>
                <a:gd name="T7" fmla="*/ 2147483647 h 29"/>
                <a:gd name="T8" fmla="*/ 2147483647 w 23"/>
                <a:gd name="T9" fmla="*/ 2147483647 h 29"/>
                <a:gd name="T10" fmla="*/ 2147483647 w 23"/>
                <a:gd name="T11" fmla="*/ 0 h 29"/>
                <a:gd name="T12" fmla="*/ 2147483647 w 23"/>
                <a:gd name="T13" fmla="*/ 2147483647 h 29"/>
                <a:gd name="T14" fmla="*/ 0 w 23"/>
                <a:gd name="T15" fmla="*/ 2147483647 h 29"/>
                <a:gd name="T16" fmla="*/ 0 w 23"/>
                <a:gd name="T17" fmla="*/ 2147483647 h 29"/>
                <a:gd name="T18" fmla="*/ 0 w 23"/>
                <a:gd name="T19" fmla="*/ 2147483647 h 29"/>
                <a:gd name="T20" fmla="*/ 0 w 23"/>
                <a:gd name="T21" fmla="*/ 2147483647 h 29"/>
                <a:gd name="T22" fmla="*/ 2147483647 w 23"/>
                <a:gd name="T23" fmla="*/ 2147483647 h 29"/>
                <a:gd name="T24" fmla="*/ 2147483647 w 23"/>
                <a:gd name="T25" fmla="*/ 2147483647 h 29"/>
                <a:gd name="T26" fmla="*/ 2147483647 w 23"/>
                <a:gd name="T27" fmla="*/ 2147483647 h 29"/>
                <a:gd name="T28" fmla="*/ 2147483647 w 23"/>
                <a:gd name="T29" fmla="*/ 2147483647 h 29"/>
                <a:gd name="T30" fmla="*/ 2147483647 w 23"/>
                <a:gd name="T31" fmla="*/ 2147483647 h 29"/>
                <a:gd name="T32" fmla="*/ 2147483647 w 23"/>
                <a:gd name="T33" fmla="*/ 2147483647 h 29"/>
                <a:gd name="T34" fmla="*/ 2147483647 w 23"/>
                <a:gd name="T35" fmla="*/ 2147483647 h 29"/>
                <a:gd name="T36" fmla="*/ 2147483647 w 23"/>
                <a:gd name="T37" fmla="*/ 2147483647 h 29"/>
                <a:gd name="T38" fmla="*/ 2147483647 w 23"/>
                <a:gd name="T39" fmla="*/ 2147483647 h 29"/>
                <a:gd name="T40" fmla="*/ 2147483647 w 23"/>
                <a:gd name="T41" fmla="*/ 2147483647 h 29"/>
                <a:gd name="T42" fmla="*/ 2147483647 w 23"/>
                <a:gd name="T43" fmla="*/ 2147483647 h 2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3"/>
                <a:gd name="T67" fmla="*/ 0 h 29"/>
                <a:gd name="T68" fmla="*/ 23 w 23"/>
                <a:gd name="T69" fmla="*/ 29 h 29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3" h="29">
                  <a:moveTo>
                    <a:pt x="18" y="26"/>
                  </a:moveTo>
                  <a:lnTo>
                    <a:pt x="23" y="23"/>
                  </a:lnTo>
                  <a:lnTo>
                    <a:pt x="23" y="12"/>
                  </a:lnTo>
                  <a:lnTo>
                    <a:pt x="23" y="3"/>
                  </a:lnTo>
                  <a:lnTo>
                    <a:pt x="18" y="3"/>
                  </a:lnTo>
                  <a:lnTo>
                    <a:pt x="12" y="0"/>
                  </a:lnTo>
                  <a:lnTo>
                    <a:pt x="6" y="9"/>
                  </a:lnTo>
                  <a:lnTo>
                    <a:pt x="0" y="12"/>
                  </a:lnTo>
                  <a:lnTo>
                    <a:pt x="0" y="17"/>
                  </a:lnTo>
                  <a:lnTo>
                    <a:pt x="3" y="23"/>
                  </a:lnTo>
                  <a:lnTo>
                    <a:pt x="6" y="26"/>
                  </a:lnTo>
                  <a:lnTo>
                    <a:pt x="9" y="29"/>
                  </a:lnTo>
                  <a:lnTo>
                    <a:pt x="18" y="2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21" name="Freeform 523"/>
            <p:cNvSpPr>
              <a:spLocks/>
            </p:cNvSpPr>
            <p:nvPr/>
          </p:nvSpPr>
          <p:spPr bwMode="auto">
            <a:xfrm>
              <a:off x="4983163" y="4927600"/>
              <a:ext cx="53975" cy="58738"/>
            </a:xfrm>
            <a:custGeom>
              <a:avLst/>
              <a:gdLst>
                <a:gd name="T0" fmla="*/ 2147483647 w 34"/>
                <a:gd name="T1" fmla="*/ 2147483647 h 37"/>
                <a:gd name="T2" fmla="*/ 2147483647 w 34"/>
                <a:gd name="T3" fmla="*/ 0 h 37"/>
                <a:gd name="T4" fmla="*/ 2147483647 w 34"/>
                <a:gd name="T5" fmla="*/ 2147483647 h 37"/>
                <a:gd name="T6" fmla="*/ 2147483647 w 34"/>
                <a:gd name="T7" fmla="*/ 2147483647 h 37"/>
                <a:gd name="T8" fmla="*/ 2147483647 w 34"/>
                <a:gd name="T9" fmla="*/ 2147483647 h 37"/>
                <a:gd name="T10" fmla="*/ 2147483647 w 34"/>
                <a:gd name="T11" fmla="*/ 2147483647 h 37"/>
                <a:gd name="T12" fmla="*/ 0 w 34"/>
                <a:gd name="T13" fmla="*/ 2147483647 h 37"/>
                <a:gd name="T14" fmla="*/ 0 w 34"/>
                <a:gd name="T15" fmla="*/ 2147483647 h 37"/>
                <a:gd name="T16" fmla="*/ 2147483647 w 34"/>
                <a:gd name="T17" fmla="*/ 2147483647 h 37"/>
                <a:gd name="T18" fmla="*/ 2147483647 w 34"/>
                <a:gd name="T19" fmla="*/ 2147483647 h 37"/>
                <a:gd name="T20" fmla="*/ 2147483647 w 34"/>
                <a:gd name="T21" fmla="*/ 2147483647 h 37"/>
                <a:gd name="T22" fmla="*/ 2147483647 w 34"/>
                <a:gd name="T23" fmla="*/ 2147483647 h 37"/>
                <a:gd name="T24" fmla="*/ 2147483647 w 34"/>
                <a:gd name="T25" fmla="*/ 2147483647 h 37"/>
                <a:gd name="T26" fmla="*/ 2147483647 w 34"/>
                <a:gd name="T27" fmla="*/ 2147483647 h 37"/>
                <a:gd name="T28" fmla="*/ 2147483647 w 34"/>
                <a:gd name="T29" fmla="*/ 2147483647 h 37"/>
                <a:gd name="T30" fmla="*/ 2147483647 w 34"/>
                <a:gd name="T31" fmla="*/ 2147483647 h 3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4"/>
                <a:gd name="T49" fmla="*/ 0 h 37"/>
                <a:gd name="T50" fmla="*/ 34 w 34"/>
                <a:gd name="T51" fmla="*/ 37 h 37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4" h="37">
                  <a:moveTo>
                    <a:pt x="34" y="8"/>
                  </a:moveTo>
                  <a:lnTo>
                    <a:pt x="23" y="0"/>
                  </a:lnTo>
                  <a:lnTo>
                    <a:pt x="11" y="5"/>
                  </a:lnTo>
                  <a:lnTo>
                    <a:pt x="6" y="8"/>
                  </a:lnTo>
                  <a:lnTo>
                    <a:pt x="6" y="17"/>
                  </a:lnTo>
                  <a:lnTo>
                    <a:pt x="3" y="17"/>
                  </a:lnTo>
                  <a:lnTo>
                    <a:pt x="0" y="20"/>
                  </a:lnTo>
                  <a:lnTo>
                    <a:pt x="0" y="28"/>
                  </a:lnTo>
                  <a:lnTo>
                    <a:pt x="9" y="34"/>
                  </a:lnTo>
                  <a:lnTo>
                    <a:pt x="11" y="37"/>
                  </a:lnTo>
                  <a:lnTo>
                    <a:pt x="17" y="25"/>
                  </a:lnTo>
                  <a:lnTo>
                    <a:pt x="26" y="28"/>
                  </a:lnTo>
                  <a:lnTo>
                    <a:pt x="34" y="20"/>
                  </a:lnTo>
                  <a:lnTo>
                    <a:pt x="32" y="11"/>
                  </a:lnTo>
                  <a:lnTo>
                    <a:pt x="34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22" name="Freeform 524"/>
            <p:cNvSpPr>
              <a:spLocks noEditPoints="1"/>
            </p:cNvSpPr>
            <p:nvPr/>
          </p:nvSpPr>
          <p:spPr bwMode="auto">
            <a:xfrm>
              <a:off x="4697413" y="4724400"/>
              <a:ext cx="442912" cy="395288"/>
            </a:xfrm>
            <a:custGeom>
              <a:avLst/>
              <a:gdLst>
                <a:gd name="T0" fmla="*/ 2147483647 w 276"/>
                <a:gd name="T1" fmla="*/ 2147483647 h 247"/>
                <a:gd name="T2" fmla="*/ 2147483647 w 276"/>
                <a:gd name="T3" fmla="*/ 2147483647 h 247"/>
                <a:gd name="T4" fmla="*/ 2147483647 w 276"/>
                <a:gd name="T5" fmla="*/ 2147483647 h 247"/>
                <a:gd name="T6" fmla="*/ 2147483647 w 276"/>
                <a:gd name="T7" fmla="*/ 2147483647 h 247"/>
                <a:gd name="T8" fmla="*/ 2147483647 w 276"/>
                <a:gd name="T9" fmla="*/ 2147483647 h 247"/>
                <a:gd name="T10" fmla="*/ 2147483647 w 276"/>
                <a:gd name="T11" fmla="*/ 2147483647 h 247"/>
                <a:gd name="T12" fmla="*/ 2147483647 w 276"/>
                <a:gd name="T13" fmla="*/ 2147483647 h 247"/>
                <a:gd name="T14" fmla="*/ 2147483647 w 276"/>
                <a:gd name="T15" fmla="*/ 2147483647 h 247"/>
                <a:gd name="T16" fmla="*/ 2147483647 w 276"/>
                <a:gd name="T17" fmla="*/ 2147483647 h 247"/>
                <a:gd name="T18" fmla="*/ 2147483647 w 276"/>
                <a:gd name="T19" fmla="*/ 2147483647 h 247"/>
                <a:gd name="T20" fmla="*/ 2147483647 w 276"/>
                <a:gd name="T21" fmla="*/ 2147483647 h 247"/>
                <a:gd name="T22" fmla="*/ 2147483647 w 276"/>
                <a:gd name="T23" fmla="*/ 2147483647 h 247"/>
                <a:gd name="T24" fmla="*/ 2147483647 w 276"/>
                <a:gd name="T25" fmla="*/ 2147483647 h 247"/>
                <a:gd name="T26" fmla="*/ 2147483647 w 276"/>
                <a:gd name="T27" fmla="*/ 2147483647 h 247"/>
                <a:gd name="T28" fmla="*/ 2147483647 w 276"/>
                <a:gd name="T29" fmla="*/ 2147483647 h 247"/>
                <a:gd name="T30" fmla="*/ 2147483647 w 276"/>
                <a:gd name="T31" fmla="*/ 2147483647 h 247"/>
                <a:gd name="T32" fmla="*/ 2147483647 w 276"/>
                <a:gd name="T33" fmla="*/ 2147483647 h 247"/>
                <a:gd name="T34" fmla="*/ 2147483647 w 276"/>
                <a:gd name="T35" fmla="*/ 2147483647 h 247"/>
                <a:gd name="T36" fmla="*/ 2147483647 w 276"/>
                <a:gd name="T37" fmla="*/ 2147483647 h 247"/>
                <a:gd name="T38" fmla="*/ 2147483647 w 276"/>
                <a:gd name="T39" fmla="*/ 2147483647 h 247"/>
                <a:gd name="T40" fmla="*/ 2147483647 w 276"/>
                <a:gd name="T41" fmla="*/ 2147483647 h 247"/>
                <a:gd name="T42" fmla="*/ 2147483647 w 276"/>
                <a:gd name="T43" fmla="*/ 2147483647 h 247"/>
                <a:gd name="T44" fmla="*/ 2147483647 w 276"/>
                <a:gd name="T45" fmla="*/ 2147483647 h 247"/>
                <a:gd name="T46" fmla="*/ 2147483647 w 276"/>
                <a:gd name="T47" fmla="*/ 2147483647 h 247"/>
                <a:gd name="T48" fmla="*/ 0 w 276"/>
                <a:gd name="T49" fmla="*/ 2147483647 h 247"/>
                <a:gd name="T50" fmla="*/ 2147483647 w 276"/>
                <a:gd name="T51" fmla="*/ 2147483647 h 247"/>
                <a:gd name="T52" fmla="*/ 2147483647 w 276"/>
                <a:gd name="T53" fmla="*/ 2147483647 h 247"/>
                <a:gd name="T54" fmla="*/ 2147483647 w 276"/>
                <a:gd name="T55" fmla="*/ 2147483647 h 247"/>
                <a:gd name="T56" fmla="*/ 2147483647 w 276"/>
                <a:gd name="T57" fmla="*/ 2147483647 h 247"/>
                <a:gd name="T58" fmla="*/ 2147483647 w 276"/>
                <a:gd name="T59" fmla="*/ 2147483647 h 247"/>
                <a:gd name="T60" fmla="*/ 2147483647 w 276"/>
                <a:gd name="T61" fmla="*/ 2147483647 h 247"/>
                <a:gd name="T62" fmla="*/ 2147483647 w 276"/>
                <a:gd name="T63" fmla="*/ 2147483647 h 247"/>
                <a:gd name="T64" fmla="*/ 2147483647 w 276"/>
                <a:gd name="T65" fmla="*/ 2147483647 h 247"/>
                <a:gd name="T66" fmla="*/ 2147483647 w 276"/>
                <a:gd name="T67" fmla="*/ 2147483647 h 247"/>
                <a:gd name="T68" fmla="*/ 2147483647 w 276"/>
                <a:gd name="T69" fmla="*/ 2147483647 h 247"/>
                <a:gd name="T70" fmla="*/ 2147483647 w 276"/>
                <a:gd name="T71" fmla="*/ 2147483647 h 247"/>
                <a:gd name="T72" fmla="*/ 2147483647 w 276"/>
                <a:gd name="T73" fmla="*/ 2147483647 h 247"/>
                <a:gd name="T74" fmla="*/ 2147483647 w 276"/>
                <a:gd name="T75" fmla="*/ 2147483647 h 247"/>
                <a:gd name="T76" fmla="*/ 2147483647 w 276"/>
                <a:gd name="T77" fmla="*/ 2147483647 h 247"/>
                <a:gd name="T78" fmla="*/ 2147483647 w 276"/>
                <a:gd name="T79" fmla="*/ 2147483647 h 247"/>
                <a:gd name="T80" fmla="*/ 2147483647 w 276"/>
                <a:gd name="T81" fmla="*/ 2147483647 h 247"/>
                <a:gd name="T82" fmla="*/ 2147483647 w 276"/>
                <a:gd name="T83" fmla="*/ 2147483647 h 247"/>
                <a:gd name="T84" fmla="*/ 2147483647 w 276"/>
                <a:gd name="T85" fmla="*/ 2147483647 h 247"/>
                <a:gd name="T86" fmla="*/ 2147483647 w 276"/>
                <a:gd name="T87" fmla="*/ 2147483647 h 247"/>
                <a:gd name="T88" fmla="*/ 2147483647 w 276"/>
                <a:gd name="T89" fmla="*/ 2147483647 h 247"/>
                <a:gd name="T90" fmla="*/ 2147483647 w 276"/>
                <a:gd name="T91" fmla="*/ 2147483647 h 247"/>
                <a:gd name="T92" fmla="*/ 2147483647 w 276"/>
                <a:gd name="T93" fmla="*/ 2147483647 h 247"/>
                <a:gd name="T94" fmla="*/ 2147483647 w 276"/>
                <a:gd name="T95" fmla="*/ 2147483647 h 247"/>
                <a:gd name="T96" fmla="*/ 2147483647 w 276"/>
                <a:gd name="T97" fmla="*/ 2147483647 h 247"/>
                <a:gd name="T98" fmla="*/ 2147483647 w 276"/>
                <a:gd name="T99" fmla="*/ 2147483647 h 247"/>
                <a:gd name="T100" fmla="*/ 2147483647 w 276"/>
                <a:gd name="T101" fmla="*/ 2147483647 h 247"/>
                <a:gd name="T102" fmla="*/ 2147483647 w 276"/>
                <a:gd name="T103" fmla="*/ 2147483647 h 247"/>
                <a:gd name="T104" fmla="*/ 2147483647 w 276"/>
                <a:gd name="T105" fmla="*/ 2147483647 h 247"/>
                <a:gd name="T106" fmla="*/ 2147483647 w 276"/>
                <a:gd name="T107" fmla="*/ 2147483647 h 24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76"/>
                <a:gd name="T163" fmla="*/ 0 h 247"/>
                <a:gd name="T164" fmla="*/ 276 w 276"/>
                <a:gd name="T165" fmla="*/ 247 h 247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76" h="247">
                  <a:moveTo>
                    <a:pt x="270" y="75"/>
                  </a:moveTo>
                  <a:lnTo>
                    <a:pt x="264" y="75"/>
                  </a:lnTo>
                  <a:lnTo>
                    <a:pt x="264" y="84"/>
                  </a:lnTo>
                  <a:lnTo>
                    <a:pt x="264" y="95"/>
                  </a:lnTo>
                  <a:lnTo>
                    <a:pt x="258" y="101"/>
                  </a:lnTo>
                  <a:lnTo>
                    <a:pt x="256" y="101"/>
                  </a:lnTo>
                  <a:lnTo>
                    <a:pt x="247" y="104"/>
                  </a:lnTo>
                  <a:lnTo>
                    <a:pt x="241" y="101"/>
                  </a:lnTo>
                  <a:lnTo>
                    <a:pt x="238" y="95"/>
                  </a:lnTo>
                  <a:lnTo>
                    <a:pt x="235" y="84"/>
                  </a:lnTo>
                  <a:lnTo>
                    <a:pt x="241" y="78"/>
                  </a:lnTo>
                  <a:lnTo>
                    <a:pt x="247" y="66"/>
                  </a:lnTo>
                  <a:lnTo>
                    <a:pt x="258" y="72"/>
                  </a:lnTo>
                  <a:lnTo>
                    <a:pt x="261" y="72"/>
                  </a:lnTo>
                  <a:lnTo>
                    <a:pt x="258" y="61"/>
                  </a:lnTo>
                  <a:lnTo>
                    <a:pt x="261" y="49"/>
                  </a:lnTo>
                  <a:lnTo>
                    <a:pt x="258" y="38"/>
                  </a:lnTo>
                  <a:lnTo>
                    <a:pt x="253" y="23"/>
                  </a:lnTo>
                  <a:lnTo>
                    <a:pt x="250" y="9"/>
                  </a:lnTo>
                  <a:lnTo>
                    <a:pt x="250" y="6"/>
                  </a:lnTo>
                  <a:lnTo>
                    <a:pt x="247" y="6"/>
                  </a:lnTo>
                  <a:lnTo>
                    <a:pt x="238" y="6"/>
                  </a:lnTo>
                  <a:lnTo>
                    <a:pt x="238" y="9"/>
                  </a:lnTo>
                  <a:lnTo>
                    <a:pt x="227" y="3"/>
                  </a:lnTo>
                  <a:lnTo>
                    <a:pt x="218" y="3"/>
                  </a:lnTo>
                  <a:lnTo>
                    <a:pt x="215" y="3"/>
                  </a:lnTo>
                  <a:lnTo>
                    <a:pt x="215" y="0"/>
                  </a:lnTo>
                  <a:lnTo>
                    <a:pt x="212" y="9"/>
                  </a:lnTo>
                  <a:lnTo>
                    <a:pt x="198" y="12"/>
                  </a:lnTo>
                  <a:lnTo>
                    <a:pt x="189" y="26"/>
                  </a:lnTo>
                  <a:lnTo>
                    <a:pt x="178" y="35"/>
                  </a:lnTo>
                  <a:lnTo>
                    <a:pt x="172" y="46"/>
                  </a:lnTo>
                  <a:lnTo>
                    <a:pt x="158" y="55"/>
                  </a:lnTo>
                  <a:lnTo>
                    <a:pt x="155" y="72"/>
                  </a:lnTo>
                  <a:lnTo>
                    <a:pt x="144" y="75"/>
                  </a:lnTo>
                  <a:lnTo>
                    <a:pt x="141" y="75"/>
                  </a:lnTo>
                  <a:lnTo>
                    <a:pt x="132" y="72"/>
                  </a:lnTo>
                  <a:lnTo>
                    <a:pt x="129" y="69"/>
                  </a:lnTo>
                  <a:lnTo>
                    <a:pt x="118" y="63"/>
                  </a:lnTo>
                  <a:lnTo>
                    <a:pt x="115" y="63"/>
                  </a:lnTo>
                  <a:lnTo>
                    <a:pt x="109" y="66"/>
                  </a:lnTo>
                  <a:lnTo>
                    <a:pt x="109" y="69"/>
                  </a:lnTo>
                  <a:lnTo>
                    <a:pt x="106" y="75"/>
                  </a:lnTo>
                  <a:lnTo>
                    <a:pt x="103" y="81"/>
                  </a:lnTo>
                  <a:lnTo>
                    <a:pt x="100" y="81"/>
                  </a:lnTo>
                  <a:lnTo>
                    <a:pt x="98" y="84"/>
                  </a:lnTo>
                  <a:lnTo>
                    <a:pt x="95" y="86"/>
                  </a:lnTo>
                  <a:lnTo>
                    <a:pt x="89" y="95"/>
                  </a:lnTo>
                  <a:lnTo>
                    <a:pt x="75" y="95"/>
                  </a:lnTo>
                  <a:lnTo>
                    <a:pt x="66" y="92"/>
                  </a:lnTo>
                  <a:lnTo>
                    <a:pt x="69" y="78"/>
                  </a:lnTo>
                  <a:lnTo>
                    <a:pt x="69" y="66"/>
                  </a:lnTo>
                  <a:lnTo>
                    <a:pt x="66" y="61"/>
                  </a:lnTo>
                  <a:lnTo>
                    <a:pt x="60" y="58"/>
                  </a:lnTo>
                  <a:lnTo>
                    <a:pt x="60" y="124"/>
                  </a:lnTo>
                  <a:lnTo>
                    <a:pt x="49" y="129"/>
                  </a:lnTo>
                  <a:lnTo>
                    <a:pt x="43" y="132"/>
                  </a:lnTo>
                  <a:lnTo>
                    <a:pt x="34" y="132"/>
                  </a:lnTo>
                  <a:lnTo>
                    <a:pt x="23" y="132"/>
                  </a:lnTo>
                  <a:lnTo>
                    <a:pt x="14" y="129"/>
                  </a:lnTo>
                  <a:lnTo>
                    <a:pt x="12" y="124"/>
                  </a:lnTo>
                  <a:lnTo>
                    <a:pt x="12" y="121"/>
                  </a:lnTo>
                  <a:lnTo>
                    <a:pt x="9" y="118"/>
                  </a:lnTo>
                  <a:lnTo>
                    <a:pt x="6" y="121"/>
                  </a:lnTo>
                  <a:lnTo>
                    <a:pt x="3" y="127"/>
                  </a:lnTo>
                  <a:lnTo>
                    <a:pt x="0" y="127"/>
                  </a:lnTo>
                  <a:lnTo>
                    <a:pt x="3" y="132"/>
                  </a:lnTo>
                  <a:lnTo>
                    <a:pt x="6" y="138"/>
                  </a:lnTo>
                  <a:lnTo>
                    <a:pt x="12" y="161"/>
                  </a:lnTo>
                  <a:lnTo>
                    <a:pt x="20" y="181"/>
                  </a:lnTo>
                  <a:lnTo>
                    <a:pt x="26" y="193"/>
                  </a:lnTo>
                  <a:lnTo>
                    <a:pt x="29" y="198"/>
                  </a:lnTo>
                  <a:lnTo>
                    <a:pt x="29" y="204"/>
                  </a:lnTo>
                  <a:lnTo>
                    <a:pt x="26" y="207"/>
                  </a:lnTo>
                  <a:lnTo>
                    <a:pt x="23" y="207"/>
                  </a:lnTo>
                  <a:lnTo>
                    <a:pt x="20" y="210"/>
                  </a:lnTo>
                  <a:lnTo>
                    <a:pt x="20" y="213"/>
                  </a:lnTo>
                  <a:lnTo>
                    <a:pt x="23" y="216"/>
                  </a:lnTo>
                  <a:lnTo>
                    <a:pt x="26" y="218"/>
                  </a:lnTo>
                  <a:lnTo>
                    <a:pt x="29" y="224"/>
                  </a:lnTo>
                  <a:lnTo>
                    <a:pt x="29" y="227"/>
                  </a:lnTo>
                  <a:lnTo>
                    <a:pt x="26" y="236"/>
                  </a:lnTo>
                  <a:lnTo>
                    <a:pt x="29" y="239"/>
                  </a:lnTo>
                  <a:lnTo>
                    <a:pt x="34" y="236"/>
                  </a:lnTo>
                  <a:lnTo>
                    <a:pt x="37" y="239"/>
                  </a:lnTo>
                  <a:lnTo>
                    <a:pt x="40" y="241"/>
                  </a:lnTo>
                  <a:lnTo>
                    <a:pt x="43" y="241"/>
                  </a:lnTo>
                  <a:lnTo>
                    <a:pt x="52" y="247"/>
                  </a:lnTo>
                  <a:lnTo>
                    <a:pt x="55" y="247"/>
                  </a:lnTo>
                  <a:lnTo>
                    <a:pt x="60" y="241"/>
                  </a:lnTo>
                  <a:lnTo>
                    <a:pt x="66" y="241"/>
                  </a:lnTo>
                  <a:lnTo>
                    <a:pt x="72" y="239"/>
                  </a:lnTo>
                  <a:lnTo>
                    <a:pt x="80" y="241"/>
                  </a:lnTo>
                  <a:lnTo>
                    <a:pt x="83" y="241"/>
                  </a:lnTo>
                  <a:lnTo>
                    <a:pt x="89" y="236"/>
                  </a:lnTo>
                  <a:lnTo>
                    <a:pt x="95" y="233"/>
                  </a:lnTo>
                  <a:lnTo>
                    <a:pt x="100" y="233"/>
                  </a:lnTo>
                  <a:lnTo>
                    <a:pt x="109" y="233"/>
                  </a:lnTo>
                  <a:lnTo>
                    <a:pt x="112" y="233"/>
                  </a:lnTo>
                  <a:lnTo>
                    <a:pt x="115" y="230"/>
                  </a:lnTo>
                  <a:lnTo>
                    <a:pt x="118" y="233"/>
                  </a:lnTo>
                  <a:lnTo>
                    <a:pt x="123" y="236"/>
                  </a:lnTo>
                  <a:lnTo>
                    <a:pt x="129" y="236"/>
                  </a:lnTo>
                  <a:lnTo>
                    <a:pt x="132" y="236"/>
                  </a:lnTo>
                  <a:lnTo>
                    <a:pt x="135" y="233"/>
                  </a:lnTo>
                  <a:lnTo>
                    <a:pt x="138" y="230"/>
                  </a:lnTo>
                  <a:lnTo>
                    <a:pt x="146" y="233"/>
                  </a:lnTo>
                  <a:lnTo>
                    <a:pt x="146" y="230"/>
                  </a:lnTo>
                  <a:lnTo>
                    <a:pt x="149" y="227"/>
                  </a:lnTo>
                  <a:lnTo>
                    <a:pt x="158" y="227"/>
                  </a:lnTo>
                  <a:lnTo>
                    <a:pt x="164" y="227"/>
                  </a:lnTo>
                  <a:lnTo>
                    <a:pt x="178" y="218"/>
                  </a:lnTo>
                  <a:lnTo>
                    <a:pt x="187" y="213"/>
                  </a:lnTo>
                  <a:lnTo>
                    <a:pt x="195" y="204"/>
                  </a:lnTo>
                  <a:lnTo>
                    <a:pt x="207" y="193"/>
                  </a:lnTo>
                  <a:lnTo>
                    <a:pt x="215" y="184"/>
                  </a:lnTo>
                  <a:lnTo>
                    <a:pt x="224" y="175"/>
                  </a:lnTo>
                  <a:lnTo>
                    <a:pt x="230" y="170"/>
                  </a:lnTo>
                  <a:lnTo>
                    <a:pt x="235" y="155"/>
                  </a:lnTo>
                  <a:lnTo>
                    <a:pt x="241" y="147"/>
                  </a:lnTo>
                  <a:lnTo>
                    <a:pt x="247" y="141"/>
                  </a:lnTo>
                  <a:lnTo>
                    <a:pt x="256" y="132"/>
                  </a:lnTo>
                  <a:lnTo>
                    <a:pt x="261" y="127"/>
                  </a:lnTo>
                  <a:lnTo>
                    <a:pt x="264" y="121"/>
                  </a:lnTo>
                  <a:lnTo>
                    <a:pt x="276" y="92"/>
                  </a:lnTo>
                  <a:lnTo>
                    <a:pt x="276" y="84"/>
                  </a:lnTo>
                  <a:lnTo>
                    <a:pt x="276" y="78"/>
                  </a:lnTo>
                  <a:lnTo>
                    <a:pt x="273" y="78"/>
                  </a:lnTo>
                  <a:lnTo>
                    <a:pt x="270" y="75"/>
                  </a:lnTo>
                  <a:close/>
                  <a:moveTo>
                    <a:pt x="215" y="135"/>
                  </a:moveTo>
                  <a:lnTo>
                    <a:pt x="212" y="138"/>
                  </a:lnTo>
                  <a:lnTo>
                    <a:pt x="215" y="147"/>
                  </a:lnTo>
                  <a:lnTo>
                    <a:pt x="207" y="158"/>
                  </a:lnTo>
                  <a:lnTo>
                    <a:pt x="198" y="155"/>
                  </a:lnTo>
                  <a:lnTo>
                    <a:pt x="192" y="167"/>
                  </a:lnTo>
                  <a:lnTo>
                    <a:pt x="189" y="167"/>
                  </a:lnTo>
                  <a:lnTo>
                    <a:pt x="187" y="164"/>
                  </a:lnTo>
                  <a:lnTo>
                    <a:pt x="175" y="155"/>
                  </a:lnTo>
                  <a:lnTo>
                    <a:pt x="172" y="147"/>
                  </a:lnTo>
                  <a:lnTo>
                    <a:pt x="181" y="141"/>
                  </a:lnTo>
                  <a:lnTo>
                    <a:pt x="181" y="132"/>
                  </a:lnTo>
                  <a:lnTo>
                    <a:pt x="189" y="129"/>
                  </a:lnTo>
                  <a:lnTo>
                    <a:pt x="201" y="124"/>
                  </a:lnTo>
                  <a:lnTo>
                    <a:pt x="215" y="13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23" name="Freeform 525"/>
            <p:cNvSpPr>
              <a:spLocks/>
            </p:cNvSpPr>
            <p:nvPr/>
          </p:nvSpPr>
          <p:spPr bwMode="auto">
            <a:xfrm>
              <a:off x="5078413" y="4359275"/>
              <a:ext cx="290512" cy="479425"/>
            </a:xfrm>
            <a:custGeom>
              <a:avLst/>
              <a:gdLst>
                <a:gd name="T0" fmla="*/ 2147483647 w 181"/>
                <a:gd name="T1" fmla="*/ 2147483647 h 299"/>
                <a:gd name="T2" fmla="*/ 2147483647 w 181"/>
                <a:gd name="T3" fmla="*/ 2147483647 h 299"/>
                <a:gd name="T4" fmla="*/ 2147483647 w 181"/>
                <a:gd name="T5" fmla="*/ 2147483647 h 299"/>
                <a:gd name="T6" fmla="*/ 2147483647 w 181"/>
                <a:gd name="T7" fmla="*/ 2147483647 h 299"/>
                <a:gd name="T8" fmla="*/ 2147483647 w 181"/>
                <a:gd name="T9" fmla="*/ 2147483647 h 299"/>
                <a:gd name="T10" fmla="*/ 2147483647 w 181"/>
                <a:gd name="T11" fmla="*/ 2147483647 h 299"/>
                <a:gd name="T12" fmla="*/ 2147483647 w 181"/>
                <a:gd name="T13" fmla="*/ 2147483647 h 299"/>
                <a:gd name="T14" fmla="*/ 2147483647 w 181"/>
                <a:gd name="T15" fmla="*/ 2147483647 h 299"/>
                <a:gd name="T16" fmla="*/ 2147483647 w 181"/>
                <a:gd name="T17" fmla="*/ 2147483647 h 299"/>
                <a:gd name="T18" fmla="*/ 2147483647 w 181"/>
                <a:gd name="T19" fmla="*/ 2147483647 h 299"/>
                <a:gd name="T20" fmla="*/ 2147483647 w 181"/>
                <a:gd name="T21" fmla="*/ 2147483647 h 299"/>
                <a:gd name="T22" fmla="*/ 2147483647 w 181"/>
                <a:gd name="T23" fmla="*/ 2147483647 h 299"/>
                <a:gd name="T24" fmla="*/ 2147483647 w 181"/>
                <a:gd name="T25" fmla="*/ 2147483647 h 299"/>
                <a:gd name="T26" fmla="*/ 2147483647 w 181"/>
                <a:gd name="T27" fmla="*/ 2147483647 h 299"/>
                <a:gd name="T28" fmla="*/ 2147483647 w 181"/>
                <a:gd name="T29" fmla="*/ 2147483647 h 299"/>
                <a:gd name="T30" fmla="*/ 2147483647 w 181"/>
                <a:gd name="T31" fmla="*/ 2147483647 h 299"/>
                <a:gd name="T32" fmla="*/ 2147483647 w 181"/>
                <a:gd name="T33" fmla="*/ 2147483647 h 299"/>
                <a:gd name="T34" fmla="*/ 2147483647 w 181"/>
                <a:gd name="T35" fmla="*/ 2147483647 h 299"/>
                <a:gd name="T36" fmla="*/ 2147483647 w 181"/>
                <a:gd name="T37" fmla="*/ 2147483647 h 299"/>
                <a:gd name="T38" fmla="*/ 2147483647 w 181"/>
                <a:gd name="T39" fmla="*/ 2147483647 h 299"/>
                <a:gd name="T40" fmla="*/ 2147483647 w 181"/>
                <a:gd name="T41" fmla="*/ 2147483647 h 299"/>
                <a:gd name="T42" fmla="*/ 2147483647 w 181"/>
                <a:gd name="T43" fmla="*/ 2147483647 h 299"/>
                <a:gd name="T44" fmla="*/ 2147483647 w 181"/>
                <a:gd name="T45" fmla="*/ 2147483647 h 299"/>
                <a:gd name="T46" fmla="*/ 2147483647 w 181"/>
                <a:gd name="T47" fmla="*/ 2147483647 h 299"/>
                <a:gd name="T48" fmla="*/ 2147483647 w 181"/>
                <a:gd name="T49" fmla="*/ 2147483647 h 299"/>
                <a:gd name="T50" fmla="*/ 2147483647 w 181"/>
                <a:gd name="T51" fmla="*/ 2147483647 h 299"/>
                <a:gd name="T52" fmla="*/ 2147483647 w 181"/>
                <a:gd name="T53" fmla="*/ 2147483647 h 299"/>
                <a:gd name="T54" fmla="*/ 2147483647 w 181"/>
                <a:gd name="T55" fmla="*/ 2147483647 h 299"/>
                <a:gd name="T56" fmla="*/ 2147483647 w 181"/>
                <a:gd name="T57" fmla="*/ 2147483647 h 299"/>
                <a:gd name="T58" fmla="*/ 2147483647 w 181"/>
                <a:gd name="T59" fmla="*/ 2147483647 h 299"/>
                <a:gd name="T60" fmla="*/ 2147483647 w 181"/>
                <a:gd name="T61" fmla="*/ 2147483647 h 299"/>
                <a:gd name="T62" fmla="*/ 2147483647 w 181"/>
                <a:gd name="T63" fmla="*/ 2147483647 h 299"/>
                <a:gd name="T64" fmla="*/ 2147483647 w 181"/>
                <a:gd name="T65" fmla="*/ 2147483647 h 299"/>
                <a:gd name="T66" fmla="*/ 2147483647 w 181"/>
                <a:gd name="T67" fmla="*/ 2147483647 h 299"/>
                <a:gd name="T68" fmla="*/ 2147483647 w 181"/>
                <a:gd name="T69" fmla="*/ 2147483647 h 299"/>
                <a:gd name="T70" fmla="*/ 2147483647 w 181"/>
                <a:gd name="T71" fmla="*/ 2147483647 h 299"/>
                <a:gd name="T72" fmla="*/ 2147483647 w 181"/>
                <a:gd name="T73" fmla="*/ 2147483647 h 299"/>
                <a:gd name="T74" fmla="*/ 2147483647 w 181"/>
                <a:gd name="T75" fmla="*/ 2147483647 h 299"/>
                <a:gd name="T76" fmla="*/ 2147483647 w 181"/>
                <a:gd name="T77" fmla="*/ 2147483647 h 299"/>
                <a:gd name="T78" fmla="*/ 2147483647 w 181"/>
                <a:gd name="T79" fmla="*/ 2147483647 h 299"/>
                <a:gd name="T80" fmla="*/ 2147483647 w 181"/>
                <a:gd name="T81" fmla="*/ 2147483647 h 299"/>
                <a:gd name="T82" fmla="*/ 2147483647 w 181"/>
                <a:gd name="T83" fmla="*/ 2147483647 h 299"/>
                <a:gd name="T84" fmla="*/ 2147483647 w 181"/>
                <a:gd name="T85" fmla="*/ 2147483647 h 299"/>
                <a:gd name="T86" fmla="*/ 2147483647 w 181"/>
                <a:gd name="T87" fmla="*/ 2147483647 h 299"/>
                <a:gd name="T88" fmla="*/ 2147483647 w 181"/>
                <a:gd name="T89" fmla="*/ 2147483647 h 299"/>
                <a:gd name="T90" fmla="*/ 2147483647 w 181"/>
                <a:gd name="T91" fmla="*/ 2147483647 h 299"/>
                <a:gd name="T92" fmla="*/ 2147483647 w 181"/>
                <a:gd name="T93" fmla="*/ 2147483647 h 299"/>
                <a:gd name="T94" fmla="*/ 2147483647 w 181"/>
                <a:gd name="T95" fmla="*/ 2147483647 h 299"/>
                <a:gd name="T96" fmla="*/ 2147483647 w 181"/>
                <a:gd name="T97" fmla="*/ 2147483647 h 299"/>
                <a:gd name="T98" fmla="*/ 2147483647 w 181"/>
                <a:gd name="T99" fmla="*/ 2147483647 h 299"/>
                <a:gd name="T100" fmla="*/ 2147483647 w 181"/>
                <a:gd name="T101" fmla="*/ 2147483647 h 299"/>
                <a:gd name="T102" fmla="*/ 2147483647 w 181"/>
                <a:gd name="T103" fmla="*/ 2147483647 h 299"/>
                <a:gd name="T104" fmla="*/ 2147483647 w 181"/>
                <a:gd name="T105" fmla="*/ 2147483647 h 299"/>
                <a:gd name="T106" fmla="*/ 2147483647 w 181"/>
                <a:gd name="T107" fmla="*/ 2147483647 h 299"/>
                <a:gd name="T108" fmla="*/ 2147483647 w 181"/>
                <a:gd name="T109" fmla="*/ 2147483647 h 299"/>
                <a:gd name="T110" fmla="*/ 2147483647 w 181"/>
                <a:gd name="T111" fmla="*/ 2147483647 h 299"/>
                <a:gd name="T112" fmla="*/ 2147483647 w 181"/>
                <a:gd name="T113" fmla="*/ 2147483647 h 299"/>
                <a:gd name="T114" fmla="*/ 2147483647 w 181"/>
                <a:gd name="T115" fmla="*/ 2147483647 h 299"/>
                <a:gd name="T116" fmla="*/ 2147483647 w 181"/>
                <a:gd name="T117" fmla="*/ 2147483647 h 299"/>
                <a:gd name="T118" fmla="*/ 2147483647 w 181"/>
                <a:gd name="T119" fmla="*/ 2147483647 h 29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81"/>
                <a:gd name="T181" fmla="*/ 0 h 299"/>
                <a:gd name="T182" fmla="*/ 181 w 181"/>
                <a:gd name="T183" fmla="*/ 299 h 29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81" h="299">
                  <a:moveTo>
                    <a:pt x="175" y="46"/>
                  </a:moveTo>
                  <a:lnTo>
                    <a:pt x="175" y="46"/>
                  </a:lnTo>
                  <a:lnTo>
                    <a:pt x="175" y="26"/>
                  </a:lnTo>
                  <a:lnTo>
                    <a:pt x="175" y="12"/>
                  </a:lnTo>
                  <a:lnTo>
                    <a:pt x="178" y="0"/>
                  </a:lnTo>
                  <a:lnTo>
                    <a:pt x="161" y="12"/>
                  </a:lnTo>
                  <a:lnTo>
                    <a:pt x="147" y="15"/>
                  </a:lnTo>
                  <a:lnTo>
                    <a:pt x="141" y="21"/>
                  </a:lnTo>
                  <a:lnTo>
                    <a:pt x="135" y="18"/>
                  </a:lnTo>
                  <a:lnTo>
                    <a:pt x="129" y="26"/>
                  </a:lnTo>
                  <a:lnTo>
                    <a:pt x="115" y="23"/>
                  </a:lnTo>
                  <a:lnTo>
                    <a:pt x="109" y="26"/>
                  </a:lnTo>
                  <a:lnTo>
                    <a:pt x="98" y="21"/>
                  </a:lnTo>
                  <a:lnTo>
                    <a:pt x="89" y="23"/>
                  </a:lnTo>
                  <a:lnTo>
                    <a:pt x="81" y="21"/>
                  </a:lnTo>
                  <a:lnTo>
                    <a:pt x="72" y="32"/>
                  </a:lnTo>
                  <a:lnTo>
                    <a:pt x="75" y="38"/>
                  </a:lnTo>
                  <a:lnTo>
                    <a:pt x="75" y="55"/>
                  </a:lnTo>
                  <a:lnTo>
                    <a:pt x="92" y="75"/>
                  </a:lnTo>
                  <a:lnTo>
                    <a:pt x="95" y="78"/>
                  </a:lnTo>
                  <a:lnTo>
                    <a:pt x="95" y="107"/>
                  </a:lnTo>
                  <a:lnTo>
                    <a:pt x="86" y="110"/>
                  </a:lnTo>
                  <a:lnTo>
                    <a:pt x="84" y="118"/>
                  </a:lnTo>
                  <a:lnTo>
                    <a:pt x="89" y="133"/>
                  </a:lnTo>
                  <a:lnTo>
                    <a:pt x="78" y="133"/>
                  </a:lnTo>
                  <a:lnTo>
                    <a:pt x="78" y="130"/>
                  </a:lnTo>
                  <a:lnTo>
                    <a:pt x="78" y="127"/>
                  </a:lnTo>
                  <a:lnTo>
                    <a:pt x="75" y="121"/>
                  </a:lnTo>
                  <a:lnTo>
                    <a:pt x="66" y="107"/>
                  </a:lnTo>
                  <a:lnTo>
                    <a:pt x="69" y="98"/>
                  </a:lnTo>
                  <a:lnTo>
                    <a:pt x="72" y="87"/>
                  </a:lnTo>
                  <a:lnTo>
                    <a:pt x="69" y="78"/>
                  </a:lnTo>
                  <a:lnTo>
                    <a:pt x="58" y="81"/>
                  </a:lnTo>
                  <a:lnTo>
                    <a:pt x="49" y="69"/>
                  </a:lnTo>
                  <a:lnTo>
                    <a:pt x="0" y="92"/>
                  </a:lnTo>
                  <a:lnTo>
                    <a:pt x="3" y="104"/>
                  </a:lnTo>
                  <a:lnTo>
                    <a:pt x="6" y="107"/>
                  </a:lnTo>
                  <a:lnTo>
                    <a:pt x="15" y="107"/>
                  </a:lnTo>
                  <a:lnTo>
                    <a:pt x="20" y="107"/>
                  </a:lnTo>
                  <a:lnTo>
                    <a:pt x="29" y="112"/>
                  </a:lnTo>
                  <a:lnTo>
                    <a:pt x="40" y="118"/>
                  </a:lnTo>
                  <a:lnTo>
                    <a:pt x="49" y="121"/>
                  </a:lnTo>
                  <a:lnTo>
                    <a:pt x="46" y="127"/>
                  </a:lnTo>
                  <a:lnTo>
                    <a:pt x="46" y="135"/>
                  </a:lnTo>
                  <a:lnTo>
                    <a:pt x="49" y="153"/>
                  </a:lnTo>
                  <a:lnTo>
                    <a:pt x="46" y="158"/>
                  </a:lnTo>
                  <a:lnTo>
                    <a:pt x="40" y="164"/>
                  </a:lnTo>
                  <a:lnTo>
                    <a:pt x="43" y="170"/>
                  </a:lnTo>
                  <a:lnTo>
                    <a:pt x="43" y="176"/>
                  </a:lnTo>
                  <a:lnTo>
                    <a:pt x="46" y="178"/>
                  </a:lnTo>
                  <a:lnTo>
                    <a:pt x="46" y="187"/>
                  </a:lnTo>
                  <a:lnTo>
                    <a:pt x="38" y="199"/>
                  </a:lnTo>
                  <a:lnTo>
                    <a:pt x="38" y="213"/>
                  </a:lnTo>
                  <a:lnTo>
                    <a:pt x="15" y="233"/>
                  </a:lnTo>
                  <a:lnTo>
                    <a:pt x="18" y="250"/>
                  </a:lnTo>
                  <a:lnTo>
                    <a:pt x="23" y="262"/>
                  </a:lnTo>
                  <a:lnTo>
                    <a:pt x="26" y="276"/>
                  </a:lnTo>
                  <a:lnTo>
                    <a:pt x="23" y="288"/>
                  </a:lnTo>
                  <a:lnTo>
                    <a:pt x="26" y="299"/>
                  </a:lnTo>
                  <a:lnTo>
                    <a:pt x="29" y="299"/>
                  </a:lnTo>
                  <a:lnTo>
                    <a:pt x="35" y="299"/>
                  </a:lnTo>
                  <a:lnTo>
                    <a:pt x="38" y="293"/>
                  </a:lnTo>
                  <a:lnTo>
                    <a:pt x="46" y="288"/>
                  </a:lnTo>
                  <a:lnTo>
                    <a:pt x="61" y="282"/>
                  </a:lnTo>
                  <a:lnTo>
                    <a:pt x="66" y="279"/>
                  </a:lnTo>
                  <a:lnTo>
                    <a:pt x="72" y="276"/>
                  </a:lnTo>
                  <a:lnTo>
                    <a:pt x="81" y="267"/>
                  </a:lnTo>
                  <a:lnTo>
                    <a:pt x="84" y="262"/>
                  </a:lnTo>
                  <a:lnTo>
                    <a:pt x="81" y="259"/>
                  </a:lnTo>
                  <a:lnTo>
                    <a:pt x="78" y="259"/>
                  </a:lnTo>
                  <a:lnTo>
                    <a:pt x="81" y="259"/>
                  </a:lnTo>
                  <a:lnTo>
                    <a:pt x="84" y="245"/>
                  </a:lnTo>
                  <a:lnTo>
                    <a:pt x="84" y="227"/>
                  </a:lnTo>
                  <a:lnTo>
                    <a:pt x="84" y="224"/>
                  </a:lnTo>
                  <a:lnTo>
                    <a:pt x="81" y="222"/>
                  </a:lnTo>
                  <a:lnTo>
                    <a:pt x="78" y="207"/>
                  </a:lnTo>
                  <a:lnTo>
                    <a:pt x="72" y="199"/>
                  </a:lnTo>
                  <a:lnTo>
                    <a:pt x="72" y="190"/>
                  </a:lnTo>
                  <a:lnTo>
                    <a:pt x="72" y="184"/>
                  </a:lnTo>
                  <a:lnTo>
                    <a:pt x="78" y="181"/>
                  </a:lnTo>
                  <a:lnTo>
                    <a:pt x="84" y="173"/>
                  </a:lnTo>
                  <a:lnTo>
                    <a:pt x="92" y="164"/>
                  </a:lnTo>
                  <a:lnTo>
                    <a:pt x="101" y="164"/>
                  </a:lnTo>
                  <a:lnTo>
                    <a:pt x="104" y="158"/>
                  </a:lnTo>
                  <a:lnTo>
                    <a:pt x="112" y="147"/>
                  </a:lnTo>
                  <a:lnTo>
                    <a:pt x="118" y="141"/>
                  </a:lnTo>
                  <a:lnTo>
                    <a:pt x="129" y="135"/>
                  </a:lnTo>
                  <a:lnTo>
                    <a:pt x="138" y="130"/>
                  </a:lnTo>
                  <a:lnTo>
                    <a:pt x="144" y="127"/>
                  </a:lnTo>
                  <a:lnTo>
                    <a:pt x="155" y="121"/>
                  </a:lnTo>
                  <a:lnTo>
                    <a:pt x="173" y="101"/>
                  </a:lnTo>
                  <a:lnTo>
                    <a:pt x="175" y="92"/>
                  </a:lnTo>
                  <a:lnTo>
                    <a:pt x="178" y="87"/>
                  </a:lnTo>
                  <a:lnTo>
                    <a:pt x="181" y="78"/>
                  </a:lnTo>
                  <a:lnTo>
                    <a:pt x="175" y="69"/>
                  </a:lnTo>
                  <a:lnTo>
                    <a:pt x="175" y="4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24" name="Freeform 526"/>
            <p:cNvSpPr>
              <a:spLocks/>
            </p:cNvSpPr>
            <p:nvPr/>
          </p:nvSpPr>
          <p:spPr bwMode="auto">
            <a:xfrm>
              <a:off x="4489450" y="3965575"/>
              <a:ext cx="155575" cy="187325"/>
            </a:xfrm>
            <a:custGeom>
              <a:avLst/>
              <a:gdLst>
                <a:gd name="T0" fmla="*/ 2147483647 w 97"/>
                <a:gd name="T1" fmla="*/ 2147483647 h 117"/>
                <a:gd name="T2" fmla="*/ 2147483647 w 97"/>
                <a:gd name="T3" fmla="*/ 2147483647 h 117"/>
                <a:gd name="T4" fmla="*/ 2147483647 w 97"/>
                <a:gd name="T5" fmla="*/ 2147483647 h 117"/>
                <a:gd name="T6" fmla="*/ 2147483647 w 97"/>
                <a:gd name="T7" fmla="*/ 2147483647 h 117"/>
                <a:gd name="T8" fmla="*/ 2147483647 w 97"/>
                <a:gd name="T9" fmla="*/ 2147483647 h 117"/>
                <a:gd name="T10" fmla="*/ 2147483647 w 97"/>
                <a:gd name="T11" fmla="*/ 2147483647 h 117"/>
                <a:gd name="T12" fmla="*/ 2147483647 w 97"/>
                <a:gd name="T13" fmla="*/ 2147483647 h 117"/>
                <a:gd name="T14" fmla="*/ 2147483647 w 97"/>
                <a:gd name="T15" fmla="*/ 2147483647 h 117"/>
                <a:gd name="T16" fmla="*/ 2147483647 w 97"/>
                <a:gd name="T17" fmla="*/ 2147483647 h 117"/>
                <a:gd name="T18" fmla="*/ 2147483647 w 97"/>
                <a:gd name="T19" fmla="*/ 2147483647 h 117"/>
                <a:gd name="T20" fmla="*/ 2147483647 w 97"/>
                <a:gd name="T21" fmla="*/ 2147483647 h 117"/>
                <a:gd name="T22" fmla="*/ 2147483647 w 97"/>
                <a:gd name="T23" fmla="*/ 2147483647 h 117"/>
                <a:gd name="T24" fmla="*/ 2147483647 w 97"/>
                <a:gd name="T25" fmla="*/ 2147483647 h 117"/>
                <a:gd name="T26" fmla="*/ 2147483647 w 97"/>
                <a:gd name="T27" fmla="*/ 2147483647 h 117"/>
                <a:gd name="T28" fmla="*/ 2147483647 w 97"/>
                <a:gd name="T29" fmla="*/ 2147483647 h 117"/>
                <a:gd name="T30" fmla="*/ 2147483647 w 97"/>
                <a:gd name="T31" fmla="*/ 2147483647 h 117"/>
                <a:gd name="T32" fmla="*/ 2147483647 w 97"/>
                <a:gd name="T33" fmla="*/ 2147483647 h 117"/>
                <a:gd name="T34" fmla="*/ 2147483647 w 97"/>
                <a:gd name="T35" fmla="*/ 2147483647 h 117"/>
                <a:gd name="T36" fmla="*/ 2147483647 w 97"/>
                <a:gd name="T37" fmla="*/ 2147483647 h 117"/>
                <a:gd name="T38" fmla="*/ 2147483647 w 97"/>
                <a:gd name="T39" fmla="*/ 2147483647 h 117"/>
                <a:gd name="T40" fmla="*/ 2147483647 w 97"/>
                <a:gd name="T41" fmla="*/ 2147483647 h 117"/>
                <a:gd name="T42" fmla="*/ 2147483647 w 97"/>
                <a:gd name="T43" fmla="*/ 2147483647 h 117"/>
                <a:gd name="T44" fmla="*/ 2147483647 w 97"/>
                <a:gd name="T45" fmla="*/ 2147483647 h 117"/>
                <a:gd name="T46" fmla="*/ 2147483647 w 97"/>
                <a:gd name="T47" fmla="*/ 2147483647 h 117"/>
                <a:gd name="T48" fmla="*/ 2147483647 w 97"/>
                <a:gd name="T49" fmla="*/ 2147483647 h 117"/>
                <a:gd name="T50" fmla="*/ 2147483647 w 97"/>
                <a:gd name="T51" fmla="*/ 2147483647 h 117"/>
                <a:gd name="T52" fmla="*/ 2147483647 w 97"/>
                <a:gd name="T53" fmla="*/ 2147483647 h 117"/>
                <a:gd name="T54" fmla="*/ 2147483647 w 97"/>
                <a:gd name="T55" fmla="*/ 2147483647 h 117"/>
                <a:gd name="T56" fmla="*/ 2147483647 w 97"/>
                <a:gd name="T57" fmla="*/ 0 h 117"/>
                <a:gd name="T58" fmla="*/ 2147483647 w 97"/>
                <a:gd name="T59" fmla="*/ 0 h 117"/>
                <a:gd name="T60" fmla="*/ 2147483647 w 97"/>
                <a:gd name="T61" fmla="*/ 0 h 117"/>
                <a:gd name="T62" fmla="*/ 2147483647 w 97"/>
                <a:gd name="T63" fmla="*/ 0 h 117"/>
                <a:gd name="T64" fmla="*/ 2147483647 w 97"/>
                <a:gd name="T65" fmla="*/ 2147483647 h 117"/>
                <a:gd name="T66" fmla="*/ 2147483647 w 97"/>
                <a:gd name="T67" fmla="*/ 2147483647 h 117"/>
                <a:gd name="T68" fmla="*/ 2147483647 w 97"/>
                <a:gd name="T69" fmla="*/ 2147483647 h 117"/>
                <a:gd name="T70" fmla="*/ 2147483647 w 97"/>
                <a:gd name="T71" fmla="*/ 2147483647 h 117"/>
                <a:gd name="T72" fmla="*/ 2147483647 w 97"/>
                <a:gd name="T73" fmla="*/ 2147483647 h 117"/>
                <a:gd name="T74" fmla="*/ 2147483647 w 97"/>
                <a:gd name="T75" fmla="*/ 2147483647 h 117"/>
                <a:gd name="T76" fmla="*/ 2147483647 w 97"/>
                <a:gd name="T77" fmla="*/ 2147483647 h 117"/>
                <a:gd name="T78" fmla="*/ 2147483647 w 97"/>
                <a:gd name="T79" fmla="*/ 2147483647 h 117"/>
                <a:gd name="T80" fmla="*/ 2147483647 w 97"/>
                <a:gd name="T81" fmla="*/ 2147483647 h 117"/>
                <a:gd name="T82" fmla="*/ 2147483647 w 97"/>
                <a:gd name="T83" fmla="*/ 2147483647 h 117"/>
                <a:gd name="T84" fmla="*/ 2147483647 w 97"/>
                <a:gd name="T85" fmla="*/ 2147483647 h 117"/>
                <a:gd name="T86" fmla="*/ 2147483647 w 97"/>
                <a:gd name="T87" fmla="*/ 2147483647 h 117"/>
                <a:gd name="T88" fmla="*/ 2147483647 w 97"/>
                <a:gd name="T89" fmla="*/ 2147483647 h 117"/>
                <a:gd name="T90" fmla="*/ 2147483647 w 97"/>
                <a:gd name="T91" fmla="*/ 2147483647 h 117"/>
                <a:gd name="T92" fmla="*/ 0 w 97"/>
                <a:gd name="T93" fmla="*/ 2147483647 h 117"/>
                <a:gd name="T94" fmla="*/ 0 w 97"/>
                <a:gd name="T95" fmla="*/ 2147483647 h 117"/>
                <a:gd name="T96" fmla="*/ 0 w 97"/>
                <a:gd name="T97" fmla="*/ 2147483647 h 117"/>
                <a:gd name="T98" fmla="*/ 2147483647 w 97"/>
                <a:gd name="T99" fmla="*/ 2147483647 h 117"/>
                <a:gd name="T100" fmla="*/ 2147483647 w 97"/>
                <a:gd name="T101" fmla="*/ 2147483647 h 117"/>
                <a:gd name="T102" fmla="*/ 2147483647 w 97"/>
                <a:gd name="T103" fmla="*/ 2147483647 h 117"/>
                <a:gd name="T104" fmla="*/ 2147483647 w 97"/>
                <a:gd name="T105" fmla="*/ 2147483647 h 117"/>
                <a:gd name="T106" fmla="*/ 2147483647 w 97"/>
                <a:gd name="T107" fmla="*/ 2147483647 h 117"/>
                <a:gd name="T108" fmla="*/ 2147483647 w 97"/>
                <a:gd name="T109" fmla="*/ 2147483647 h 117"/>
                <a:gd name="T110" fmla="*/ 2147483647 w 97"/>
                <a:gd name="T111" fmla="*/ 2147483647 h 117"/>
                <a:gd name="T112" fmla="*/ 2147483647 w 97"/>
                <a:gd name="T113" fmla="*/ 2147483647 h 117"/>
                <a:gd name="T114" fmla="*/ 2147483647 w 97"/>
                <a:gd name="T115" fmla="*/ 2147483647 h 117"/>
                <a:gd name="T116" fmla="*/ 2147483647 w 97"/>
                <a:gd name="T117" fmla="*/ 2147483647 h 117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97"/>
                <a:gd name="T178" fmla="*/ 0 h 117"/>
                <a:gd name="T179" fmla="*/ 97 w 97"/>
                <a:gd name="T180" fmla="*/ 117 h 117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97" h="117">
                  <a:moveTo>
                    <a:pt x="46" y="112"/>
                  </a:moveTo>
                  <a:lnTo>
                    <a:pt x="49" y="112"/>
                  </a:lnTo>
                  <a:lnTo>
                    <a:pt x="52" y="106"/>
                  </a:lnTo>
                  <a:lnTo>
                    <a:pt x="46" y="103"/>
                  </a:lnTo>
                  <a:lnTo>
                    <a:pt x="49" y="103"/>
                  </a:lnTo>
                  <a:lnTo>
                    <a:pt x="49" y="100"/>
                  </a:lnTo>
                  <a:lnTo>
                    <a:pt x="46" y="97"/>
                  </a:lnTo>
                  <a:lnTo>
                    <a:pt x="46" y="86"/>
                  </a:lnTo>
                  <a:lnTo>
                    <a:pt x="54" y="86"/>
                  </a:lnTo>
                  <a:lnTo>
                    <a:pt x="60" y="86"/>
                  </a:lnTo>
                  <a:lnTo>
                    <a:pt x="63" y="83"/>
                  </a:lnTo>
                  <a:lnTo>
                    <a:pt x="63" y="77"/>
                  </a:lnTo>
                  <a:lnTo>
                    <a:pt x="69" y="77"/>
                  </a:lnTo>
                  <a:lnTo>
                    <a:pt x="74" y="83"/>
                  </a:lnTo>
                  <a:lnTo>
                    <a:pt x="77" y="86"/>
                  </a:lnTo>
                  <a:lnTo>
                    <a:pt x="80" y="86"/>
                  </a:lnTo>
                  <a:lnTo>
                    <a:pt x="86" y="77"/>
                  </a:lnTo>
                  <a:lnTo>
                    <a:pt x="89" y="86"/>
                  </a:lnTo>
                  <a:lnTo>
                    <a:pt x="95" y="77"/>
                  </a:lnTo>
                  <a:lnTo>
                    <a:pt x="97" y="54"/>
                  </a:lnTo>
                  <a:lnTo>
                    <a:pt x="86" y="43"/>
                  </a:lnTo>
                  <a:lnTo>
                    <a:pt x="89" y="31"/>
                  </a:lnTo>
                  <a:lnTo>
                    <a:pt x="95" y="25"/>
                  </a:lnTo>
                  <a:lnTo>
                    <a:pt x="92" y="17"/>
                  </a:lnTo>
                  <a:lnTo>
                    <a:pt x="83" y="17"/>
                  </a:lnTo>
                  <a:lnTo>
                    <a:pt x="74" y="17"/>
                  </a:lnTo>
                  <a:lnTo>
                    <a:pt x="77" y="0"/>
                  </a:lnTo>
                  <a:lnTo>
                    <a:pt x="69" y="0"/>
                  </a:lnTo>
                  <a:lnTo>
                    <a:pt x="54" y="0"/>
                  </a:lnTo>
                  <a:lnTo>
                    <a:pt x="46" y="0"/>
                  </a:lnTo>
                  <a:lnTo>
                    <a:pt x="46" y="25"/>
                  </a:lnTo>
                  <a:lnTo>
                    <a:pt x="14" y="25"/>
                  </a:lnTo>
                  <a:lnTo>
                    <a:pt x="14" y="31"/>
                  </a:lnTo>
                  <a:lnTo>
                    <a:pt x="14" y="37"/>
                  </a:lnTo>
                  <a:lnTo>
                    <a:pt x="11" y="34"/>
                  </a:lnTo>
                  <a:lnTo>
                    <a:pt x="11" y="31"/>
                  </a:lnTo>
                  <a:lnTo>
                    <a:pt x="8" y="43"/>
                  </a:lnTo>
                  <a:lnTo>
                    <a:pt x="6" y="51"/>
                  </a:lnTo>
                  <a:lnTo>
                    <a:pt x="0" y="54"/>
                  </a:lnTo>
                  <a:lnTo>
                    <a:pt x="0" y="57"/>
                  </a:lnTo>
                  <a:lnTo>
                    <a:pt x="6" y="68"/>
                  </a:lnTo>
                  <a:lnTo>
                    <a:pt x="8" y="80"/>
                  </a:lnTo>
                  <a:lnTo>
                    <a:pt x="17" y="91"/>
                  </a:lnTo>
                  <a:lnTo>
                    <a:pt x="29" y="106"/>
                  </a:lnTo>
                  <a:lnTo>
                    <a:pt x="34" y="112"/>
                  </a:lnTo>
                  <a:lnTo>
                    <a:pt x="40" y="117"/>
                  </a:lnTo>
                  <a:lnTo>
                    <a:pt x="43" y="112"/>
                  </a:lnTo>
                  <a:lnTo>
                    <a:pt x="46" y="11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25" name="Freeform 527"/>
            <p:cNvSpPr>
              <a:spLocks/>
            </p:cNvSpPr>
            <p:nvPr/>
          </p:nvSpPr>
          <p:spPr bwMode="auto">
            <a:xfrm>
              <a:off x="4573588" y="4568825"/>
              <a:ext cx="357187" cy="361950"/>
            </a:xfrm>
            <a:custGeom>
              <a:avLst/>
              <a:gdLst>
                <a:gd name="T0" fmla="*/ 2147483647 w 223"/>
                <a:gd name="T1" fmla="*/ 2147483647 h 226"/>
                <a:gd name="T2" fmla="*/ 2147483647 w 223"/>
                <a:gd name="T3" fmla="*/ 2147483647 h 226"/>
                <a:gd name="T4" fmla="*/ 2147483647 w 223"/>
                <a:gd name="T5" fmla="*/ 2147483647 h 226"/>
                <a:gd name="T6" fmla="*/ 2147483647 w 223"/>
                <a:gd name="T7" fmla="*/ 2147483647 h 226"/>
                <a:gd name="T8" fmla="*/ 2147483647 w 223"/>
                <a:gd name="T9" fmla="*/ 2147483647 h 226"/>
                <a:gd name="T10" fmla="*/ 2147483647 w 223"/>
                <a:gd name="T11" fmla="*/ 2147483647 h 226"/>
                <a:gd name="T12" fmla="*/ 2147483647 w 223"/>
                <a:gd name="T13" fmla="*/ 2147483647 h 226"/>
                <a:gd name="T14" fmla="*/ 2147483647 w 223"/>
                <a:gd name="T15" fmla="*/ 2147483647 h 226"/>
                <a:gd name="T16" fmla="*/ 2147483647 w 223"/>
                <a:gd name="T17" fmla="*/ 2147483647 h 226"/>
                <a:gd name="T18" fmla="*/ 2147483647 w 223"/>
                <a:gd name="T19" fmla="*/ 2147483647 h 226"/>
                <a:gd name="T20" fmla="*/ 2147483647 w 223"/>
                <a:gd name="T21" fmla="*/ 2147483647 h 226"/>
                <a:gd name="T22" fmla="*/ 2147483647 w 223"/>
                <a:gd name="T23" fmla="*/ 2147483647 h 226"/>
                <a:gd name="T24" fmla="*/ 2147483647 w 223"/>
                <a:gd name="T25" fmla="*/ 2147483647 h 226"/>
                <a:gd name="T26" fmla="*/ 2147483647 w 223"/>
                <a:gd name="T27" fmla="*/ 2147483647 h 226"/>
                <a:gd name="T28" fmla="*/ 2147483647 w 223"/>
                <a:gd name="T29" fmla="*/ 2147483647 h 226"/>
                <a:gd name="T30" fmla="*/ 2147483647 w 223"/>
                <a:gd name="T31" fmla="*/ 2147483647 h 226"/>
                <a:gd name="T32" fmla="*/ 2147483647 w 223"/>
                <a:gd name="T33" fmla="*/ 2147483647 h 226"/>
                <a:gd name="T34" fmla="*/ 2147483647 w 223"/>
                <a:gd name="T35" fmla="*/ 2147483647 h 226"/>
                <a:gd name="T36" fmla="*/ 2147483647 w 223"/>
                <a:gd name="T37" fmla="*/ 2147483647 h 226"/>
                <a:gd name="T38" fmla="*/ 2147483647 w 223"/>
                <a:gd name="T39" fmla="*/ 2147483647 h 226"/>
                <a:gd name="T40" fmla="*/ 2147483647 w 223"/>
                <a:gd name="T41" fmla="*/ 2147483647 h 226"/>
                <a:gd name="T42" fmla="*/ 2147483647 w 223"/>
                <a:gd name="T43" fmla="*/ 2147483647 h 226"/>
                <a:gd name="T44" fmla="*/ 2147483647 w 223"/>
                <a:gd name="T45" fmla="*/ 2147483647 h 226"/>
                <a:gd name="T46" fmla="*/ 0 w 223"/>
                <a:gd name="T47" fmla="*/ 2147483647 h 226"/>
                <a:gd name="T48" fmla="*/ 0 w 223"/>
                <a:gd name="T49" fmla="*/ 2147483647 h 226"/>
                <a:gd name="T50" fmla="*/ 2147483647 w 223"/>
                <a:gd name="T51" fmla="*/ 2147483647 h 226"/>
                <a:gd name="T52" fmla="*/ 2147483647 w 223"/>
                <a:gd name="T53" fmla="*/ 2147483647 h 226"/>
                <a:gd name="T54" fmla="*/ 2147483647 w 223"/>
                <a:gd name="T55" fmla="*/ 2147483647 h 226"/>
                <a:gd name="T56" fmla="*/ 2147483647 w 223"/>
                <a:gd name="T57" fmla="*/ 2147483647 h 226"/>
                <a:gd name="T58" fmla="*/ 2147483647 w 223"/>
                <a:gd name="T59" fmla="*/ 2147483647 h 226"/>
                <a:gd name="T60" fmla="*/ 2147483647 w 223"/>
                <a:gd name="T61" fmla="*/ 2147483647 h 226"/>
                <a:gd name="T62" fmla="*/ 2147483647 w 223"/>
                <a:gd name="T63" fmla="*/ 2147483647 h 226"/>
                <a:gd name="T64" fmla="*/ 2147483647 w 223"/>
                <a:gd name="T65" fmla="*/ 2147483647 h 226"/>
                <a:gd name="T66" fmla="*/ 2147483647 w 223"/>
                <a:gd name="T67" fmla="*/ 2147483647 h 226"/>
                <a:gd name="T68" fmla="*/ 2147483647 w 223"/>
                <a:gd name="T69" fmla="*/ 2147483647 h 226"/>
                <a:gd name="T70" fmla="*/ 2147483647 w 223"/>
                <a:gd name="T71" fmla="*/ 2147483647 h 226"/>
                <a:gd name="T72" fmla="*/ 2147483647 w 223"/>
                <a:gd name="T73" fmla="*/ 2147483647 h 226"/>
                <a:gd name="T74" fmla="*/ 2147483647 w 223"/>
                <a:gd name="T75" fmla="*/ 2147483647 h 2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23"/>
                <a:gd name="T115" fmla="*/ 0 h 226"/>
                <a:gd name="T116" fmla="*/ 223 w 223"/>
                <a:gd name="T117" fmla="*/ 226 h 2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23" h="226">
                  <a:moveTo>
                    <a:pt x="80" y="218"/>
                  </a:moveTo>
                  <a:lnTo>
                    <a:pt x="80" y="218"/>
                  </a:lnTo>
                  <a:lnTo>
                    <a:pt x="83" y="212"/>
                  </a:lnTo>
                  <a:lnTo>
                    <a:pt x="86" y="209"/>
                  </a:lnTo>
                  <a:lnTo>
                    <a:pt x="89" y="212"/>
                  </a:lnTo>
                  <a:lnTo>
                    <a:pt x="89" y="215"/>
                  </a:lnTo>
                  <a:lnTo>
                    <a:pt x="91" y="218"/>
                  </a:lnTo>
                  <a:lnTo>
                    <a:pt x="94" y="224"/>
                  </a:lnTo>
                  <a:lnTo>
                    <a:pt x="100" y="226"/>
                  </a:lnTo>
                  <a:lnTo>
                    <a:pt x="111" y="226"/>
                  </a:lnTo>
                  <a:lnTo>
                    <a:pt x="120" y="226"/>
                  </a:lnTo>
                  <a:lnTo>
                    <a:pt x="123" y="224"/>
                  </a:lnTo>
                  <a:lnTo>
                    <a:pt x="132" y="218"/>
                  </a:lnTo>
                  <a:lnTo>
                    <a:pt x="137" y="94"/>
                  </a:lnTo>
                  <a:lnTo>
                    <a:pt x="152" y="94"/>
                  </a:lnTo>
                  <a:lnTo>
                    <a:pt x="155" y="26"/>
                  </a:lnTo>
                  <a:lnTo>
                    <a:pt x="195" y="14"/>
                  </a:lnTo>
                  <a:lnTo>
                    <a:pt x="200" y="26"/>
                  </a:lnTo>
                  <a:lnTo>
                    <a:pt x="206" y="20"/>
                  </a:lnTo>
                  <a:lnTo>
                    <a:pt x="215" y="17"/>
                  </a:lnTo>
                  <a:lnTo>
                    <a:pt x="223" y="11"/>
                  </a:lnTo>
                  <a:lnTo>
                    <a:pt x="221" y="8"/>
                  </a:lnTo>
                  <a:lnTo>
                    <a:pt x="212" y="5"/>
                  </a:lnTo>
                  <a:lnTo>
                    <a:pt x="195" y="11"/>
                  </a:lnTo>
                  <a:lnTo>
                    <a:pt x="192" y="11"/>
                  </a:lnTo>
                  <a:lnTo>
                    <a:pt x="166" y="17"/>
                  </a:lnTo>
                  <a:lnTo>
                    <a:pt x="163" y="17"/>
                  </a:lnTo>
                  <a:lnTo>
                    <a:pt x="160" y="17"/>
                  </a:lnTo>
                  <a:lnTo>
                    <a:pt x="152" y="23"/>
                  </a:lnTo>
                  <a:lnTo>
                    <a:pt x="143" y="17"/>
                  </a:lnTo>
                  <a:lnTo>
                    <a:pt x="137" y="17"/>
                  </a:lnTo>
                  <a:lnTo>
                    <a:pt x="126" y="17"/>
                  </a:lnTo>
                  <a:lnTo>
                    <a:pt x="114" y="8"/>
                  </a:lnTo>
                  <a:lnTo>
                    <a:pt x="40" y="8"/>
                  </a:lnTo>
                  <a:lnTo>
                    <a:pt x="31" y="3"/>
                  </a:lnTo>
                  <a:lnTo>
                    <a:pt x="22" y="0"/>
                  </a:lnTo>
                  <a:lnTo>
                    <a:pt x="14" y="3"/>
                  </a:lnTo>
                  <a:lnTo>
                    <a:pt x="5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17"/>
                  </a:lnTo>
                  <a:lnTo>
                    <a:pt x="2" y="26"/>
                  </a:lnTo>
                  <a:lnTo>
                    <a:pt x="8" y="31"/>
                  </a:lnTo>
                  <a:lnTo>
                    <a:pt x="17" y="48"/>
                  </a:lnTo>
                  <a:lnTo>
                    <a:pt x="25" y="66"/>
                  </a:lnTo>
                  <a:lnTo>
                    <a:pt x="34" y="86"/>
                  </a:lnTo>
                  <a:lnTo>
                    <a:pt x="43" y="103"/>
                  </a:lnTo>
                  <a:lnTo>
                    <a:pt x="45" y="112"/>
                  </a:lnTo>
                  <a:lnTo>
                    <a:pt x="43" y="123"/>
                  </a:lnTo>
                  <a:lnTo>
                    <a:pt x="43" y="135"/>
                  </a:lnTo>
                  <a:lnTo>
                    <a:pt x="45" y="140"/>
                  </a:lnTo>
                  <a:lnTo>
                    <a:pt x="48" y="149"/>
                  </a:lnTo>
                  <a:lnTo>
                    <a:pt x="51" y="166"/>
                  </a:lnTo>
                  <a:lnTo>
                    <a:pt x="54" y="181"/>
                  </a:lnTo>
                  <a:lnTo>
                    <a:pt x="57" y="198"/>
                  </a:lnTo>
                  <a:lnTo>
                    <a:pt x="63" y="209"/>
                  </a:lnTo>
                  <a:lnTo>
                    <a:pt x="71" y="221"/>
                  </a:lnTo>
                  <a:lnTo>
                    <a:pt x="74" y="221"/>
                  </a:lnTo>
                  <a:lnTo>
                    <a:pt x="77" y="221"/>
                  </a:lnTo>
                  <a:lnTo>
                    <a:pt x="80" y="21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26" name="Freeform 528"/>
            <p:cNvSpPr>
              <a:spLocks/>
            </p:cNvSpPr>
            <p:nvPr/>
          </p:nvSpPr>
          <p:spPr bwMode="auto">
            <a:xfrm>
              <a:off x="4324350" y="3602038"/>
              <a:ext cx="320675" cy="296862"/>
            </a:xfrm>
            <a:custGeom>
              <a:avLst/>
              <a:gdLst>
                <a:gd name="T0" fmla="*/ 2147483647 w 200"/>
                <a:gd name="T1" fmla="*/ 2147483647 h 186"/>
                <a:gd name="T2" fmla="*/ 2147483647 w 200"/>
                <a:gd name="T3" fmla="*/ 2147483647 h 186"/>
                <a:gd name="T4" fmla="*/ 2147483647 w 200"/>
                <a:gd name="T5" fmla="*/ 2147483647 h 186"/>
                <a:gd name="T6" fmla="*/ 2147483647 w 200"/>
                <a:gd name="T7" fmla="*/ 2147483647 h 186"/>
                <a:gd name="T8" fmla="*/ 2147483647 w 200"/>
                <a:gd name="T9" fmla="*/ 2147483647 h 186"/>
                <a:gd name="T10" fmla="*/ 2147483647 w 200"/>
                <a:gd name="T11" fmla="*/ 2147483647 h 186"/>
                <a:gd name="T12" fmla="*/ 2147483647 w 200"/>
                <a:gd name="T13" fmla="*/ 2147483647 h 186"/>
                <a:gd name="T14" fmla="*/ 2147483647 w 200"/>
                <a:gd name="T15" fmla="*/ 2147483647 h 186"/>
                <a:gd name="T16" fmla="*/ 2147483647 w 200"/>
                <a:gd name="T17" fmla="*/ 2147483647 h 186"/>
                <a:gd name="T18" fmla="*/ 2147483647 w 200"/>
                <a:gd name="T19" fmla="*/ 2147483647 h 186"/>
                <a:gd name="T20" fmla="*/ 2147483647 w 200"/>
                <a:gd name="T21" fmla="*/ 2147483647 h 186"/>
                <a:gd name="T22" fmla="*/ 2147483647 w 200"/>
                <a:gd name="T23" fmla="*/ 2147483647 h 186"/>
                <a:gd name="T24" fmla="*/ 2147483647 w 200"/>
                <a:gd name="T25" fmla="*/ 2147483647 h 186"/>
                <a:gd name="T26" fmla="*/ 2147483647 w 200"/>
                <a:gd name="T27" fmla="*/ 2147483647 h 186"/>
                <a:gd name="T28" fmla="*/ 2147483647 w 200"/>
                <a:gd name="T29" fmla="*/ 2147483647 h 186"/>
                <a:gd name="T30" fmla="*/ 2147483647 w 200"/>
                <a:gd name="T31" fmla="*/ 2147483647 h 186"/>
                <a:gd name="T32" fmla="*/ 2147483647 w 200"/>
                <a:gd name="T33" fmla="*/ 2147483647 h 186"/>
                <a:gd name="T34" fmla="*/ 2147483647 w 200"/>
                <a:gd name="T35" fmla="*/ 2147483647 h 186"/>
                <a:gd name="T36" fmla="*/ 2147483647 w 200"/>
                <a:gd name="T37" fmla="*/ 2147483647 h 186"/>
                <a:gd name="T38" fmla="*/ 2147483647 w 200"/>
                <a:gd name="T39" fmla="*/ 2147483647 h 186"/>
                <a:gd name="T40" fmla="*/ 2147483647 w 200"/>
                <a:gd name="T41" fmla="*/ 2147483647 h 186"/>
                <a:gd name="T42" fmla="*/ 2147483647 w 200"/>
                <a:gd name="T43" fmla="*/ 2147483647 h 186"/>
                <a:gd name="T44" fmla="*/ 2147483647 w 200"/>
                <a:gd name="T45" fmla="*/ 2147483647 h 186"/>
                <a:gd name="T46" fmla="*/ 2147483647 w 200"/>
                <a:gd name="T47" fmla="*/ 2147483647 h 186"/>
                <a:gd name="T48" fmla="*/ 2147483647 w 200"/>
                <a:gd name="T49" fmla="*/ 2147483647 h 186"/>
                <a:gd name="T50" fmla="*/ 2147483647 w 200"/>
                <a:gd name="T51" fmla="*/ 2147483647 h 186"/>
                <a:gd name="T52" fmla="*/ 0 w 200"/>
                <a:gd name="T53" fmla="*/ 2147483647 h 186"/>
                <a:gd name="T54" fmla="*/ 2147483647 w 200"/>
                <a:gd name="T55" fmla="*/ 2147483647 h 186"/>
                <a:gd name="T56" fmla="*/ 2147483647 w 200"/>
                <a:gd name="T57" fmla="*/ 2147483647 h 186"/>
                <a:gd name="T58" fmla="*/ 2147483647 w 200"/>
                <a:gd name="T59" fmla="*/ 2147483647 h 186"/>
                <a:gd name="T60" fmla="*/ 2147483647 w 200"/>
                <a:gd name="T61" fmla="*/ 2147483647 h 186"/>
                <a:gd name="T62" fmla="*/ 2147483647 w 200"/>
                <a:gd name="T63" fmla="*/ 2147483647 h 186"/>
                <a:gd name="T64" fmla="*/ 2147483647 w 200"/>
                <a:gd name="T65" fmla="*/ 2147483647 h 186"/>
                <a:gd name="T66" fmla="*/ 2147483647 w 200"/>
                <a:gd name="T67" fmla="*/ 2147483647 h 186"/>
                <a:gd name="T68" fmla="*/ 2147483647 w 200"/>
                <a:gd name="T69" fmla="*/ 2147483647 h 186"/>
                <a:gd name="T70" fmla="*/ 2147483647 w 200"/>
                <a:gd name="T71" fmla="*/ 2147483647 h 186"/>
                <a:gd name="T72" fmla="*/ 2147483647 w 200"/>
                <a:gd name="T73" fmla="*/ 2147483647 h 18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00"/>
                <a:gd name="T112" fmla="*/ 0 h 186"/>
                <a:gd name="T113" fmla="*/ 200 w 200"/>
                <a:gd name="T114" fmla="*/ 186 h 18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00" h="186">
                  <a:moveTo>
                    <a:pt x="103" y="169"/>
                  </a:moveTo>
                  <a:lnTo>
                    <a:pt x="103" y="152"/>
                  </a:lnTo>
                  <a:lnTo>
                    <a:pt x="114" y="143"/>
                  </a:lnTo>
                  <a:lnTo>
                    <a:pt x="126" y="132"/>
                  </a:lnTo>
                  <a:lnTo>
                    <a:pt x="132" y="132"/>
                  </a:lnTo>
                  <a:lnTo>
                    <a:pt x="134" y="126"/>
                  </a:lnTo>
                  <a:lnTo>
                    <a:pt x="143" y="140"/>
                  </a:lnTo>
                  <a:lnTo>
                    <a:pt x="149" y="135"/>
                  </a:lnTo>
                  <a:lnTo>
                    <a:pt x="155" y="129"/>
                  </a:lnTo>
                  <a:lnTo>
                    <a:pt x="155" y="123"/>
                  </a:lnTo>
                  <a:lnTo>
                    <a:pt x="160" y="112"/>
                  </a:lnTo>
                  <a:lnTo>
                    <a:pt x="163" y="100"/>
                  </a:lnTo>
                  <a:lnTo>
                    <a:pt x="172" y="97"/>
                  </a:lnTo>
                  <a:lnTo>
                    <a:pt x="172" y="86"/>
                  </a:lnTo>
                  <a:lnTo>
                    <a:pt x="177" y="80"/>
                  </a:lnTo>
                  <a:lnTo>
                    <a:pt x="177" y="72"/>
                  </a:lnTo>
                  <a:lnTo>
                    <a:pt x="183" y="69"/>
                  </a:lnTo>
                  <a:lnTo>
                    <a:pt x="183" y="54"/>
                  </a:lnTo>
                  <a:lnTo>
                    <a:pt x="192" y="49"/>
                  </a:lnTo>
                  <a:lnTo>
                    <a:pt x="200" y="43"/>
                  </a:lnTo>
                  <a:lnTo>
                    <a:pt x="200" y="31"/>
                  </a:lnTo>
                  <a:lnTo>
                    <a:pt x="192" y="28"/>
                  </a:lnTo>
                  <a:lnTo>
                    <a:pt x="189" y="14"/>
                  </a:lnTo>
                  <a:lnTo>
                    <a:pt x="192" y="14"/>
                  </a:lnTo>
                  <a:lnTo>
                    <a:pt x="186" y="3"/>
                  </a:lnTo>
                  <a:lnTo>
                    <a:pt x="180" y="5"/>
                  </a:lnTo>
                  <a:lnTo>
                    <a:pt x="175" y="8"/>
                  </a:lnTo>
                  <a:lnTo>
                    <a:pt x="166" y="17"/>
                  </a:lnTo>
                  <a:lnTo>
                    <a:pt x="157" y="11"/>
                  </a:lnTo>
                  <a:lnTo>
                    <a:pt x="143" y="8"/>
                  </a:lnTo>
                  <a:lnTo>
                    <a:pt x="129" y="14"/>
                  </a:lnTo>
                  <a:lnTo>
                    <a:pt x="117" y="17"/>
                  </a:lnTo>
                  <a:lnTo>
                    <a:pt x="111" y="20"/>
                  </a:lnTo>
                  <a:lnTo>
                    <a:pt x="100" y="17"/>
                  </a:lnTo>
                  <a:lnTo>
                    <a:pt x="91" y="11"/>
                  </a:lnTo>
                  <a:lnTo>
                    <a:pt x="83" y="14"/>
                  </a:lnTo>
                  <a:lnTo>
                    <a:pt x="71" y="17"/>
                  </a:lnTo>
                  <a:lnTo>
                    <a:pt x="63" y="3"/>
                  </a:lnTo>
                  <a:lnTo>
                    <a:pt x="57" y="5"/>
                  </a:lnTo>
                  <a:lnTo>
                    <a:pt x="45" y="0"/>
                  </a:lnTo>
                  <a:lnTo>
                    <a:pt x="40" y="3"/>
                  </a:lnTo>
                  <a:lnTo>
                    <a:pt x="28" y="5"/>
                  </a:lnTo>
                  <a:lnTo>
                    <a:pt x="25" y="17"/>
                  </a:lnTo>
                  <a:lnTo>
                    <a:pt x="17" y="26"/>
                  </a:lnTo>
                  <a:lnTo>
                    <a:pt x="14" y="46"/>
                  </a:lnTo>
                  <a:lnTo>
                    <a:pt x="22" y="63"/>
                  </a:lnTo>
                  <a:lnTo>
                    <a:pt x="20" y="66"/>
                  </a:lnTo>
                  <a:lnTo>
                    <a:pt x="17" y="74"/>
                  </a:lnTo>
                  <a:lnTo>
                    <a:pt x="11" y="83"/>
                  </a:lnTo>
                  <a:lnTo>
                    <a:pt x="5" y="95"/>
                  </a:lnTo>
                  <a:lnTo>
                    <a:pt x="0" y="95"/>
                  </a:lnTo>
                  <a:lnTo>
                    <a:pt x="2" y="112"/>
                  </a:lnTo>
                  <a:lnTo>
                    <a:pt x="2" y="135"/>
                  </a:lnTo>
                  <a:lnTo>
                    <a:pt x="2" y="143"/>
                  </a:lnTo>
                  <a:lnTo>
                    <a:pt x="11" y="143"/>
                  </a:lnTo>
                  <a:lnTo>
                    <a:pt x="22" y="143"/>
                  </a:lnTo>
                  <a:lnTo>
                    <a:pt x="25" y="143"/>
                  </a:lnTo>
                  <a:lnTo>
                    <a:pt x="34" y="149"/>
                  </a:lnTo>
                  <a:lnTo>
                    <a:pt x="43" y="158"/>
                  </a:lnTo>
                  <a:lnTo>
                    <a:pt x="45" y="172"/>
                  </a:lnTo>
                  <a:lnTo>
                    <a:pt x="51" y="184"/>
                  </a:lnTo>
                  <a:lnTo>
                    <a:pt x="54" y="186"/>
                  </a:lnTo>
                  <a:lnTo>
                    <a:pt x="63" y="186"/>
                  </a:lnTo>
                  <a:lnTo>
                    <a:pt x="88" y="181"/>
                  </a:lnTo>
                  <a:lnTo>
                    <a:pt x="97" y="181"/>
                  </a:lnTo>
                  <a:lnTo>
                    <a:pt x="103" y="16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27" name="Freeform 529"/>
            <p:cNvSpPr>
              <a:spLocks/>
            </p:cNvSpPr>
            <p:nvPr/>
          </p:nvSpPr>
          <p:spPr bwMode="auto">
            <a:xfrm>
              <a:off x="4559300" y="3919538"/>
              <a:ext cx="201613" cy="261937"/>
            </a:xfrm>
            <a:custGeom>
              <a:avLst/>
              <a:gdLst>
                <a:gd name="T0" fmla="*/ 2147483647 w 126"/>
                <a:gd name="T1" fmla="*/ 2147483647 h 164"/>
                <a:gd name="T2" fmla="*/ 2147483647 w 126"/>
                <a:gd name="T3" fmla="*/ 2147483647 h 164"/>
                <a:gd name="T4" fmla="*/ 2147483647 w 126"/>
                <a:gd name="T5" fmla="*/ 2147483647 h 164"/>
                <a:gd name="T6" fmla="*/ 2147483647 w 126"/>
                <a:gd name="T7" fmla="*/ 2147483647 h 164"/>
                <a:gd name="T8" fmla="*/ 2147483647 w 126"/>
                <a:gd name="T9" fmla="*/ 2147483647 h 164"/>
                <a:gd name="T10" fmla="*/ 2147483647 w 126"/>
                <a:gd name="T11" fmla="*/ 2147483647 h 164"/>
                <a:gd name="T12" fmla="*/ 2147483647 w 126"/>
                <a:gd name="T13" fmla="*/ 2147483647 h 164"/>
                <a:gd name="T14" fmla="*/ 2147483647 w 126"/>
                <a:gd name="T15" fmla="*/ 2147483647 h 164"/>
                <a:gd name="T16" fmla="*/ 2147483647 w 126"/>
                <a:gd name="T17" fmla="*/ 2147483647 h 164"/>
                <a:gd name="T18" fmla="*/ 2147483647 w 126"/>
                <a:gd name="T19" fmla="*/ 2147483647 h 164"/>
                <a:gd name="T20" fmla="*/ 2147483647 w 126"/>
                <a:gd name="T21" fmla="*/ 2147483647 h 164"/>
                <a:gd name="T22" fmla="*/ 2147483647 w 126"/>
                <a:gd name="T23" fmla="*/ 2147483647 h 164"/>
                <a:gd name="T24" fmla="*/ 2147483647 w 126"/>
                <a:gd name="T25" fmla="*/ 2147483647 h 164"/>
                <a:gd name="T26" fmla="*/ 2147483647 w 126"/>
                <a:gd name="T27" fmla="*/ 2147483647 h 164"/>
                <a:gd name="T28" fmla="*/ 2147483647 w 126"/>
                <a:gd name="T29" fmla="*/ 2147483647 h 164"/>
                <a:gd name="T30" fmla="*/ 2147483647 w 126"/>
                <a:gd name="T31" fmla="*/ 2147483647 h 164"/>
                <a:gd name="T32" fmla="*/ 2147483647 w 126"/>
                <a:gd name="T33" fmla="*/ 2147483647 h 164"/>
                <a:gd name="T34" fmla="*/ 2147483647 w 126"/>
                <a:gd name="T35" fmla="*/ 2147483647 h 164"/>
                <a:gd name="T36" fmla="*/ 2147483647 w 126"/>
                <a:gd name="T37" fmla="*/ 2147483647 h 164"/>
                <a:gd name="T38" fmla="*/ 2147483647 w 126"/>
                <a:gd name="T39" fmla="*/ 2147483647 h 164"/>
                <a:gd name="T40" fmla="*/ 2147483647 w 126"/>
                <a:gd name="T41" fmla="*/ 2147483647 h 164"/>
                <a:gd name="T42" fmla="*/ 2147483647 w 126"/>
                <a:gd name="T43" fmla="*/ 2147483647 h 164"/>
                <a:gd name="T44" fmla="*/ 2147483647 w 126"/>
                <a:gd name="T45" fmla="*/ 2147483647 h 164"/>
                <a:gd name="T46" fmla="*/ 2147483647 w 126"/>
                <a:gd name="T47" fmla="*/ 2147483647 h 164"/>
                <a:gd name="T48" fmla="*/ 2147483647 w 126"/>
                <a:gd name="T49" fmla="*/ 2147483647 h 164"/>
                <a:gd name="T50" fmla="*/ 2147483647 w 126"/>
                <a:gd name="T51" fmla="*/ 2147483647 h 164"/>
                <a:gd name="T52" fmla="*/ 2147483647 w 126"/>
                <a:gd name="T53" fmla="*/ 0 h 164"/>
                <a:gd name="T54" fmla="*/ 2147483647 w 126"/>
                <a:gd name="T55" fmla="*/ 2147483647 h 164"/>
                <a:gd name="T56" fmla="*/ 2147483647 w 126"/>
                <a:gd name="T57" fmla="*/ 0 h 164"/>
                <a:gd name="T58" fmla="*/ 2147483647 w 126"/>
                <a:gd name="T59" fmla="*/ 2147483647 h 164"/>
                <a:gd name="T60" fmla="*/ 2147483647 w 126"/>
                <a:gd name="T61" fmla="*/ 2147483647 h 164"/>
                <a:gd name="T62" fmla="*/ 2147483647 w 126"/>
                <a:gd name="T63" fmla="*/ 2147483647 h 164"/>
                <a:gd name="T64" fmla="*/ 2147483647 w 126"/>
                <a:gd name="T65" fmla="*/ 2147483647 h 164"/>
                <a:gd name="T66" fmla="*/ 2147483647 w 126"/>
                <a:gd name="T67" fmla="*/ 2147483647 h 164"/>
                <a:gd name="T68" fmla="*/ 2147483647 w 126"/>
                <a:gd name="T69" fmla="*/ 2147483647 h 164"/>
                <a:gd name="T70" fmla="*/ 2147483647 w 126"/>
                <a:gd name="T71" fmla="*/ 2147483647 h 164"/>
                <a:gd name="T72" fmla="*/ 2147483647 w 126"/>
                <a:gd name="T73" fmla="*/ 2147483647 h 164"/>
                <a:gd name="T74" fmla="*/ 2147483647 w 126"/>
                <a:gd name="T75" fmla="*/ 2147483647 h 164"/>
                <a:gd name="T76" fmla="*/ 2147483647 w 126"/>
                <a:gd name="T77" fmla="*/ 2147483647 h 164"/>
                <a:gd name="T78" fmla="*/ 2147483647 w 126"/>
                <a:gd name="T79" fmla="*/ 2147483647 h 164"/>
                <a:gd name="T80" fmla="*/ 2147483647 w 126"/>
                <a:gd name="T81" fmla="*/ 2147483647 h 164"/>
                <a:gd name="T82" fmla="*/ 2147483647 w 126"/>
                <a:gd name="T83" fmla="*/ 2147483647 h 164"/>
                <a:gd name="T84" fmla="*/ 2147483647 w 126"/>
                <a:gd name="T85" fmla="*/ 2147483647 h 164"/>
                <a:gd name="T86" fmla="*/ 2147483647 w 126"/>
                <a:gd name="T87" fmla="*/ 2147483647 h 164"/>
                <a:gd name="T88" fmla="*/ 2147483647 w 126"/>
                <a:gd name="T89" fmla="*/ 2147483647 h 164"/>
                <a:gd name="T90" fmla="*/ 2147483647 w 126"/>
                <a:gd name="T91" fmla="*/ 2147483647 h 164"/>
                <a:gd name="T92" fmla="*/ 2147483647 w 126"/>
                <a:gd name="T93" fmla="*/ 2147483647 h 164"/>
                <a:gd name="T94" fmla="*/ 2147483647 w 126"/>
                <a:gd name="T95" fmla="*/ 2147483647 h 164"/>
                <a:gd name="T96" fmla="*/ 2147483647 w 126"/>
                <a:gd name="T97" fmla="*/ 2147483647 h 164"/>
                <a:gd name="T98" fmla="*/ 2147483647 w 126"/>
                <a:gd name="T99" fmla="*/ 2147483647 h 164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26"/>
                <a:gd name="T151" fmla="*/ 0 h 164"/>
                <a:gd name="T152" fmla="*/ 126 w 126"/>
                <a:gd name="T153" fmla="*/ 164 h 164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26" h="164">
                  <a:moveTo>
                    <a:pt x="20" y="161"/>
                  </a:moveTo>
                  <a:lnTo>
                    <a:pt x="26" y="155"/>
                  </a:lnTo>
                  <a:lnTo>
                    <a:pt x="29" y="155"/>
                  </a:lnTo>
                  <a:lnTo>
                    <a:pt x="31" y="161"/>
                  </a:lnTo>
                  <a:lnTo>
                    <a:pt x="34" y="161"/>
                  </a:lnTo>
                  <a:lnTo>
                    <a:pt x="37" y="164"/>
                  </a:lnTo>
                  <a:lnTo>
                    <a:pt x="40" y="164"/>
                  </a:lnTo>
                  <a:lnTo>
                    <a:pt x="40" y="161"/>
                  </a:lnTo>
                  <a:lnTo>
                    <a:pt x="43" y="158"/>
                  </a:lnTo>
                  <a:lnTo>
                    <a:pt x="43" y="155"/>
                  </a:lnTo>
                  <a:lnTo>
                    <a:pt x="49" y="155"/>
                  </a:lnTo>
                  <a:lnTo>
                    <a:pt x="52" y="152"/>
                  </a:lnTo>
                  <a:lnTo>
                    <a:pt x="54" y="155"/>
                  </a:lnTo>
                  <a:lnTo>
                    <a:pt x="57" y="155"/>
                  </a:lnTo>
                  <a:lnTo>
                    <a:pt x="57" y="158"/>
                  </a:lnTo>
                  <a:lnTo>
                    <a:pt x="54" y="164"/>
                  </a:lnTo>
                  <a:lnTo>
                    <a:pt x="57" y="164"/>
                  </a:lnTo>
                  <a:lnTo>
                    <a:pt x="72" y="149"/>
                  </a:lnTo>
                  <a:lnTo>
                    <a:pt x="80" y="141"/>
                  </a:lnTo>
                  <a:lnTo>
                    <a:pt x="83" y="123"/>
                  </a:lnTo>
                  <a:lnTo>
                    <a:pt x="83" y="118"/>
                  </a:lnTo>
                  <a:lnTo>
                    <a:pt x="80" y="112"/>
                  </a:lnTo>
                  <a:lnTo>
                    <a:pt x="83" y="109"/>
                  </a:lnTo>
                  <a:lnTo>
                    <a:pt x="86" y="106"/>
                  </a:lnTo>
                  <a:lnTo>
                    <a:pt x="92" y="103"/>
                  </a:lnTo>
                  <a:lnTo>
                    <a:pt x="92" y="97"/>
                  </a:lnTo>
                  <a:lnTo>
                    <a:pt x="98" y="92"/>
                  </a:lnTo>
                  <a:lnTo>
                    <a:pt x="106" y="89"/>
                  </a:lnTo>
                  <a:lnTo>
                    <a:pt x="109" y="86"/>
                  </a:lnTo>
                  <a:lnTo>
                    <a:pt x="109" y="75"/>
                  </a:lnTo>
                  <a:lnTo>
                    <a:pt x="112" y="54"/>
                  </a:lnTo>
                  <a:lnTo>
                    <a:pt x="112" y="52"/>
                  </a:lnTo>
                  <a:lnTo>
                    <a:pt x="115" y="34"/>
                  </a:lnTo>
                  <a:lnTo>
                    <a:pt x="118" y="23"/>
                  </a:lnTo>
                  <a:lnTo>
                    <a:pt x="120" y="20"/>
                  </a:lnTo>
                  <a:lnTo>
                    <a:pt x="120" y="17"/>
                  </a:lnTo>
                  <a:lnTo>
                    <a:pt x="123" y="14"/>
                  </a:lnTo>
                  <a:lnTo>
                    <a:pt x="126" y="8"/>
                  </a:lnTo>
                  <a:lnTo>
                    <a:pt x="123" y="0"/>
                  </a:lnTo>
                  <a:lnTo>
                    <a:pt x="120" y="3"/>
                  </a:lnTo>
                  <a:lnTo>
                    <a:pt x="118" y="3"/>
                  </a:lnTo>
                  <a:lnTo>
                    <a:pt x="109" y="0"/>
                  </a:lnTo>
                  <a:lnTo>
                    <a:pt x="103" y="0"/>
                  </a:lnTo>
                  <a:lnTo>
                    <a:pt x="92" y="6"/>
                  </a:lnTo>
                  <a:lnTo>
                    <a:pt x="89" y="17"/>
                  </a:lnTo>
                  <a:lnTo>
                    <a:pt x="89" y="23"/>
                  </a:lnTo>
                  <a:lnTo>
                    <a:pt x="83" y="26"/>
                  </a:lnTo>
                  <a:lnTo>
                    <a:pt x="83" y="29"/>
                  </a:lnTo>
                  <a:lnTo>
                    <a:pt x="83" y="31"/>
                  </a:lnTo>
                  <a:lnTo>
                    <a:pt x="83" y="40"/>
                  </a:lnTo>
                  <a:lnTo>
                    <a:pt x="86" y="43"/>
                  </a:lnTo>
                  <a:lnTo>
                    <a:pt x="83" y="40"/>
                  </a:lnTo>
                  <a:lnTo>
                    <a:pt x="75" y="34"/>
                  </a:lnTo>
                  <a:lnTo>
                    <a:pt x="57" y="31"/>
                  </a:lnTo>
                  <a:lnTo>
                    <a:pt x="52" y="29"/>
                  </a:lnTo>
                  <a:lnTo>
                    <a:pt x="49" y="29"/>
                  </a:lnTo>
                  <a:lnTo>
                    <a:pt x="37" y="29"/>
                  </a:lnTo>
                  <a:lnTo>
                    <a:pt x="34" y="43"/>
                  </a:lnTo>
                  <a:lnTo>
                    <a:pt x="40" y="43"/>
                  </a:lnTo>
                  <a:lnTo>
                    <a:pt x="52" y="43"/>
                  </a:lnTo>
                  <a:lnTo>
                    <a:pt x="57" y="57"/>
                  </a:lnTo>
                  <a:lnTo>
                    <a:pt x="49" y="63"/>
                  </a:lnTo>
                  <a:lnTo>
                    <a:pt x="46" y="72"/>
                  </a:lnTo>
                  <a:lnTo>
                    <a:pt x="57" y="83"/>
                  </a:lnTo>
                  <a:lnTo>
                    <a:pt x="57" y="109"/>
                  </a:lnTo>
                  <a:lnTo>
                    <a:pt x="46" y="123"/>
                  </a:lnTo>
                  <a:lnTo>
                    <a:pt x="43" y="112"/>
                  </a:lnTo>
                  <a:lnTo>
                    <a:pt x="40" y="118"/>
                  </a:lnTo>
                  <a:lnTo>
                    <a:pt x="31" y="120"/>
                  </a:lnTo>
                  <a:lnTo>
                    <a:pt x="31" y="118"/>
                  </a:lnTo>
                  <a:lnTo>
                    <a:pt x="29" y="115"/>
                  </a:lnTo>
                  <a:lnTo>
                    <a:pt x="23" y="109"/>
                  </a:lnTo>
                  <a:lnTo>
                    <a:pt x="23" y="115"/>
                  </a:lnTo>
                  <a:lnTo>
                    <a:pt x="17" y="118"/>
                  </a:lnTo>
                  <a:lnTo>
                    <a:pt x="11" y="118"/>
                  </a:lnTo>
                  <a:lnTo>
                    <a:pt x="6" y="118"/>
                  </a:lnTo>
                  <a:lnTo>
                    <a:pt x="6" y="123"/>
                  </a:lnTo>
                  <a:lnTo>
                    <a:pt x="9" y="126"/>
                  </a:lnTo>
                  <a:lnTo>
                    <a:pt x="9" y="129"/>
                  </a:lnTo>
                  <a:lnTo>
                    <a:pt x="9" y="132"/>
                  </a:lnTo>
                  <a:lnTo>
                    <a:pt x="14" y="135"/>
                  </a:lnTo>
                  <a:lnTo>
                    <a:pt x="9" y="143"/>
                  </a:lnTo>
                  <a:lnTo>
                    <a:pt x="3" y="143"/>
                  </a:lnTo>
                  <a:lnTo>
                    <a:pt x="0" y="149"/>
                  </a:lnTo>
                  <a:lnTo>
                    <a:pt x="6" y="158"/>
                  </a:lnTo>
                  <a:lnTo>
                    <a:pt x="11" y="164"/>
                  </a:lnTo>
                  <a:lnTo>
                    <a:pt x="20" y="16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28" name="Freeform 530"/>
            <p:cNvSpPr>
              <a:spLocks/>
            </p:cNvSpPr>
            <p:nvPr/>
          </p:nvSpPr>
          <p:spPr bwMode="auto">
            <a:xfrm>
              <a:off x="5189538" y="3890963"/>
              <a:ext cx="206375" cy="285750"/>
            </a:xfrm>
            <a:custGeom>
              <a:avLst/>
              <a:gdLst>
                <a:gd name="T0" fmla="*/ 2147483647 w 129"/>
                <a:gd name="T1" fmla="*/ 2147483647 h 178"/>
                <a:gd name="T2" fmla="*/ 2147483647 w 129"/>
                <a:gd name="T3" fmla="*/ 2147483647 h 178"/>
                <a:gd name="T4" fmla="*/ 2147483647 w 129"/>
                <a:gd name="T5" fmla="*/ 2147483647 h 178"/>
                <a:gd name="T6" fmla="*/ 2147483647 w 129"/>
                <a:gd name="T7" fmla="*/ 2147483647 h 178"/>
                <a:gd name="T8" fmla="*/ 2147483647 w 129"/>
                <a:gd name="T9" fmla="*/ 2147483647 h 178"/>
                <a:gd name="T10" fmla="*/ 2147483647 w 129"/>
                <a:gd name="T11" fmla="*/ 2147483647 h 178"/>
                <a:gd name="T12" fmla="*/ 2147483647 w 129"/>
                <a:gd name="T13" fmla="*/ 2147483647 h 178"/>
                <a:gd name="T14" fmla="*/ 2147483647 w 129"/>
                <a:gd name="T15" fmla="*/ 2147483647 h 178"/>
                <a:gd name="T16" fmla="*/ 2147483647 w 129"/>
                <a:gd name="T17" fmla="*/ 2147483647 h 178"/>
                <a:gd name="T18" fmla="*/ 2147483647 w 129"/>
                <a:gd name="T19" fmla="*/ 2147483647 h 178"/>
                <a:gd name="T20" fmla="*/ 2147483647 w 129"/>
                <a:gd name="T21" fmla="*/ 2147483647 h 178"/>
                <a:gd name="T22" fmla="*/ 2147483647 w 129"/>
                <a:gd name="T23" fmla="*/ 2147483647 h 178"/>
                <a:gd name="T24" fmla="*/ 2147483647 w 129"/>
                <a:gd name="T25" fmla="*/ 2147483647 h 178"/>
                <a:gd name="T26" fmla="*/ 2147483647 w 129"/>
                <a:gd name="T27" fmla="*/ 2147483647 h 178"/>
                <a:gd name="T28" fmla="*/ 2147483647 w 129"/>
                <a:gd name="T29" fmla="*/ 2147483647 h 178"/>
                <a:gd name="T30" fmla="*/ 2147483647 w 129"/>
                <a:gd name="T31" fmla="*/ 2147483647 h 178"/>
                <a:gd name="T32" fmla="*/ 2147483647 w 129"/>
                <a:gd name="T33" fmla="*/ 2147483647 h 178"/>
                <a:gd name="T34" fmla="*/ 2147483647 w 129"/>
                <a:gd name="T35" fmla="*/ 2147483647 h 178"/>
                <a:gd name="T36" fmla="*/ 2147483647 w 129"/>
                <a:gd name="T37" fmla="*/ 0 h 178"/>
                <a:gd name="T38" fmla="*/ 2147483647 w 129"/>
                <a:gd name="T39" fmla="*/ 0 h 178"/>
                <a:gd name="T40" fmla="*/ 0 w 129"/>
                <a:gd name="T41" fmla="*/ 2147483647 h 178"/>
                <a:gd name="T42" fmla="*/ 2147483647 w 129"/>
                <a:gd name="T43" fmla="*/ 2147483647 h 178"/>
                <a:gd name="T44" fmla="*/ 2147483647 w 129"/>
                <a:gd name="T45" fmla="*/ 2147483647 h 178"/>
                <a:gd name="T46" fmla="*/ 2147483647 w 129"/>
                <a:gd name="T47" fmla="*/ 2147483647 h 178"/>
                <a:gd name="T48" fmla="*/ 2147483647 w 129"/>
                <a:gd name="T49" fmla="*/ 2147483647 h 178"/>
                <a:gd name="T50" fmla="*/ 2147483647 w 129"/>
                <a:gd name="T51" fmla="*/ 2147483647 h 178"/>
                <a:gd name="T52" fmla="*/ 2147483647 w 129"/>
                <a:gd name="T53" fmla="*/ 2147483647 h 178"/>
                <a:gd name="T54" fmla="*/ 0 w 129"/>
                <a:gd name="T55" fmla="*/ 2147483647 h 178"/>
                <a:gd name="T56" fmla="*/ 0 w 129"/>
                <a:gd name="T57" fmla="*/ 2147483647 h 178"/>
                <a:gd name="T58" fmla="*/ 0 w 129"/>
                <a:gd name="T59" fmla="*/ 2147483647 h 178"/>
                <a:gd name="T60" fmla="*/ 2147483647 w 129"/>
                <a:gd name="T61" fmla="*/ 2147483647 h 178"/>
                <a:gd name="T62" fmla="*/ 2147483647 w 129"/>
                <a:gd name="T63" fmla="*/ 2147483647 h 178"/>
                <a:gd name="T64" fmla="*/ 0 w 129"/>
                <a:gd name="T65" fmla="*/ 2147483647 h 178"/>
                <a:gd name="T66" fmla="*/ 2147483647 w 129"/>
                <a:gd name="T67" fmla="*/ 2147483647 h 178"/>
                <a:gd name="T68" fmla="*/ 2147483647 w 129"/>
                <a:gd name="T69" fmla="*/ 2147483647 h 178"/>
                <a:gd name="T70" fmla="*/ 2147483647 w 129"/>
                <a:gd name="T71" fmla="*/ 2147483647 h 178"/>
                <a:gd name="T72" fmla="*/ 2147483647 w 129"/>
                <a:gd name="T73" fmla="*/ 2147483647 h 178"/>
                <a:gd name="T74" fmla="*/ 2147483647 w 129"/>
                <a:gd name="T75" fmla="*/ 2147483647 h 178"/>
                <a:gd name="T76" fmla="*/ 2147483647 w 129"/>
                <a:gd name="T77" fmla="*/ 2147483647 h 178"/>
                <a:gd name="T78" fmla="*/ 2147483647 w 129"/>
                <a:gd name="T79" fmla="*/ 2147483647 h 178"/>
                <a:gd name="T80" fmla="*/ 2147483647 w 129"/>
                <a:gd name="T81" fmla="*/ 2147483647 h 178"/>
                <a:gd name="T82" fmla="*/ 2147483647 w 129"/>
                <a:gd name="T83" fmla="*/ 2147483647 h 178"/>
                <a:gd name="T84" fmla="*/ 2147483647 w 129"/>
                <a:gd name="T85" fmla="*/ 2147483647 h 178"/>
                <a:gd name="T86" fmla="*/ 2147483647 w 129"/>
                <a:gd name="T87" fmla="*/ 2147483647 h 178"/>
                <a:gd name="T88" fmla="*/ 2147483647 w 129"/>
                <a:gd name="T89" fmla="*/ 2147483647 h 178"/>
                <a:gd name="T90" fmla="*/ 2147483647 w 129"/>
                <a:gd name="T91" fmla="*/ 2147483647 h 178"/>
                <a:gd name="T92" fmla="*/ 2147483647 w 129"/>
                <a:gd name="T93" fmla="*/ 2147483647 h 178"/>
                <a:gd name="T94" fmla="*/ 2147483647 w 129"/>
                <a:gd name="T95" fmla="*/ 2147483647 h 178"/>
                <a:gd name="T96" fmla="*/ 2147483647 w 129"/>
                <a:gd name="T97" fmla="*/ 2147483647 h 178"/>
                <a:gd name="T98" fmla="*/ 2147483647 w 129"/>
                <a:gd name="T99" fmla="*/ 2147483647 h 178"/>
                <a:gd name="T100" fmla="*/ 2147483647 w 129"/>
                <a:gd name="T101" fmla="*/ 2147483647 h 178"/>
                <a:gd name="T102" fmla="*/ 2147483647 w 129"/>
                <a:gd name="T103" fmla="*/ 2147483647 h 178"/>
                <a:gd name="T104" fmla="*/ 2147483647 w 129"/>
                <a:gd name="T105" fmla="*/ 2147483647 h 178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29"/>
                <a:gd name="T160" fmla="*/ 0 h 178"/>
                <a:gd name="T161" fmla="*/ 129 w 129"/>
                <a:gd name="T162" fmla="*/ 178 h 178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29" h="178">
                  <a:moveTo>
                    <a:pt x="118" y="31"/>
                  </a:moveTo>
                  <a:lnTo>
                    <a:pt x="118" y="31"/>
                  </a:lnTo>
                  <a:lnTo>
                    <a:pt x="126" y="20"/>
                  </a:lnTo>
                  <a:lnTo>
                    <a:pt x="129" y="11"/>
                  </a:lnTo>
                  <a:lnTo>
                    <a:pt x="118" y="11"/>
                  </a:lnTo>
                  <a:lnTo>
                    <a:pt x="112" y="5"/>
                  </a:lnTo>
                  <a:lnTo>
                    <a:pt x="106" y="8"/>
                  </a:lnTo>
                  <a:lnTo>
                    <a:pt x="101" y="14"/>
                  </a:lnTo>
                  <a:lnTo>
                    <a:pt x="92" y="23"/>
                  </a:lnTo>
                  <a:lnTo>
                    <a:pt x="66" y="17"/>
                  </a:lnTo>
                  <a:lnTo>
                    <a:pt x="49" y="3"/>
                  </a:lnTo>
                  <a:lnTo>
                    <a:pt x="35" y="3"/>
                  </a:lnTo>
                  <a:lnTo>
                    <a:pt x="29" y="0"/>
                  </a:lnTo>
                  <a:lnTo>
                    <a:pt x="3" y="0"/>
                  </a:lnTo>
                  <a:lnTo>
                    <a:pt x="0" y="5"/>
                  </a:lnTo>
                  <a:lnTo>
                    <a:pt x="9" y="14"/>
                  </a:lnTo>
                  <a:lnTo>
                    <a:pt x="9" y="25"/>
                  </a:lnTo>
                  <a:lnTo>
                    <a:pt x="15" y="37"/>
                  </a:lnTo>
                  <a:lnTo>
                    <a:pt x="17" y="48"/>
                  </a:lnTo>
                  <a:lnTo>
                    <a:pt x="15" y="66"/>
                  </a:lnTo>
                  <a:lnTo>
                    <a:pt x="9" y="69"/>
                  </a:lnTo>
                  <a:lnTo>
                    <a:pt x="0" y="83"/>
                  </a:lnTo>
                  <a:lnTo>
                    <a:pt x="0" y="92"/>
                  </a:lnTo>
                  <a:lnTo>
                    <a:pt x="12" y="92"/>
                  </a:lnTo>
                  <a:lnTo>
                    <a:pt x="3" y="94"/>
                  </a:lnTo>
                  <a:lnTo>
                    <a:pt x="0" y="106"/>
                  </a:lnTo>
                  <a:lnTo>
                    <a:pt x="49" y="137"/>
                  </a:lnTo>
                  <a:lnTo>
                    <a:pt x="63" y="149"/>
                  </a:lnTo>
                  <a:lnTo>
                    <a:pt x="60" y="155"/>
                  </a:lnTo>
                  <a:lnTo>
                    <a:pt x="89" y="178"/>
                  </a:lnTo>
                  <a:lnTo>
                    <a:pt x="92" y="169"/>
                  </a:lnTo>
                  <a:lnTo>
                    <a:pt x="101" y="160"/>
                  </a:lnTo>
                  <a:lnTo>
                    <a:pt x="104" y="152"/>
                  </a:lnTo>
                  <a:lnTo>
                    <a:pt x="106" y="140"/>
                  </a:lnTo>
                  <a:lnTo>
                    <a:pt x="112" y="135"/>
                  </a:lnTo>
                  <a:lnTo>
                    <a:pt x="118" y="132"/>
                  </a:lnTo>
                  <a:lnTo>
                    <a:pt x="126" y="123"/>
                  </a:lnTo>
                  <a:lnTo>
                    <a:pt x="129" y="117"/>
                  </a:lnTo>
                  <a:lnTo>
                    <a:pt x="115" y="106"/>
                  </a:lnTo>
                  <a:lnTo>
                    <a:pt x="118" y="3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29" name="Freeform 531"/>
            <p:cNvSpPr>
              <a:spLocks/>
            </p:cNvSpPr>
            <p:nvPr/>
          </p:nvSpPr>
          <p:spPr bwMode="auto">
            <a:xfrm>
              <a:off x="6092825" y="2928938"/>
              <a:ext cx="565150" cy="852487"/>
            </a:xfrm>
            <a:custGeom>
              <a:avLst/>
              <a:gdLst>
                <a:gd name="T0" fmla="*/ 2147483647 w 353"/>
                <a:gd name="T1" fmla="*/ 2147483647 h 531"/>
                <a:gd name="T2" fmla="*/ 2147483647 w 353"/>
                <a:gd name="T3" fmla="*/ 2147483647 h 531"/>
                <a:gd name="T4" fmla="*/ 2147483647 w 353"/>
                <a:gd name="T5" fmla="*/ 2147483647 h 531"/>
                <a:gd name="T6" fmla="*/ 2147483647 w 353"/>
                <a:gd name="T7" fmla="*/ 2147483647 h 531"/>
                <a:gd name="T8" fmla="*/ 2147483647 w 353"/>
                <a:gd name="T9" fmla="*/ 2147483647 h 531"/>
                <a:gd name="T10" fmla="*/ 2147483647 w 353"/>
                <a:gd name="T11" fmla="*/ 2147483647 h 531"/>
                <a:gd name="T12" fmla="*/ 2147483647 w 353"/>
                <a:gd name="T13" fmla="*/ 2147483647 h 531"/>
                <a:gd name="T14" fmla="*/ 2147483647 w 353"/>
                <a:gd name="T15" fmla="*/ 2147483647 h 531"/>
                <a:gd name="T16" fmla="*/ 2147483647 w 353"/>
                <a:gd name="T17" fmla="*/ 2147483647 h 531"/>
                <a:gd name="T18" fmla="*/ 2147483647 w 353"/>
                <a:gd name="T19" fmla="*/ 2147483647 h 531"/>
                <a:gd name="T20" fmla="*/ 2147483647 w 353"/>
                <a:gd name="T21" fmla="*/ 2147483647 h 531"/>
                <a:gd name="T22" fmla="*/ 2147483647 w 353"/>
                <a:gd name="T23" fmla="*/ 2147483647 h 531"/>
                <a:gd name="T24" fmla="*/ 2147483647 w 353"/>
                <a:gd name="T25" fmla="*/ 2147483647 h 531"/>
                <a:gd name="T26" fmla="*/ 2147483647 w 353"/>
                <a:gd name="T27" fmla="*/ 2147483647 h 531"/>
                <a:gd name="T28" fmla="*/ 2147483647 w 353"/>
                <a:gd name="T29" fmla="*/ 0 h 531"/>
                <a:gd name="T30" fmla="*/ 2147483647 w 353"/>
                <a:gd name="T31" fmla="*/ 2147483647 h 531"/>
                <a:gd name="T32" fmla="*/ 2147483647 w 353"/>
                <a:gd name="T33" fmla="*/ 2147483647 h 531"/>
                <a:gd name="T34" fmla="*/ 2147483647 w 353"/>
                <a:gd name="T35" fmla="*/ 2147483647 h 531"/>
                <a:gd name="T36" fmla="*/ 2147483647 w 353"/>
                <a:gd name="T37" fmla="*/ 2147483647 h 531"/>
                <a:gd name="T38" fmla="*/ 2147483647 w 353"/>
                <a:gd name="T39" fmla="*/ 2147483647 h 531"/>
                <a:gd name="T40" fmla="*/ 2147483647 w 353"/>
                <a:gd name="T41" fmla="*/ 2147483647 h 531"/>
                <a:gd name="T42" fmla="*/ 2147483647 w 353"/>
                <a:gd name="T43" fmla="*/ 2147483647 h 531"/>
                <a:gd name="T44" fmla="*/ 2147483647 w 353"/>
                <a:gd name="T45" fmla="*/ 2147483647 h 531"/>
                <a:gd name="T46" fmla="*/ 2147483647 w 353"/>
                <a:gd name="T47" fmla="*/ 2147483647 h 531"/>
                <a:gd name="T48" fmla="*/ 2147483647 w 353"/>
                <a:gd name="T49" fmla="*/ 2147483647 h 531"/>
                <a:gd name="T50" fmla="*/ 2147483647 w 353"/>
                <a:gd name="T51" fmla="*/ 2147483647 h 531"/>
                <a:gd name="T52" fmla="*/ 2147483647 w 353"/>
                <a:gd name="T53" fmla="*/ 2147483647 h 531"/>
                <a:gd name="T54" fmla="*/ 2147483647 w 353"/>
                <a:gd name="T55" fmla="*/ 2147483647 h 531"/>
                <a:gd name="T56" fmla="*/ 2147483647 w 353"/>
                <a:gd name="T57" fmla="*/ 2147483647 h 531"/>
                <a:gd name="T58" fmla="*/ 2147483647 w 353"/>
                <a:gd name="T59" fmla="*/ 2147483647 h 531"/>
                <a:gd name="T60" fmla="*/ 2147483647 w 353"/>
                <a:gd name="T61" fmla="*/ 2147483647 h 531"/>
                <a:gd name="T62" fmla="*/ 2147483647 w 353"/>
                <a:gd name="T63" fmla="*/ 2147483647 h 531"/>
                <a:gd name="T64" fmla="*/ 2147483647 w 353"/>
                <a:gd name="T65" fmla="*/ 2147483647 h 531"/>
                <a:gd name="T66" fmla="*/ 2147483647 w 353"/>
                <a:gd name="T67" fmla="*/ 2147483647 h 531"/>
                <a:gd name="T68" fmla="*/ 2147483647 w 353"/>
                <a:gd name="T69" fmla="*/ 2147483647 h 531"/>
                <a:gd name="T70" fmla="*/ 2147483647 w 353"/>
                <a:gd name="T71" fmla="*/ 2147483647 h 531"/>
                <a:gd name="T72" fmla="*/ 2147483647 w 353"/>
                <a:gd name="T73" fmla="*/ 2147483647 h 531"/>
                <a:gd name="T74" fmla="*/ 2147483647 w 353"/>
                <a:gd name="T75" fmla="*/ 2147483647 h 531"/>
                <a:gd name="T76" fmla="*/ 2147483647 w 353"/>
                <a:gd name="T77" fmla="*/ 2147483647 h 531"/>
                <a:gd name="T78" fmla="*/ 2147483647 w 353"/>
                <a:gd name="T79" fmla="*/ 2147483647 h 531"/>
                <a:gd name="T80" fmla="*/ 2147483647 w 353"/>
                <a:gd name="T81" fmla="*/ 2147483647 h 531"/>
                <a:gd name="T82" fmla="*/ 2147483647 w 353"/>
                <a:gd name="T83" fmla="*/ 2147483647 h 531"/>
                <a:gd name="T84" fmla="*/ 2147483647 w 353"/>
                <a:gd name="T85" fmla="*/ 2147483647 h 531"/>
                <a:gd name="T86" fmla="*/ 2147483647 w 353"/>
                <a:gd name="T87" fmla="*/ 2147483647 h 531"/>
                <a:gd name="T88" fmla="*/ 2147483647 w 353"/>
                <a:gd name="T89" fmla="*/ 2147483647 h 531"/>
                <a:gd name="T90" fmla="*/ 2147483647 w 353"/>
                <a:gd name="T91" fmla="*/ 2147483647 h 531"/>
                <a:gd name="T92" fmla="*/ 2147483647 w 353"/>
                <a:gd name="T93" fmla="*/ 2147483647 h 531"/>
                <a:gd name="T94" fmla="*/ 2147483647 w 353"/>
                <a:gd name="T95" fmla="*/ 2147483647 h 531"/>
                <a:gd name="T96" fmla="*/ 2147483647 w 353"/>
                <a:gd name="T97" fmla="*/ 2147483647 h 531"/>
                <a:gd name="T98" fmla="*/ 2147483647 w 353"/>
                <a:gd name="T99" fmla="*/ 2147483647 h 531"/>
                <a:gd name="T100" fmla="*/ 2147483647 w 353"/>
                <a:gd name="T101" fmla="*/ 2147483647 h 531"/>
                <a:gd name="T102" fmla="*/ 2147483647 w 353"/>
                <a:gd name="T103" fmla="*/ 2147483647 h 531"/>
                <a:gd name="T104" fmla="*/ 2147483647 w 353"/>
                <a:gd name="T105" fmla="*/ 2147483647 h 531"/>
                <a:gd name="T106" fmla="*/ 2147483647 w 353"/>
                <a:gd name="T107" fmla="*/ 2147483647 h 531"/>
                <a:gd name="T108" fmla="*/ 2147483647 w 353"/>
                <a:gd name="T109" fmla="*/ 2147483647 h 531"/>
                <a:gd name="T110" fmla="*/ 2147483647 w 353"/>
                <a:gd name="T111" fmla="*/ 2147483647 h 531"/>
                <a:gd name="T112" fmla="*/ 2147483647 w 353"/>
                <a:gd name="T113" fmla="*/ 2147483647 h 531"/>
                <a:gd name="T114" fmla="*/ 2147483647 w 353"/>
                <a:gd name="T115" fmla="*/ 2147483647 h 531"/>
                <a:gd name="T116" fmla="*/ 2147483647 w 353"/>
                <a:gd name="T117" fmla="*/ 2147483647 h 531"/>
                <a:gd name="T118" fmla="*/ 2147483647 w 353"/>
                <a:gd name="T119" fmla="*/ 2147483647 h 531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53"/>
                <a:gd name="T181" fmla="*/ 0 h 531"/>
                <a:gd name="T182" fmla="*/ 353 w 353"/>
                <a:gd name="T183" fmla="*/ 531 h 531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53" h="531">
                  <a:moveTo>
                    <a:pt x="344" y="238"/>
                  </a:moveTo>
                  <a:lnTo>
                    <a:pt x="339" y="226"/>
                  </a:lnTo>
                  <a:lnTo>
                    <a:pt x="339" y="218"/>
                  </a:lnTo>
                  <a:lnTo>
                    <a:pt x="339" y="212"/>
                  </a:lnTo>
                  <a:lnTo>
                    <a:pt x="333" y="203"/>
                  </a:lnTo>
                  <a:lnTo>
                    <a:pt x="333" y="201"/>
                  </a:lnTo>
                  <a:lnTo>
                    <a:pt x="333" y="195"/>
                  </a:lnTo>
                  <a:lnTo>
                    <a:pt x="336" y="195"/>
                  </a:lnTo>
                  <a:lnTo>
                    <a:pt x="341" y="195"/>
                  </a:lnTo>
                  <a:lnTo>
                    <a:pt x="339" y="189"/>
                  </a:lnTo>
                  <a:lnTo>
                    <a:pt x="333" y="192"/>
                  </a:lnTo>
                  <a:lnTo>
                    <a:pt x="324" y="183"/>
                  </a:lnTo>
                  <a:lnTo>
                    <a:pt x="330" y="172"/>
                  </a:lnTo>
                  <a:lnTo>
                    <a:pt x="324" y="169"/>
                  </a:lnTo>
                  <a:lnTo>
                    <a:pt x="324" y="175"/>
                  </a:lnTo>
                  <a:lnTo>
                    <a:pt x="313" y="175"/>
                  </a:lnTo>
                  <a:lnTo>
                    <a:pt x="310" y="175"/>
                  </a:lnTo>
                  <a:lnTo>
                    <a:pt x="307" y="169"/>
                  </a:lnTo>
                  <a:lnTo>
                    <a:pt x="301" y="175"/>
                  </a:lnTo>
                  <a:lnTo>
                    <a:pt x="287" y="169"/>
                  </a:lnTo>
                  <a:lnTo>
                    <a:pt x="281" y="166"/>
                  </a:lnTo>
                  <a:lnTo>
                    <a:pt x="261" y="166"/>
                  </a:lnTo>
                  <a:lnTo>
                    <a:pt x="258" y="163"/>
                  </a:lnTo>
                  <a:lnTo>
                    <a:pt x="255" y="163"/>
                  </a:lnTo>
                  <a:lnTo>
                    <a:pt x="250" y="157"/>
                  </a:lnTo>
                  <a:lnTo>
                    <a:pt x="241" y="155"/>
                  </a:lnTo>
                  <a:lnTo>
                    <a:pt x="229" y="149"/>
                  </a:lnTo>
                  <a:lnTo>
                    <a:pt x="218" y="146"/>
                  </a:lnTo>
                  <a:lnTo>
                    <a:pt x="209" y="143"/>
                  </a:lnTo>
                  <a:lnTo>
                    <a:pt x="198" y="135"/>
                  </a:lnTo>
                  <a:lnTo>
                    <a:pt x="181" y="126"/>
                  </a:lnTo>
                  <a:lnTo>
                    <a:pt x="184" y="117"/>
                  </a:lnTo>
                  <a:lnTo>
                    <a:pt x="184" y="109"/>
                  </a:lnTo>
                  <a:lnTo>
                    <a:pt x="189" y="100"/>
                  </a:lnTo>
                  <a:lnTo>
                    <a:pt x="184" y="94"/>
                  </a:lnTo>
                  <a:lnTo>
                    <a:pt x="178" y="91"/>
                  </a:lnTo>
                  <a:lnTo>
                    <a:pt x="172" y="86"/>
                  </a:lnTo>
                  <a:lnTo>
                    <a:pt x="166" y="83"/>
                  </a:lnTo>
                  <a:lnTo>
                    <a:pt x="161" y="77"/>
                  </a:lnTo>
                  <a:lnTo>
                    <a:pt x="152" y="77"/>
                  </a:lnTo>
                  <a:lnTo>
                    <a:pt x="152" y="71"/>
                  </a:lnTo>
                  <a:lnTo>
                    <a:pt x="146" y="63"/>
                  </a:lnTo>
                  <a:lnTo>
                    <a:pt x="140" y="51"/>
                  </a:lnTo>
                  <a:lnTo>
                    <a:pt x="149" y="48"/>
                  </a:lnTo>
                  <a:lnTo>
                    <a:pt x="149" y="51"/>
                  </a:lnTo>
                  <a:lnTo>
                    <a:pt x="152" y="54"/>
                  </a:lnTo>
                  <a:lnTo>
                    <a:pt x="155" y="54"/>
                  </a:lnTo>
                  <a:lnTo>
                    <a:pt x="158" y="48"/>
                  </a:lnTo>
                  <a:lnTo>
                    <a:pt x="155" y="43"/>
                  </a:lnTo>
                  <a:lnTo>
                    <a:pt x="152" y="43"/>
                  </a:lnTo>
                  <a:lnTo>
                    <a:pt x="143" y="37"/>
                  </a:lnTo>
                  <a:lnTo>
                    <a:pt x="143" y="28"/>
                  </a:lnTo>
                  <a:lnTo>
                    <a:pt x="140" y="28"/>
                  </a:lnTo>
                  <a:lnTo>
                    <a:pt x="140" y="25"/>
                  </a:lnTo>
                  <a:lnTo>
                    <a:pt x="143" y="20"/>
                  </a:lnTo>
                  <a:lnTo>
                    <a:pt x="140" y="20"/>
                  </a:lnTo>
                  <a:lnTo>
                    <a:pt x="135" y="17"/>
                  </a:lnTo>
                  <a:lnTo>
                    <a:pt x="129" y="11"/>
                  </a:lnTo>
                  <a:lnTo>
                    <a:pt x="126" y="5"/>
                  </a:lnTo>
                  <a:lnTo>
                    <a:pt x="123" y="0"/>
                  </a:lnTo>
                  <a:lnTo>
                    <a:pt x="117" y="0"/>
                  </a:lnTo>
                  <a:lnTo>
                    <a:pt x="106" y="5"/>
                  </a:lnTo>
                  <a:lnTo>
                    <a:pt x="100" y="14"/>
                  </a:lnTo>
                  <a:lnTo>
                    <a:pt x="97" y="14"/>
                  </a:lnTo>
                  <a:lnTo>
                    <a:pt x="83" y="14"/>
                  </a:lnTo>
                  <a:lnTo>
                    <a:pt x="72" y="8"/>
                  </a:lnTo>
                  <a:lnTo>
                    <a:pt x="69" y="8"/>
                  </a:lnTo>
                  <a:lnTo>
                    <a:pt x="63" y="11"/>
                  </a:lnTo>
                  <a:lnTo>
                    <a:pt x="60" y="17"/>
                  </a:lnTo>
                  <a:lnTo>
                    <a:pt x="63" y="23"/>
                  </a:lnTo>
                  <a:lnTo>
                    <a:pt x="74" y="23"/>
                  </a:lnTo>
                  <a:lnTo>
                    <a:pt x="72" y="25"/>
                  </a:lnTo>
                  <a:lnTo>
                    <a:pt x="69" y="28"/>
                  </a:lnTo>
                  <a:lnTo>
                    <a:pt x="72" y="34"/>
                  </a:lnTo>
                  <a:lnTo>
                    <a:pt x="72" y="37"/>
                  </a:lnTo>
                  <a:lnTo>
                    <a:pt x="74" y="43"/>
                  </a:lnTo>
                  <a:lnTo>
                    <a:pt x="80" y="43"/>
                  </a:lnTo>
                  <a:lnTo>
                    <a:pt x="86" y="54"/>
                  </a:lnTo>
                  <a:lnTo>
                    <a:pt x="97" y="60"/>
                  </a:lnTo>
                  <a:lnTo>
                    <a:pt x="80" y="68"/>
                  </a:lnTo>
                  <a:lnTo>
                    <a:pt x="89" y="83"/>
                  </a:lnTo>
                  <a:lnTo>
                    <a:pt x="77" y="94"/>
                  </a:lnTo>
                  <a:lnTo>
                    <a:pt x="80" y="100"/>
                  </a:lnTo>
                  <a:lnTo>
                    <a:pt x="72" y="106"/>
                  </a:lnTo>
                  <a:lnTo>
                    <a:pt x="69" y="120"/>
                  </a:lnTo>
                  <a:lnTo>
                    <a:pt x="60" y="126"/>
                  </a:lnTo>
                  <a:lnTo>
                    <a:pt x="57" y="135"/>
                  </a:lnTo>
                  <a:lnTo>
                    <a:pt x="49" y="146"/>
                  </a:lnTo>
                  <a:lnTo>
                    <a:pt x="31" y="149"/>
                  </a:lnTo>
                  <a:lnTo>
                    <a:pt x="26" y="143"/>
                  </a:lnTo>
                  <a:lnTo>
                    <a:pt x="20" y="152"/>
                  </a:lnTo>
                  <a:lnTo>
                    <a:pt x="17" y="157"/>
                  </a:lnTo>
                  <a:lnTo>
                    <a:pt x="14" y="166"/>
                  </a:lnTo>
                  <a:lnTo>
                    <a:pt x="17" y="166"/>
                  </a:lnTo>
                  <a:lnTo>
                    <a:pt x="20" y="169"/>
                  </a:lnTo>
                  <a:lnTo>
                    <a:pt x="26" y="169"/>
                  </a:lnTo>
                  <a:lnTo>
                    <a:pt x="29" y="169"/>
                  </a:lnTo>
                  <a:lnTo>
                    <a:pt x="29" y="180"/>
                  </a:lnTo>
                  <a:lnTo>
                    <a:pt x="31" y="186"/>
                  </a:lnTo>
                  <a:lnTo>
                    <a:pt x="37" y="186"/>
                  </a:lnTo>
                  <a:lnTo>
                    <a:pt x="49" y="206"/>
                  </a:lnTo>
                  <a:lnTo>
                    <a:pt x="46" y="215"/>
                  </a:lnTo>
                  <a:lnTo>
                    <a:pt x="40" y="218"/>
                  </a:lnTo>
                  <a:lnTo>
                    <a:pt x="37" y="212"/>
                  </a:lnTo>
                  <a:lnTo>
                    <a:pt x="29" y="218"/>
                  </a:lnTo>
                  <a:lnTo>
                    <a:pt x="20" y="215"/>
                  </a:lnTo>
                  <a:lnTo>
                    <a:pt x="8" y="215"/>
                  </a:lnTo>
                  <a:lnTo>
                    <a:pt x="8" y="221"/>
                  </a:lnTo>
                  <a:lnTo>
                    <a:pt x="3" y="224"/>
                  </a:lnTo>
                  <a:lnTo>
                    <a:pt x="0" y="226"/>
                  </a:lnTo>
                  <a:lnTo>
                    <a:pt x="6" y="232"/>
                  </a:lnTo>
                  <a:lnTo>
                    <a:pt x="11" y="238"/>
                  </a:lnTo>
                  <a:lnTo>
                    <a:pt x="17" y="244"/>
                  </a:lnTo>
                  <a:lnTo>
                    <a:pt x="23" y="244"/>
                  </a:lnTo>
                  <a:lnTo>
                    <a:pt x="37" y="238"/>
                  </a:lnTo>
                  <a:lnTo>
                    <a:pt x="34" y="244"/>
                  </a:lnTo>
                  <a:lnTo>
                    <a:pt x="31" y="246"/>
                  </a:lnTo>
                  <a:lnTo>
                    <a:pt x="29" y="249"/>
                  </a:lnTo>
                  <a:lnTo>
                    <a:pt x="20" y="252"/>
                  </a:lnTo>
                  <a:lnTo>
                    <a:pt x="14" y="249"/>
                  </a:lnTo>
                  <a:lnTo>
                    <a:pt x="14" y="252"/>
                  </a:lnTo>
                  <a:lnTo>
                    <a:pt x="20" y="261"/>
                  </a:lnTo>
                  <a:lnTo>
                    <a:pt x="29" y="269"/>
                  </a:lnTo>
                  <a:lnTo>
                    <a:pt x="40" y="278"/>
                  </a:lnTo>
                  <a:lnTo>
                    <a:pt x="49" y="281"/>
                  </a:lnTo>
                  <a:lnTo>
                    <a:pt x="57" y="281"/>
                  </a:lnTo>
                  <a:lnTo>
                    <a:pt x="66" y="275"/>
                  </a:lnTo>
                  <a:lnTo>
                    <a:pt x="69" y="272"/>
                  </a:lnTo>
                  <a:lnTo>
                    <a:pt x="72" y="264"/>
                  </a:lnTo>
                  <a:lnTo>
                    <a:pt x="69" y="261"/>
                  </a:lnTo>
                  <a:lnTo>
                    <a:pt x="72" y="255"/>
                  </a:lnTo>
                  <a:lnTo>
                    <a:pt x="74" y="252"/>
                  </a:lnTo>
                  <a:lnTo>
                    <a:pt x="77" y="255"/>
                  </a:lnTo>
                  <a:lnTo>
                    <a:pt x="74" y="264"/>
                  </a:lnTo>
                  <a:lnTo>
                    <a:pt x="80" y="267"/>
                  </a:lnTo>
                  <a:lnTo>
                    <a:pt x="77" y="272"/>
                  </a:lnTo>
                  <a:lnTo>
                    <a:pt x="83" y="278"/>
                  </a:lnTo>
                  <a:lnTo>
                    <a:pt x="80" y="292"/>
                  </a:lnTo>
                  <a:lnTo>
                    <a:pt x="83" y="304"/>
                  </a:lnTo>
                  <a:lnTo>
                    <a:pt x="86" y="310"/>
                  </a:lnTo>
                  <a:lnTo>
                    <a:pt x="86" y="318"/>
                  </a:lnTo>
                  <a:lnTo>
                    <a:pt x="89" y="327"/>
                  </a:lnTo>
                  <a:lnTo>
                    <a:pt x="92" y="333"/>
                  </a:lnTo>
                  <a:lnTo>
                    <a:pt x="95" y="341"/>
                  </a:lnTo>
                  <a:lnTo>
                    <a:pt x="97" y="367"/>
                  </a:lnTo>
                  <a:lnTo>
                    <a:pt x="103" y="379"/>
                  </a:lnTo>
                  <a:lnTo>
                    <a:pt x="112" y="393"/>
                  </a:lnTo>
                  <a:lnTo>
                    <a:pt x="117" y="404"/>
                  </a:lnTo>
                  <a:lnTo>
                    <a:pt x="123" y="416"/>
                  </a:lnTo>
                  <a:lnTo>
                    <a:pt x="129" y="430"/>
                  </a:lnTo>
                  <a:lnTo>
                    <a:pt x="135" y="447"/>
                  </a:lnTo>
                  <a:lnTo>
                    <a:pt x="143" y="462"/>
                  </a:lnTo>
                  <a:lnTo>
                    <a:pt x="149" y="476"/>
                  </a:lnTo>
                  <a:lnTo>
                    <a:pt x="155" y="488"/>
                  </a:lnTo>
                  <a:lnTo>
                    <a:pt x="158" y="496"/>
                  </a:lnTo>
                  <a:lnTo>
                    <a:pt x="161" y="505"/>
                  </a:lnTo>
                  <a:lnTo>
                    <a:pt x="163" y="516"/>
                  </a:lnTo>
                  <a:lnTo>
                    <a:pt x="169" y="525"/>
                  </a:lnTo>
                  <a:lnTo>
                    <a:pt x="172" y="531"/>
                  </a:lnTo>
                  <a:lnTo>
                    <a:pt x="178" y="531"/>
                  </a:lnTo>
                  <a:lnTo>
                    <a:pt x="186" y="528"/>
                  </a:lnTo>
                  <a:lnTo>
                    <a:pt x="189" y="528"/>
                  </a:lnTo>
                  <a:lnTo>
                    <a:pt x="189" y="525"/>
                  </a:lnTo>
                  <a:lnTo>
                    <a:pt x="189" y="519"/>
                  </a:lnTo>
                  <a:lnTo>
                    <a:pt x="189" y="516"/>
                  </a:lnTo>
                  <a:lnTo>
                    <a:pt x="192" y="514"/>
                  </a:lnTo>
                  <a:lnTo>
                    <a:pt x="201" y="508"/>
                  </a:lnTo>
                  <a:lnTo>
                    <a:pt x="204" y="508"/>
                  </a:lnTo>
                  <a:lnTo>
                    <a:pt x="212" y="508"/>
                  </a:lnTo>
                  <a:lnTo>
                    <a:pt x="209" y="508"/>
                  </a:lnTo>
                  <a:lnTo>
                    <a:pt x="206" y="505"/>
                  </a:lnTo>
                  <a:lnTo>
                    <a:pt x="204" y="502"/>
                  </a:lnTo>
                  <a:lnTo>
                    <a:pt x="204" y="499"/>
                  </a:lnTo>
                  <a:lnTo>
                    <a:pt x="209" y="488"/>
                  </a:lnTo>
                  <a:lnTo>
                    <a:pt x="218" y="488"/>
                  </a:lnTo>
                  <a:lnTo>
                    <a:pt x="218" y="470"/>
                  </a:lnTo>
                  <a:lnTo>
                    <a:pt x="215" y="462"/>
                  </a:lnTo>
                  <a:lnTo>
                    <a:pt x="221" y="447"/>
                  </a:lnTo>
                  <a:lnTo>
                    <a:pt x="224" y="427"/>
                  </a:lnTo>
                  <a:lnTo>
                    <a:pt x="218" y="413"/>
                  </a:lnTo>
                  <a:lnTo>
                    <a:pt x="218" y="399"/>
                  </a:lnTo>
                  <a:lnTo>
                    <a:pt x="215" y="390"/>
                  </a:lnTo>
                  <a:lnTo>
                    <a:pt x="218" y="384"/>
                  </a:lnTo>
                  <a:lnTo>
                    <a:pt x="221" y="381"/>
                  </a:lnTo>
                  <a:lnTo>
                    <a:pt x="224" y="379"/>
                  </a:lnTo>
                  <a:lnTo>
                    <a:pt x="227" y="381"/>
                  </a:lnTo>
                  <a:lnTo>
                    <a:pt x="232" y="376"/>
                  </a:lnTo>
                  <a:lnTo>
                    <a:pt x="235" y="367"/>
                  </a:lnTo>
                  <a:lnTo>
                    <a:pt x="247" y="370"/>
                  </a:lnTo>
                  <a:lnTo>
                    <a:pt x="252" y="361"/>
                  </a:lnTo>
                  <a:lnTo>
                    <a:pt x="252" y="353"/>
                  </a:lnTo>
                  <a:lnTo>
                    <a:pt x="255" y="353"/>
                  </a:lnTo>
                  <a:lnTo>
                    <a:pt x="261" y="347"/>
                  </a:lnTo>
                  <a:lnTo>
                    <a:pt x="270" y="335"/>
                  </a:lnTo>
                  <a:lnTo>
                    <a:pt x="278" y="333"/>
                  </a:lnTo>
                  <a:lnTo>
                    <a:pt x="284" y="318"/>
                  </a:lnTo>
                  <a:lnTo>
                    <a:pt x="287" y="315"/>
                  </a:lnTo>
                  <a:lnTo>
                    <a:pt x="290" y="313"/>
                  </a:lnTo>
                  <a:lnTo>
                    <a:pt x="307" y="301"/>
                  </a:lnTo>
                  <a:lnTo>
                    <a:pt x="313" y="298"/>
                  </a:lnTo>
                  <a:lnTo>
                    <a:pt x="318" y="292"/>
                  </a:lnTo>
                  <a:lnTo>
                    <a:pt x="321" y="287"/>
                  </a:lnTo>
                  <a:lnTo>
                    <a:pt x="321" y="284"/>
                  </a:lnTo>
                  <a:lnTo>
                    <a:pt x="318" y="278"/>
                  </a:lnTo>
                  <a:lnTo>
                    <a:pt x="318" y="272"/>
                  </a:lnTo>
                  <a:lnTo>
                    <a:pt x="321" y="269"/>
                  </a:lnTo>
                  <a:lnTo>
                    <a:pt x="324" y="267"/>
                  </a:lnTo>
                  <a:lnTo>
                    <a:pt x="333" y="264"/>
                  </a:lnTo>
                  <a:lnTo>
                    <a:pt x="333" y="261"/>
                  </a:lnTo>
                  <a:lnTo>
                    <a:pt x="336" y="258"/>
                  </a:lnTo>
                  <a:lnTo>
                    <a:pt x="339" y="264"/>
                  </a:lnTo>
                  <a:lnTo>
                    <a:pt x="341" y="267"/>
                  </a:lnTo>
                  <a:lnTo>
                    <a:pt x="344" y="267"/>
                  </a:lnTo>
                  <a:lnTo>
                    <a:pt x="347" y="264"/>
                  </a:lnTo>
                  <a:lnTo>
                    <a:pt x="350" y="267"/>
                  </a:lnTo>
                  <a:lnTo>
                    <a:pt x="353" y="267"/>
                  </a:lnTo>
                  <a:lnTo>
                    <a:pt x="350" y="252"/>
                  </a:lnTo>
                  <a:lnTo>
                    <a:pt x="344" y="23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30" name="Freeform 532"/>
            <p:cNvSpPr>
              <a:spLocks/>
            </p:cNvSpPr>
            <p:nvPr/>
          </p:nvSpPr>
          <p:spPr bwMode="auto">
            <a:xfrm>
              <a:off x="6442075" y="3724275"/>
              <a:ext cx="58738" cy="120650"/>
            </a:xfrm>
            <a:custGeom>
              <a:avLst/>
              <a:gdLst>
                <a:gd name="T0" fmla="*/ 2147483647 w 37"/>
                <a:gd name="T1" fmla="*/ 2147483647 h 75"/>
                <a:gd name="T2" fmla="*/ 2147483647 w 37"/>
                <a:gd name="T3" fmla="*/ 2147483647 h 75"/>
                <a:gd name="T4" fmla="*/ 2147483647 w 37"/>
                <a:gd name="T5" fmla="*/ 2147483647 h 75"/>
                <a:gd name="T6" fmla="*/ 2147483647 w 37"/>
                <a:gd name="T7" fmla="*/ 2147483647 h 75"/>
                <a:gd name="T8" fmla="*/ 2147483647 w 37"/>
                <a:gd name="T9" fmla="*/ 2147483647 h 75"/>
                <a:gd name="T10" fmla="*/ 2147483647 w 37"/>
                <a:gd name="T11" fmla="*/ 2147483647 h 75"/>
                <a:gd name="T12" fmla="*/ 2147483647 w 37"/>
                <a:gd name="T13" fmla="*/ 2147483647 h 75"/>
                <a:gd name="T14" fmla="*/ 2147483647 w 37"/>
                <a:gd name="T15" fmla="*/ 2147483647 h 75"/>
                <a:gd name="T16" fmla="*/ 2147483647 w 37"/>
                <a:gd name="T17" fmla="*/ 2147483647 h 75"/>
                <a:gd name="T18" fmla="*/ 2147483647 w 37"/>
                <a:gd name="T19" fmla="*/ 2147483647 h 75"/>
                <a:gd name="T20" fmla="*/ 2147483647 w 37"/>
                <a:gd name="T21" fmla="*/ 2147483647 h 75"/>
                <a:gd name="T22" fmla="*/ 2147483647 w 37"/>
                <a:gd name="T23" fmla="*/ 0 h 75"/>
                <a:gd name="T24" fmla="*/ 2147483647 w 37"/>
                <a:gd name="T25" fmla="*/ 0 h 75"/>
                <a:gd name="T26" fmla="*/ 2147483647 w 37"/>
                <a:gd name="T27" fmla="*/ 0 h 75"/>
                <a:gd name="T28" fmla="*/ 2147483647 w 37"/>
                <a:gd name="T29" fmla="*/ 2147483647 h 75"/>
                <a:gd name="T30" fmla="*/ 2147483647 w 37"/>
                <a:gd name="T31" fmla="*/ 2147483647 h 75"/>
                <a:gd name="T32" fmla="*/ 2147483647 w 37"/>
                <a:gd name="T33" fmla="*/ 2147483647 h 75"/>
                <a:gd name="T34" fmla="*/ 2147483647 w 37"/>
                <a:gd name="T35" fmla="*/ 2147483647 h 75"/>
                <a:gd name="T36" fmla="*/ 2147483647 w 37"/>
                <a:gd name="T37" fmla="*/ 2147483647 h 75"/>
                <a:gd name="T38" fmla="*/ 0 w 37"/>
                <a:gd name="T39" fmla="*/ 2147483647 h 75"/>
                <a:gd name="T40" fmla="*/ 0 w 37"/>
                <a:gd name="T41" fmla="*/ 2147483647 h 75"/>
                <a:gd name="T42" fmla="*/ 2147483647 w 37"/>
                <a:gd name="T43" fmla="*/ 2147483647 h 75"/>
                <a:gd name="T44" fmla="*/ 2147483647 w 37"/>
                <a:gd name="T45" fmla="*/ 2147483647 h 75"/>
                <a:gd name="T46" fmla="*/ 0 w 37"/>
                <a:gd name="T47" fmla="*/ 2147483647 h 75"/>
                <a:gd name="T48" fmla="*/ 0 w 37"/>
                <a:gd name="T49" fmla="*/ 2147483647 h 75"/>
                <a:gd name="T50" fmla="*/ 0 w 37"/>
                <a:gd name="T51" fmla="*/ 2147483647 h 75"/>
                <a:gd name="T52" fmla="*/ 0 w 37"/>
                <a:gd name="T53" fmla="*/ 2147483647 h 75"/>
                <a:gd name="T54" fmla="*/ 2147483647 w 37"/>
                <a:gd name="T55" fmla="*/ 2147483647 h 75"/>
                <a:gd name="T56" fmla="*/ 2147483647 w 37"/>
                <a:gd name="T57" fmla="*/ 2147483647 h 75"/>
                <a:gd name="T58" fmla="*/ 2147483647 w 37"/>
                <a:gd name="T59" fmla="*/ 2147483647 h 75"/>
                <a:gd name="T60" fmla="*/ 2147483647 w 37"/>
                <a:gd name="T61" fmla="*/ 2147483647 h 75"/>
                <a:gd name="T62" fmla="*/ 2147483647 w 37"/>
                <a:gd name="T63" fmla="*/ 2147483647 h 75"/>
                <a:gd name="T64" fmla="*/ 2147483647 w 37"/>
                <a:gd name="T65" fmla="*/ 2147483647 h 75"/>
                <a:gd name="T66" fmla="*/ 2147483647 w 37"/>
                <a:gd name="T67" fmla="*/ 2147483647 h 75"/>
                <a:gd name="T68" fmla="*/ 2147483647 w 37"/>
                <a:gd name="T69" fmla="*/ 2147483647 h 75"/>
                <a:gd name="T70" fmla="*/ 2147483647 w 37"/>
                <a:gd name="T71" fmla="*/ 2147483647 h 75"/>
                <a:gd name="T72" fmla="*/ 2147483647 w 37"/>
                <a:gd name="T73" fmla="*/ 2147483647 h 75"/>
                <a:gd name="T74" fmla="*/ 2147483647 w 37"/>
                <a:gd name="T75" fmla="*/ 2147483647 h 75"/>
                <a:gd name="T76" fmla="*/ 2147483647 w 37"/>
                <a:gd name="T77" fmla="*/ 2147483647 h 75"/>
                <a:gd name="T78" fmla="*/ 2147483647 w 37"/>
                <a:gd name="T79" fmla="*/ 2147483647 h 75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37"/>
                <a:gd name="T121" fmla="*/ 0 h 75"/>
                <a:gd name="T122" fmla="*/ 37 w 37"/>
                <a:gd name="T123" fmla="*/ 75 h 75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37" h="75">
                  <a:moveTo>
                    <a:pt x="37" y="46"/>
                  </a:moveTo>
                  <a:lnTo>
                    <a:pt x="37" y="46"/>
                  </a:lnTo>
                  <a:lnTo>
                    <a:pt x="29" y="35"/>
                  </a:lnTo>
                  <a:lnTo>
                    <a:pt x="26" y="23"/>
                  </a:lnTo>
                  <a:lnTo>
                    <a:pt x="20" y="12"/>
                  </a:lnTo>
                  <a:lnTo>
                    <a:pt x="11" y="3"/>
                  </a:lnTo>
                  <a:lnTo>
                    <a:pt x="9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3" y="3"/>
                  </a:lnTo>
                  <a:lnTo>
                    <a:pt x="6" y="9"/>
                  </a:lnTo>
                  <a:lnTo>
                    <a:pt x="3" y="15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3" y="20"/>
                  </a:lnTo>
                  <a:lnTo>
                    <a:pt x="0" y="32"/>
                  </a:lnTo>
                  <a:lnTo>
                    <a:pt x="0" y="43"/>
                  </a:lnTo>
                  <a:lnTo>
                    <a:pt x="3" y="58"/>
                  </a:lnTo>
                  <a:lnTo>
                    <a:pt x="6" y="69"/>
                  </a:lnTo>
                  <a:lnTo>
                    <a:pt x="14" y="75"/>
                  </a:lnTo>
                  <a:lnTo>
                    <a:pt x="23" y="75"/>
                  </a:lnTo>
                  <a:lnTo>
                    <a:pt x="32" y="69"/>
                  </a:lnTo>
                  <a:lnTo>
                    <a:pt x="34" y="66"/>
                  </a:lnTo>
                  <a:lnTo>
                    <a:pt x="37" y="61"/>
                  </a:lnTo>
                  <a:lnTo>
                    <a:pt x="37" y="55"/>
                  </a:lnTo>
                  <a:lnTo>
                    <a:pt x="37" y="4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31" name="Freeform 533"/>
            <p:cNvSpPr>
              <a:spLocks/>
            </p:cNvSpPr>
            <p:nvPr/>
          </p:nvSpPr>
          <p:spPr bwMode="auto">
            <a:xfrm>
              <a:off x="3794125" y="3638550"/>
              <a:ext cx="79375" cy="49213"/>
            </a:xfrm>
            <a:custGeom>
              <a:avLst/>
              <a:gdLst>
                <a:gd name="T0" fmla="*/ 2147483647 w 49"/>
                <a:gd name="T1" fmla="*/ 2147483647 h 31"/>
                <a:gd name="T2" fmla="*/ 2147483647 w 49"/>
                <a:gd name="T3" fmla="*/ 2147483647 h 31"/>
                <a:gd name="T4" fmla="*/ 2147483647 w 49"/>
                <a:gd name="T5" fmla="*/ 2147483647 h 31"/>
                <a:gd name="T6" fmla="*/ 2147483647 w 49"/>
                <a:gd name="T7" fmla="*/ 2147483647 h 31"/>
                <a:gd name="T8" fmla="*/ 2147483647 w 49"/>
                <a:gd name="T9" fmla="*/ 2147483647 h 31"/>
                <a:gd name="T10" fmla="*/ 2147483647 w 49"/>
                <a:gd name="T11" fmla="*/ 2147483647 h 31"/>
                <a:gd name="T12" fmla="*/ 2147483647 w 49"/>
                <a:gd name="T13" fmla="*/ 2147483647 h 31"/>
                <a:gd name="T14" fmla="*/ 2147483647 w 49"/>
                <a:gd name="T15" fmla="*/ 0 h 31"/>
                <a:gd name="T16" fmla="*/ 2147483647 w 49"/>
                <a:gd name="T17" fmla="*/ 0 h 31"/>
                <a:gd name="T18" fmla="*/ 2147483647 w 49"/>
                <a:gd name="T19" fmla="*/ 2147483647 h 31"/>
                <a:gd name="T20" fmla="*/ 2147483647 w 49"/>
                <a:gd name="T21" fmla="*/ 2147483647 h 31"/>
                <a:gd name="T22" fmla="*/ 0 w 49"/>
                <a:gd name="T23" fmla="*/ 2147483647 h 31"/>
                <a:gd name="T24" fmla="*/ 0 w 49"/>
                <a:gd name="T25" fmla="*/ 2147483647 h 31"/>
                <a:gd name="T26" fmla="*/ 0 w 49"/>
                <a:gd name="T27" fmla="*/ 2147483647 h 31"/>
                <a:gd name="T28" fmla="*/ 0 w 49"/>
                <a:gd name="T29" fmla="*/ 2147483647 h 31"/>
                <a:gd name="T30" fmla="*/ 2147483647 w 49"/>
                <a:gd name="T31" fmla="*/ 2147483647 h 31"/>
                <a:gd name="T32" fmla="*/ 2147483647 w 49"/>
                <a:gd name="T33" fmla="*/ 2147483647 h 31"/>
                <a:gd name="T34" fmla="*/ 2147483647 w 49"/>
                <a:gd name="T35" fmla="*/ 2147483647 h 31"/>
                <a:gd name="T36" fmla="*/ 2147483647 w 49"/>
                <a:gd name="T37" fmla="*/ 2147483647 h 31"/>
                <a:gd name="T38" fmla="*/ 2147483647 w 49"/>
                <a:gd name="T39" fmla="*/ 2147483647 h 31"/>
                <a:gd name="T40" fmla="*/ 2147483647 w 49"/>
                <a:gd name="T41" fmla="*/ 2147483647 h 31"/>
                <a:gd name="T42" fmla="*/ 2147483647 w 49"/>
                <a:gd name="T43" fmla="*/ 2147483647 h 31"/>
                <a:gd name="T44" fmla="*/ 2147483647 w 49"/>
                <a:gd name="T45" fmla="*/ 2147483647 h 31"/>
                <a:gd name="T46" fmla="*/ 2147483647 w 49"/>
                <a:gd name="T47" fmla="*/ 2147483647 h 31"/>
                <a:gd name="T48" fmla="*/ 2147483647 w 49"/>
                <a:gd name="T49" fmla="*/ 2147483647 h 31"/>
                <a:gd name="T50" fmla="*/ 2147483647 w 49"/>
                <a:gd name="T51" fmla="*/ 2147483647 h 31"/>
                <a:gd name="T52" fmla="*/ 2147483647 w 49"/>
                <a:gd name="T53" fmla="*/ 2147483647 h 31"/>
                <a:gd name="T54" fmla="*/ 2147483647 w 49"/>
                <a:gd name="T55" fmla="*/ 2147483647 h 31"/>
                <a:gd name="T56" fmla="*/ 2147483647 w 49"/>
                <a:gd name="T57" fmla="*/ 2147483647 h 31"/>
                <a:gd name="T58" fmla="*/ 2147483647 w 49"/>
                <a:gd name="T59" fmla="*/ 2147483647 h 31"/>
                <a:gd name="T60" fmla="*/ 2147483647 w 49"/>
                <a:gd name="T61" fmla="*/ 2147483647 h 31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49"/>
                <a:gd name="T94" fmla="*/ 0 h 31"/>
                <a:gd name="T95" fmla="*/ 49 w 49"/>
                <a:gd name="T96" fmla="*/ 31 h 31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49" h="31">
                  <a:moveTo>
                    <a:pt x="43" y="14"/>
                  </a:moveTo>
                  <a:lnTo>
                    <a:pt x="43" y="14"/>
                  </a:lnTo>
                  <a:lnTo>
                    <a:pt x="46" y="14"/>
                  </a:lnTo>
                  <a:lnTo>
                    <a:pt x="49" y="11"/>
                  </a:lnTo>
                  <a:lnTo>
                    <a:pt x="41" y="3"/>
                  </a:lnTo>
                  <a:lnTo>
                    <a:pt x="43" y="5"/>
                  </a:lnTo>
                  <a:lnTo>
                    <a:pt x="49" y="5"/>
                  </a:lnTo>
                  <a:lnTo>
                    <a:pt x="49" y="0"/>
                  </a:lnTo>
                  <a:lnTo>
                    <a:pt x="23" y="0"/>
                  </a:lnTo>
                  <a:lnTo>
                    <a:pt x="18" y="5"/>
                  </a:lnTo>
                  <a:lnTo>
                    <a:pt x="3" y="5"/>
                  </a:lnTo>
                  <a:lnTo>
                    <a:pt x="0" y="8"/>
                  </a:lnTo>
                  <a:lnTo>
                    <a:pt x="9" y="14"/>
                  </a:lnTo>
                  <a:lnTo>
                    <a:pt x="15" y="14"/>
                  </a:lnTo>
                  <a:lnTo>
                    <a:pt x="20" y="14"/>
                  </a:lnTo>
                  <a:lnTo>
                    <a:pt x="18" y="17"/>
                  </a:lnTo>
                  <a:lnTo>
                    <a:pt x="18" y="23"/>
                  </a:lnTo>
                  <a:lnTo>
                    <a:pt x="20" y="31"/>
                  </a:lnTo>
                  <a:lnTo>
                    <a:pt x="26" y="31"/>
                  </a:lnTo>
                  <a:lnTo>
                    <a:pt x="26" y="23"/>
                  </a:lnTo>
                  <a:lnTo>
                    <a:pt x="35" y="20"/>
                  </a:lnTo>
                  <a:lnTo>
                    <a:pt x="43" y="1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32" name="Freeform 534"/>
            <p:cNvSpPr>
              <a:spLocks/>
            </p:cNvSpPr>
            <p:nvPr/>
          </p:nvSpPr>
          <p:spPr bwMode="auto">
            <a:xfrm>
              <a:off x="6621463" y="3141663"/>
              <a:ext cx="363537" cy="574675"/>
            </a:xfrm>
            <a:custGeom>
              <a:avLst/>
              <a:gdLst>
                <a:gd name="T0" fmla="*/ 2147483647 w 227"/>
                <a:gd name="T1" fmla="*/ 2147483647 h 359"/>
                <a:gd name="T2" fmla="*/ 2147483647 w 227"/>
                <a:gd name="T3" fmla="*/ 2147483647 h 359"/>
                <a:gd name="T4" fmla="*/ 2147483647 w 227"/>
                <a:gd name="T5" fmla="*/ 2147483647 h 359"/>
                <a:gd name="T6" fmla="*/ 2147483647 w 227"/>
                <a:gd name="T7" fmla="*/ 2147483647 h 359"/>
                <a:gd name="T8" fmla="*/ 2147483647 w 227"/>
                <a:gd name="T9" fmla="*/ 2147483647 h 359"/>
                <a:gd name="T10" fmla="*/ 2147483647 w 227"/>
                <a:gd name="T11" fmla="*/ 2147483647 h 359"/>
                <a:gd name="T12" fmla="*/ 2147483647 w 227"/>
                <a:gd name="T13" fmla="*/ 2147483647 h 359"/>
                <a:gd name="T14" fmla="*/ 2147483647 w 227"/>
                <a:gd name="T15" fmla="*/ 2147483647 h 359"/>
                <a:gd name="T16" fmla="*/ 2147483647 w 227"/>
                <a:gd name="T17" fmla="*/ 2147483647 h 359"/>
                <a:gd name="T18" fmla="*/ 2147483647 w 227"/>
                <a:gd name="T19" fmla="*/ 2147483647 h 359"/>
                <a:gd name="T20" fmla="*/ 2147483647 w 227"/>
                <a:gd name="T21" fmla="*/ 2147483647 h 359"/>
                <a:gd name="T22" fmla="*/ 2147483647 w 227"/>
                <a:gd name="T23" fmla="*/ 2147483647 h 359"/>
                <a:gd name="T24" fmla="*/ 2147483647 w 227"/>
                <a:gd name="T25" fmla="*/ 2147483647 h 359"/>
                <a:gd name="T26" fmla="*/ 2147483647 w 227"/>
                <a:gd name="T27" fmla="*/ 2147483647 h 359"/>
                <a:gd name="T28" fmla="*/ 2147483647 w 227"/>
                <a:gd name="T29" fmla="*/ 2147483647 h 359"/>
                <a:gd name="T30" fmla="*/ 2147483647 w 227"/>
                <a:gd name="T31" fmla="*/ 2147483647 h 359"/>
                <a:gd name="T32" fmla="*/ 2147483647 w 227"/>
                <a:gd name="T33" fmla="*/ 2147483647 h 359"/>
                <a:gd name="T34" fmla="*/ 2147483647 w 227"/>
                <a:gd name="T35" fmla="*/ 2147483647 h 359"/>
                <a:gd name="T36" fmla="*/ 2147483647 w 227"/>
                <a:gd name="T37" fmla="*/ 2147483647 h 359"/>
                <a:gd name="T38" fmla="*/ 2147483647 w 227"/>
                <a:gd name="T39" fmla="*/ 2147483647 h 359"/>
                <a:gd name="T40" fmla="*/ 2147483647 w 227"/>
                <a:gd name="T41" fmla="*/ 2147483647 h 359"/>
                <a:gd name="T42" fmla="*/ 2147483647 w 227"/>
                <a:gd name="T43" fmla="*/ 2147483647 h 359"/>
                <a:gd name="T44" fmla="*/ 2147483647 w 227"/>
                <a:gd name="T45" fmla="*/ 2147483647 h 359"/>
                <a:gd name="T46" fmla="*/ 2147483647 w 227"/>
                <a:gd name="T47" fmla="*/ 2147483647 h 359"/>
                <a:gd name="T48" fmla="*/ 2147483647 w 227"/>
                <a:gd name="T49" fmla="*/ 2147483647 h 359"/>
                <a:gd name="T50" fmla="*/ 2147483647 w 227"/>
                <a:gd name="T51" fmla="*/ 2147483647 h 359"/>
                <a:gd name="T52" fmla="*/ 2147483647 w 227"/>
                <a:gd name="T53" fmla="*/ 2147483647 h 359"/>
                <a:gd name="T54" fmla="*/ 2147483647 w 227"/>
                <a:gd name="T55" fmla="*/ 2147483647 h 359"/>
                <a:gd name="T56" fmla="*/ 2147483647 w 227"/>
                <a:gd name="T57" fmla="*/ 2147483647 h 359"/>
                <a:gd name="T58" fmla="*/ 2147483647 w 227"/>
                <a:gd name="T59" fmla="*/ 2147483647 h 359"/>
                <a:gd name="T60" fmla="*/ 2147483647 w 227"/>
                <a:gd name="T61" fmla="*/ 2147483647 h 359"/>
                <a:gd name="T62" fmla="*/ 2147483647 w 227"/>
                <a:gd name="T63" fmla="*/ 2147483647 h 359"/>
                <a:gd name="T64" fmla="*/ 2147483647 w 227"/>
                <a:gd name="T65" fmla="*/ 2147483647 h 359"/>
                <a:gd name="T66" fmla="*/ 2147483647 w 227"/>
                <a:gd name="T67" fmla="*/ 2147483647 h 359"/>
                <a:gd name="T68" fmla="*/ 2147483647 w 227"/>
                <a:gd name="T69" fmla="*/ 2147483647 h 359"/>
                <a:gd name="T70" fmla="*/ 2147483647 w 227"/>
                <a:gd name="T71" fmla="*/ 2147483647 h 359"/>
                <a:gd name="T72" fmla="*/ 2147483647 w 227"/>
                <a:gd name="T73" fmla="*/ 2147483647 h 359"/>
                <a:gd name="T74" fmla="*/ 2147483647 w 227"/>
                <a:gd name="T75" fmla="*/ 2147483647 h 359"/>
                <a:gd name="T76" fmla="*/ 2147483647 w 227"/>
                <a:gd name="T77" fmla="*/ 2147483647 h 359"/>
                <a:gd name="T78" fmla="*/ 0 w 227"/>
                <a:gd name="T79" fmla="*/ 2147483647 h 359"/>
                <a:gd name="T80" fmla="*/ 2147483647 w 227"/>
                <a:gd name="T81" fmla="*/ 2147483647 h 359"/>
                <a:gd name="T82" fmla="*/ 2147483647 w 227"/>
                <a:gd name="T83" fmla="*/ 2147483647 h 359"/>
                <a:gd name="T84" fmla="*/ 2147483647 w 227"/>
                <a:gd name="T85" fmla="*/ 2147483647 h 359"/>
                <a:gd name="T86" fmla="*/ 2147483647 w 227"/>
                <a:gd name="T87" fmla="*/ 2147483647 h 359"/>
                <a:gd name="T88" fmla="*/ 2147483647 w 227"/>
                <a:gd name="T89" fmla="*/ 2147483647 h 359"/>
                <a:gd name="T90" fmla="*/ 2147483647 w 227"/>
                <a:gd name="T91" fmla="*/ 2147483647 h 359"/>
                <a:gd name="T92" fmla="*/ 2147483647 w 227"/>
                <a:gd name="T93" fmla="*/ 2147483647 h 359"/>
                <a:gd name="T94" fmla="*/ 2147483647 w 227"/>
                <a:gd name="T95" fmla="*/ 2147483647 h 359"/>
                <a:gd name="T96" fmla="*/ 2147483647 w 227"/>
                <a:gd name="T97" fmla="*/ 2147483647 h 359"/>
                <a:gd name="T98" fmla="*/ 2147483647 w 227"/>
                <a:gd name="T99" fmla="*/ 2147483647 h 359"/>
                <a:gd name="T100" fmla="*/ 2147483647 w 227"/>
                <a:gd name="T101" fmla="*/ 2147483647 h 359"/>
                <a:gd name="T102" fmla="*/ 2147483647 w 227"/>
                <a:gd name="T103" fmla="*/ 2147483647 h 359"/>
                <a:gd name="T104" fmla="*/ 2147483647 w 227"/>
                <a:gd name="T105" fmla="*/ 2147483647 h 359"/>
                <a:gd name="T106" fmla="*/ 2147483647 w 227"/>
                <a:gd name="T107" fmla="*/ 2147483647 h 359"/>
                <a:gd name="T108" fmla="*/ 2147483647 w 227"/>
                <a:gd name="T109" fmla="*/ 2147483647 h 35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27"/>
                <a:gd name="T166" fmla="*/ 0 h 359"/>
                <a:gd name="T167" fmla="*/ 227 w 227"/>
                <a:gd name="T168" fmla="*/ 359 h 359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27" h="359">
                  <a:moveTo>
                    <a:pt x="166" y="232"/>
                  </a:moveTo>
                  <a:lnTo>
                    <a:pt x="166" y="232"/>
                  </a:lnTo>
                  <a:lnTo>
                    <a:pt x="166" y="224"/>
                  </a:lnTo>
                  <a:lnTo>
                    <a:pt x="166" y="212"/>
                  </a:lnTo>
                  <a:lnTo>
                    <a:pt x="169" y="212"/>
                  </a:lnTo>
                  <a:lnTo>
                    <a:pt x="169" y="218"/>
                  </a:lnTo>
                  <a:lnTo>
                    <a:pt x="172" y="224"/>
                  </a:lnTo>
                  <a:lnTo>
                    <a:pt x="175" y="226"/>
                  </a:lnTo>
                  <a:lnTo>
                    <a:pt x="178" y="232"/>
                  </a:lnTo>
                  <a:lnTo>
                    <a:pt x="181" y="235"/>
                  </a:lnTo>
                  <a:lnTo>
                    <a:pt x="181" y="238"/>
                  </a:lnTo>
                  <a:lnTo>
                    <a:pt x="184" y="232"/>
                  </a:lnTo>
                  <a:lnTo>
                    <a:pt x="184" y="238"/>
                  </a:lnTo>
                  <a:lnTo>
                    <a:pt x="184" y="244"/>
                  </a:lnTo>
                  <a:lnTo>
                    <a:pt x="186" y="249"/>
                  </a:lnTo>
                  <a:lnTo>
                    <a:pt x="184" y="252"/>
                  </a:lnTo>
                  <a:lnTo>
                    <a:pt x="186" y="261"/>
                  </a:lnTo>
                  <a:lnTo>
                    <a:pt x="192" y="275"/>
                  </a:lnTo>
                  <a:lnTo>
                    <a:pt x="195" y="287"/>
                  </a:lnTo>
                  <a:lnTo>
                    <a:pt x="201" y="287"/>
                  </a:lnTo>
                  <a:lnTo>
                    <a:pt x="204" y="295"/>
                  </a:lnTo>
                  <a:lnTo>
                    <a:pt x="204" y="304"/>
                  </a:lnTo>
                  <a:lnTo>
                    <a:pt x="207" y="315"/>
                  </a:lnTo>
                  <a:lnTo>
                    <a:pt x="209" y="327"/>
                  </a:lnTo>
                  <a:lnTo>
                    <a:pt x="209" y="338"/>
                  </a:lnTo>
                  <a:lnTo>
                    <a:pt x="207" y="341"/>
                  </a:lnTo>
                  <a:lnTo>
                    <a:pt x="204" y="344"/>
                  </a:lnTo>
                  <a:lnTo>
                    <a:pt x="204" y="347"/>
                  </a:lnTo>
                  <a:lnTo>
                    <a:pt x="207" y="359"/>
                  </a:lnTo>
                  <a:lnTo>
                    <a:pt x="209" y="356"/>
                  </a:lnTo>
                  <a:lnTo>
                    <a:pt x="209" y="344"/>
                  </a:lnTo>
                  <a:lnTo>
                    <a:pt x="218" y="336"/>
                  </a:lnTo>
                  <a:lnTo>
                    <a:pt x="221" y="330"/>
                  </a:lnTo>
                  <a:lnTo>
                    <a:pt x="224" y="324"/>
                  </a:lnTo>
                  <a:lnTo>
                    <a:pt x="224" y="321"/>
                  </a:lnTo>
                  <a:lnTo>
                    <a:pt x="221" y="318"/>
                  </a:lnTo>
                  <a:lnTo>
                    <a:pt x="218" y="313"/>
                  </a:lnTo>
                  <a:lnTo>
                    <a:pt x="212" y="307"/>
                  </a:lnTo>
                  <a:lnTo>
                    <a:pt x="212" y="298"/>
                  </a:lnTo>
                  <a:lnTo>
                    <a:pt x="212" y="295"/>
                  </a:lnTo>
                  <a:lnTo>
                    <a:pt x="212" y="290"/>
                  </a:lnTo>
                  <a:lnTo>
                    <a:pt x="209" y="284"/>
                  </a:lnTo>
                  <a:lnTo>
                    <a:pt x="204" y="281"/>
                  </a:lnTo>
                  <a:lnTo>
                    <a:pt x="198" y="272"/>
                  </a:lnTo>
                  <a:lnTo>
                    <a:pt x="192" y="261"/>
                  </a:lnTo>
                  <a:lnTo>
                    <a:pt x="192" y="258"/>
                  </a:lnTo>
                  <a:lnTo>
                    <a:pt x="198" y="252"/>
                  </a:lnTo>
                  <a:lnTo>
                    <a:pt x="195" y="241"/>
                  </a:lnTo>
                  <a:lnTo>
                    <a:pt x="198" y="238"/>
                  </a:lnTo>
                  <a:lnTo>
                    <a:pt x="201" y="238"/>
                  </a:lnTo>
                  <a:lnTo>
                    <a:pt x="201" y="235"/>
                  </a:lnTo>
                  <a:lnTo>
                    <a:pt x="195" y="238"/>
                  </a:lnTo>
                  <a:lnTo>
                    <a:pt x="195" y="235"/>
                  </a:lnTo>
                  <a:lnTo>
                    <a:pt x="195" y="229"/>
                  </a:lnTo>
                  <a:lnTo>
                    <a:pt x="189" y="221"/>
                  </a:lnTo>
                  <a:lnTo>
                    <a:pt x="178" y="212"/>
                  </a:lnTo>
                  <a:lnTo>
                    <a:pt x="175" y="203"/>
                  </a:lnTo>
                  <a:lnTo>
                    <a:pt x="166" y="192"/>
                  </a:lnTo>
                  <a:lnTo>
                    <a:pt x="178" y="192"/>
                  </a:lnTo>
                  <a:lnTo>
                    <a:pt x="175" y="186"/>
                  </a:lnTo>
                  <a:lnTo>
                    <a:pt x="175" y="183"/>
                  </a:lnTo>
                  <a:lnTo>
                    <a:pt x="178" y="175"/>
                  </a:lnTo>
                  <a:lnTo>
                    <a:pt x="178" y="172"/>
                  </a:lnTo>
                  <a:lnTo>
                    <a:pt x="181" y="169"/>
                  </a:lnTo>
                  <a:lnTo>
                    <a:pt x="195" y="169"/>
                  </a:lnTo>
                  <a:lnTo>
                    <a:pt x="195" y="163"/>
                  </a:lnTo>
                  <a:lnTo>
                    <a:pt x="198" y="163"/>
                  </a:lnTo>
                  <a:lnTo>
                    <a:pt x="201" y="163"/>
                  </a:lnTo>
                  <a:lnTo>
                    <a:pt x="204" y="160"/>
                  </a:lnTo>
                  <a:lnTo>
                    <a:pt x="212" y="158"/>
                  </a:lnTo>
                  <a:lnTo>
                    <a:pt x="212" y="155"/>
                  </a:lnTo>
                  <a:lnTo>
                    <a:pt x="215" y="152"/>
                  </a:lnTo>
                  <a:lnTo>
                    <a:pt x="218" y="149"/>
                  </a:lnTo>
                  <a:lnTo>
                    <a:pt x="221" y="143"/>
                  </a:lnTo>
                  <a:lnTo>
                    <a:pt x="227" y="137"/>
                  </a:lnTo>
                  <a:lnTo>
                    <a:pt x="224" y="132"/>
                  </a:lnTo>
                  <a:lnTo>
                    <a:pt x="221" y="135"/>
                  </a:lnTo>
                  <a:lnTo>
                    <a:pt x="212" y="137"/>
                  </a:lnTo>
                  <a:lnTo>
                    <a:pt x="207" y="129"/>
                  </a:lnTo>
                  <a:lnTo>
                    <a:pt x="192" y="126"/>
                  </a:lnTo>
                  <a:lnTo>
                    <a:pt x="192" y="123"/>
                  </a:lnTo>
                  <a:lnTo>
                    <a:pt x="192" y="114"/>
                  </a:lnTo>
                  <a:lnTo>
                    <a:pt x="192" y="112"/>
                  </a:lnTo>
                  <a:lnTo>
                    <a:pt x="195" y="106"/>
                  </a:lnTo>
                  <a:lnTo>
                    <a:pt x="186" y="103"/>
                  </a:lnTo>
                  <a:lnTo>
                    <a:pt x="181" y="92"/>
                  </a:lnTo>
                  <a:lnTo>
                    <a:pt x="181" y="86"/>
                  </a:lnTo>
                  <a:lnTo>
                    <a:pt x="172" y="89"/>
                  </a:lnTo>
                  <a:lnTo>
                    <a:pt x="161" y="92"/>
                  </a:lnTo>
                  <a:lnTo>
                    <a:pt x="161" y="89"/>
                  </a:lnTo>
                  <a:lnTo>
                    <a:pt x="161" y="86"/>
                  </a:lnTo>
                  <a:lnTo>
                    <a:pt x="158" y="74"/>
                  </a:lnTo>
                  <a:lnTo>
                    <a:pt x="158" y="71"/>
                  </a:lnTo>
                  <a:lnTo>
                    <a:pt x="161" y="63"/>
                  </a:lnTo>
                  <a:lnTo>
                    <a:pt x="164" y="57"/>
                  </a:lnTo>
                  <a:lnTo>
                    <a:pt x="169" y="51"/>
                  </a:lnTo>
                  <a:lnTo>
                    <a:pt x="172" y="40"/>
                  </a:lnTo>
                  <a:lnTo>
                    <a:pt x="169" y="34"/>
                  </a:lnTo>
                  <a:lnTo>
                    <a:pt x="166" y="20"/>
                  </a:lnTo>
                  <a:lnTo>
                    <a:pt x="164" y="20"/>
                  </a:lnTo>
                  <a:lnTo>
                    <a:pt x="155" y="8"/>
                  </a:lnTo>
                  <a:lnTo>
                    <a:pt x="149" y="3"/>
                  </a:lnTo>
                  <a:lnTo>
                    <a:pt x="146" y="0"/>
                  </a:lnTo>
                  <a:lnTo>
                    <a:pt x="143" y="5"/>
                  </a:lnTo>
                  <a:lnTo>
                    <a:pt x="138" y="17"/>
                  </a:lnTo>
                  <a:lnTo>
                    <a:pt x="143" y="23"/>
                  </a:lnTo>
                  <a:lnTo>
                    <a:pt x="143" y="34"/>
                  </a:lnTo>
                  <a:lnTo>
                    <a:pt x="132" y="25"/>
                  </a:lnTo>
                  <a:lnTo>
                    <a:pt x="126" y="25"/>
                  </a:lnTo>
                  <a:lnTo>
                    <a:pt x="120" y="31"/>
                  </a:lnTo>
                  <a:lnTo>
                    <a:pt x="118" y="34"/>
                  </a:lnTo>
                  <a:lnTo>
                    <a:pt x="115" y="34"/>
                  </a:lnTo>
                  <a:lnTo>
                    <a:pt x="112" y="37"/>
                  </a:lnTo>
                  <a:lnTo>
                    <a:pt x="112" y="40"/>
                  </a:lnTo>
                  <a:lnTo>
                    <a:pt x="115" y="46"/>
                  </a:lnTo>
                  <a:lnTo>
                    <a:pt x="115" y="48"/>
                  </a:lnTo>
                  <a:lnTo>
                    <a:pt x="112" y="57"/>
                  </a:lnTo>
                  <a:lnTo>
                    <a:pt x="109" y="66"/>
                  </a:lnTo>
                  <a:lnTo>
                    <a:pt x="112" y="69"/>
                  </a:lnTo>
                  <a:lnTo>
                    <a:pt x="112" y="71"/>
                  </a:lnTo>
                  <a:lnTo>
                    <a:pt x="106" y="83"/>
                  </a:lnTo>
                  <a:lnTo>
                    <a:pt x="103" y="92"/>
                  </a:lnTo>
                  <a:lnTo>
                    <a:pt x="103" y="94"/>
                  </a:lnTo>
                  <a:lnTo>
                    <a:pt x="92" y="89"/>
                  </a:lnTo>
                  <a:lnTo>
                    <a:pt x="95" y="97"/>
                  </a:lnTo>
                  <a:lnTo>
                    <a:pt x="95" y="100"/>
                  </a:lnTo>
                  <a:lnTo>
                    <a:pt x="92" y="109"/>
                  </a:lnTo>
                  <a:lnTo>
                    <a:pt x="92" y="117"/>
                  </a:lnTo>
                  <a:lnTo>
                    <a:pt x="95" y="123"/>
                  </a:lnTo>
                  <a:lnTo>
                    <a:pt x="92" y="126"/>
                  </a:lnTo>
                  <a:lnTo>
                    <a:pt x="89" y="129"/>
                  </a:lnTo>
                  <a:lnTo>
                    <a:pt x="86" y="129"/>
                  </a:lnTo>
                  <a:lnTo>
                    <a:pt x="83" y="126"/>
                  </a:lnTo>
                  <a:lnTo>
                    <a:pt x="72" y="97"/>
                  </a:lnTo>
                  <a:lnTo>
                    <a:pt x="69" y="97"/>
                  </a:lnTo>
                  <a:lnTo>
                    <a:pt x="69" y="103"/>
                  </a:lnTo>
                  <a:lnTo>
                    <a:pt x="69" y="109"/>
                  </a:lnTo>
                  <a:lnTo>
                    <a:pt x="66" y="109"/>
                  </a:lnTo>
                  <a:lnTo>
                    <a:pt x="63" y="109"/>
                  </a:lnTo>
                  <a:lnTo>
                    <a:pt x="60" y="106"/>
                  </a:lnTo>
                  <a:lnTo>
                    <a:pt x="52" y="94"/>
                  </a:lnTo>
                  <a:lnTo>
                    <a:pt x="54" y="83"/>
                  </a:lnTo>
                  <a:lnTo>
                    <a:pt x="66" y="80"/>
                  </a:lnTo>
                  <a:lnTo>
                    <a:pt x="69" y="71"/>
                  </a:lnTo>
                  <a:lnTo>
                    <a:pt x="72" y="69"/>
                  </a:lnTo>
                  <a:lnTo>
                    <a:pt x="66" y="66"/>
                  </a:lnTo>
                  <a:lnTo>
                    <a:pt x="54" y="66"/>
                  </a:lnTo>
                  <a:lnTo>
                    <a:pt x="49" y="66"/>
                  </a:lnTo>
                  <a:lnTo>
                    <a:pt x="37" y="66"/>
                  </a:lnTo>
                  <a:lnTo>
                    <a:pt x="26" y="63"/>
                  </a:lnTo>
                  <a:lnTo>
                    <a:pt x="23" y="63"/>
                  </a:lnTo>
                  <a:lnTo>
                    <a:pt x="23" y="48"/>
                  </a:lnTo>
                  <a:lnTo>
                    <a:pt x="20" y="51"/>
                  </a:lnTo>
                  <a:lnTo>
                    <a:pt x="11" y="43"/>
                  </a:lnTo>
                  <a:lnTo>
                    <a:pt x="9" y="46"/>
                  </a:lnTo>
                  <a:lnTo>
                    <a:pt x="3" y="43"/>
                  </a:lnTo>
                  <a:lnTo>
                    <a:pt x="0" y="48"/>
                  </a:lnTo>
                  <a:lnTo>
                    <a:pt x="3" y="54"/>
                  </a:lnTo>
                  <a:lnTo>
                    <a:pt x="9" y="54"/>
                  </a:lnTo>
                  <a:lnTo>
                    <a:pt x="14" y="66"/>
                  </a:lnTo>
                  <a:lnTo>
                    <a:pt x="6" y="66"/>
                  </a:lnTo>
                  <a:lnTo>
                    <a:pt x="6" y="69"/>
                  </a:lnTo>
                  <a:lnTo>
                    <a:pt x="11" y="80"/>
                  </a:lnTo>
                  <a:lnTo>
                    <a:pt x="11" y="86"/>
                  </a:lnTo>
                  <a:lnTo>
                    <a:pt x="11" y="94"/>
                  </a:lnTo>
                  <a:lnTo>
                    <a:pt x="17" y="103"/>
                  </a:lnTo>
                  <a:lnTo>
                    <a:pt x="23" y="120"/>
                  </a:lnTo>
                  <a:lnTo>
                    <a:pt x="26" y="132"/>
                  </a:lnTo>
                  <a:lnTo>
                    <a:pt x="29" y="132"/>
                  </a:lnTo>
                  <a:lnTo>
                    <a:pt x="34" y="129"/>
                  </a:lnTo>
                  <a:lnTo>
                    <a:pt x="37" y="126"/>
                  </a:lnTo>
                  <a:lnTo>
                    <a:pt x="40" y="126"/>
                  </a:lnTo>
                  <a:lnTo>
                    <a:pt x="43" y="129"/>
                  </a:lnTo>
                  <a:lnTo>
                    <a:pt x="49" y="126"/>
                  </a:lnTo>
                  <a:lnTo>
                    <a:pt x="52" y="123"/>
                  </a:lnTo>
                  <a:lnTo>
                    <a:pt x="54" y="117"/>
                  </a:lnTo>
                  <a:lnTo>
                    <a:pt x="57" y="123"/>
                  </a:lnTo>
                  <a:lnTo>
                    <a:pt x="60" y="114"/>
                  </a:lnTo>
                  <a:lnTo>
                    <a:pt x="63" y="117"/>
                  </a:lnTo>
                  <a:lnTo>
                    <a:pt x="66" y="120"/>
                  </a:lnTo>
                  <a:lnTo>
                    <a:pt x="69" y="126"/>
                  </a:lnTo>
                  <a:lnTo>
                    <a:pt x="72" y="135"/>
                  </a:lnTo>
                  <a:lnTo>
                    <a:pt x="72" y="137"/>
                  </a:lnTo>
                  <a:lnTo>
                    <a:pt x="75" y="143"/>
                  </a:lnTo>
                  <a:lnTo>
                    <a:pt x="80" y="152"/>
                  </a:lnTo>
                  <a:lnTo>
                    <a:pt x="86" y="160"/>
                  </a:lnTo>
                  <a:lnTo>
                    <a:pt x="89" y="160"/>
                  </a:lnTo>
                  <a:lnTo>
                    <a:pt x="92" y="158"/>
                  </a:lnTo>
                  <a:lnTo>
                    <a:pt x="89" y="163"/>
                  </a:lnTo>
                  <a:lnTo>
                    <a:pt x="92" y="166"/>
                  </a:lnTo>
                  <a:lnTo>
                    <a:pt x="95" y="169"/>
                  </a:lnTo>
                  <a:lnTo>
                    <a:pt x="98" y="166"/>
                  </a:lnTo>
                  <a:lnTo>
                    <a:pt x="98" y="163"/>
                  </a:lnTo>
                  <a:lnTo>
                    <a:pt x="100" y="163"/>
                  </a:lnTo>
                  <a:lnTo>
                    <a:pt x="100" y="169"/>
                  </a:lnTo>
                  <a:lnTo>
                    <a:pt x="106" y="172"/>
                  </a:lnTo>
                  <a:lnTo>
                    <a:pt x="112" y="178"/>
                  </a:lnTo>
                  <a:lnTo>
                    <a:pt x="106" y="178"/>
                  </a:lnTo>
                  <a:lnTo>
                    <a:pt x="106" y="181"/>
                  </a:lnTo>
                  <a:lnTo>
                    <a:pt x="109" y="186"/>
                  </a:lnTo>
                  <a:lnTo>
                    <a:pt x="112" y="186"/>
                  </a:lnTo>
                  <a:lnTo>
                    <a:pt x="115" y="186"/>
                  </a:lnTo>
                  <a:lnTo>
                    <a:pt x="120" y="192"/>
                  </a:lnTo>
                  <a:lnTo>
                    <a:pt x="123" y="203"/>
                  </a:lnTo>
                  <a:lnTo>
                    <a:pt x="126" y="215"/>
                  </a:lnTo>
                  <a:lnTo>
                    <a:pt x="126" y="224"/>
                  </a:lnTo>
                  <a:lnTo>
                    <a:pt x="123" y="232"/>
                  </a:lnTo>
                  <a:lnTo>
                    <a:pt x="123" y="238"/>
                  </a:lnTo>
                  <a:lnTo>
                    <a:pt x="123" y="244"/>
                  </a:lnTo>
                  <a:lnTo>
                    <a:pt x="126" y="244"/>
                  </a:lnTo>
                  <a:lnTo>
                    <a:pt x="132" y="235"/>
                  </a:lnTo>
                  <a:lnTo>
                    <a:pt x="129" y="244"/>
                  </a:lnTo>
                  <a:lnTo>
                    <a:pt x="132" y="247"/>
                  </a:lnTo>
                  <a:lnTo>
                    <a:pt x="135" y="247"/>
                  </a:lnTo>
                  <a:lnTo>
                    <a:pt x="138" y="249"/>
                  </a:lnTo>
                  <a:lnTo>
                    <a:pt x="141" y="247"/>
                  </a:lnTo>
                  <a:lnTo>
                    <a:pt x="143" y="249"/>
                  </a:lnTo>
                  <a:lnTo>
                    <a:pt x="146" y="249"/>
                  </a:lnTo>
                  <a:lnTo>
                    <a:pt x="146" y="247"/>
                  </a:lnTo>
                  <a:lnTo>
                    <a:pt x="146" y="244"/>
                  </a:lnTo>
                  <a:lnTo>
                    <a:pt x="149" y="241"/>
                  </a:lnTo>
                  <a:lnTo>
                    <a:pt x="155" y="238"/>
                  </a:lnTo>
                  <a:lnTo>
                    <a:pt x="164" y="235"/>
                  </a:lnTo>
                  <a:lnTo>
                    <a:pt x="166" y="23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33" name="Freeform 535"/>
            <p:cNvSpPr>
              <a:spLocks/>
            </p:cNvSpPr>
            <p:nvPr/>
          </p:nvSpPr>
          <p:spPr bwMode="auto">
            <a:xfrm>
              <a:off x="5395913" y="2789238"/>
              <a:ext cx="544512" cy="457200"/>
            </a:xfrm>
            <a:custGeom>
              <a:avLst/>
              <a:gdLst>
                <a:gd name="T0" fmla="*/ 2147483647 w 339"/>
                <a:gd name="T1" fmla="*/ 2147483647 h 285"/>
                <a:gd name="T2" fmla="*/ 2147483647 w 339"/>
                <a:gd name="T3" fmla="*/ 2147483647 h 285"/>
                <a:gd name="T4" fmla="*/ 2147483647 w 339"/>
                <a:gd name="T5" fmla="*/ 2147483647 h 285"/>
                <a:gd name="T6" fmla="*/ 2147483647 w 339"/>
                <a:gd name="T7" fmla="*/ 2147483647 h 285"/>
                <a:gd name="T8" fmla="*/ 2147483647 w 339"/>
                <a:gd name="T9" fmla="*/ 2147483647 h 285"/>
                <a:gd name="T10" fmla="*/ 2147483647 w 339"/>
                <a:gd name="T11" fmla="*/ 2147483647 h 285"/>
                <a:gd name="T12" fmla="*/ 2147483647 w 339"/>
                <a:gd name="T13" fmla="*/ 2147483647 h 285"/>
                <a:gd name="T14" fmla="*/ 2147483647 w 339"/>
                <a:gd name="T15" fmla="*/ 2147483647 h 285"/>
                <a:gd name="T16" fmla="*/ 2147483647 w 339"/>
                <a:gd name="T17" fmla="*/ 2147483647 h 285"/>
                <a:gd name="T18" fmla="*/ 2147483647 w 339"/>
                <a:gd name="T19" fmla="*/ 2147483647 h 285"/>
                <a:gd name="T20" fmla="*/ 2147483647 w 339"/>
                <a:gd name="T21" fmla="*/ 2147483647 h 285"/>
                <a:gd name="T22" fmla="*/ 2147483647 w 339"/>
                <a:gd name="T23" fmla="*/ 2147483647 h 285"/>
                <a:gd name="T24" fmla="*/ 2147483647 w 339"/>
                <a:gd name="T25" fmla="*/ 2147483647 h 285"/>
                <a:gd name="T26" fmla="*/ 2147483647 w 339"/>
                <a:gd name="T27" fmla="*/ 2147483647 h 285"/>
                <a:gd name="T28" fmla="*/ 2147483647 w 339"/>
                <a:gd name="T29" fmla="*/ 2147483647 h 285"/>
                <a:gd name="T30" fmla="*/ 2147483647 w 339"/>
                <a:gd name="T31" fmla="*/ 2147483647 h 285"/>
                <a:gd name="T32" fmla="*/ 2147483647 w 339"/>
                <a:gd name="T33" fmla="*/ 2147483647 h 285"/>
                <a:gd name="T34" fmla="*/ 2147483647 w 339"/>
                <a:gd name="T35" fmla="*/ 2147483647 h 285"/>
                <a:gd name="T36" fmla="*/ 2147483647 w 339"/>
                <a:gd name="T37" fmla="*/ 2147483647 h 285"/>
                <a:gd name="T38" fmla="*/ 2147483647 w 339"/>
                <a:gd name="T39" fmla="*/ 2147483647 h 285"/>
                <a:gd name="T40" fmla="*/ 2147483647 w 339"/>
                <a:gd name="T41" fmla="*/ 2147483647 h 285"/>
                <a:gd name="T42" fmla="*/ 2147483647 w 339"/>
                <a:gd name="T43" fmla="*/ 2147483647 h 285"/>
                <a:gd name="T44" fmla="*/ 2147483647 w 339"/>
                <a:gd name="T45" fmla="*/ 2147483647 h 285"/>
                <a:gd name="T46" fmla="*/ 2147483647 w 339"/>
                <a:gd name="T47" fmla="*/ 2147483647 h 285"/>
                <a:gd name="T48" fmla="*/ 2147483647 w 339"/>
                <a:gd name="T49" fmla="*/ 0 h 285"/>
                <a:gd name="T50" fmla="*/ 2147483647 w 339"/>
                <a:gd name="T51" fmla="*/ 2147483647 h 285"/>
                <a:gd name="T52" fmla="*/ 2147483647 w 339"/>
                <a:gd name="T53" fmla="*/ 2147483647 h 285"/>
                <a:gd name="T54" fmla="*/ 2147483647 w 339"/>
                <a:gd name="T55" fmla="*/ 2147483647 h 285"/>
                <a:gd name="T56" fmla="*/ 2147483647 w 339"/>
                <a:gd name="T57" fmla="*/ 2147483647 h 285"/>
                <a:gd name="T58" fmla="*/ 2147483647 w 339"/>
                <a:gd name="T59" fmla="*/ 2147483647 h 285"/>
                <a:gd name="T60" fmla="*/ 2147483647 w 339"/>
                <a:gd name="T61" fmla="*/ 2147483647 h 285"/>
                <a:gd name="T62" fmla="*/ 2147483647 w 339"/>
                <a:gd name="T63" fmla="*/ 2147483647 h 285"/>
                <a:gd name="T64" fmla="*/ 2147483647 w 339"/>
                <a:gd name="T65" fmla="*/ 2147483647 h 285"/>
                <a:gd name="T66" fmla="*/ 2147483647 w 339"/>
                <a:gd name="T67" fmla="*/ 2147483647 h 285"/>
                <a:gd name="T68" fmla="*/ 2147483647 w 339"/>
                <a:gd name="T69" fmla="*/ 2147483647 h 285"/>
                <a:gd name="T70" fmla="*/ 2147483647 w 339"/>
                <a:gd name="T71" fmla="*/ 2147483647 h 285"/>
                <a:gd name="T72" fmla="*/ 2147483647 w 339"/>
                <a:gd name="T73" fmla="*/ 2147483647 h 285"/>
                <a:gd name="T74" fmla="*/ 2147483647 w 339"/>
                <a:gd name="T75" fmla="*/ 2147483647 h 285"/>
                <a:gd name="T76" fmla="*/ 2147483647 w 339"/>
                <a:gd name="T77" fmla="*/ 2147483647 h 285"/>
                <a:gd name="T78" fmla="*/ 2147483647 w 339"/>
                <a:gd name="T79" fmla="*/ 2147483647 h 285"/>
                <a:gd name="T80" fmla="*/ 2147483647 w 339"/>
                <a:gd name="T81" fmla="*/ 2147483647 h 285"/>
                <a:gd name="T82" fmla="*/ 2147483647 w 339"/>
                <a:gd name="T83" fmla="*/ 2147483647 h 285"/>
                <a:gd name="T84" fmla="*/ 2147483647 w 339"/>
                <a:gd name="T85" fmla="*/ 2147483647 h 285"/>
                <a:gd name="T86" fmla="*/ 2147483647 w 339"/>
                <a:gd name="T87" fmla="*/ 2147483647 h 285"/>
                <a:gd name="T88" fmla="*/ 2147483647 w 339"/>
                <a:gd name="T89" fmla="*/ 2147483647 h 285"/>
                <a:gd name="T90" fmla="*/ 2147483647 w 339"/>
                <a:gd name="T91" fmla="*/ 2147483647 h 285"/>
                <a:gd name="T92" fmla="*/ 2147483647 w 339"/>
                <a:gd name="T93" fmla="*/ 2147483647 h 285"/>
                <a:gd name="T94" fmla="*/ 2147483647 w 339"/>
                <a:gd name="T95" fmla="*/ 2147483647 h 285"/>
                <a:gd name="T96" fmla="*/ 2147483647 w 339"/>
                <a:gd name="T97" fmla="*/ 2147483647 h 285"/>
                <a:gd name="T98" fmla="*/ 2147483647 w 339"/>
                <a:gd name="T99" fmla="*/ 2147483647 h 285"/>
                <a:gd name="T100" fmla="*/ 2147483647 w 339"/>
                <a:gd name="T101" fmla="*/ 2147483647 h 285"/>
                <a:gd name="T102" fmla="*/ 2147483647 w 339"/>
                <a:gd name="T103" fmla="*/ 2147483647 h 285"/>
                <a:gd name="T104" fmla="*/ 2147483647 w 339"/>
                <a:gd name="T105" fmla="*/ 2147483647 h 285"/>
                <a:gd name="T106" fmla="*/ 2147483647 w 339"/>
                <a:gd name="T107" fmla="*/ 2147483647 h 285"/>
                <a:gd name="T108" fmla="*/ 2147483647 w 339"/>
                <a:gd name="T109" fmla="*/ 2147483647 h 285"/>
                <a:gd name="T110" fmla="*/ 2147483647 w 339"/>
                <a:gd name="T111" fmla="*/ 2147483647 h 28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339"/>
                <a:gd name="T169" fmla="*/ 0 h 285"/>
                <a:gd name="T170" fmla="*/ 339 w 339"/>
                <a:gd name="T171" fmla="*/ 285 h 285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339" h="285">
                  <a:moveTo>
                    <a:pt x="330" y="259"/>
                  </a:moveTo>
                  <a:lnTo>
                    <a:pt x="336" y="253"/>
                  </a:lnTo>
                  <a:lnTo>
                    <a:pt x="339" y="253"/>
                  </a:lnTo>
                  <a:lnTo>
                    <a:pt x="339" y="244"/>
                  </a:lnTo>
                  <a:lnTo>
                    <a:pt x="333" y="239"/>
                  </a:lnTo>
                  <a:lnTo>
                    <a:pt x="330" y="227"/>
                  </a:lnTo>
                  <a:lnTo>
                    <a:pt x="330" y="224"/>
                  </a:lnTo>
                  <a:lnTo>
                    <a:pt x="316" y="219"/>
                  </a:lnTo>
                  <a:lnTo>
                    <a:pt x="299" y="196"/>
                  </a:lnTo>
                  <a:lnTo>
                    <a:pt x="293" y="193"/>
                  </a:lnTo>
                  <a:lnTo>
                    <a:pt x="296" y="193"/>
                  </a:lnTo>
                  <a:lnTo>
                    <a:pt x="307" y="176"/>
                  </a:lnTo>
                  <a:lnTo>
                    <a:pt x="305" y="164"/>
                  </a:lnTo>
                  <a:lnTo>
                    <a:pt x="293" y="161"/>
                  </a:lnTo>
                  <a:lnTo>
                    <a:pt x="290" y="155"/>
                  </a:lnTo>
                  <a:lnTo>
                    <a:pt x="287" y="147"/>
                  </a:lnTo>
                  <a:lnTo>
                    <a:pt x="282" y="133"/>
                  </a:lnTo>
                  <a:lnTo>
                    <a:pt x="285" y="124"/>
                  </a:lnTo>
                  <a:lnTo>
                    <a:pt x="282" y="121"/>
                  </a:lnTo>
                  <a:lnTo>
                    <a:pt x="279" y="115"/>
                  </a:lnTo>
                  <a:lnTo>
                    <a:pt x="276" y="107"/>
                  </a:lnTo>
                  <a:lnTo>
                    <a:pt x="282" y="104"/>
                  </a:lnTo>
                  <a:lnTo>
                    <a:pt x="279" y="101"/>
                  </a:lnTo>
                  <a:lnTo>
                    <a:pt x="282" y="101"/>
                  </a:lnTo>
                  <a:lnTo>
                    <a:pt x="285" y="95"/>
                  </a:lnTo>
                  <a:lnTo>
                    <a:pt x="282" y="89"/>
                  </a:lnTo>
                  <a:lnTo>
                    <a:pt x="285" y="84"/>
                  </a:lnTo>
                  <a:lnTo>
                    <a:pt x="282" y="78"/>
                  </a:lnTo>
                  <a:lnTo>
                    <a:pt x="282" y="72"/>
                  </a:lnTo>
                  <a:lnTo>
                    <a:pt x="282" y="69"/>
                  </a:lnTo>
                  <a:lnTo>
                    <a:pt x="279" y="66"/>
                  </a:lnTo>
                  <a:lnTo>
                    <a:pt x="279" y="64"/>
                  </a:lnTo>
                  <a:lnTo>
                    <a:pt x="270" y="64"/>
                  </a:lnTo>
                  <a:lnTo>
                    <a:pt x="267" y="64"/>
                  </a:lnTo>
                  <a:lnTo>
                    <a:pt x="264" y="61"/>
                  </a:lnTo>
                  <a:lnTo>
                    <a:pt x="259" y="55"/>
                  </a:lnTo>
                  <a:lnTo>
                    <a:pt x="253" y="52"/>
                  </a:lnTo>
                  <a:lnTo>
                    <a:pt x="250" y="52"/>
                  </a:lnTo>
                  <a:lnTo>
                    <a:pt x="247" y="44"/>
                  </a:lnTo>
                  <a:lnTo>
                    <a:pt x="239" y="44"/>
                  </a:lnTo>
                  <a:lnTo>
                    <a:pt x="236" y="44"/>
                  </a:lnTo>
                  <a:lnTo>
                    <a:pt x="227" y="41"/>
                  </a:lnTo>
                  <a:lnTo>
                    <a:pt x="219" y="38"/>
                  </a:lnTo>
                  <a:lnTo>
                    <a:pt x="216" y="35"/>
                  </a:lnTo>
                  <a:lnTo>
                    <a:pt x="210" y="32"/>
                  </a:lnTo>
                  <a:lnTo>
                    <a:pt x="210" y="29"/>
                  </a:lnTo>
                  <a:lnTo>
                    <a:pt x="207" y="29"/>
                  </a:lnTo>
                  <a:lnTo>
                    <a:pt x="198" y="29"/>
                  </a:lnTo>
                  <a:lnTo>
                    <a:pt x="196" y="35"/>
                  </a:lnTo>
                  <a:lnTo>
                    <a:pt x="187" y="35"/>
                  </a:lnTo>
                  <a:lnTo>
                    <a:pt x="184" y="35"/>
                  </a:lnTo>
                  <a:lnTo>
                    <a:pt x="181" y="35"/>
                  </a:lnTo>
                  <a:lnTo>
                    <a:pt x="178" y="38"/>
                  </a:lnTo>
                  <a:lnTo>
                    <a:pt x="175" y="41"/>
                  </a:lnTo>
                  <a:lnTo>
                    <a:pt x="167" y="49"/>
                  </a:lnTo>
                  <a:lnTo>
                    <a:pt x="161" y="49"/>
                  </a:lnTo>
                  <a:lnTo>
                    <a:pt x="164" y="58"/>
                  </a:lnTo>
                  <a:lnTo>
                    <a:pt x="155" y="55"/>
                  </a:lnTo>
                  <a:lnTo>
                    <a:pt x="141" y="61"/>
                  </a:lnTo>
                  <a:lnTo>
                    <a:pt x="132" y="61"/>
                  </a:lnTo>
                  <a:lnTo>
                    <a:pt x="124" y="61"/>
                  </a:lnTo>
                  <a:lnTo>
                    <a:pt x="115" y="58"/>
                  </a:lnTo>
                  <a:lnTo>
                    <a:pt x="107" y="55"/>
                  </a:lnTo>
                  <a:lnTo>
                    <a:pt x="95" y="44"/>
                  </a:lnTo>
                  <a:lnTo>
                    <a:pt x="89" y="44"/>
                  </a:lnTo>
                  <a:lnTo>
                    <a:pt x="81" y="38"/>
                  </a:lnTo>
                  <a:lnTo>
                    <a:pt x="78" y="32"/>
                  </a:lnTo>
                  <a:lnTo>
                    <a:pt x="78" y="26"/>
                  </a:lnTo>
                  <a:lnTo>
                    <a:pt x="72" y="29"/>
                  </a:lnTo>
                  <a:lnTo>
                    <a:pt x="66" y="23"/>
                  </a:lnTo>
                  <a:lnTo>
                    <a:pt x="58" y="18"/>
                  </a:lnTo>
                  <a:lnTo>
                    <a:pt x="61" y="18"/>
                  </a:lnTo>
                  <a:lnTo>
                    <a:pt x="63" y="15"/>
                  </a:lnTo>
                  <a:lnTo>
                    <a:pt x="61" y="12"/>
                  </a:lnTo>
                  <a:lnTo>
                    <a:pt x="61" y="9"/>
                  </a:lnTo>
                  <a:lnTo>
                    <a:pt x="63" y="6"/>
                  </a:lnTo>
                  <a:lnTo>
                    <a:pt x="58" y="0"/>
                  </a:lnTo>
                  <a:lnTo>
                    <a:pt x="55" y="3"/>
                  </a:lnTo>
                  <a:lnTo>
                    <a:pt x="46" y="9"/>
                  </a:lnTo>
                  <a:lnTo>
                    <a:pt x="38" y="18"/>
                  </a:lnTo>
                  <a:lnTo>
                    <a:pt x="35" y="18"/>
                  </a:lnTo>
                  <a:lnTo>
                    <a:pt x="32" y="18"/>
                  </a:lnTo>
                  <a:lnTo>
                    <a:pt x="29" y="18"/>
                  </a:lnTo>
                  <a:lnTo>
                    <a:pt x="23" y="15"/>
                  </a:lnTo>
                  <a:lnTo>
                    <a:pt x="20" y="15"/>
                  </a:lnTo>
                  <a:lnTo>
                    <a:pt x="18" y="15"/>
                  </a:lnTo>
                  <a:lnTo>
                    <a:pt x="15" y="12"/>
                  </a:lnTo>
                  <a:lnTo>
                    <a:pt x="12" y="6"/>
                  </a:lnTo>
                  <a:lnTo>
                    <a:pt x="6" y="3"/>
                  </a:lnTo>
                  <a:lnTo>
                    <a:pt x="6" y="6"/>
                  </a:lnTo>
                  <a:lnTo>
                    <a:pt x="0" y="9"/>
                  </a:lnTo>
                  <a:lnTo>
                    <a:pt x="3" y="15"/>
                  </a:lnTo>
                  <a:lnTo>
                    <a:pt x="9" y="26"/>
                  </a:lnTo>
                  <a:lnTo>
                    <a:pt x="6" y="32"/>
                  </a:lnTo>
                  <a:lnTo>
                    <a:pt x="9" y="38"/>
                  </a:lnTo>
                  <a:lnTo>
                    <a:pt x="12" y="44"/>
                  </a:lnTo>
                  <a:lnTo>
                    <a:pt x="18" y="52"/>
                  </a:lnTo>
                  <a:lnTo>
                    <a:pt x="20" y="58"/>
                  </a:lnTo>
                  <a:lnTo>
                    <a:pt x="26" y="66"/>
                  </a:lnTo>
                  <a:lnTo>
                    <a:pt x="29" y="72"/>
                  </a:lnTo>
                  <a:lnTo>
                    <a:pt x="35" y="72"/>
                  </a:lnTo>
                  <a:lnTo>
                    <a:pt x="38" y="75"/>
                  </a:lnTo>
                  <a:lnTo>
                    <a:pt x="49" y="75"/>
                  </a:lnTo>
                  <a:lnTo>
                    <a:pt x="43" y="84"/>
                  </a:lnTo>
                  <a:lnTo>
                    <a:pt x="43" y="89"/>
                  </a:lnTo>
                  <a:lnTo>
                    <a:pt x="38" y="95"/>
                  </a:lnTo>
                  <a:lnTo>
                    <a:pt x="38" y="101"/>
                  </a:lnTo>
                  <a:lnTo>
                    <a:pt x="38" y="104"/>
                  </a:lnTo>
                  <a:lnTo>
                    <a:pt x="35" y="104"/>
                  </a:lnTo>
                  <a:lnTo>
                    <a:pt x="35" y="110"/>
                  </a:lnTo>
                  <a:lnTo>
                    <a:pt x="35" y="112"/>
                  </a:lnTo>
                  <a:lnTo>
                    <a:pt x="38" y="115"/>
                  </a:lnTo>
                  <a:lnTo>
                    <a:pt x="46" y="124"/>
                  </a:lnTo>
                  <a:lnTo>
                    <a:pt x="46" y="130"/>
                  </a:lnTo>
                  <a:lnTo>
                    <a:pt x="58" y="133"/>
                  </a:lnTo>
                  <a:lnTo>
                    <a:pt x="63" y="141"/>
                  </a:lnTo>
                  <a:lnTo>
                    <a:pt x="69" y="141"/>
                  </a:lnTo>
                  <a:lnTo>
                    <a:pt x="81" y="155"/>
                  </a:lnTo>
                  <a:lnTo>
                    <a:pt x="78" y="167"/>
                  </a:lnTo>
                  <a:lnTo>
                    <a:pt x="84" y="170"/>
                  </a:lnTo>
                  <a:lnTo>
                    <a:pt x="84" y="173"/>
                  </a:lnTo>
                  <a:lnTo>
                    <a:pt x="86" y="176"/>
                  </a:lnTo>
                  <a:lnTo>
                    <a:pt x="86" y="178"/>
                  </a:lnTo>
                  <a:lnTo>
                    <a:pt x="89" y="184"/>
                  </a:lnTo>
                  <a:lnTo>
                    <a:pt x="92" y="190"/>
                  </a:lnTo>
                  <a:lnTo>
                    <a:pt x="95" y="193"/>
                  </a:lnTo>
                  <a:lnTo>
                    <a:pt x="101" y="196"/>
                  </a:lnTo>
                  <a:lnTo>
                    <a:pt x="101" y="193"/>
                  </a:lnTo>
                  <a:lnTo>
                    <a:pt x="98" y="187"/>
                  </a:lnTo>
                  <a:lnTo>
                    <a:pt x="101" y="181"/>
                  </a:lnTo>
                  <a:lnTo>
                    <a:pt x="101" y="184"/>
                  </a:lnTo>
                  <a:lnTo>
                    <a:pt x="104" y="187"/>
                  </a:lnTo>
                  <a:lnTo>
                    <a:pt x="112" y="184"/>
                  </a:lnTo>
                  <a:lnTo>
                    <a:pt x="121" y="187"/>
                  </a:lnTo>
                  <a:lnTo>
                    <a:pt x="124" y="196"/>
                  </a:lnTo>
                  <a:lnTo>
                    <a:pt x="127" y="199"/>
                  </a:lnTo>
                  <a:lnTo>
                    <a:pt x="130" y="204"/>
                  </a:lnTo>
                  <a:lnTo>
                    <a:pt x="130" y="207"/>
                  </a:lnTo>
                  <a:lnTo>
                    <a:pt x="132" y="210"/>
                  </a:lnTo>
                  <a:lnTo>
                    <a:pt x="138" y="216"/>
                  </a:lnTo>
                  <a:lnTo>
                    <a:pt x="138" y="219"/>
                  </a:lnTo>
                  <a:lnTo>
                    <a:pt x="144" y="227"/>
                  </a:lnTo>
                  <a:lnTo>
                    <a:pt x="150" y="230"/>
                  </a:lnTo>
                  <a:lnTo>
                    <a:pt x="158" y="236"/>
                  </a:lnTo>
                  <a:lnTo>
                    <a:pt x="164" y="236"/>
                  </a:lnTo>
                  <a:lnTo>
                    <a:pt x="167" y="242"/>
                  </a:lnTo>
                  <a:lnTo>
                    <a:pt x="170" y="244"/>
                  </a:lnTo>
                  <a:lnTo>
                    <a:pt x="173" y="247"/>
                  </a:lnTo>
                  <a:lnTo>
                    <a:pt x="181" y="250"/>
                  </a:lnTo>
                  <a:lnTo>
                    <a:pt x="190" y="256"/>
                  </a:lnTo>
                  <a:lnTo>
                    <a:pt x="198" y="256"/>
                  </a:lnTo>
                  <a:lnTo>
                    <a:pt x="204" y="259"/>
                  </a:lnTo>
                  <a:lnTo>
                    <a:pt x="210" y="256"/>
                  </a:lnTo>
                  <a:lnTo>
                    <a:pt x="216" y="256"/>
                  </a:lnTo>
                  <a:lnTo>
                    <a:pt x="221" y="256"/>
                  </a:lnTo>
                  <a:lnTo>
                    <a:pt x="227" y="250"/>
                  </a:lnTo>
                  <a:lnTo>
                    <a:pt x="221" y="250"/>
                  </a:lnTo>
                  <a:lnTo>
                    <a:pt x="224" y="244"/>
                  </a:lnTo>
                  <a:lnTo>
                    <a:pt x="236" y="247"/>
                  </a:lnTo>
                  <a:lnTo>
                    <a:pt x="241" y="256"/>
                  </a:lnTo>
                  <a:lnTo>
                    <a:pt x="244" y="265"/>
                  </a:lnTo>
                  <a:lnTo>
                    <a:pt x="247" y="270"/>
                  </a:lnTo>
                  <a:lnTo>
                    <a:pt x="256" y="273"/>
                  </a:lnTo>
                  <a:lnTo>
                    <a:pt x="264" y="276"/>
                  </a:lnTo>
                  <a:lnTo>
                    <a:pt x="267" y="273"/>
                  </a:lnTo>
                  <a:lnTo>
                    <a:pt x="270" y="276"/>
                  </a:lnTo>
                  <a:lnTo>
                    <a:pt x="273" y="279"/>
                  </a:lnTo>
                  <a:lnTo>
                    <a:pt x="279" y="279"/>
                  </a:lnTo>
                  <a:lnTo>
                    <a:pt x="287" y="279"/>
                  </a:lnTo>
                  <a:lnTo>
                    <a:pt x="293" y="279"/>
                  </a:lnTo>
                  <a:lnTo>
                    <a:pt x="296" y="279"/>
                  </a:lnTo>
                  <a:lnTo>
                    <a:pt x="305" y="282"/>
                  </a:lnTo>
                  <a:lnTo>
                    <a:pt x="319" y="285"/>
                  </a:lnTo>
                  <a:lnTo>
                    <a:pt x="319" y="270"/>
                  </a:lnTo>
                  <a:lnTo>
                    <a:pt x="322" y="259"/>
                  </a:lnTo>
                  <a:lnTo>
                    <a:pt x="325" y="259"/>
                  </a:lnTo>
                  <a:lnTo>
                    <a:pt x="330" y="25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34" name="Freeform 536"/>
            <p:cNvSpPr>
              <a:spLocks/>
            </p:cNvSpPr>
            <p:nvPr/>
          </p:nvSpPr>
          <p:spPr bwMode="auto">
            <a:xfrm>
              <a:off x="5668963" y="3251200"/>
              <a:ext cx="196850" cy="257175"/>
            </a:xfrm>
            <a:custGeom>
              <a:avLst/>
              <a:gdLst>
                <a:gd name="T0" fmla="*/ 2147483647 w 123"/>
                <a:gd name="T1" fmla="*/ 2147483647 h 160"/>
                <a:gd name="T2" fmla="*/ 2147483647 w 123"/>
                <a:gd name="T3" fmla="*/ 2147483647 h 160"/>
                <a:gd name="T4" fmla="*/ 2147483647 w 123"/>
                <a:gd name="T5" fmla="*/ 2147483647 h 160"/>
                <a:gd name="T6" fmla="*/ 2147483647 w 123"/>
                <a:gd name="T7" fmla="*/ 2147483647 h 160"/>
                <a:gd name="T8" fmla="*/ 2147483647 w 123"/>
                <a:gd name="T9" fmla="*/ 2147483647 h 160"/>
                <a:gd name="T10" fmla="*/ 2147483647 w 123"/>
                <a:gd name="T11" fmla="*/ 2147483647 h 160"/>
                <a:gd name="T12" fmla="*/ 2147483647 w 123"/>
                <a:gd name="T13" fmla="*/ 2147483647 h 160"/>
                <a:gd name="T14" fmla="*/ 2147483647 w 123"/>
                <a:gd name="T15" fmla="*/ 2147483647 h 160"/>
                <a:gd name="T16" fmla="*/ 2147483647 w 123"/>
                <a:gd name="T17" fmla="*/ 2147483647 h 160"/>
                <a:gd name="T18" fmla="*/ 2147483647 w 123"/>
                <a:gd name="T19" fmla="*/ 2147483647 h 160"/>
                <a:gd name="T20" fmla="*/ 2147483647 w 123"/>
                <a:gd name="T21" fmla="*/ 2147483647 h 160"/>
                <a:gd name="T22" fmla="*/ 2147483647 w 123"/>
                <a:gd name="T23" fmla="*/ 2147483647 h 160"/>
                <a:gd name="T24" fmla="*/ 2147483647 w 123"/>
                <a:gd name="T25" fmla="*/ 2147483647 h 160"/>
                <a:gd name="T26" fmla="*/ 2147483647 w 123"/>
                <a:gd name="T27" fmla="*/ 2147483647 h 160"/>
                <a:gd name="T28" fmla="*/ 2147483647 w 123"/>
                <a:gd name="T29" fmla="*/ 2147483647 h 160"/>
                <a:gd name="T30" fmla="*/ 2147483647 w 123"/>
                <a:gd name="T31" fmla="*/ 2147483647 h 160"/>
                <a:gd name="T32" fmla="*/ 2147483647 w 123"/>
                <a:gd name="T33" fmla="*/ 2147483647 h 160"/>
                <a:gd name="T34" fmla="*/ 2147483647 w 123"/>
                <a:gd name="T35" fmla="*/ 2147483647 h 160"/>
                <a:gd name="T36" fmla="*/ 2147483647 w 123"/>
                <a:gd name="T37" fmla="*/ 2147483647 h 160"/>
                <a:gd name="T38" fmla="*/ 2147483647 w 123"/>
                <a:gd name="T39" fmla="*/ 2147483647 h 160"/>
                <a:gd name="T40" fmla="*/ 2147483647 w 123"/>
                <a:gd name="T41" fmla="*/ 2147483647 h 160"/>
                <a:gd name="T42" fmla="*/ 2147483647 w 123"/>
                <a:gd name="T43" fmla="*/ 2147483647 h 160"/>
                <a:gd name="T44" fmla="*/ 2147483647 w 123"/>
                <a:gd name="T45" fmla="*/ 2147483647 h 160"/>
                <a:gd name="T46" fmla="*/ 2147483647 w 123"/>
                <a:gd name="T47" fmla="*/ 2147483647 h 160"/>
                <a:gd name="T48" fmla="*/ 2147483647 w 123"/>
                <a:gd name="T49" fmla="*/ 2147483647 h 160"/>
                <a:gd name="T50" fmla="*/ 2147483647 w 123"/>
                <a:gd name="T51" fmla="*/ 2147483647 h 160"/>
                <a:gd name="T52" fmla="*/ 2147483647 w 123"/>
                <a:gd name="T53" fmla="*/ 2147483647 h 160"/>
                <a:gd name="T54" fmla="*/ 2147483647 w 123"/>
                <a:gd name="T55" fmla="*/ 2147483647 h 160"/>
                <a:gd name="T56" fmla="*/ 2147483647 w 123"/>
                <a:gd name="T57" fmla="*/ 2147483647 h 160"/>
                <a:gd name="T58" fmla="*/ 2147483647 w 123"/>
                <a:gd name="T59" fmla="*/ 2147483647 h 160"/>
                <a:gd name="T60" fmla="*/ 2147483647 w 123"/>
                <a:gd name="T61" fmla="*/ 2147483647 h 160"/>
                <a:gd name="T62" fmla="*/ 2147483647 w 123"/>
                <a:gd name="T63" fmla="*/ 2147483647 h 160"/>
                <a:gd name="T64" fmla="*/ 2147483647 w 123"/>
                <a:gd name="T65" fmla="*/ 2147483647 h 160"/>
                <a:gd name="T66" fmla="*/ 2147483647 w 123"/>
                <a:gd name="T67" fmla="*/ 2147483647 h 160"/>
                <a:gd name="T68" fmla="*/ 2147483647 w 123"/>
                <a:gd name="T69" fmla="*/ 2147483647 h 160"/>
                <a:gd name="T70" fmla="*/ 2147483647 w 123"/>
                <a:gd name="T71" fmla="*/ 2147483647 h 160"/>
                <a:gd name="T72" fmla="*/ 2147483647 w 123"/>
                <a:gd name="T73" fmla="*/ 2147483647 h 160"/>
                <a:gd name="T74" fmla="*/ 2147483647 w 123"/>
                <a:gd name="T75" fmla="*/ 2147483647 h 160"/>
                <a:gd name="T76" fmla="*/ 2147483647 w 123"/>
                <a:gd name="T77" fmla="*/ 2147483647 h 160"/>
                <a:gd name="T78" fmla="*/ 2147483647 w 123"/>
                <a:gd name="T79" fmla="*/ 2147483647 h 160"/>
                <a:gd name="T80" fmla="*/ 2147483647 w 123"/>
                <a:gd name="T81" fmla="*/ 2147483647 h 160"/>
                <a:gd name="T82" fmla="*/ 2147483647 w 123"/>
                <a:gd name="T83" fmla="*/ 2147483647 h 160"/>
                <a:gd name="T84" fmla="*/ 2147483647 w 123"/>
                <a:gd name="T85" fmla="*/ 2147483647 h 160"/>
                <a:gd name="T86" fmla="*/ 2147483647 w 123"/>
                <a:gd name="T87" fmla="*/ 2147483647 h 160"/>
                <a:gd name="T88" fmla="*/ 2147483647 w 123"/>
                <a:gd name="T89" fmla="*/ 2147483647 h 1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23"/>
                <a:gd name="T136" fmla="*/ 0 h 160"/>
                <a:gd name="T137" fmla="*/ 123 w 123"/>
                <a:gd name="T138" fmla="*/ 160 h 1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23" h="160">
                  <a:moveTo>
                    <a:pt x="112" y="37"/>
                  </a:moveTo>
                  <a:lnTo>
                    <a:pt x="109" y="28"/>
                  </a:lnTo>
                  <a:lnTo>
                    <a:pt x="103" y="25"/>
                  </a:lnTo>
                  <a:lnTo>
                    <a:pt x="94" y="25"/>
                  </a:lnTo>
                  <a:lnTo>
                    <a:pt x="86" y="23"/>
                  </a:lnTo>
                  <a:lnTo>
                    <a:pt x="74" y="17"/>
                  </a:lnTo>
                  <a:lnTo>
                    <a:pt x="69" y="11"/>
                  </a:lnTo>
                  <a:lnTo>
                    <a:pt x="66" y="5"/>
                  </a:lnTo>
                  <a:lnTo>
                    <a:pt x="63" y="0"/>
                  </a:lnTo>
                  <a:lnTo>
                    <a:pt x="60" y="5"/>
                  </a:lnTo>
                  <a:lnTo>
                    <a:pt x="57" y="2"/>
                  </a:lnTo>
                  <a:lnTo>
                    <a:pt x="54" y="2"/>
                  </a:lnTo>
                  <a:lnTo>
                    <a:pt x="54" y="11"/>
                  </a:lnTo>
                  <a:lnTo>
                    <a:pt x="60" y="20"/>
                  </a:lnTo>
                  <a:lnTo>
                    <a:pt x="57" y="17"/>
                  </a:lnTo>
                  <a:lnTo>
                    <a:pt x="51" y="17"/>
                  </a:lnTo>
                  <a:lnTo>
                    <a:pt x="51" y="23"/>
                  </a:lnTo>
                  <a:lnTo>
                    <a:pt x="51" y="25"/>
                  </a:lnTo>
                  <a:lnTo>
                    <a:pt x="49" y="28"/>
                  </a:lnTo>
                  <a:lnTo>
                    <a:pt x="51" y="34"/>
                  </a:lnTo>
                  <a:lnTo>
                    <a:pt x="49" y="37"/>
                  </a:lnTo>
                  <a:lnTo>
                    <a:pt x="46" y="37"/>
                  </a:lnTo>
                  <a:lnTo>
                    <a:pt x="49" y="43"/>
                  </a:lnTo>
                  <a:lnTo>
                    <a:pt x="57" y="57"/>
                  </a:lnTo>
                  <a:lnTo>
                    <a:pt x="49" y="97"/>
                  </a:lnTo>
                  <a:lnTo>
                    <a:pt x="31" y="103"/>
                  </a:lnTo>
                  <a:lnTo>
                    <a:pt x="8" y="114"/>
                  </a:lnTo>
                  <a:lnTo>
                    <a:pt x="0" y="117"/>
                  </a:lnTo>
                  <a:lnTo>
                    <a:pt x="23" y="160"/>
                  </a:lnTo>
                  <a:lnTo>
                    <a:pt x="26" y="160"/>
                  </a:lnTo>
                  <a:lnTo>
                    <a:pt x="31" y="157"/>
                  </a:lnTo>
                  <a:lnTo>
                    <a:pt x="34" y="155"/>
                  </a:lnTo>
                  <a:lnTo>
                    <a:pt x="37" y="152"/>
                  </a:lnTo>
                  <a:lnTo>
                    <a:pt x="40" y="155"/>
                  </a:lnTo>
                  <a:lnTo>
                    <a:pt x="49" y="155"/>
                  </a:lnTo>
                  <a:lnTo>
                    <a:pt x="51" y="155"/>
                  </a:lnTo>
                  <a:lnTo>
                    <a:pt x="51" y="149"/>
                  </a:lnTo>
                  <a:lnTo>
                    <a:pt x="54" y="143"/>
                  </a:lnTo>
                  <a:lnTo>
                    <a:pt x="57" y="140"/>
                  </a:lnTo>
                  <a:lnTo>
                    <a:pt x="63" y="137"/>
                  </a:lnTo>
                  <a:lnTo>
                    <a:pt x="71" y="137"/>
                  </a:lnTo>
                  <a:lnTo>
                    <a:pt x="74" y="134"/>
                  </a:lnTo>
                  <a:lnTo>
                    <a:pt x="74" y="132"/>
                  </a:lnTo>
                  <a:lnTo>
                    <a:pt x="77" y="126"/>
                  </a:lnTo>
                  <a:lnTo>
                    <a:pt x="80" y="120"/>
                  </a:lnTo>
                  <a:lnTo>
                    <a:pt x="86" y="117"/>
                  </a:lnTo>
                  <a:lnTo>
                    <a:pt x="92" y="120"/>
                  </a:lnTo>
                  <a:lnTo>
                    <a:pt x="94" y="120"/>
                  </a:lnTo>
                  <a:lnTo>
                    <a:pt x="94" y="117"/>
                  </a:lnTo>
                  <a:lnTo>
                    <a:pt x="94" y="112"/>
                  </a:lnTo>
                  <a:lnTo>
                    <a:pt x="94" y="106"/>
                  </a:lnTo>
                  <a:lnTo>
                    <a:pt x="94" y="100"/>
                  </a:lnTo>
                  <a:lnTo>
                    <a:pt x="94" y="91"/>
                  </a:lnTo>
                  <a:lnTo>
                    <a:pt x="100" y="86"/>
                  </a:lnTo>
                  <a:lnTo>
                    <a:pt x="103" y="91"/>
                  </a:lnTo>
                  <a:lnTo>
                    <a:pt x="103" y="89"/>
                  </a:lnTo>
                  <a:lnTo>
                    <a:pt x="109" y="80"/>
                  </a:lnTo>
                  <a:lnTo>
                    <a:pt x="112" y="74"/>
                  </a:lnTo>
                  <a:lnTo>
                    <a:pt x="117" y="68"/>
                  </a:lnTo>
                  <a:lnTo>
                    <a:pt x="123" y="57"/>
                  </a:lnTo>
                  <a:lnTo>
                    <a:pt x="123" y="48"/>
                  </a:lnTo>
                  <a:lnTo>
                    <a:pt x="117" y="43"/>
                  </a:lnTo>
                  <a:lnTo>
                    <a:pt x="112" y="3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35" name="Freeform 537"/>
            <p:cNvSpPr>
              <a:spLocks/>
            </p:cNvSpPr>
            <p:nvPr/>
          </p:nvSpPr>
          <p:spPr bwMode="auto">
            <a:xfrm>
              <a:off x="5884863" y="2873375"/>
              <a:ext cx="387350" cy="415925"/>
            </a:xfrm>
            <a:custGeom>
              <a:avLst/>
              <a:gdLst>
                <a:gd name="T0" fmla="*/ 2147483647 w 241"/>
                <a:gd name="T1" fmla="*/ 2147483647 h 259"/>
                <a:gd name="T2" fmla="*/ 2147483647 w 241"/>
                <a:gd name="T3" fmla="*/ 2147483647 h 259"/>
                <a:gd name="T4" fmla="*/ 2147483647 w 241"/>
                <a:gd name="T5" fmla="*/ 2147483647 h 259"/>
                <a:gd name="T6" fmla="*/ 2147483647 w 241"/>
                <a:gd name="T7" fmla="*/ 2147483647 h 259"/>
                <a:gd name="T8" fmla="*/ 2147483647 w 241"/>
                <a:gd name="T9" fmla="*/ 2147483647 h 259"/>
                <a:gd name="T10" fmla="*/ 2147483647 w 241"/>
                <a:gd name="T11" fmla="*/ 2147483647 h 259"/>
                <a:gd name="T12" fmla="*/ 2147483647 w 241"/>
                <a:gd name="T13" fmla="*/ 2147483647 h 259"/>
                <a:gd name="T14" fmla="*/ 2147483647 w 241"/>
                <a:gd name="T15" fmla="*/ 2147483647 h 259"/>
                <a:gd name="T16" fmla="*/ 2147483647 w 241"/>
                <a:gd name="T17" fmla="*/ 2147483647 h 259"/>
                <a:gd name="T18" fmla="*/ 2147483647 w 241"/>
                <a:gd name="T19" fmla="*/ 2147483647 h 259"/>
                <a:gd name="T20" fmla="*/ 2147483647 w 241"/>
                <a:gd name="T21" fmla="*/ 2147483647 h 259"/>
                <a:gd name="T22" fmla="*/ 2147483647 w 241"/>
                <a:gd name="T23" fmla="*/ 2147483647 h 259"/>
                <a:gd name="T24" fmla="*/ 2147483647 w 241"/>
                <a:gd name="T25" fmla="*/ 2147483647 h 259"/>
                <a:gd name="T26" fmla="*/ 2147483647 w 241"/>
                <a:gd name="T27" fmla="*/ 2147483647 h 259"/>
                <a:gd name="T28" fmla="*/ 2147483647 w 241"/>
                <a:gd name="T29" fmla="*/ 2147483647 h 259"/>
                <a:gd name="T30" fmla="*/ 2147483647 w 241"/>
                <a:gd name="T31" fmla="*/ 2147483647 h 259"/>
                <a:gd name="T32" fmla="*/ 2147483647 w 241"/>
                <a:gd name="T33" fmla="*/ 2147483647 h 259"/>
                <a:gd name="T34" fmla="*/ 2147483647 w 241"/>
                <a:gd name="T35" fmla="*/ 0 h 259"/>
                <a:gd name="T36" fmla="*/ 2147483647 w 241"/>
                <a:gd name="T37" fmla="*/ 2147483647 h 259"/>
                <a:gd name="T38" fmla="*/ 2147483647 w 241"/>
                <a:gd name="T39" fmla="*/ 2147483647 h 259"/>
                <a:gd name="T40" fmla="*/ 2147483647 w 241"/>
                <a:gd name="T41" fmla="*/ 2147483647 h 259"/>
                <a:gd name="T42" fmla="*/ 2147483647 w 241"/>
                <a:gd name="T43" fmla="*/ 2147483647 h 259"/>
                <a:gd name="T44" fmla="*/ 2147483647 w 241"/>
                <a:gd name="T45" fmla="*/ 2147483647 h 259"/>
                <a:gd name="T46" fmla="*/ 2147483647 w 241"/>
                <a:gd name="T47" fmla="*/ 2147483647 h 259"/>
                <a:gd name="T48" fmla="*/ 2147483647 w 241"/>
                <a:gd name="T49" fmla="*/ 2147483647 h 259"/>
                <a:gd name="T50" fmla="*/ 2147483647 w 241"/>
                <a:gd name="T51" fmla="*/ 2147483647 h 259"/>
                <a:gd name="T52" fmla="*/ 2147483647 w 241"/>
                <a:gd name="T53" fmla="*/ 2147483647 h 259"/>
                <a:gd name="T54" fmla="*/ 2147483647 w 241"/>
                <a:gd name="T55" fmla="*/ 2147483647 h 259"/>
                <a:gd name="T56" fmla="*/ 2147483647 w 241"/>
                <a:gd name="T57" fmla="*/ 2147483647 h 259"/>
                <a:gd name="T58" fmla="*/ 2147483647 w 241"/>
                <a:gd name="T59" fmla="*/ 2147483647 h 259"/>
                <a:gd name="T60" fmla="*/ 2147483647 w 241"/>
                <a:gd name="T61" fmla="*/ 2147483647 h 259"/>
                <a:gd name="T62" fmla="*/ 2147483647 w 241"/>
                <a:gd name="T63" fmla="*/ 2147483647 h 259"/>
                <a:gd name="T64" fmla="*/ 2147483647 w 241"/>
                <a:gd name="T65" fmla="*/ 2147483647 h 259"/>
                <a:gd name="T66" fmla="*/ 2147483647 w 241"/>
                <a:gd name="T67" fmla="*/ 2147483647 h 259"/>
                <a:gd name="T68" fmla="*/ 2147483647 w 241"/>
                <a:gd name="T69" fmla="*/ 2147483647 h 259"/>
                <a:gd name="T70" fmla="*/ 2147483647 w 241"/>
                <a:gd name="T71" fmla="*/ 2147483647 h 259"/>
                <a:gd name="T72" fmla="*/ 2147483647 w 241"/>
                <a:gd name="T73" fmla="*/ 2147483647 h 259"/>
                <a:gd name="T74" fmla="*/ 2147483647 w 241"/>
                <a:gd name="T75" fmla="*/ 2147483647 h 259"/>
                <a:gd name="T76" fmla="*/ 2147483647 w 241"/>
                <a:gd name="T77" fmla="*/ 2147483647 h 259"/>
                <a:gd name="T78" fmla="*/ 2147483647 w 241"/>
                <a:gd name="T79" fmla="*/ 2147483647 h 259"/>
                <a:gd name="T80" fmla="*/ 2147483647 w 241"/>
                <a:gd name="T81" fmla="*/ 2147483647 h 259"/>
                <a:gd name="T82" fmla="*/ 2147483647 w 241"/>
                <a:gd name="T83" fmla="*/ 2147483647 h 259"/>
                <a:gd name="T84" fmla="*/ 2147483647 w 241"/>
                <a:gd name="T85" fmla="*/ 2147483647 h 259"/>
                <a:gd name="T86" fmla="*/ 2147483647 w 241"/>
                <a:gd name="T87" fmla="*/ 2147483647 h 259"/>
                <a:gd name="T88" fmla="*/ 2147483647 w 241"/>
                <a:gd name="T89" fmla="*/ 2147483647 h 259"/>
                <a:gd name="T90" fmla="*/ 2147483647 w 241"/>
                <a:gd name="T91" fmla="*/ 2147483647 h 259"/>
                <a:gd name="T92" fmla="*/ 2147483647 w 241"/>
                <a:gd name="T93" fmla="*/ 2147483647 h 259"/>
                <a:gd name="T94" fmla="*/ 2147483647 w 241"/>
                <a:gd name="T95" fmla="*/ 2147483647 h 259"/>
                <a:gd name="T96" fmla="*/ 2147483647 w 241"/>
                <a:gd name="T97" fmla="*/ 2147483647 h 259"/>
                <a:gd name="T98" fmla="*/ 2147483647 w 241"/>
                <a:gd name="T99" fmla="*/ 2147483647 h 259"/>
                <a:gd name="T100" fmla="*/ 2147483647 w 241"/>
                <a:gd name="T101" fmla="*/ 2147483647 h 259"/>
                <a:gd name="T102" fmla="*/ 2147483647 w 241"/>
                <a:gd name="T103" fmla="*/ 2147483647 h 259"/>
                <a:gd name="T104" fmla="*/ 2147483647 w 241"/>
                <a:gd name="T105" fmla="*/ 2147483647 h 259"/>
                <a:gd name="T106" fmla="*/ 2147483647 w 241"/>
                <a:gd name="T107" fmla="*/ 2147483647 h 259"/>
                <a:gd name="T108" fmla="*/ 2147483647 w 241"/>
                <a:gd name="T109" fmla="*/ 2147483647 h 259"/>
                <a:gd name="T110" fmla="*/ 2147483647 w 241"/>
                <a:gd name="T111" fmla="*/ 2147483647 h 259"/>
                <a:gd name="T112" fmla="*/ 2147483647 w 241"/>
                <a:gd name="T113" fmla="*/ 2147483647 h 259"/>
                <a:gd name="T114" fmla="*/ 2147483647 w 241"/>
                <a:gd name="T115" fmla="*/ 2147483647 h 25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41"/>
                <a:gd name="T175" fmla="*/ 0 h 259"/>
                <a:gd name="T176" fmla="*/ 241 w 241"/>
                <a:gd name="T177" fmla="*/ 259 h 259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41" h="259">
                  <a:moveTo>
                    <a:pt x="135" y="253"/>
                  </a:moveTo>
                  <a:lnTo>
                    <a:pt x="135" y="247"/>
                  </a:lnTo>
                  <a:lnTo>
                    <a:pt x="149" y="247"/>
                  </a:lnTo>
                  <a:lnTo>
                    <a:pt x="158" y="250"/>
                  </a:lnTo>
                  <a:lnTo>
                    <a:pt x="166" y="244"/>
                  </a:lnTo>
                  <a:lnTo>
                    <a:pt x="169" y="247"/>
                  </a:lnTo>
                  <a:lnTo>
                    <a:pt x="172" y="247"/>
                  </a:lnTo>
                  <a:lnTo>
                    <a:pt x="172" y="241"/>
                  </a:lnTo>
                  <a:lnTo>
                    <a:pt x="166" y="224"/>
                  </a:lnTo>
                  <a:lnTo>
                    <a:pt x="158" y="224"/>
                  </a:lnTo>
                  <a:lnTo>
                    <a:pt x="155" y="215"/>
                  </a:lnTo>
                  <a:lnTo>
                    <a:pt x="155" y="207"/>
                  </a:lnTo>
                  <a:lnTo>
                    <a:pt x="149" y="207"/>
                  </a:lnTo>
                  <a:lnTo>
                    <a:pt x="143" y="204"/>
                  </a:lnTo>
                  <a:lnTo>
                    <a:pt x="140" y="201"/>
                  </a:lnTo>
                  <a:lnTo>
                    <a:pt x="143" y="192"/>
                  </a:lnTo>
                  <a:lnTo>
                    <a:pt x="146" y="187"/>
                  </a:lnTo>
                  <a:lnTo>
                    <a:pt x="152" y="175"/>
                  </a:lnTo>
                  <a:lnTo>
                    <a:pt x="155" y="172"/>
                  </a:lnTo>
                  <a:lnTo>
                    <a:pt x="163" y="181"/>
                  </a:lnTo>
                  <a:lnTo>
                    <a:pt x="175" y="178"/>
                  </a:lnTo>
                  <a:lnTo>
                    <a:pt x="183" y="170"/>
                  </a:lnTo>
                  <a:lnTo>
                    <a:pt x="186" y="158"/>
                  </a:lnTo>
                  <a:lnTo>
                    <a:pt x="195" y="152"/>
                  </a:lnTo>
                  <a:lnTo>
                    <a:pt x="195" y="138"/>
                  </a:lnTo>
                  <a:lnTo>
                    <a:pt x="206" y="132"/>
                  </a:lnTo>
                  <a:lnTo>
                    <a:pt x="203" y="126"/>
                  </a:lnTo>
                  <a:lnTo>
                    <a:pt x="215" y="118"/>
                  </a:lnTo>
                  <a:lnTo>
                    <a:pt x="206" y="101"/>
                  </a:lnTo>
                  <a:lnTo>
                    <a:pt x="221" y="95"/>
                  </a:lnTo>
                  <a:lnTo>
                    <a:pt x="212" y="89"/>
                  </a:lnTo>
                  <a:lnTo>
                    <a:pt x="206" y="81"/>
                  </a:lnTo>
                  <a:lnTo>
                    <a:pt x="201" y="81"/>
                  </a:lnTo>
                  <a:lnTo>
                    <a:pt x="195" y="72"/>
                  </a:lnTo>
                  <a:lnTo>
                    <a:pt x="198" y="69"/>
                  </a:lnTo>
                  <a:lnTo>
                    <a:pt x="195" y="66"/>
                  </a:lnTo>
                  <a:lnTo>
                    <a:pt x="195" y="63"/>
                  </a:lnTo>
                  <a:lnTo>
                    <a:pt x="195" y="60"/>
                  </a:lnTo>
                  <a:lnTo>
                    <a:pt x="192" y="60"/>
                  </a:lnTo>
                  <a:lnTo>
                    <a:pt x="186" y="52"/>
                  </a:lnTo>
                  <a:lnTo>
                    <a:pt x="189" y="43"/>
                  </a:lnTo>
                  <a:lnTo>
                    <a:pt x="198" y="40"/>
                  </a:lnTo>
                  <a:lnTo>
                    <a:pt x="201" y="43"/>
                  </a:lnTo>
                  <a:lnTo>
                    <a:pt x="212" y="46"/>
                  </a:lnTo>
                  <a:lnTo>
                    <a:pt x="226" y="43"/>
                  </a:lnTo>
                  <a:lnTo>
                    <a:pt x="235" y="37"/>
                  </a:lnTo>
                  <a:lnTo>
                    <a:pt x="241" y="32"/>
                  </a:lnTo>
                  <a:lnTo>
                    <a:pt x="235" y="29"/>
                  </a:lnTo>
                  <a:lnTo>
                    <a:pt x="229" y="26"/>
                  </a:lnTo>
                  <a:lnTo>
                    <a:pt x="226" y="23"/>
                  </a:lnTo>
                  <a:lnTo>
                    <a:pt x="221" y="26"/>
                  </a:lnTo>
                  <a:lnTo>
                    <a:pt x="215" y="20"/>
                  </a:lnTo>
                  <a:lnTo>
                    <a:pt x="215" y="12"/>
                  </a:lnTo>
                  <a:lnTo>
                    <a:pt x="209" y="6"/>
                  </a:lnTo>
                  <a:lnTo>
                    <a:pt x="203" y="6"/>
                  </a:lnTo>
                  <a:lnTo>
                    <a:pt x="198" y="3"/>
                  </a:lnTo>
                  <a:lnTo>
                    <a:pt x="189" y="0"/>
                  </a:lnTo>
                  <a:lnTo>
                    <a:pt x="189" y="3"/>
                  </a:lnTo>
                  <a:lnTo>
                    <a:pt x="180" y="6"/>
                  </a:lnTo>
                  <a:lnTo>
                    <a:pt x="166" y="6"/>
                  </a:lnTo>
                  <a:lnTo>
                    <a:pt x="158" y="6"/>
                  </a:lnTo>
                  <a:lnTo>
                    <a:pt x="152" y="14"/>
                  </a:lnTo>
                  <a:lnTo>
                    <a:pt x="149" y="14"/>
                  </a:lnTo>
                  <a:lnTo>
                    <a:pt x="146" y="14"/>
                  </a:lnTo>
                  <a:lnTo>
                    <a:pt x="143" y="20"/>
                  </a:lnTo>
                  <a:lnTo>
                    <a:pt x="149" y="26"/>
                  </a:lnTo>
                  <a:lnTo>
                    <a:pt x="152" y="35"/>
                  </a:lnTo>
                  <a:lnTo>
                    <a:pt x="152" y="37"/>
                  </a:lnTo>
                  <a:lnTo>
                    <a:pt x="146" y="52"/>
                  </a:lnTo>
                  <a:lnTo>
                    <a:pt x="149" y="58"/>
                  </a:lnTo>
                  <a:lnTo>
                    <a:pt x="146" y="60"/>
                  </a:lnTo>
                  <a:lnTo>
                    <a:pt x="143" y="63"/>
                  </a:lnTo>
                  <a:lnTo>
                    <a:pt x="140" y="63"/>
                  </a:lnTo>
                  <a:lnTo>
                    <a:pt x="135" y="63"/>
                  </a:lnTo>
                  <a:lnTo>
                    <a:pt x="129" y="60"/>
                  </a:lnTo>
                  <a:lnTo>
                    <a:pt x="132" y="66"/>
                  </a:lnTo>
                  <a:lnTo>
                    <a:pt x="137" y="72"/>
                  </a:lnTo>
                  <a:lnTo>
                    <a:pt x="137" y="75"/>
                  </a:lnTo>
                  <a:lnTo>
                    <a:pt x="135" y="78"/>
                  </a:lnTo>
                  <a:lnTo>
                    <a:pt x="132" y="81"/>
                  </a:lnTo>
                  <a:lnTo>
                    <a:pt x="129" y="81"/>
                  </a:lnTo>
                  <a:lnTo>
                    <a:pt x="126" y="78"/>
                  </a:lnTo>
                  <a:lnTo>
                    <a:pt x="126" y="86"/>
                  </a:lnTo>
                  <a:lnTo>
                    <a:pt x="126" y="89"/>
                  </a:lnTo>
                  <a:lnTo>
                    <a:pt x="123" y="95"/>
                  </a:lnTo>
                  <a:lnTo>
                    <a:pt x="126" y="98"/>
                  </a:lnTo>
                  <a:lnTo>
                    <a:pt x="126" y="101"/>
                  </a:lnTo>
                  <a:lnTo>
                    <a:pt x="126" y="103"/>
                  </a:lnTo>
                  <a:lnTo>
                    <a:pt x="123" y="103"/>
                  </a:lnTo>
                  <a:lnTo>
                    <a:pt x="123" y="106"/>
                  </a:lnTo>
                  <a:lnTo>
                    <a:pt x="120" y="109"/>
                  </a:lnTo>
                  <a:lnTo>
                    <a:pt x="117" y="109"/>
                  </a:lnTo>
                  <a:lnTo>
                    <a:pt x="109" y="103"/>
                  </a:lnTo>
                  <a:lnTo>
                    <a:pt x="106" y="103"/>
                  </a:lnTo>
                  <a:lnTo>
                    <a:pt x="100" y="109"/>
                  </a:lnTo>
                  <a:lnTo>
                    <a:pt x="103" y="112"/>
                  </a:lnTo>
                  <a:lnTo>
                    <a:pt x="103" y="115"/>
                  </a:lnTo>
                  <a:lnTo>
                    <a:pt x="97" y="118"/>
                  </a:lnTo>
                  <a:lnTo>
                    <a:pt x="94" y="118"/>
                  </a:lnTo>
                  <a:lnTo>
                    <a:pt x="86" y="115"/>
                  </a:lnTo>
                  <a:lnTo>
                    <a:pt x="83" y="118"/>
                  </a:lnTo>
                  <a:lnTo>
                    <a:pt x="80" y="126"/>
                  </a:lnTo>
                  <a:lnTo>
                    <a:pt x="83" y="141"/>
                  </a:lnTo>
                  <a:lnTo>
                    <a:pt x="80" y="141"/>
                  </a:lnTo>
                  <a:lnTo>
                    <a:pt x="69" y="147"/>
                  </a:lnTo>
                  <a:lnTo>
                    <a:pt x="57" y="149"/>
                  </a:lnTo>
                  <a:lnTo>
                    <a:pt x="54" y="149"/>
                  </a:lnTo>
                  <a:lnTo>
                    <a:pt x="46" y="149"/>
                  </a:lnTo>
                  <a:lnTo>
                    <a:pt x="37" y="149"/>
                  </a:lnTo>
                  <a:lnTo>
                    <a:pt x="34" y="149"/>
                  </a:lnTo>
                  <a:lnTo>
                    <a:pt x="28" y="149"/>
                  </a:lnTo>
                  <a:lnTo>
                    <a:pt x="23" y="152"/>
                  </a:lnTo>
                  <a:lnTo>
                    <a:pt x="20" y="152"/>
                  </a:lnTo>
                  <a:lnTo>
                    <a:pt x="0" y="147"/>
                  </a:lnTo>
                  <a:lnTo>
                    <a:pt x="11" y="164"/>
                  </a:lnTo>
                  <a:lnTo>
                    <a:pt x="28" y="170"/>
                  </a:lnTo>
                  <a:lnTo>
                    <a:pt x="28" y="172"/>
                  </a:lnTo>
                  <a:lnTo>
                    <a:pt x="28" y="175"/>
                  </a:lnTo>
                  <a:lnTo>
                    <a:pt x="31" y="187"/>
                  </a:lnTo>
                  <a:lnTo>
                    <a:pt x="40" y="190"/>
                  </a:lnTo>
                  <a:lnTo>
                    <a:pt x="40" y="204"/>
                  </a:lnTo>
                  <a:lnTo>
                    <a:pt x="37" y="204"/>
                  </a:lnTo>
                  <a:lnTo>
                    <a:pt x="31" y="204"/>
                  </a:lnTo>
                  <a:lnTo>
                    <a:pt x="25" y="213"/>
                  </a:lnTo>
                  <a:lnTo>
                    <a:pt x="20" y="210"/>
                  </a:lnTo>
                  <a:lnTo>
                    <a:pt x="17" y="218"/>
                  </a:lnTo>
                  <a:lnTo>
                    <a:pt x="17" y="233"/>
                  </a:lnTo>
                  <a:lnTo>
                    <a:pt x="20" y="233"/>
                  </a:lnTo>
                  <a:lnTo>
                    <a:pt x="31" y="230"/>
                  </a:lnTo>
                  <a:lnTo>
                    <a:pt x="43" y="230"/>
                  </a:lnTo>
                  <a:lnTo>
                    <a:pt x="46" y="230"/>
                  </a:lnTo>
                  <a:lnTo>
                    <a:pt x="48" y="227"/>
                  </a:lnTo>
                  <a:lnTo>
                    <a:pt x="66" y="230"/>
                  </a:lnTo>
                  <a:lnTo>
                    <a:pt x="74" y="230"/>
                  </a:lnTo>
                  <a:lnTo>
                    <a:pt x="89" y="227"/>
                  </a:lnTo>
                  <a:lnTo>
                    <a:pt x="94" y="224"/>
                  </a:lnTo>
                  <a:lnTo>
                    <a:pt x="97" y="227"/>
                  </a:lnTo>
                  <a:lnTo>
                    <a:pt x="100" y="233"/>
                  </a:lnTo>
                  <a:lnTo>
                    <a:pt x="100" y="238"/>
                  </a:lnTo>
                  <a:lnTo>
                    <a:pt x="106" y="238"/>
                  </a:lnTo>
                  <a:lnTo>
                    <a:pt x="109" y="238"/>
                  </a:lnTo>
                  <a:lnTo>
                    <a:pt x="112" y="241"/>
                  </a:lnTo>
                  <a:lnTo>
                    <a:pt x="112" y="247"/>
                  </a:lnTo>
                  <a:lnTo>
                    <a:pt x="112" y="253"/>
                  </a:lnTo>
                  <a:lnTo>
                    <a:pt x="120" y="259"/>
                  </a:lnTo>
                  <a:lnTo>
                    <a:pt x="126" y="259"/>
                  </a:lnTo>
                  <a:lnTo>
                    <a:pt x="129" y="256"/>
                  </a:lnTo>
                  <a:lnTo>
                    <a:pt x="135" y="25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36" name="Freeform 538"/>
            <p:cNvSpPr>
              <a:spLocks/>
            </p:cNvSpPr>
            <p:nvPr/>
          </p:nvSpPr>
          <p:spPr bwMode="auto">
            <a:xfrm>
              <a:off x="2735263" y="2478088"/>
              <a:ext cx="57150" cy="26987"/>
            </a:xfrm>
            <a:custGeom>
              <a:avLst/>
              <a:gdLst>
                <a:gd name="T0" fmla="*/ 2147483647 w 35"/>
                <a:gd name="T1" fmla="*/ 2147483647 h 17"/>
                <a:gd name="T2" fmla="*/ 2147483647 w 35"/>
                <a:gd name="T3" fmla="*/ 2147483647 h 17"/>
                <a:gd name="T4" fmla="*/ 2147483647 w 35"/>
                <a:gd name="T5" fmla="*/ 2147483647 h 17"/>
                <a:gd name="T6" fmla="*/ 2147483647 w 35"/>
                <a:gd name="T7" fmla="*/ 2147483647 h 17"/>
                <a:gd name="T8" fmla="*/ 2147483647 w 35"/>
                <a:gd name="T9" fmla="*/ 2147483647 h 17"/>
                <a:gd name="T10" fmla="*/ 2147483647 w 35"/>
                <a:gd name="T11" fmla="*/ 2147483647 h 17"/>
                <a:gd name="T12" fmla="*/ 2147483647 w 35"/>
                <a:gd name="T13" fmla="*/ 2147483647 h 17"/>
                <a:gd name="T14" fmla="*/ 2147483647 w 35"/>
                <a:gd name="T15" fmla="*/ 2147483647 h 17"/>
                <a:gd name="T16" fmla="*/ 2147483647 w 35"/>
                <a:gd name="T17" fmla="*/ 0 h 17"/>
                <a:gd name="T18" fmla="*/ 2147483647 w 35"/>
                <a:gd name="T19" fmla="*/ 0 h 17"/>
                <a:gd name="T20" fmla="*/ 2147483647 w 35"/>
                <a:gd name="T21" fmla="*/ 0 h 17"/>
                <a:gd name="T22" fmla="*/ 2147483647 w 35"/>
                <a:gd name="T23" fmla="*/ 0 h 17"/>
                <a:gd name="T24" fmla="*/ 2147483647 w 35"/>
                <a:gd name="T25" fmla="*/ 0 h 17"/>
                <a:gd name="T26" fmla="*/ 2147483647 w 35"/>
                <a:gd name="T27" fmla="*/ 0 h 17"/>
                <a:gd name="T28" fmla="*/ 0 w 35"/>
                <a:gd name="T29" fmla="*/ 0 h 17"/>
                <a:gd name="T30" fmla="*/ 0 w 35"/>
                <a:gd name="T31" fmla="*/ 0 h 17"/>
                <a:gd name="T32" fmla="*/ 2147483647 w 35"/>
                <a:gd name="T33" fmla="*/ 2147483647 h 17"/>
                <a:gd name="T34" fmla="*/ 2147483647 w 35"/>
                <a:gd name="T35" fmla="*/ 2147483647 h 17"/>
                <a:gd name="T36" fmla="*/ 2147483647 w 35"/>
                <a:gd name="T37" fmla="*/ 2147483647 h 17"/>
                <a:gd name="T38" fmla="*/ 2147483647 w 35"/>
                <a:gd name="T39" fmla="*/ 2147483647 h 17"/>
                <a:gd name="T40" fmla="*/ 2147483647 w 35"/>
                <a:gd name="T41" fmla="*/ 2147483647 h 17"/>
                <a:gd name="T42" fmla="*/ 2147483647 w 35"/>
                <a:gd name="T43" fmla="*/ 2147483647 h 17"/>
                <a:gd name="T44" fmla="*/ 2147483647 w 35"/>
                <a:gd name="T45" fmla="*/ 2147483647 h 17"/>
                <a:gd name="T46" fmla="*/ 2147483647 w 35"/>
                <a:gd name="T47" fmla="*/ 2147483647 h 17"/>
                <a:gd name="T48" fmla="*/ 2147483647 w 35"/>
                <a:gd name="T49" fmla="*/ 2147483647 h 17"/>
                <a:gd name="T50" fmla="*/ 2147483647 w 35"/>
                <a:gd name="T51" fmla="*/ 2147483647 h 17"/>
                <a:gd name="T52" fmla="*/ 2147483647 w 35"/>
                <a:gd name="T53" fmla="*/ 2147483647 h 17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35"/>
                <a:gd name="T82" fmla="*/ 0 h 17"/>
                <a:gd name="T83" fmla="*/ 35 w 35"/>
                <a:gd name="T84" fmla="*/ 17 h 17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35" h="17">
                  <a:moveTo>
                    <a:pt x="35" y="17"/>
                  </a:moveTo>
                  <a:lnTo>
                    <a:pt x="35" y="17"/>
                  </a:lnTo>
                  <a:lnTo>
                    <a:pt x="35" y="15"/>
                  </a:lnTo>
                  <a:lnTo>
                    <a:pt x="32" y="12"/>
                  </a:lnTo>
                  <a:lnTo>
                    <a:pt x="26" y="6"/>
                  </a:lnTo>
                  <a:lnTo>
                    <a:pt x="23" y="3"/>
                  </a:lnTo>
                  <a:lnTo>
                    <a:pt x="17" y="0"/>
                  </a:lnTo>
                  <a:lnTo>
                    <a:pt x="9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9" y="6"/>
                  </a:lnTo>
                  <a:lnTo>
                    <a:pt x="9" y="12"/>
                  </a:lnTo>
                  <a:lnTo>
                    <a:pt x="15" y="15"/>
                  </a:lnTo>
                  <a:lnTo>
                    <a:pt x="20" y="17"/>
                  </a:lnTo>
                  <a:lnTo>
                    <a:pt x="26" y="17"/>
                  </a:lnTo>
                  <a:lnTo>
                    <a:pt x="32" y="17"/>
                  </a:lnTo>
                  <a:lnTo>
                    <a:pt x="35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37" name="Freeform 539"/>
            <p:cNvSpPr>
              <a:spLocks/>
            </p:cNvSpPr>
            <p:nvPr/>
          </p:nvSpPr>
          <p:spPr bwMode="auto">
            <a:xfrm>
              <a:off x="2322513" y="3651250"/>
              <a:ext cx="12700" cy="19050"/>
            </a:xfrm>
            <a:custGeom>
              <a:avLst/>
              <a:gdLst>
                <a:gd name="T0" fmla="*/ 0 w 8"/>
                <a:gd name="T1" fmla="*/ 0 h 12"/>
                <a:gd name="T2" fmla="*/ 0 w 8"/>
                <a:gd name="T3" fmla="*/ 0 h 12"/>
                <a:gd name="T4" fmla="*/ 0 w 8"/>
                <a:gd name="T5" fmla="*/ 2147483647 h 12"/>
                <a:gd name="T6" fmla="*/ 2147483647 w 8"/>
                <a:gd name="T7" fmla="*/ 2147483647 h 12"/>
                <a:gd name="T8" fmla="*/ 2147483647 w 8"/>
                <a:gd name="T9" fmla="*/ 2147483647 h 12"/>
                <a:gd name="T10" fmla="*/ 2147483647 w 8"/>
                <a:gd name="T11" fmla="*/ 2147483647 h 12"/>
                <a:gd name="T12" fmla="*/ 2147483647 w 8"/>
                <a:gd name="T13" fmla="*/ 0 h 12"/>
                <a:gd name="T14" fmla="*/ 2147483647 w 8"/>
                <a:gd name="T15" fmla="*/ 0 h 12"/>
                <a:gd name="T16" fmla="*/ 0 w 8"/>
                <a:gd name="T17" fmla="*/ 0 h 12"/>
                <a:gd name="T18" fmla="*/ 0 w 8"/>
                <a:gd name="T19" fmla="*/ 0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"/>
                <a:gd name="T31" fmla="*/ 0 h 12"/>
                <a:gd name="T32" fmla="*/ 8 w 8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" h="12">
                  <a:moveTo>
                    <a:pt x="0" y="0"/>
                  </a:moveTo>
                  <a:lnTo>
                    <a:pt x="0" y="0"/>
                  </a:lnTo>
                  <a:lnTo>
                    <a:pt x="0" y="9"/>
                  </a:lnTo>
                  <a:lnTo>
                    <a:pt x="3" y="12"/>
                  </a:lnTo>
                  <a:lnTo>
                    <a:pt x="6" y="9"/>
                  </a:lnTo>
                  <a:lnTo>
                    <a:pt x="8" y="3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38" name="Freeform 540"/>
            <p:cNvSpPr>
              <a:spLocks/>
            </p:cNvSpPr>
            <p:nvPr/>
          </p:nvSpPr>
          <p:spPr bwMode="auto">
            <a:xfrm>
              <a:off x="2371725" y="3646488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2147483647 h 6"/>
                <a:gd name="T4" fmla="*/ 2147483647 w 6"/>
                <a:gd name="T5" fmla="*/ 0 h 6"/>
                <a:gd name="T6" fmla="*/ 0 w 6"/>
                <a:gd name="T7" fmla="*/ 2147483647 h 6"/>
                <a:gd name="T8" fmla="*/ 2147483647 w 6"/>
                <a:gd name="T9" fmla="*/ 2147483647 h 6"/>
                <a:gd name="T10" fmla="*/ 2147483647 w 6"/>
                <a:gd name="T11" fmla="*/ 2147483647 h 6"/>
                <a:gd name="T12" fmla="*/ 2147483647 w 6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6"/>
                <a:gd name="T23" fmla="*/ 6 w 6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6">
                  <a:moveTo>
                    <a:pt x="6" y="6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3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39" name="Freeform 541"/>
            <p:cNvSpPr>
              <a:spLocks/>
            </p:cNvSpPr>
            <p:nvPr/>
          </p:nvSpPr>
          <p:spPr bwMode="auto">
            <a:xfrm>
              <a:off x="2349500" y="3643313"/>
              <a:ext cx="14288" cy="12700"/>
            </a:xfrm>
            <a:custGeom>
              <a:avLst/>
              <a:gdLst>
                <a:gd name="T0" fmla="*/ 2147483647 w 9"/>
                <a:gd name="T1" fmla="*/ 0 h 8"/>
                <a:gd name="T2" fmla="*/ 0 w 9"/>
                <a:gd name="T3" fmla="*/ 2147483647 h 8"/>
                <a:gd name="T4" fmla="*/ 2147483647 w 9"/>
                <a:gd name="T5" fmla="*/ 2147483647 h 8"/>
                <a:gd name="T6" fmla="*/ 2147483647 w 9"/>
                <a:gd name="T7" fmla="*/ 2147483647 h 8"/>
                <a:gd name="T8" fmla="*/ 2147483647 w 9"/>
                <a:gd name="T9" fmla="*/ 2147483647 h 8"/>
                <a:gd name="T10" fmla="*/ 2147483647 w 9"/>
                <a:gd name="T11" fmla="*/ 2147483647 h 8"/>
                <a:gd name="T12" fmla="*/ 2147483647 w 9"/>
                <a:gd name="T13" fmla="*/ 0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8"/>
                <a:gd name="T23" fmla="*/ 9 w 9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8">
                  <a:moveTo>
                    <a:pt x="3" y="0"/>
                  </a:moveTo>
                  <a:lnTo>
                    <a:pt x="0" y="2"/>
                  </a:lnTo>
                  <a:lnTo>
                    <a:pt x="3" y="5"/>
                  </a:lnTo>
                  <a:lnTo>
                    <a:pt x="6" y="8"/>
                  </a:lnTo>
                  <a:lnTo>
                    <a:pt x="9" y="5"/>
                  </a:lnTo>
                  <a:lnTo>
                    <a:pt x="6" y="5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40" name="Freeform 542"/>
            <p:cNvSpPr>
              <a:spLocks/>
            </p:cNvSpPr>
            <p:nvPr/>
          </p:nvSpPr>
          <p:spPr bwMode="auto">
            <a:xfrm>
              <a:off x="2295525" y="3348038"/>
              <a:ext cx="7938" cy="9525"/>
            </a:xfrm>
            <a:custGeom>
              <a:avLst/>
              <a:gdLst>
                <a:gd name="T0" fmla="*/ 0 w 5"/>
                <a:gd name="T1" fmla="*/ 2147483647 h 6"/>
                <a:gd name="T2" fmla="*/ 2147483647 w 5"/>
                <a:gd name="T3" fmla="*/ 2147483647 h 6"/>
                <a:gd name="T4" fmla="*/ 2147483647 w 5"/>
                <a:gd name="T5" fmla="*/ 0 h 6"/>
                <a:gd name="T6" fmla="*/ 0 w 5"/>
                <a:gd name="T7" fmla="*/ 0 h 6"/>
                <a:gd name="T8" fmla="*/ 0 w 5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6"/>
                <a:gd name="T17" fmla="*/ 5 w 5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6">
                  <a:moveTo>
                    <a:pt x="0" y="3"/>
                  </a:moveTo>
                  <a:lnTo>
                    <a:pt x="5" y="6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41" name="Freeform 543"/>
            <p:cNvSpPr>
              <a:spLocks/>
            </p:cNvSpPr>
            <p:nvPr/>
          </p:nvSpPr>
          <p:spPr bwMode="auto">
            <a:xfrm>
              <a:off x="2332038" y="3633788"/>
              <a:ext cx="3175" cy="12700"/>
            </a:xfrm>
            <a:custGeom>
              <a:avLst/>
              <a:gdLst>
                <a:gd name="T0" fmla="*/ 0 w 2"/>
                <a:gd name="T1" fmla="*/ 0 h 8"/>
                <a:gd name="T2" fmla="*/ 0 w 2"/>
                <a:gd name="T3" fmla="*/ 2147483647 h 8"/>
                <a:gd name="T4" fmla="*/ 0 w 2"/>
                <a:gd name="T5" fmla="*/ 2147483647 h 8"/>
                <a:gd name="T6" fmla="*/ 2147483647 w 2"/>
                <a:gd name="T7" fmla="*/ 2147483647 h 8"/>
                <a:gd name="T8" fmla="*/ 0 w 2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8"/>
                <a:gd name="T17" fmla="*/ 2 w 2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8">
                  <a:moveTo>
                    <a:pt x="0" y="0"/>
                  </a:moveTo>
                  <a:lnTo>
                    <a:pt x="0" y="6"/>
                  </a:lnTo>
                  <a:lnTo>
                    <a:pt x="0" y="8"/>
                  </a:lnTo>
                  <a:lnTo>
                    <a:pt x="2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42" name="Freeform 544"/>
            <p:cNvSpPr>
              <a:spLocks/>
            </p:cNvSpPr>
            <p:nvPr/>
          </p:nvSpPr>
          <p:spPr bwMode="auto">
            <a:xfrm>
              <a:off x="2295525" y="2924175"/>
              <a:ext cx="7938" cy="7938"/>
            </a:xfrm>
            <a:custGeom>
              <a:avLst/>
              <a:gdLst>
                <a:gd name="T0" fmla="*/ 0 w 5"/>
                <a:gd name="T1" fmla="*/ 2147483647 h 5"/>
                <a:gd name="T2" fmla="*/ 0 w 5"/>
                <a:gd name="T3" fmla="*/ 2147483647 h 5"/>
                <a:gd name="T4" fmla="*/ 2147483647 w 5"/>
                <a:gd name="T5" fmla="*/ 2147483647 h 5"/>
                <a:gd name="T6" fmla="*/ 2147483647 w 5"/>
                <a:gd name="T7" fmla="*/ 2147483647 h 5"/>
                <a:gd name="T8" fmla="*/ 2147483647 w 5"/>
                <a:gd name="T9" fmla="*/ 0 h 5"/>
                <a:gd name="T10" fmla="*/ 2147483647 w 5"/>
                <a:gd name="T11" fmla="*/ 0 h 5"/>
                <a:gd name="T12" fmla="*/ 0 w 5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5"/>
                <a:gd name="T23" fmla="*/ 5 w 5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5">
                  <a:moveTo>
                    <a:pt x="0" y="3"/>
                  </a:moveTo>
                  <a:lnTo>
                    <a:pt x="0" y="5"/>
                  </a:lnTo>
                  <a:lnTo>
                    <a:pt x="2" y="5"/>
                  </a:lnTo>
                  <a:lnTo>
                    <a:pt x="5" y="3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43" name="Freeform 545"/>
            <p:cNvSpPr>
              <a:spLocks/>
            </p:cNvSpPr>
            <p:nvPr/>
          </p:nvSpPr>
          <p:spPr bwMode="auto">
            <a:xfrm>
              <a:off x="2298700" y="3411538"/>
              <a:ext cx="96838" cy="69850"/>
            </a:xfrm>
            <a:custGeom>
              <a:avLst/>
              <a:gdLst>
                <a:gd name="T0" fmla="*/ 2147483647 w 61"/>
                <a:gd name="T1" fmla="*/ 2147483647 h 43"/>
                <a:gd name="T2" fmla="*/ 2147483647 w 61"/>
                <a:gd name="T3" fmla="*/ 2147483647 h 43"/>
                <a:gd name="T4" fmla="*/ 0 w 61"/>
                <a:gd name="T5" fmla="*/ 2147483647 h 43"/>
                <a:gd name="T6" fmla="*/ 0 w 61"/>
                <a:gd name="T7" fmla="*/ 2147483647 h 43"/>
                <a:gd name="T8" fmla="*/ 0 w 61"/>
                <a:gd name="T9" fmla="*/ 2147483647 h 43"/>
                <a:gd name="T10" fmla="*/ 2147483647 w 61"/>
                <a:gd name="T11" fmla="*/ 2147483647 h 43"/>
                <a:gd name="T12" fmla="*/ 2147483647 w 61"/>
                <a:gd name="T13" fmla="*/ 2147483647 h 43"/>
                <a:gd name="T14" fmla="*/ 2147483647 w 61"/>
                <a:gd name="T15" fmla="*/ 2147483647 h 43"/>
                <a:gd name="T16" fmla="*/ 2147483647 w 61"/>
                <a:gd name="T17" fmla="*/ 2147483647 h 43"/>
                <a:gd name="T18" fmla="*/ 2147483647 w 61"/>
                <a:gd name="T19" fmla="*/ 2147483647 h 43"/>
                <a:gd name="T20" fmla="*/ 2147483647 w 61"/>
                <a:gd name="T21" fmla="*/ 2147483647 h 43"/>
                <a:gd name="T22" fmla="*/ 2147483647 w 61"/>
                <a:gd name="T23" fmla="*/ 2147483647 h 43"/>
                <a:gd name="T24" fmla="*/ 2147483647 w 61"/>
                <a:gd name="T25" fmla="*/ 2147483647 h 43"/>
                <a:gd name="T26" fmla="*/ 2147483647 w 61"/>
                <a:gd name="T27" fmla="*/ 2147483647 h 43"/>
                <a:gd name="T28" fmla="*/ 2147483647 w 61"/>
                <a:gd name="T29" fmla="*/ 2147483647 h 43"/>
                <a:gd name="T30" fmla="*/ 2147483647 w 61"/>
                <a:gd name="T31" fmla="*/ 2147483647 h 43"/>
                <a:gd name="T32" fmla="*/ 2147483647 w 61"/>
                <a:gd name="T33" fmla="*/ 2147483647 h 43"/>
                <a:gd name="T34" fmla="*/ 2147483647 w 61"/>
                <a:gd name="T35" fmla="*/ 2147483647 h 43"/>
                <a:gd name="T36" fmla="*/ 2147483647 w 61"/>
                <a:gd name="T37" fmla="*/ 2147483647 h 43"/>
                <a:gd name="T38" fmla="*/ 2147483647 w 61"/>
                <a:gd name="T39" fmla="*/ 2147483647 h 43"/>
                <a:gd name="T40" fmla="*/ 2147483647 w 61"/>
                <a:gd name="T41" fmla="*/ 2147483647 h 43"/>
                <a:gd name="T42" fmla="*/ 2147483647 w 61"/>
                <a:gd name="T43" fmla="*/ 2147483647 h 43"/>
                <a:gd name="T44" fmla="*/ 2147483647 w 61"/>
                <a:gd name="T45" fmla="*/ 2147483647 h 43"/>
                <a:gd name="T46" fmla="*/ 2147483647 w 61"/>
                <a:gd name="T47" fmla="*/ 2147483647 h 43"/>
                <a:gd name="T48" fmla="*/ 2147483647 w 61"/>
                <a:gd name="T49" fmla="*/ 2147483647 h 43"/>
                <a:gd name="T50" fmla="*/ 2147483647 w 61"/>
                <a:gd name="T51" fmla="*/ 2147483647 h 43"/>
                <a:gd name="T52" fmla="*/ 2147483647 w 61"/>
                <a:gd name="T53" fmla="*/ 0 h 43"/>
                <a:gd name="T54" fmla="*/ 2147483647 w 61"/>
                <a:gd name="T55" fmla="*/ 0 h 43"/>
                <a:gd name="T56" fmla="*/ 2147483647 w 61"/>
                <a:gd name="T57" fmla="*/ 0 h 43"/>
                <a:gd name="T58" fmla="*/ 2147483647 w 61"/>
                <a:gd name="T59" fmla="*/ 0 h 43"/>
                <a:gd name="T60" fmla="*/ 2147483647 w 61"/>
                <a:gd name="T61" fmla="*/ 2147483647 h 43"/>
                <a:gd name="T62" fmla="*/ 2147483647 w 61"/>
                <a:gd name="T63" fmla="*/ 2147483647 h 4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61"/>
                <a:gd name="T97" fmla="*/ 0 h 43"/>
                <a:gd name="T98" fmla="*/ 61 w 61"/>
                <a:gd name="T99" fmla="*/ 43 h 43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61" h="43">
                  <a:moveTo>
                    <a:pt x="3" y="17"/>
                  </a:moveTo>
                  <a:lnTo>
                    <a:pt x="6" y="20"/>
                  </a:lnTo>
                  <a:lnTo>
                    <a:pt x="3" y="20"/>
                  </a:lnTo>
                  <a:lnTo>
                    <a:pt x="3" y="26"/>
                  </a:lnTo>
                  <a:lnTo>
                    <a:pt x="0" y="26"/>
                  </a:lnTo>
                  <a:lnTo>
                    <a:pt x="3" y="32"/>
                  </a:lnTo>
                  <a:lnTo>
                    <a:pt x="0" y="40"/>
                  </a:lnTo>
                  <a:lnTo>
                    <a:pt x="0" y="43"/>
                  </a:lnTo>
                  <a:lnTo>
                    <a:pt x="3" y="43"/>
                  </a:lnTo>
                  <a:lnTo>
                    <a:pt x="6" y="40"/>
                  </a:lnTo>
                  <a:lnTo>
                    <a:pt x="9" y="37"/>
                  </a:lnTo>
                  <a:lnTo>
                    <a:pt x="12" y="34"/>
                  </a:lnTo>
                  <a:lnTo>
                    <a:pt x="12" y="32"/>
                  </a:lnTo>
                  <a:lnTo>
                    <a:pt x="15" y="32"/>
                  </a:lnTo>
                  <a:lnTo>
                    <a:pt x="21" y="32"/>
                  </a:lnTo>
                  <a:lnTo>
                    <a:pt x="23" y="34"/>
                  </a:lnTo>
                  <a:lnTo>
                    <a:pt x="35" y="29"/>
                  </a:lnTo>
                  <a:lnTo>
                    <a:pt x="38" y="26"/>
                  </a:lnTo>
                  <a:lnTo>
                    <a:pt x="44" y="26"/>
                  </a:lnTo>
                  <a:lnTo>
                    <a:pt x="49" y="29"/>
                  </a:lnTo>
                  <a:lnTo>
                    <a:pt x="49" y="32"/>
                  </a:lnTo>
                  <a:lnTo>
                    <a:pt x="52" y="34"/>
                  </a:lnTo>
                  <a:lnTo>
                    <a:pt x="55" y="34"/>
                  </a:lnTo>
                  <a:lnTo>
                    <a:pt x="55" y="32"/>
                  </a:lnTo>
                  <a:lnTo>
                    <a:pt x="55" y="29"/>
                  </a:lnTo>
                  <a:lnTo>
                    <a:pt x="61" y="29"/>
                  </a:lnTo>
                  <a:lnTo>
                    <a:pt x="61" y="26"/>
                  </a:lnTo>
                  <a:lnTo>
                    <a:pt x="55" y="17"/>
                  </a:lnTo>
                  <a:lnTo>
                    <a:pt x="49" y="14"/>
                  </a:lnTo>
                  <a:lnTo>
                    <a:pt x="38" y="12"/>
                  </a:lnTo>
                  <a:lnTo>
                    <a:pt x="32" y="9"/>
                  </a:lnTo>
                  <a:lnTo>
                    <a:pt x="29" y="3"/>
                  </a:lnTo>
                  <a:lnTo>
                    <a:pt x="26" y="3"/>
                  </a:lnTo>
                  <a:lnTo>
                    <a:pt x="21" y="0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9" y="0"/>
                  </a:lnTo>
                  <a:lnTo>
                    <a:pt x="6" y="0"/>
                  </a:lnTo>
                  <a:lnTo>
                    <a:pt x="6" y="6"/>
                  </a:lnTo>
                  <a:lnTo>
                    <a:pt x="6" y="17"/>
                  </a:lnTo>
                  <a:lnTo>
                    <a:pt x="3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44" name="Freeform 546"/>
            <p:cNvSpPr>
              <a:spLocks/>
            </p:cNvSpPr>
            <p:nvPr/>
          </p:nvSpPr>
          <p:spPr bwMode="auto">
            <a:xfrm>
              <a:off x="2281238" y="2936875"/>
              <a:ext cx="14287" cy="4763"/>
            </a:xfrm>
            <a:custGeom>
              <a:avLst/>
              <a:gdLst>
                <a:gd name="T0" fmla="*/ 2147483647 w 9"/>
                <a:gd name="T1" fmla="*/ 0 h 3"/>
                <a:gd name="T2" fmla="*/ 2147483647 w 9"/>
                <a:gd name="T3" fmla="*/ 0 h 3"/>
                <a:gd name="T4" fmla="*/ 0 w 9"/>
                <a:gd name="T5" fmla="*/ 0 h 3"/>
                <a:gd name="T6" fmla="*/ 0 w 9"/>
                <a:gd name="T7" fmla="*/ 2147483647 h 3"/>
                <a:gd name="T8" fmla="*/ 2147483647 w 9"/>
                <a:gd name="T9" fmla="*/ 2147483647 h 3"/>
                <a:gd name="T10" fmla="*/ 2147483647 w 9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3"/>
                <a:gd name="T20" fmla="*/ 9 w 9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3">
                  <a:moveTo>
                    <a:pt x="9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45" name="Freeform 547"/>
            <p:cNvSpPr>
              <a:spLocks/>
            </p:cNvSpPr>
            <p:nvPr/>
          </p:nvSpPr>
          <p:spPr bwMode="auto">
            <a:xfrm>
              <a:off x="2317750" y="3352800"/>
              <a:ext cx="4763" cy="4763"/>
            </a:xfrm>
            <a:custGeom>
              <a:avLst/>
              <a:gdLst>
                <a:gd name="T0" fmla="*/ 2147483647 w 3"/>
                <a:gd name="T1" fmla="*/ 0 h 3"/>
                <a:gd name="T2" fmla="*/ 0 w 3"/>
                <a:gd name="T3" fmla="*/ 2147483647 h 3"/>
                <a:gd name="T4" fmla="*/ 2147483647 w 3"/>
                <a:gd name="T5" fmla="*/ 2147483647 h 3"/>
                <a:gd name="T6" fmla="*/ 2147483647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3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46" name="Freeform 548"/>
            <p:cNvSpPr>
              <a:spLocks/>
            </p:cNvSpPr>
            <p:nvPr/>
          </p:nvSpPr>
          <p:spPr bwMode="auto">
            <a:xfrm>
              <a:off x="2312988" y="3348038"/>
              <a:ext cx="4762" cy="4762"/>
            </a:xfrm>
            <a:custGeom>
              <a:avLst/>
              <a:gdLst>
                <a:gd name="T0" fmla="*/ 2147483647 w 3"/>
                <a:gd name="T1" fmla="*/ 0 h 3"/>
                <a:gd name="T2" fmla="*/ 0 w 3"/>
                <a:gd name="T3" fmla="*/ 2147483647 h 3"/>
                <a:gd name="T4" fmla="*/ 0 w 3"/>
                <a:gd name="T5" fmla="*/ 2147483647 h 3"/>
                <a:gd name="T6" fmla="*/ 2147483647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3" y="0"/>
                  </a:moveTo>
                  <a:lnTo>
                    <a:pt x="0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47" name="Freeform 549"/>
            <p:cNvSpPr>
              <a:spLocks/>
            </p:cNvSpPr>
            <p:nvPr/>
          </p:nvSpPr>
          <p:spPr bwMode="auto">
            <a:xfrm>
              <a:off x="2124075" y="3389313"/>
              <a:ext cx="9525" cy="4762"/>
            </a:xfrm>
            <a:custGeom>
              <a:avLst/>
              <a:gdLst>
                <a:gd name="T0" fmla="*/ 0 w 6"/>
                <a:gd name="T1" fmla="*/ 0 h 3"/>
                <a:gd name="T2" fmla="*/ 2147483647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0 h 3"/>
                <a:gd name="T8" fmla="*/ 0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0" y="0"/>
                  </a:moveTo>
                  <a:lnTo>
                    <a:pt x="3" y="3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48" name="Freeform 550"/>
            <p:cNvSpPr>
              <a:spLocks/>
            </p:cNvSpPr>
            <p:nvPr/>
          </p:nvSpPr>
          <p:spPr bwMode="auto">
            <a:xfrm>
              <a:off x="2451100" y="3687763"/>
              <a:ext cx="4763" cy="4762"/>
            </a:xfrm>
            <a:custGeom>
              <a:avLst/>
              <a:gdLst>
                <a:gd name="T0" fmla="*/ 2147483647 w 3"/>
                <a:gd name="T1" fmla="*/ 0 h 3"/>
                <a:gd name="T2" fmla="*/ 2147483647 w 3"/>
                <a:gd name="T3" fmla="*/ 0 h 3"/>
                <a:gd name="T4" fmla="*/ 0 w 3"/>
                <a:gd name="T5" fmla="*/ 2147483647 h 3"/>
                <a:gd name="T6" fmla="*/ 2147483647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49" name="Freeform 551"/>
            <p:cNvSpPr>
              <a:spLocks/>
            </p:cNvSpPr>
            <p:nvPr/>
          </p:nvSpPr>
          <p:spPr bwMode="auto">
            <a:xfrm>
              <a:off x="2470150" y="3463925"/>
              <a:ext cx="4763" cy="3175"/>
            </a:xfrm>
            <a:custGeom>
              <a:avLst/>
              <a:gdLst>
                <a:gd name="T0" fmla="*/ 2147483647 w 3"/>
                <a:gd name="T1" fmla="*/ 0 h 2"/>
                <a:gd name="T2" fmla="*/ 0 w 3"/>
                <a:gd name="T3" fmla="*/ 2147483647 h 2"/>
                <a:gd name="T4" fmla="*/ 0 w 3"/>
                <a:gd name="T5" fmla="*/ 2147483647 h 2"/>
                <a:gd name="T6" fmla="*/ 2147483647 w 3"/>
                <a:gd name="T7" fmla="*/ 0 h 2"/>
                <a:gd name="T8" fmla="*/ 2147483647 w 3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3" y="0"/>
                  </a:moveTo>
                  <a:lnTo>
                    <a:pt x="0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50" name="Freeform 552"/>
            <p:cNvSpPr>
              <a:spLocks/>
            </p:cNvSpPr>
            <p:nvPr/>
          </p:nvSpPr>
          <p:spPr bwMode="auto">
            <a:xfrm>
              <a:off x="2482850" y="3476625"/>
              <a:ext cx="9525" cy="4763"/>
            </a:xfrm>
            <a:custGeom>
              <a:avLst/>
              <a:gdLst>
                <a:gd name="T0" fmla="*/ 0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0 h 3"/>
                <a:gd name="T6" fmla="*/ 0 w 6"/>
                <a:gd name="T7" fmla="*/ 0 h 3"/>
                <a:gd name="T8" fmla="*/ 0 w 6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0" y="3"/>
                  </a:moveTo>
                  <a:lnTo>
                    <a:pt x="3" y="3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51" name="Freeform 553"/>
            <p:cNvSpPr>
              <a:spLocks/>
            </p:cNvSpPr>
            <p:nvPr/>
          </p:nvSpPr>
          <p:spPr bwMode="auto">
            <a:xfrm>
              <a:off x="2482850" y="3454400"/>
              <a:ext cx="4763" cy="9525"/>
            </a:xfrm>
            <a:custGeom>
              <a:avLst/>
              <a:gdLst>
                <a:gd name="T0" fmla="*/ 0 w 3"/>
                <a:gd name="T1" fmla="*/ 2147483647 h 6"/>
                <a:gd name="T2" fmla="*/ 0 w 3"/>
                <a:gd name="T3" fmla="*/ 2147483647 h 6"/>
                <a:gd name="T4" fmla="*/ 2147483647 w 3"/>
                <a:gd name="T5" fmla="*/ 2147483647 h 6"/>
                <a:gd name="T6" fmla="*/ 2147483647 w 3"/>
                <a:gd name="T7" fmla="*/ 0 h 6"/>
                <a:gd name="T8" fmla="*/ 0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0" y="3"/>
                  </a:moveTo>
                  <a:lnTo>
                    <a:pt x="0" y="6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52" name="Freeform 554"/>
            <p:cNvSpPr>
              <a:spLocks/>
            </p:cNvSpPr>
            <p:nvPr/>
          </p:nvSpPr>
          <p:spPr bwMode="auto">
            <a:xfrm>
              <a:off x="2422525" y="3454400"/>
              <a:ext cx="42863" cy="22225"/>
            </a:xfrm>
            <a:custGeom>
              <a:avLst/>
              <a:gdLst>
                <a:gd name="T0" fmla="*/ 0 w 26"/>
                <a:gd name="T1" fmla="*/ 2147483647 h 14"/>
                <a:gd name="T2" fmla="*/ 0 w 26"/>
                <a:gd name="T3" fmla="*/ 2147483647 h 14"/>
                <a:gd name="T4" fmla="*/ 2147483647 w 26"/>
                <a:gd name="T5" fmla="*/ 2147483647 h 14"/>
                <a:gd name="T6" fmla="*/ 2147483647 w 26"/>
                <a:gd name="T7" fmla="*/ 2147483647 h 14"/>
                <a:gd name="T8" fmla="*/ 2147483647 w 26"/>
                <a:gd name="T9" fmla="*/ 2147483647 h 14"/>
                <a:gd name="T10" fmla="*/ 2147483647 w 26"/>
                <a:gd name="T11" fmla="*/ 2147483647 h 14"/>
                <a:gd name="T12" fmla="*/ 2147483647 w 26"/>
                <a:gd name="T13" fmla="*/ 2147483647 h 14"/>
                <a:gd name="T14" fmla="*/ 2147483647 w 26"/>
                <a:gd name="T15" fmla="*/ 2147483647 h 14"/>
                <a:gd name="T16" fmla="*/ 2147483647 w 26"/>
                <a:gd name="T17" fmla="*/ 2147483647 h 14"/>
                <a:gd name="T18" fmla="*/ 2147483647 w 26"/>
                <a:gd name="T19" fmla="*/ 2147483647 h 14"/>
                <a:gd name="T20" fmla="*/ 2147483647 w 26"/>
                <a:gd name="T21" fmla="*/ 2147483647 h 14"/>
                <a:gd name="T22" fmla="*/ 2147483647 w 26"/>
                <a:gd name="T23" fmla="*/ 2147483647 h 14"/>
                <a:gd name="T24" fmla="*/ 2147483647 w 26"/>
                <a:gd name="T25" fmla="*/ 2147483647 h 14"/>
                <a:gd name="T26" fmla="*/ 2147483647 w 26"/>
                <a:gd name="T27" fmla="*/ 2147483647 h 14"/>
                <a:gd name="T28" fmla="*/ 2147483647 w 26"/>
                <a:gd name="T29" fmla="*/ 0 h 14"/>
                <a:gd name="T30" fmla="*/ 2147483647 w 26"/>
                <a:gd name="T31" fmla="*/ 0 h 14"/>
                <a:gd name="T32" fmla="*/ 2147483647 w 26"/>
                <a:gd name="T33" fmla="*/ 0 h 14"/>
                <a:gd name="T34" fmla="*/ 2147483647 w 26"/>
                <a:gd name="T35" fmla="*/ 0 h 14"/>
                <a:gd name="T36" fmla="*/ 2147483647 w 26"/>
                <a:gd name="T37" fmla="*/ 0 h 14"/>
                <a:gd name="T38" fmla="*/ 2147483647 w 26"/>
                <a:gd name="T39" fmla="*/ 0 h 14"/>
                <a:gd name="T40" fmla="*/ 0 w 26"/>
                <a:gd name="T41" fmla="*/ 0 h 14"/>
                <a:gd name="T42" fmla="*/ 0 w 26"/>
                <a:gd name="T43" fmla="*/ 0 h 14"/>
                <a:gd name="T44" fmla="*/ 0 w 26"/>
                <a:gd name="T45" fmla="*/ 0 h 14"/>
                <a:gd name="T46" fmla="*/ 0 w 26"/>
                <a:gd name="T47" fmla="*/ 2147483647 h 14"/>
                <a:gd name="T48" fmla="*/ 0 w 26"/>
                <a:gd name="T49" fmla="*/ 2147483647 h 14"/>
                <a:gd name="T50" fmla="*/ 0 w 26"/>
                <a:gd name="T51" fmla="*/ 2147483647 h 14"/>
                <a:gd name="T52" fmla="*/ 0 w 26"/>
                <a:gd name="T53" fmla="*/ 2147483647 h 14"/>
                <a:gd name="T54" fmla="*/ 0 w 26"/>
                <a:gd name="T55" fmla="*/ 2147483647 h 14"/>
                <a:gd name="T56" fmla="*/ 0 w 26"/>
                <a:gd name="T57" fmla="*/ 2147483647 h 14"/>
                <a:gd name="T58" fmla="*/ 0 w 26"/>
                <a:gd name="T59" fmla="*/ 2147483647 h 14"/>
                <a:gd name="T60" fmla="*/ 0 w 26"/>
                <a:gd name="T61" fmla="*/ 2147483647 h 1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26"/>
                <a:gd name="T94" fmla="*/ 0 h 14"/>
                <a:gd name="T95" fmla="*/ 26 w 26"/>
                <a:gd name="T96" fmla="*/ 14 h 1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26" h="14">
                  <a:moveTo>
                    <a:pt x="0" y="11"/>
                  </a:moveTo>
                  <a:lnTo>
                    <a:pt x="0" y="11"/>
                  </a:lnTo>
                  <a:lnTo>
                    <a:pt x="6" y="8"/>
                  </a:lnTo>
                  <a:lnTo>
                    <a:pt x="11" y="11"/>
                  </a:lnTo>
                  <a:lnTo>
                    <a:pt x="14" y="11"/>
                  </a:lnTo>
                  <a:lnTo>
                    <a:pt x="17" y="14"/>
                  </a:lnTo>
                  <a:lnTo>
                    <a:pt x="23" y="8"/>
                  </a:lnTo>
                  <a:lnTo>
                    <a:pt x="26" y="3"/>
                  </a:lnTo>
                  <a:lnTo>
                    <a:pt x="23" y="0"/>
                  </a:lnTo>
                  <a:lnTo>
                    <a:pt x="17" y="0"/>
                  </a:lnTo>
                  <a:lnTo>
                    <a:pt x="11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53" name="Rectangle 555"/>
            <p:cNvSpPr>
              <a:spLocks noChangeArrowheads="1"/>
            </p:cNvSpPr>
            <p:nvPr/>
          </p:nvSpPr>
          <p:spPr bwMode="auto">
            <a:xfrm>
              <a:off x="2133600" y="3389313"/>
              <a:ext cx="4763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54" name="Freeform 556"/>
            <p:cNvSpPr>
              <a:spLocks/>
            </p:cNvSpPr>
            <p:nvPr/>
          </p:nvSpPr>
          <p:spPr bwMode="auto">
            <a:xfrm>
              <a:off x="2201863" y="3449638"/>
              <a:ext cx="9525" cy="9525"/>
            </a:xfrm>
            <a:custGeom>
              <a:avLst/>
              <a:gdLst>
                <a:gd name="T0" fmla="*/ 0 w 6"/>
                <a:gd name="T1" fmla="*/ 2147483647 h 6"/>
                <a:gd name="T2" fmla="*/ 2147483647 w 6"/>
                <a:gd name="T3" fmla="*/ 2147483647 h 6"/>
                <a:gd name="T4" fmla="*/ 2147483647 w 6"/>
                <a:gd name="T5" fmla="*/ 0 h 6"/>
                <a:gd name="T6" fmla="*/ 2147483647 w 6"/>
                <a:gd name="T7" fmla="*/ 0 h 6"/>
                <a:gd name="T8" fmla="*/ 0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3"/>
                  </a:moveTo>
                  <a:lnTo>
                    <a:pt x="6" y="6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55" name="Freeform 557"/>
            <p:cNvSpPr>
              <a:spLocks/>
            </p:cNvSpPr>
            <p:nvPr/>
          </p:nvSpPr>
          <p:spPr bwMode="auto">
            <a:xfrm>
              <a:off x="2120900" y="3454400"/>
              <a:ext cx="53975" cy="22225"/>
            </a:xfrm>
            <a:custGeom>
              <a:avLst/>
              <a:gdLst>
                <a:gd name="T0" fmla="*/ 2147483647 w 34"/>
                <a:gd name="T1" fmla="*/ 2147483647 h 14"/>
                <a:gd name="T2" fmla="*/ 2147483647 w 34"/>
                <a:gd name="T3" fmla="*/ 2147483647 h 14"/>
                <a:gd name="T4" fmla="*/ 2147483647 w 34"/>
                <a:gd name="T5" fmla="*/ 2147483647 h 14"/>
                <a:gd name="T6" fmla="*/ 2147483647 w 34"/>
                <a:gd name="T7" fmla="*/ 2147483647 h 14"/>
                <a:gd name="T8" fmla="*/ 2147483647 w 34"/>
                <a:gd name="T9" fmla="*/ 2147483647 h 14"/>
                <a:gd name="T10" fmla="*/ 2147483647 w 34"/>
                <a:gd name="T11" fmla="*/ 2147483647 h 14"/>
                <a:gd name="T12" fmla="*/ 2147483647 w 34"/>
                <a:gd name="T13" fmla="*/ 2147483647 h 14"/>
                <a:gd name="T14" fmla="*/ 2147483647 w 34"/>
                <a:gd name="T15" fmla="*/ 2147483647 h 14"/>
                <a:gd name="T16" fmla="*/ 2147483647 w 34"/>
                <a:gd name="T17" fmla="*/ 2147483647 h 14"/>
                <a:gd name="T18" fmla="*/ 2147483647 w 34"/>
                <a:gd name="T19" fmla="*/ 2147483647 h 14"/>
                <a:gd name="T20" fmla="*/ 2147483647 w 34"/>
                <a:gd name="T21" fmla="*/ 2147483647 h 14"/>
                <a:gd name="T22" fmla="*/ 2147483647 w 34"/>
                <a:gd name="T23" fmla="*/ 2147483647 h 14"/>
                <a:gd name="T24" fmla="*/ 2147483647 w 34"/>
                <a:gd name="T25" fmla="*/ 2147483647 h 14"/>
                <a:gd name="T26" fmla="*/ 2147483647 w 34"/>
                <a:gd name="T27" fmla="*/ 2147483647 h 14"/>
                <a:gd name="T28" fmla="*/ 2147483647 w 34"/>
                <a:gd name="T29" fmla="*/ 2147483647 h 14"/>
                <a:gd name="T30" fmla="*/ 2147483647 w 34"/>
                <a:gd name="T31" fmla="*/ 2147483647 h 14"/>
                <a:gd name="T32" fmla="*/ 2147483647 w 34"/>
                <a:gd name="T33" fmla="*/ 2147483647 h 14"/>
                <a:gd name="T34" fmla="*/ 2147483647 w 34"/>
                <a:gd name="T35" fmla="*/ 2147483647 h 14"/>
                <a:gd name="T36" fmla="*/ 2147483647 w 34"/>
                <a:gd name="T37" fmla="*/ 2147483647 h 14"/>
                <a:gd name="T38" fmla="*/ 2147483647 w 34"/>
                <a:gd name="T39" fmla="*/ 2147483647 h 14"/>
                <a:gd name="T40" fmla="*/ 2147483647 w 34"/>
                <a:gd name="T41" fmla="*/ 2147483647 h 14"/>
                <a:gd name="T42" fmla="*/ 2147483647 w 34"/>
                <a:gd name="T43" fmla="*/ 2147483647 h 14"/>
                <a:gd name="T44" fmla="*/ 2147483647 w 34"/>
                <a:gd name="T45" fmla="*/ 0 h 14"/>
                <a:gd name="T46" fmla="*/ 2147483647 w 34"/>
                <a:gd name="T47" fmla="*/ 0 h 14"/>
                <a:gd name="T48" fmla="*/ 2147483647 w 34"/>
                <a:gd name="T49" fmla="*/ 0 h 14"/>
                <a:gd name="T50" fmla="*/ 2147483647 w 34"/>
                <a:gd name="T51" fmla="*/ 0 h 14"/>
                <a:gd name="T52" fmla="*/ 0 w 34"/>
                <a:gd name="T53" fmla="*/ 2147483647 h 14"/>
                <a:gd name="T54" fmla="*/ 0 w 34"/>
                <a:gd name="T55" fmla="*/ 2147483647 h 14"/>
                <a:gd name="T56" fmla="*/ 2147483647 w 34"/>
                <a:gd name="T57" fmla="*/ 2147483647 h 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4"/>
                <a:gd name="T88" fmla="*/ 0 h 14"/>
                <a:gd name="T89" fmla="*/ 34 w 34"/>
                <a:gd name="T90" fmla="*/ 14 h 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4" h="14">
                  <a:moveTo>
                    <a:pt x="8" y="6"/>
                  </a:moveTo>
                  <a:lnTo>
                    <a:pt x="5" y="8"/>
                  </a:lnTo>
                  <a:lnTo>
                    <a:pt x="5" y="11"/>
                  </a:lnTo>
                  <a:lnTo>
                    <a:pt x="8" y="14"/>
                  </a:lnTo>
                  <a:lnTo>
                    <a:pt x="17" y="14"/>
                  </a:lnTo>
                  <a:lnTo>
                    <a:pt x="20" y="11"/>
                  </a:lnTo>
                  <a:lnTo>
                    <a:pt x="22" y="11"/>
                  </a:lnTo>
                  <a:lnTo>
                    <a:pt x="25" y="11"/>
                  </a:lnTo>
                  <a:lnTo>
                    <a:pt x="34" y="14"/>
                  </a:lnTo>
                  <a:lnTo>
                    <a:pt x="34" y="11"/>
                  </a:lnTo>
                  <a:lnTo>
                    <a:pt x="34" y="8"/>
                  </a:lnTo>
                  <a:lnTo>
                    <a:pt x="28" y="3"/>
                  </a:lnTo>
                  <a:lnTo>
                    <a:pt x="20" y="3"/>
                  </a:lnTo>
                  <a:lnTo>
                    <a:pt x="11" y="0"/>
                  </a:lnTo>
                  <a:lnTo>
                    <a:pt x="5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8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56" name="Freeform 558"/>
            <p:cNvSpPr>
              <a:spLocks/>
            </p:cNvSpPr>
            <p:nvPr/>
          </p:nvSpPr>
          <p:spPr bwMode="auto">
            <a:xfrm>
              <a:off x="2143125" y="3394075"/>
              <a:ext cx="9525" cy="7938"/>
            </a:xfrm>
            <a:custGeom>
              <a:avLst/>
              <a:gdLst>
                <a:gd name="T0" fmla="*/ 2147483647 w 6"/>
                <a:gd name="T1" fmla="*/ 0 h 5"/>
                <a:gd name="T2" fmla="*/ 0 w 6"/>
                <a:gd name="T3" fmla="*/ 2147483647 h 5"/>
                <a:gd name="T4" fmla="*/ 2147483647 w 6"/>
                <a:gd name="T5" fmla="*/ 2147483647 h 5"/>
                <a:gd name="T6" fmla="*/ 2147483647 w 6"/>
                <a:gd name="T7" fmla="*/ 2147483647 h 5"/>
                <a:gd name="T8" fmla="*/ 2147483647 w 6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5"/>
                <a:gd name="T17" fmla="*/ 6 w 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5">
                  <a:moveTo>
                    <a:pt x="3" y="0"/>
                  </a:moveTo>
                  <a:lnTo>
                    <a:pt x="0" y="2"/>
                  </a:lnTo>
                  <a:lnTo>
                    <a:pt x="6" y="5"/>
                  </a:lnTo>
                  <a:lnTo>
                    <a:pt x="6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57" name="Freeform 559"/>
            <p:cNvSpPr>
              <a:spLocks/>
            </p:cNvSpPr>
            <p:nvPr/>
          </p:nvSpPr>
          <p:spPr bwMode="auto">
            <a:xfrm>
              <a:off x="2274888" y="3328988"/>
              <a:ext cx="11112" cy="4762"/>
            </a:xfrm>
            <a:custGeom>
              <a:avLst/>
              <a:gdLst>
                <a:gd name="T0" fmla="*/ 0 w 6"/>
                <a:gd name="T1" fmla="*/ 0 h 3"/>
                <a:gd name="T2" fmla="*/ 2147483647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0 h 3"/>
                <a:gd name="T8" fmla="*/ 0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0" y="0"/>
                  </a:moveTo>
                  <a:lnTo>
                    <a:pt x="3" y="3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58" name="Freeform 560"/>
            <p:cNvSpPr>
              <a:spLocks/>
            </p:cNvSpPr>
            <p:nvPr/>
          </p:nvSpPr>
          <p:spPr bwMode="auto">
            <a:xfrm>
              <a:off x="2170113" y="3246438"/>
              <a:ext cx="9525" cy="4762"/>
            </a:xfrm>
            <a:custGeom>
              <a:avLst/>
              <a:gdLst>
                <a:gd name="T0" fmla="*/ 0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0 h 3"/>
                <a:gd name="T6" fmla="*/ 2147483647 w 6"/>
                <a:gd name="T7" fmla="*/ 0 h 3"/>
                <a:gd name="T8" fmla="*/ 0 w 6"/>
                <a:gd name="T9" fmla="*/ 0 h 3"/>
                <a:gd name="T10" fmla="*/ 0 w 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0" y="3"/>
                  </a:moveTo>
                  <a:lnTo>
                    <a:pt x="6" y="3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59" name="Freeform 561"/>
            <p:cNvSpPr>
              <a:spLocks/>
            </p:cNvSpPr>
            <p:nvPr/>
          </p:nvSpPr>
          <p:spPr bwMode="auto">
            <a:xfrm>
              <a:off x="2192338" y="3232150"/>
              <a:ext cx="9525" cy="9525"/>
            </a:xfrm>
            <a:custGeom>
              <a:avLst/>
              <a:gdLst>
                <a:gd name="T0" fmla="*/ 2147483647 w 6"/>
                <a:gd name="T1" fmla="*/ 0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3" y="0"/>
                  </a:moveTo>
                  <a:lnTo>
                    <a:pt x="0" y="6"/>
                  </a:lnTo>
                  <a:lnTo>
                    <a:pt x="3" y="3"/>
                  </a:lnTo>
                  <a:lnTo>
                    <a:pt x="6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60" name="Freeform 562"/>
            <p:cNvSpPr>
              <a:spLocks/>
            </p:cNvSpPr>
            <p:nvPr/>
          </p:nvSpPr>
          <p:spPr bwMode="auto">
            <a:xfrm>
              <a:off x="2155825" y="3275013"/>
              <a:ext cx="14288" cy="17462"/>
            </a:xfrm>
            <a:custGeom>
              <a:avLst/>
              <a:gdLst>
                <a:gd name="T0" fmla="*/ 0 w 9"/>
                <a:gd name="T1" fmla="*/ 2147483647 h 11"/>
                <a:gd name="T2" fmla="*/ 2147483647 w 9"/>
                <a:gd name="T3" fmla="*/ 2147483647 h 11"/>
                <a:gd name="T4" fmla="*/ 2147483647 w 9"/>
                <a:gd name="T5" fmla="*/ 2147483647 h 11"/>
                <a:gd name="T6" fmla="*/ 2147483647 w 9"/>
                <a:gd name="T7" fmla="*/ 2147483647 h 11"/>
                <a:gd name="T8" fmla="*/ 2147483647 w 9"/>
                <a:gd name="T9" fmla="*/ 2147483647 h 11"/>
                <a:gd name="T10" fmla="*/ 2147483647 w 9"/>
                <a:gd name="T11" fmla="*/ 2147483647 h 11"/>
                <a:gd name="T12" fmla="*/ 2147483647 w 9"/>
                <a:gd name="T13" fmla="*/ 2147483647 h 11"/>
                <a:gd name="T14" fmla="*/ 2147483647 w 9"/>
                <a:gd name="T15" fmla="*/ 0 h 11"/>
                <a:gd name="T16" fmla="*/ 2147483647 w 9"/>
                <a:gd name="T17" fmla="*/ 0 h 11"/>
                <a:gd name="T18" fmla="*/ 2147483647 w 9"/>
                <a:gd name="T19" fmla="*/ 0 h 11"/>
                <a:gd name="T20" fmla="*/ 0 w 9"/>
                <a:gd name="T21" fmla="*/ 2147483647 h 11"/>
                <a:gd name="T22" fmla="*/ 0 w 9"/>
                <a:gd name="T23" fmla="*/ 2147483647 h 1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9"/>
                <a:gd name="T37" fmla="*/ 0 h 11"/>
                <a:gd name="T38" fmla="*/ 9 w 9"/>
                <a:gd name="T39" fmla="*/ 11 h 1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9" h="11">
                  <a:moveTo>
                    <a:pt x="0" y="3"/>
                  </a:moveTo>
                  <a:lnTo>
                    <a:pt x="6" y="11"/>
                  </a:lnTo>
                  <a:lnTo>
                    <a:pt x="6" y="9"/>
                  </a:lnTo>
                  <a:lnTo>
                    <a:pt x="9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61" name="Freeform 563"/>
            <p:cNvSpPr>
              <a:spLocks/>
            </p:cNvSpPr>
            <p:nvPr/>
          </p:nvSpPr>
          <p:spPr bwMode="auto">
            <a:xfrm>
              <a:off x="2478088" y="3683000"/>
              <a:ext cx="19050" cy="4763"/>
            </a:xfrm>
            <a:custGeom>
              <a:avLst/>
              <a:gdLst>
                <a:gd name="T0" fmla="*/ 0 w 12"/>
                <a:gd name="T1" fmla="*/ 2147483647 h 3"/>
                <a:gd name="T2" fmla="*/ 2147483647 w 12"/>
                <a:gd name="T3" fmla="*/ 2147483647 h 3"/>
                <a:gd name="T4" fmla="*/ 2147483647 w 12"/>
                <a:gd name="T5" fmla="*/ 2147483647 h 3"/>
                <a:gd name="T6" fmla="*/ 2147483647 w 12"/>
                <a:gd name="T7" fmla="*/ 2147483647 h 3"/>
                <a:gd name="T8" fmla="*/ 2147483647 w 12"/>
                <a:gd name="T9" fmla="*/ 0 h 3"/>
                <a:gd name="T10" fmla="*/ 2147483647 w 12"/>
                <a:gd name="T11" fmla="*/ 2147483647 h 3"/>
                <a:gd name="T12" fmla="*/ 2147483647 w 12"/>
                <a:gd name="T13" fmla="*/ 0 h 3"/>
                <a:gd name="T14" fmla="*/ 0 w 12"/>
                <a:gd name="T15" fmla="*/ 2147483647 h 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"/>
                <a:gd name="T25" fmla="*/ 0 h 3"/>
                <a:gd name="T26" fmla="*/ 12 w 12"/>
                <a:gd name="T27" fmla="*/ 3 h 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" h="3">
                  <a:moveTo>
                    <a:pt x="0" y="3"/>
                  </a:moveTo>
                  <a:lnTo>
                    <a:pt x="6" y="3"/>
                  </a:lnTo>
                  <a:lnTo>
                    <a:pt x="9" y="3"/>
                  </a:lnTo>
                  <a:lnTo>
                    <a:pt x="12" y="3"/>
                  </a:lnTo>
                  <a:lnTo>
                    <a:pt x="12" y="0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62" name="Freeform 564"/>
            <p:cNvSpPr>
              <a:spLocks/>
            </p:cNvSpPr>
            <p:nvPr/>
          </p:nvSpPr>
          <p:spPr bwMode="auto">
            <a:xfrm>
              <a:off x="2133600" y="3324225"/>
              <a:ext cx="14288" cy="14288"/>
            </a:xfrm>
            <a:custGeom>
              <a:avLst/>
              <a:gdLst>
                <a:gd name="T0" fmla="*/ 0 w 9"/>
                <a:gd name="T1" fmla="*/ 0 h 9"/>
                <a:gd name="T2" fmla="*/ 0 w 9"/>
                <a:gd name="T3" fmla="*/ 2147483647 h 9"/>
                <a:gd name="T4" fmla="*/ 2147483647 w 9"/>
                <a:gd name="T5" fmla="*/ 2147483647 h 9"/>
                <a:gd name="T6" fmla="*/ 2147483647 w 9"/>
                <a:gd name="T7" fmla="*/ 2147483647 h 9"/>
                <a:gd name="T8" fmla="*/ 2147483647 w 9"/>
                <a:gd name="T9" fmla="*/ 2147483647 h 9"/>
                <a:gd name="T10" fmla="*/ 2147483647 w 9"/>
                <a:gd name="T11" fmla="*/ 2147483647 h 9"/>
                <a:gd name="T12" fmla="*/ 2147483647 w 9"/>
                <a:gd name="T13" fmla="*/ 2147483647 h 9"/>
                <a:gd name="T14" fmla="*/ 2147483647 w 9"/>
                <a:gd name="T15" fmla="*/ 2147483647 h 9"/>
                <a:gd name="T16" fmla="*/ 0 w 9"/>
                <a:gd name="T17" fmla="*/ 0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9"/>
                <a:gd name="T29" fmla="*/ 9 w 9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9">
                  <a:moveTo>
                    <a:pt x="0" y="0"/>
                  </a:moveTo>
                  <a:lnTo>
                    <a:pt x="0" y="3"/>
                  </a:lnTo>
                  <a:lnTo>
                    <a:pt x="3" y="6"/>
                  </a:lnTo>
                  <a:lnTo>
                    <a:pt x="6" y="6"/>
                  </a:lnTo>
                  <a:lnTo>
                    <a:pt x="9" y="9"/>
                  </a:lnTo>
                  <a:lnTo>
                    <a:pt x="9" y="6"/>
                  </a:lnTo>
                  <a:lnTo>
                    <a:pt x="6" y="6"/>
                  </a:lnTo>
                  <a:lnTo>
                    <a:pt x="3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63" name="Freeform 565"/>
            <p:cNvSpPr>
              <a:spLocks/>
            </p:cNvSpPr>
            <p:nvPr/>
          </p:nvSpPr>
          <p:spPr bwMode="auto">
            <a:xfrm>
              <a:off x="2143125" y="3195638"/>
              <a:ext cx="12700" cy="9525"/>
            </a:xfrm>
            <a:custGeom>
              <a:avLst/>
              <a:gdLst>
                <a:gd name="T0" fmla="*/ 2147483647 w 8"/>
                <a:gd name="T1" fmla="*/ 0 h 6"/>
                <a:gd name="T2" fmla="*/ 0 w 8"/>
                <a:gd name="T3" fmla="*/ 2147483647 h 6"/>
                <a:gd name="T4" fmla="*/ 2147483647 w 8"/>
                <a:gd name="T5" fmla="*/ 2147483647 h 6"/>
                <a:gd name="T6" fmla="*/ 2147483647 w 8"/>
                <a:gd name="T7" fmla="*/ 2147483647 h 6"/>
                <a:gd name="T8" fmla="*/ 2147483647 w 8"/>
                <a:gd name="T9" fmla="*/ 0 h 6"/>
                <a:gd name="T10" fmla="*/ 2147483647 w 8"/>
                <a:gd name="T11" fmla="*/ 0 h 6"/>
                <a:gd name="T12" fmla="*/ 2147483647 w 8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6"/>
                <a:gd name="T23" fmla="*/ 8 w 8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6">
                  <a:moveTo>
                    <a:pt x="6" y="0"/>
                  </a:moveTo>
                  <a:lnTo>
                    <a:pt x="0" y="3"/>
                  </a:lnTo>
                  <a:lnTo>
                    <a:pt x="3" y="6"/>
                  </a:lnTo>
                  <a:lnTo>
                    <a:pt x="8" y="3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64" name="Freeform 566"/>
            <p:cNvSpPr>
              <a:spLocks/>
            </p:cNvSpPr>
            <p:nvPr/>
          </p:nvSpPr>
          <p:spPr bwMode="auto">
            <a:xfrm>
              <a:off x="2147888" y="3246438"/>
              <a:ext cx="17462" cy="23812"/>
            </a:xfrm>
            <a:custGeom>
              <a:avLst/>
              <a:gdLst>
                <a:gd name="T0" fmla="*/ 2147483647 w 11"/>
                <a:gd name="T1" fmla="*/ 0 h 14"/>
                <a:gd name="T2" fmla="*/ 2147483647 w 11"/>
                <a:gd name="T3" fmla="*/ 0 h 14"/>
                <a:gd name="T4" fmla="*/ 2147483647 w 11"/>
                <a:gd name="T5" fmla="*/ 0 h 14"/>
                <a:gd name="T6" fmla="*/ 2147483647 w 11"/>
                <a:gd name="T7" fmla="*/ 2147483647 h 14"/>
                <a:gd name="T8" fmla="*/ 2147483647 w 11"/>
                <a:gd name="T9" fmla="*/ 2147483647 h 14"/>
                <a:gd name="T10" fmla="*/ 2147483647 w 11"/>
                <a:gd name="T11" fmla="*/ 2147483647 h 14"/>
                <a:gd name="T12" fmla="*/ 0 w 11"/>
                <a:gd name="T13" fmla="*/ 2147483647 h 14"/>
                <a:gd name="T14" fmla="*/ 2147483647 w 11"/>
                <a:gd name="T15" fmla="*/ 2147483647 h 14"/>
                <a:gd name="T16" fmla="*/ 2147483647 w 11"/>
                <a:gd name="T17" fmla="*/ 2147483647 h 14"/>
                <a:gd name="T18" fmla="*/ 2147483647 w 11"/>
                <a:gd name="T19" fmla="*/ 2147483647 h 14"/>
                <a:gd name="T20" fmla="*/ 2147483647 w 11"/>
                <a:gd name="T21" fmla="*/ 2147483647 h 14"/>
                <a:gd name="T22" fmla="*/ 2147483647 w 11"/>
                <a:gd name="T23" fmla="*/ 2147483647 h 14"/>
                <a:gd name="T24" fmla="*/ 2147483647 w 11"/>
                <a:gd name="T25" fmla="*/ 2147483647 h 14"/>
                <a:gd name="T26" fmla="*/ 2147483647 w 11"/>
                <a:gd name="T27" fmla="*/ 2147483647 h 14"/>
                <a:gd name="T28" fmla="*/ 2147483647 w 11"/>
                <a:gd name="T29" fmla="*/ 2147483647 h 14"/>
                <a:gd name="T30" fmla="*/ 2147483647 w 11"/>
                <a:gd name="T31" fmla="*/ 2147483647 h 14"/>
                <a:gd name="T32" fmla="*/ 2147483647 w 11"/>
                <a:gd name="T33" fmla="*/ 0 h 14"/>
                <a:gd name="T34" fmla="*/ 2147483647 w 11"/>
                <a:gd name="T35" fmla="*/ 0 h 14"/>
                <a:gd name="T36" fmla="*/ 2147483647 w 11"/>
                <a:gd name="T37" fmla="*/ 0 h 1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1"/>
                <a:gd name="T58" fmla="*/ 0 h 14"/>
                <a:gd name="T59" fmla="*/ 11 w 11"/>
                <a:gd name="T60" fmla="*/ 14 h 1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1" h="14">
                  <a:moveTo>
                    <a:pt x="5" y="0"/>
                  </a:moveTo>
                  <a:lnTo>
                    <a:pt x="5" y="0"/>
                  </a:lnTo>
                  <a:lnTo>
                    <a:pt x="5" y="5"/>
                  </a:lnTo>
                  <a:lnTo>
                    <a:pt x="3" y="8"/>
                  </a:lnTo>
                  <a:lnTo>
                    <a:pt x="0" y="11"/>
                  </a:lnTo>
                  <a:lnTo>
                    <a:pt x="3" y="14"/>
                  </a:lnTo>
                  <a:lnTo>
                    <a:pt x="5" y="14"/>
                  </a:lnTo>
                  <a:lnTo>
                    <a:pt x="8" y="14"/>
                  </a:lnTo>
                  <a:lnTo>
                    <a:pt x="11" y="11"/>
                  </a:lnTo>
                  <a:lnTo>
                    <a:pt x="8" y="5"/>
                  </a:lnTo>
                  <a:lnTo>
                    <a:pt x="8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65" name="Freeform 567"/>
            <p:cNvSpPr>
              <a:spLocks/>
            </p:cNvSpPr>
            <p:nvPr/>
          </p:nvSpPr>
          <p:spPr bwMode="auto">
            <a:xfrm>
              <a:off x="2120900" y="3321050"/>
              <a:ext cx="3175" cy="3175"/>
            </a:xfrm>
            <a:custGeom>
              <a:avLst/>
              <a:gdLst>
                <a:gd name="T0" fmla="*/ 2147483647 w 2"/>
                <a:gd name="T1" fmla="*/ 0 h 2"/>
                <a:gd name="T2" fmla="*/ 0 w 2"/>
                <a:gd name="T3" fmla="*/ 0 h 2"/>
                <a:gd name="T4" fmla="*/ 2147483647 w 2"/>
                <a:gd name="T5" fmla="*/ 2147483647 h 2"/>
                <a:gd name="T6" fmla="*/ 2147483647 w 2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2"/>
                <a:gd name="T14" fmla="*/ 2 w 2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2">
                  <a:moveTo>
                    <a:pt x="2" y="0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66" name="Freeform 568"/>
            <p:cNvSpPr>
              <a:spLocks/>
            </p:cNvSpPr>
            <p:nvPr/>
          </p:nvSpPr>
          <p:spPr bwMode="auto">
            <a:xfrm>
              <a:off x="2160588" y="3186113"/>
              <a:ext cx="19050" cy="14287"/>
            </a:xfrm>
            <a:custGeom>
              <a:avLst/>
              <a:gdLst>
                <a:gd name="T0" fmla="*/ 2147483647 w 12"/>
                <a:gd name="T1" fmla="*/ 0 h 9"/>
                <a:gd name="T2" fmla="*/ 2147483647 w 12"/>
                <a:gd name="T3" fmla="*/ 2147483647 h 9"/>
                <a:gd name="T4" fmla="*/ 0 w 12"/>
                <a:gd name="T5" fmla="*/ 2147483647 h 9"/>
                <a:gd name="T6" fmla="*/ 0 w 12"/>
                <a:gd name="T7" fmla="*/ 2147483647 h 9"/>
                <a:gd name="T8" fmla="*/ 2147483647 w 12"/>
                <a:gd name="T9" fmla="*/ 2147483647 h 9"/>
                <a:gd name="T10" fmla="*/ 2147483647 w 12"/>
                <a:gd name="T11" fmla="*/ 2147483647 h 9"/>
                <a:gd name="T12" fmla="*/ 2147483647 w 12"/>
                <a:gd name="T13" fmla="*/ 2147483647 h 9"/>
                <a:gd name="T14" fmla="*/ 2147483647 w 12"/>
                <a:gd name="T15" fmla="*/ 2147483647 h 9"/>
                <a:gd name="T16" fmla="*/ 2147483647 w 12"/>
                <a:gd name="T17" fmla="*/ 0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2"/>
                <a:gd name="T28" fmla="*/ 0 h 9"/>
                <a:gd name="T29" fmla="*/ 12 w 12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2" h="9">
                  <a:moveTo>
                    <a:pt x="9" y="0"/>
                  </a:moveTo>
                  <a:lnTo>
                    <a:pt x="6" y="6"/>
                  </a:lnTo>
                  <a:lnTo>
                    <a:pt x="0" y="6"/>
                  </a:lnTo>
                  <a:lnTo>
                    <a:pt x="0" y="9"/>
                  </a:lnTo>
                  <a:lnTo>
                    <a:pt x="6" y="6"/>
                  </a:lnTo>
                  <a:lnTo>
                    <a:pt x="9" y="6"/>
                  </a:lnTo>
                  <a:lnTo>
                    <a:pt x="12" y="6"/>
                  </a:lnTo>
                  <a:lnTo>
                    <a:pt x="12" y="3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67" name="Freeform 569"/>
            <p:cNvSpPr>
              <a:spLocks/>
            </p:cNvSpPr>
            <p:nvPr/>
          </p:nvSpPr>
          <p:spPr bwMode="auto">
            <a:xfrm>
              <a:off x="2179638" y="3209925"/>
              <a:ext cx="9525" cy="7938"/>
            </a:xfrm>
            <a:custGeom>
              <a:avLst/>
              <a:gdLst>
                <a:gd name="T0" fmla="*/ 0 w 6"/>
                <a:gd name="T1" fmla="*/ 2147483647 h 5"/>
                <a:gd name="T2" fmla="*/ 2147483647 w 6"/>
                <a:gd name="T3" fmla="*/ 2147483647 h 5"/>
                <a:gd name="T4" fmla="*/ 2147483647 w 6"/>
                <a:gd name="T5" fmla="*/ 2147483647 h 5"/>
                <a:gd name="T6" fmla="*/ 2147483647 w 6"/>
                <a:gd name="T7" fmla="*/ 0 h 5"/>
                <a:gd name="T8" fmla="*/ 0 w 6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5"/>
                <a:gd name="T17" fmla="*/ 6 w 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5">
                  <a:moveTo>
                    <a:pt x="0" y="5"/>
                  </a:moveTo>
                  <a:lnTo>
                    <a:pt x="3" y="5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68" name="Freeform 570"/>
            <p:cNvSpPr>
              <a:spLocks/>
            </p:cNvSpPr>
            <p:nvPr/>
          </p:nvSpPr>
          <p:spPr bwMode="auto">
            <a:xfrm>
              <a:off x="2189163" y="3195638"/>
              <a:ext cx="3175" cy="14287"/>
            </a:xfrm>
            <a:custGeom>
              <a:avLst/>
              <a:gdLst>
                <a:gd name="T0" fmla="*/ 2147483647 w 2"/>
                <a:gd name="T1" fmla="*/ 2147483647 h 9"/>
                <a:gd name="T2" fmla="*/ 0 w 2"/>
                <a:gd name="T3" fmla="*/ 0 h 9"/>
                <a:gd name="T4" fmla="*/ 0 w 2"/>
                <a:gd name="T5" fmla="*/ 2147483647 h 9"/>
                <a:gd name="T6" fmla="*/ 2147483647 w 2"/>
                <a:gd name="T7" fmla="*/ 2147483647 h 9"/>
                <a:gd name="T8" fmla="*/ 2147483647 w 2"/>
                <a:gd name="T9" fmla="*/ 2147483647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9"/>
                <a:gd name="T17" fmla="*/ 2 w 2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9">
                  <a:moveTo>
                    <a:pt x="2" y="3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2" y="9"/>
                  </a:lnTo>
                  <a:lnTo>
                    <a:pt x="2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69" name="Freeform 571"/>
            <p:cNvSpPr>
              <a:spLocks/>
            </p:cNvSpPr>
            <p:nvPr/>
          </p:nvSpPr>
          <p:spPr bwMode="auto">
            <a:xfrm>
              <a:off x="2257425" y="3370263"/>
              <a:ext cx="4763" cy="9525"/>
            </a:xfrm>
            <a:custGeom>
              <a:avLst/>
              <a:gdLst>
                <a:gd name="T0" fmla="*/ 0 w 3"/>
                <a:gd name="T1" fmla="*/ 2147483647 h 6"/>
                <a:gd name="T2" fmla="*/ 2147483647 w 3"/>
                <a:gd name="T3" fmla="*/ 2147483647 h 6"/>
                <a:gd name="T4" fmla="*/ 2147483647 w 3"/>
                <a:gd name="T5" fmla="*/ 0 h 6"/>
                <a:gd name="T6" fmla="*/ 0 w 3"/>
                <a:gd name="T7" fmla="*/ 0 h 6"/>
                <a:gd name="T8" fmla="*/ 0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0" y="3"/>
                  </a:moveTo>
                  <a:lnTo>
                    <a:pt x="3" y="6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70" name="Freeform 572"/>
            <p:cNvSpPr>
              <a:spLocks/>
            </p:cNvSpPr>
            <p:nvPr/>
          </p:nvSpPr>
          <p:spPr bwMode="auto">
            <a:xfrm>
              <a:off x="2247900" y="3316288"/>
              <a:ext cx="4763" cy="7937"/>
            </a:xfrm>
            <a:custGeom>
              <a:avLst/>
              <a:gdLst>
                <a:gd name="T0" fmla="*/ 0 w 3"/>
                <a:gd name="T1" fmla="*/ 2147483647 h 5"/>
                <a:gd name="T2" fmla="*/ 0 w 3"/>
                <a:gd name="T3" fmla="*/ 2147483647 h 5"/>
                <a:gd name="T4" fmla="*/ 2147483647 w 3"/>
                <a:gd name="T5" fmla="*/ 2147483647 h 5"/>
                <a:gd name="T6" fmla="*/ 0 w 3"/>
                <a:gd name="T7" fmla="*/ 0 h 5"/>
                <a:gd name="T8" fmla="*/ 0 w 3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0" y="3"/>
                  </a:moveTo>
                  <a:lnTo>
                    <a:pt x="0" y="5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71" name="Freeform 573"/>
            <p:cNvSpPr>
              <a:spLocks/>
            </p:cNvSpPr>
            <p:nvPr/>
          </p:nvSpPr>
          <p:spPr bwMode="auto">
            <a:xfrm>
              <a:off x="2243138" y="3406775"/>
              <a:ext cx="9525" cy="4763"/>
            </a:xfrm>
            <a:custGeom>
              <a:avLst/>
              <a:gdLst>
                <a:gd name="T0" fmla="*/ 0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0 h 3"/>
                <a:gd name="T6" fmla="*/ 0 w 6"/>
                <a:gd name="T7" fmla="*/ 0 h 3"/>
                <a:gd name="T8" fmla="*/ 0 w 6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0" y="3"/>
                  </a:moveTo>
                  <a:lnTo>
                    <a:pt x="3" y="3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72" name="Freeform 574"/>
            <p:cNvSpPr>
              <a:spLocks/>
            </p:cNvSpPr>
            <p:nvPr/>
          </p:nvSpPr>
          <p:spPr bwMode="auto">
            <a:xfrm>
              <a:off x="2220913" y="3406775"/>
              <a:ext cx="82550" cy="65088"/>
            </a:xfrm>
            <a:custGeom>
              <a:avLst/>
              <a:gdLst>
                <a:gd name="T0" fmla="*/ 2147483647 w 51"/>
                <a:gd name="T1" fmla="*/ 2147483647 h 40"/>
                <a:gd name="T2" fmla="*/ 0 w 51"/>
                <a:gd name="T3" fmla="*/ 2147483647 h 40"/>
                <a:gd name="T4" fmla="*/ 2147483647 w 51"/>
                <a:gd name="T5" fmla="*/ 2147483647 h 40"/>
                <a:gd name="T6" fmla="*/ 2147483647 w 51"/>
                <a:gd name="T7" fmla="*/ 2147483647 h 40"/>
                <a:gd name="T8" fmla="*/ 2147483647 w 51"/>
                <a:gd name="T9" fmla="*/ 2147483647 h 40"/>
                <a:gd name="T10" fmla="*/ 2147483647 w 51"/>
                <a:gd name="T11" fmla="*/ 2147483647 h 40"/>
                <a:gd name="T12" fmla="*/ 2147483647 w 51"/>
                <a:gd name="T13" fmla="*/ 2147483647 h 40"/>
                <a:gd name="T14" fmla="*/ 2147483647 w 51"/>
                <a:gd name="T15" fmla="*/ 2147483647 h 40"/>
                <a:gd name="T16" fmla="*/ 2147483647 w 51"/>
                <a:gd name="T17" fmla="*/ 2147483647 h 40"/>
                <a:gd name="T18" fmla="*/ 2147483647 w 51"/>
                <a:gd name="T19" fmla="*/ 2147483647 h 40"/>
                <a:gd name="T20" fmla="*/ 2147483647 w 51"/>
                <a:gd name="T21" fmla="*/ 2147483647 h 40"/>
                <a:gd name="T22" fmla="*/ 2147483647 w 51"/>
                <a:gd name="T23" fmla="*/ 2147483647 h 40"/>
                <a:gd name="T24" fmla="*/ 2147483647 w 51"/>
                <a:gd name="T25" fmla="*/ 2147483647 h 40"/>
                <a:gd name="T26" fmla="*/ 2147483647 w 51"/>
                <a:gd name="T27" fmla="*/ 2147483647 h 40"/>
                <a:gd name="T28" fmla="*/ 2147483647 w 51"/>
                <a:gd name="T29" fmla="*/ 2147483647 h 40"/>
                <a:gd name="T30" fmla="*/ 2147483647 w 51"/>
                <a:gd name="T31" fmla="*/ 2147483647 h 40"/>
                <a:gd name="T32" fmla="*/ 2147483647 w 51"/>
                <a:gd name="T33" fmla="*/ 2147483647 h 40"/>
                <a:gd name="T34" fmla="*/ 2147483647 w 51"/>
                <a:gd name="T35" fmla="*/ 2147483647 h 40"/>
                <a:gd name="T36" fmla="*/ 2147483647 w 51"/>
                <a:gd name="T37" fmla="*/ 2147483647 h 40"/>
                <a:gd name="T38" fmla="*/ 2147483647 w 51"/>
                <a:gd name="T39" fmla="*/ 2147483647 h 40"/>
                <a:gd name="T40" fmla="*/ 2147483647 w 51"/>
                <a:gd name="T41" fmla="*/ 2147483647 h 40"/>
                <a:gd name="T42" fmla="*/ 2147483647 w 51"/>
                <a:gd name="T43" fmla="*/ 0 h 40"/>
                <a:gd name="T44" fmla="*/ 2147483647 w 51"/>
                <a:gd name="T45" fmla="*/ 2147483647 h 40"/>
                <a:gd name="T46" fmla="*/ 2147483647 w 51"/>
                <a:gd name="T47" fmla="*/ 2147483647 h 40"/>
                <a:gd name="T48" fmla="*/ 2147483647 w 51"/>
                <a:gd name="T49" fmla="*/ 0 h 40"/>
                <a:gd name="T50" fmla="*/ 2147483647 w 51"/>
                <a:gd name="T51" fmla="*/ 2147483647 h 40"/>
                <a:gd name="T52" fmla="*/ 2147483647 w 51"/>
                <a:gd name="T53" fmla="*/ 2147483647 h 40"/>
                <a:gd name="T54" fmla="*/ 2147483647 w 51"/>
                <a:gd name="T55" fmla="*/ 2147483647 h 40"/>
                <a:gd name="T56" fmla="*/ 2147483647 w 51"/>
                <a:gd name="T57" fmla="*/ 2147483647 h 40"/>
                <a:gd name="T58" fmla="*/ 2147483647 w 51"/>
                <a:gd name="T59" fmla="*/ 2147483647 h 40"/>
                <a:gd name="T60" fmla="*/ 2147483647 w 51"/>
                <a:gd name="T61" fmla="*/ 2147483647 h 40"/>
                <a:gd name="T62" fmla="*/ 2147483647 w 51"/>
                <a:gd name="T63" fmla="*/ 2147483647 h 40"/>
                <a:gd name="T64" fmla="*/ 2147483647 w 51"/>
                <a:gd name="T65" fmla="*/ 2147483647 h 40"/>
                <a:gd name="T66" fmla="*/ 2147483647 w 51"/>
                <a:gd name="T67" fmla="*/ 2147483647 h 40"/>
                <a:gd name="T68" fmla="*/ 2147483647 w 51"/>
                <a:gd name="T69" fmla="*/ 2147483647 h 40"/>
                <a:gd name="T70" fmla="*/ 2147483647 w 51"/>
                <a:gd name="T71" fmla="*/ 2147483647 h 4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51"/>
                <a:gd name="T109" fmla="*/ 0 h 40"/>
                <a:gd name="T110" fmla="*/ 51 w 51"/>
                <a:gd name="T111" fmla="*/ 40 h 40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51" h="40">
                  <a:moveTo>
                    <a:pt x="5" y="26"/>
                  </a:moveTo>
                  <a:lnTo>
                    <a:pt x="5" y="26"/>
                  </a:lnTo>
                  <a:lnTo>
                    <a:pt x="3" y="29"/>
                  </a:lnTo>
                  <a:lnTo>
                    <a:pt x="0" y="29"/>
                  </a:lnTo>
                  <a:lnTo>
                    <a:pt x="3" y="32"/>
                  </a:lnTo>
                  <a:lnTo>
                    <a:pt x="5" y="32"/>
                  </a:lnTo>
                  <a:lnTo>
                    <a:pt x="8" y="35"/>
                  </a:lnTo>
                  <a:lnTo>
                    <a:pt x="11" y="37"/>
                  </a:lnTo>
                  <a:lnTo>
                    <a:pt x="14" y="35"/>
                  </a:lnTo>
                  <a:lnTo>
                    <a:pt x="17" y="35"/>
                  </a:lnTo>
                  <a:lnTo>
                    <a:pt x="23" y="37"/>
                  </a:lnTo>
                  <a:lnTo>
                    <a:pt x="31" y="37"/>
                  </a:lnTo>
                  <a:lnTo>
                    <a:pt x="34" y="35"/>
                  </a:lnTo>
                  <a:lnTo>
                    <a:pt x="40" y="35"/>
                  </a:lnTo>
                  <a:lnTo>
                    <a:pt x="43" y="35"/>
                  </a:lnTo>
                  <a:lnTo>
                    <a:pt x="46" y="40"/>
                  </a:lnTo>
                  <a:lnTo>
                    <a:pt x="48" y="35"/>
                  </a:lnTo>
                  <a:lnTo>
                    <a:pt x="43" y="29"/>
                  </a:lnTo>
                  <a:lnTo>
                    <a:pt x="46" y="29"/>
                  </a:lnTo>
                  <a:lnTo>
                    <a:pt x="48" y="26"/>
                  </a:lnTo>
                  <a:lnTo>
                    <a:pt x="48" y="23"/>
                  </a:lnTo>
                  <a:lnTo>
                    <a:pt x="46" y="20"/>
                  </a:lnTo>
                  <a:lnTo>
                    <a:pt x="48" y="17"/>
                  </a:lnTo>
                  <a:lnTo>
                    <a:pt x="51" y="17"/>
                  </a:lnTo>
                  <a:lnTo>
                    <a:pt x="51" y="9"/>
                  </a:lnTo>
                  <a:lnTo>
                    <a:pt x="51" y="6"/>
                  </a:lnTo>
                  <a:lnTo>
                    <a:pt x="46" y="6"/>
                  </a:lnTo>
                  <a:lnTo>
                    <a:pt x="46" y="3"/>
                  </a:lnTo>
                  <a:lnTo>
                    <a:pt x="43" y="0"/>
                  </a:lnTo>
                  <a:lnTo>
                    <a:pt x="40" y="3"/>
                  </a:lnTo>
                  <a:lnTo>
                    <a:pt x="37" y="3"/>
                  </a:lnTo>
                  <a:lnTo>
                    <a:pt x="28" y="0"/>
                  </a:lnTo>
                  <a:lnTo>
                    <a:pt x="23" y="3"/>
                  </a:lnTo>
                  <a:lnTo>
                    <a:pt x="20" y="3"/>
                  </a:lnTo>
                  <a:lnTo>
                    <a:pt x="23" y="6"/>
                  </a:lnTo>
                  <a:lnTo>
                    <a:pt x="28" y="6"/>
                  </a:lnTo>
                  <a:lnTo>
                    <a:pt x="34" y="6"/>
                  </a:lnTo>
                  <a:lnTo>
                    <a:pt x="34" y="15"/>
                  </a:lnTo>
                  <a:lnTo>
                    <a:pt x="34" y="20"/>
                  </a:lnTo>
                  <a:lnTo>
                    <a:pt x="34" y="26"/>
                  </a:lnTo>
                  <a:lnTo>
                    <a:pt x="34" y="29"/>
                  </a:lnTo>
                  <a:lnTo>
                    <a:pt x="31" y="29"/>
                  </a:lnTo>
                  <a:lnTo>
                    <a:pt x="20" y="26"/>
                  </a:lnTo>
                  <a:lnTo>
                    <a:pt x="14" y="29"/>
                  </a:lnTo>
                  <a:lnTo>
                    <a:pt x="8" y="26"/>
                  </a:lnTo>
                  <a:lnTo>
                    <a:pt x="5" y="2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73" name="Freeform 575"/>
            <p:cNvSpPr>
              <a:spLocks/>
            </p:cNvSpPr>
            <p:nvPr/>
          </p:nvSpPr>
          <p:spPr bwMode="auto">
            <a:xfrm>
              <a:off x="2265363" y="3365500"/>
              <a:ext cx="4762" cy="4763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2147483647 h 3"/>
                <a:gd name="T4" fmla="*/ 0 w 3"/>
                <a:gd name="T5" fmla="*/ 0 h 3"/>
                <a:gd name="T6" fmla="*/ 0 w 3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74" name="Freeform 576"/>
            <p:cNvSpPr>
              <a:spLocks/>
            </p:cNvSpPr>
            <p:nvPr/>
          </p:nvSpPr>
          <p:spPr bwMode="auto">
            <a:xfrm>
              <a:off x="2247900" y="3324225"/>
              <a:ext cx="14288" cy="9525"/>
            </a:xfrm>
            <a:custGeom>
              <a:avLst/>
              <a:gdLst>
                <a:gd name="T0" fmla="*/ 2147483647 w 9"/>
                <a:gd name="T1" fmla="*/ 0 h 6"/>
                <a:gd name="T2" fmla="*/ 2147483647 w 9"/>
                <a:gd name="T3" fmla="*/ 2147483647 h 6"/>
                <a:gd name="T4" fmla="*/ 0 w 9"/>
                <a:gd name="T5" fmla="*/ 2147483647 h 6"/>
                <a:gd name="T6" fmla="*/ 2147483647 w 9"/>
                <a:gd name="T7" fmla="*/ 2147483647 h 6"/>
                <a:gd name="T8" fmla="*/ 2147483647 w 9"/>
                <a:gd name="T9" fmla="*/ 2147483647 h 6"/>
                <a:gd name="T10" fmla="*/ 2147483647 w 9"/>
                <a:gd name="T11" fmla="*/ 0 h 6"/>
                <a:gd name="T12" fmla="*/ 2147483647 w 9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6"/>
                <a:gd name="T23" fmla="*/ 9 w 9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6">
                  <a:moveTo>
                    <a:pt x="6" y="0"/>
                  </a:moveTo>
                  <a:lnTo>
                    <a:pt x="6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6" y="3"/>
                  </a:lnTo>
                  <a:lnTo>
                    <a:pt x="9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75" name="Freeform 577"/>
            <p:cNvSpPr>
              <a:spLocks/>
            </p:cNvSpPr>
            <p:nvPr/>
          </p:nvSpPr>
          <p:spPr bwMode="auto">
            <a:xfrm>
              <a:off x="2220913" y="3289300"/>
              <a:ext cx="7937" cy="7938"/>
            </a:xfrm>
            <a:custGeom>
              <a:avLst/>
              <a:gdLst>
                <a:gd name="T0" fmla="*/ 0 w 5"/>
                <a:gd name="T1" fmla="*/ 2147483647 h 5"/>
                <a:gd name="T2" fmla="*/ 2147483647 w 5"/>
                <a:gd name="T3" fmla="*/ 2147483647 h 5"/>
                <a:gd name="T4" fmla="*/ 2147483647 w 5"/>
                <a:gd name="T5" fmla="*/ 2147483647 h 5"/>
                <a:gd name="T6" fmla="*/ 2147483647 w 5"/>
                <a:gd name="T7" fmla="*/ 0 h 5"/>
                <a:gd name="T8" fmla="*/ 0 w 5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5"/>
                <a:gd name="T17" fmla="*/ 5 w 5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5">
                  <a:moveTo>
                    <a:pt x="0" y="5"/>
                  </a:moveTo>
                  <a:lnTo>
                    <a:pt x="3" y="5"/>
                  </a:lnTo>
                  <a:lnTo>
                    <a:pt x="5" y="2"/>
                  </a:lnTo>
                  <a:lnTo>
                    <a:pt x="3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76" name="Freeform 578"/>
            <p:cNvSpPr>
              <a:spLocks/>
            </p:cNvSpPr>
            <p:nvPr/>
          </p:nvSpPr>
          <p:spPr bwMode="auto">
            <a:xfrm>
              <a:off x="2206625" y="3292475"/>
              <a:ext cx="4763" cy="4763"/>
            </a:xfrm>
            <a:custGeom>
              <a:avLst/>
              <a:gdLst>
                <a:gd name="T0" fmla="*/ 2147483647 w 3"/>
                <a:gd name="T1" fmla="*/ 2147483647 h 3"/>
                <a:gd name="T2" fmla="*/ 2147483647 w 3"/>
                <a:gd name="T3" fmla="*/ 0 h 3"/>
                <a:gd name="T4" fmla="*/ 0 w 3"/>
                <a:gd name="T5" fmla="*/ 0 h 3"/>
                <a:gd name="T6" fmla="*/ 0 w 3"/>
                <a:gd name="T7" fmla="*/ 0 h 3"/>
                <a:gd name="T8" fmla="*/ 2147483647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77" name="Freeform 579"/>
            <p:cNvSpPr>
              <a:spLocks/>
            </p:cNvSpPr>
            <p:nvPr/>
          </p:nvSpPr>
          <p:spPr bwMode="auto">
            <a:xfrm>
              <a:off x="2201863" y="3251200"/>
              <a:ext cx="4762" cy="7938"/>
            </a:xfrm>
            <a:custGeom>
              <a:avLst/>
              <a:gdLst>
                <a:gd name="T0" fmla="*/ 0 w 3"/>
                <a:gd name="T1" fmla="*/ 2147483647 h 5"/>
                <a:gd name="T2" fmla="*/ 0 w 3"/>
                <a:gd name="T3" fmla="*/ 2147483647 h 5"/>
                <a:gd name="T4" fmla="*/ 2147483647 w 3"/>
                <a:gd name="T5" fmla="*/ 2147483647 h 5"/>
                <a:gd name="T6" fmla="*/ 2147483647 w 3"/>
                <a:gd name="T7" fmla="*/ 0 h 5"/>
                <a:gd name="T8" fmla="*/ 0 w 3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0" y="2"/>
                  </a:moveTo>
                  <a:lnTo>
                    <a:pt x="0" y="5"/>
                  </a:lnTo>
                  <a:lnTo>
                    <a:pt x="3" y="2"/>
                  </a:lnTo>
                  <a:lnTo>
                    <a:pt x="3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78" name="Freeform 580"/>
            <p:cNvSpPr>
              <a:spLocks/>
            </p:cNvSpPr>
            <p:nvPr/>
          </p:nvSpPr>
          <p:spPr bwMode="auto">
            <a:xfrm>
              <a:off x="2225675" y="3302000"/>
              <a:ext cx="7938" cy="14288"/>
            </a:xfrm>
            <a:custGeom>
              <a:avLst/>
              <a:gdLst>
                <a:gd name="T0" fmla="*/ 2147483647 w 5"/>
                <a:gd name="T1" fmla="*/ 2147483647 h 9"/>
                <a:gd name="T2" fmla="*/ 2147483647 w 5"/>
                <a:gd name="T3" fmla="*/ 2147483647 h 9"/>
                <a:gd name="T4" fmla="*/ 2147483647 w 5"/>
                <a:gd name="T5" fmla="*/ 2147483647 h 9"/>
                <a:gd name="T6" fmla="*/ 2147483647 w 5"/>
                <a:gd name="T7" fmla="*/ 0 h 9"/>
                <a:gd name="T8" fmla="*/ 0 w 5"/>
                <a:gd name="T9" fmla="*/ 0 h 9"/>
                <a:gd name="T10" fmla="*/ 2147483647 w 5"/>
                <a:gd name="T11" fmla="*/ 214748364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9"/>
                <a:gd name="T20" fmla="*/ 5 w 5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9">
                  <a:moveTo>
                    <a:pt x="2" y="6"/>
                  </a:moveTo>
                  <a:lnTo>
                    <a:pt x="5" y="9"/>
                  </a:lnTo>
                  <a:lnTo>
                    <a:pt x="5" y="6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79" name="Freeform 581"/>
            <p:cNvSpPr>
              <a:spLocks/>
            </p:cNvSpPr>
            <p:nvPr/>
          </p:nvSpPr>
          <p:spPr bwMode="auto">
            <a:xfrm>
              <a:off x="1263650" y="2408238"/>
              <a:ext cx="3175" cy="4762"/>
            </a:xfrm>
            <a:custGeom>
              <a:avLst/>
              <a:gdLst>
                <a:gd name="T0" fmla="*/ 0 w 2"/>
                <a:gd name="T1" fmla="*/ 2147483647 h 3"/>
                <a:gd name="T2" fmla="*/ 2147483647 w 2"/>
                <a:gd name="T3" fmla="*/ 0 h 3"/>
                <a:gd name="T4" fmla="*/ 0 w 2"/>
                <a:gd name="T5" fmla="*/ 0 h 3"/>
                <a:gd name="T6" fmla="*/ 0 w 2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3"/>
                <a:gd name="T14" fmla="*/ 2 w 2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3">
                  <a:moveTo>
                    <a:pt x="0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80" name="Freeform 582"/>
            <p:cNvSpPr>
              <a:spLocks/>
            </p:cNvSpPr>
            <p:nvPr/>
          </p:nvSpPr>
          <p:spPr bwMode="auto">
            <a:xfrm>
              <a:off x="673100" y="2076450"/>
              <a:ext cx="33338" cy="23813"/>
            </a:xfrm>
            <a:custGeom>
              <a:avLst/>
              <a:gdLst>
                <a:gd name="T0" fmla="*/ 2147483647 w 20"/>
                <a:gd name="T1" fmla="*/ 2147483647 h 15"/>
                <a:gd name="T2" fmla="*/ 2147483647 w 20"/>
                <a:gd name="T3" fmla="*/ 2147483647 h 15"/>
                <a:gd name="T4" fmla="*/ 2147483647 w 20"/>
                <a:gd name="T5" fmla="*/ 2147483647 h 15"/>
                <a:gd name="T6" fmla="*/ 2147483647 w 20"/>
                <a:gd name="T7" fmla="*/ 2147483647 h 15"/>
                <a:gd name="T8" fmla="*/ 2147483647 w 20"/>
                <a:gd name="T9" fmla="*/ 2147483647 h 15"/>
                <a:gd name="T10" fmla="*/ 2147483647 w 20"/>
                <a:gd name="T11" fmla="*/ 0 h 15"/>
                <a:gd name="T12" fmla="*/ 0 w 20"/>
                <a:gd name="T13" fmla="*/ 2147483647 h 15"/>
                <a:gd name="T14" fmla="*/ 0 w 20"/>
                <a:gd name="T15" fmla="*/ 2147483647 h 15"/>
                <a:gd name="T16" fmla="*/ 0 w 20"/>
                <a:gd name="T17" fmla="*/ 2147483647 h 15"/>
                <a:gd name="T18" fmla="*/ 2147483647 w 20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15"/>
                <a:gd name="T32" fmla="*/ 20 w 20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15">
                  <a:moveTo>
                    <a:pt x="9" y="9"/>
                  </a:moveTo>
                  <a:lnTo>
                    <a:pt x="15" y="9"/>
                  </a:lnTo>
                  <a:lnTo>
                    <a:pt x="20" y="9"/>
                  </a:lnTo>
                  <a:lnTo>
                    <a:pt x="20" y="6"/>
                  </a:lnTo>
                  <a:lnTo>
                    <a:pt x="15" y="6"/>
                  </a:lnTo>
                  <a:lnTo>
                    <a:pt x="9" y="0"/>
                  </a:lnTo>
                  <a:lnTo>
                    <a:pt x="0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9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81" name="Freeform 583"/>
            <p:cNvSpPr>
              <a:spLocks noEditPoints="1"/>
            </p:cNvSpPr>
            <p:nvPr/>
          </p:nvSpPr>
          <p:spPr bwMode="auto">
            <a:xfrm>
              <a:off x="2703513" y="1598613"/>
              <a:ext cx="644525" cy="152400"/>
            </a:xfrm>
            <a:custGeom>
              <a:avLst/>
              <a:gdLst>
                <a:gd name="T0" fmla="*/ 2147483647 w 402"/>
                <a:gd name="T1" fmla="*/ 2147483647 h 95"/>
                <a:gd name="T2" fmla="*/ 2147483647 w 402"/>
                <a:gd name="T3" fmla="*/ 2147483647 h 95"/>
                <a:gd name="T4" fmla="*/ 2147483647 w 402"/>
                <a:gd name="T5" fmla="*/ 2147483647 h 95"/>
                <a:gd name="T6" fmla="*/ 2147483647 w 402"/>
                <a:gd name="T7" fmla="*/ 2147483647 h 95"/>
                <a:gd name="T8" fmla="*/ 2147483647 w 402"/>
                <a:gd name="T9" fmla="*/ 2147483647 h 95"/>
                <a:gd name="T10" fmla="*/ 2147483647 w 402"/>
                <a:gd name="T11" fmla="*/ 2147483647 h 95"/>
                <a:gd name="T12" fmla="*/ 2147483647 w 402"/>
                <a:gd name="T13" fmla="*/ 2147483647 h 95"/>
                <a:gd name="T14" fmla="*/ 2147483647 w 402"/>
                <a:gd name="T15" fmla="*/ 2147483647 h 95"/>
                <a:gd name="T16" fmla="*/ 2147483647 w 402"/>
                <a:gd name="T17" fmla="*/ 2147483647 h 95"/>
                <a:gd name="T18" fmla="*/ 2147483647 w 402"/>
                <a:gd name="T19" fmla="*/ 2147483647 h 95"/>
                <a:gd name="T20" fmla="*/ 2147483647 w 402"/>
                <a:gd name="T21" fmla="*/ 2147483647 h 95"/>
                <a:gd name="T22" fmla="*/ 2147483647 w 402"/>
                <a:gd name="T23" fmla="*/ 2147483647 h 95"/>
                <a:gd name="T24" fmla="*/ 2147483647 w 402"/>
                <a:gd name="T25" fmla="*/ 2147483647 h 95"/>
                <a:gd name="T26" fmla="*/ 2147483647 w 402"/>
                <a:gd name="T27" fmla="*/ 2147483647 h 95"/>
                <a:gd name="T28" fmla="*/ 2147483647 w 402"/>
                <a:gd name="T29" fmla="*/ 2147483647 h 95"/>
                <a:gd name="T30" fmla="*/ 2147483647 w 402"/>
                <a:gd name="T31" fmla="*/ 2147483647 h 95"/>
                <a:gd name="T32" fmla="*/ 2147483647 w 402"/>
                <a:gd name="T33" fmla="*/ 2147483647 h 95"/>
                <a:gd name="T34" fmla="*/ 2147483647 w 402"/>
                <a:gd name="T35" fmla="*/ 2147483647 h 95"/>
                <a:gd name="T36" fmla="*/ 0 w 402"/>
                <a:gd name="T37" fmla="*/ 2147483647 h 95"/>
                <a:gd name="T38" fmla="*/ 2147483647 w 402"/>
                <a:gd name="T39" fmla="*/ 2147483647 h 95"/>
                <a:gd name="T40" fmla="*/ 2147483647 w 402"/>
                <a:gd name="T41" fmla="*/ 2147483647 h 95"/>
                <a:gd name="T42" fmla="*/ 2147483647 w 402"/>
                <a:gd name="T43" fmla="*/ 2147483647 h 95"/>
                <a:gd name="T44" fmla="*/ 2147483647 w 402"/>
                <a:gd name="T45" fmla="*/ 2147483647 h 95"/>
                <a:gd name="T46" fmla="*/ 2147483647 w 402"/>
                <a:gd name="T47" fmla="*/ 2147483647 h 95"/>
                <a:gd name="T48" fmla="*/ 2147483647 w 402"/>
                <a:gd name="T49" fmla="*/ 2147483647 h 95"/>
                <a:gd name="T50" fmla="*/ 2147483647 w 402"/>
                <a:gd name="T51" fmla="*/ 2147483647 h 95"/>
                <a:gd name="T52" fmla="*/ 2147483647 w 402"/>
                <a:gd name="T53" fmla="*/ 2147483647 h 95"/>
                <a:gd name="T54" fmla="*/ 2147483647 w 402"/>
                <a:gd name="T55" fmla="*/ 2147483647 h 95"/>
                <a:gd name="T56" fmla="*/ 2147483647 w 402"/>
                <a:gd name="T57" fmla="*/ 2147483647 h 95"/>
                <a:gd name="T58" fmla="*/ 2147483647 w 402"/>
                <a:gd name="T59" fmla="*/ 2147483647 h 95"/>
                <a:gd name="T60" fmla="*/ 2147483647 w 402"/>
                <a:gd name="T61" fmla="*/ 2147483647 h 95"/>
                <a:gd name="T62" fmla="*/ 2147483647 w 402"/>
                <a:gd name="T63" fmla="*/ 2147483647 h 95"/>
                <a:gd name="T64" fmla="*/ 2147483647 w 402"/>
                <a:gd name="T65" fmla="*/ 2147483647 h 95"/>
                <a:gd name="T66" fmla="*/ 2147483647 w 402"/>
                <a:gd name="T67" fmla="*/ 2147483647 h 95"/>
                <a:gd name="T68" fmla="*/ 2147483647 w 402"/>
                <a:gd name="T69" fmla="*/ 2147483647 h 95"/>
                <a:gd name="T70" fmla="*/ 2147483647 w 402"/>
                <a:gd name="T71" fmla="*/ 2147483647 h 95"/>
                <a:gd name="T72" fmla="*/ 2147483647 w 402"/>
                <a:gd name="T73" fmla="*/ 2147483647 h 95"/>
                <a:gd name="T74" fmla="*/ 2147483647 w 402"/>
                <a:gd name="T75" fmla="*/ 2147483647 h 95"/>
                <a:gd name="T76" fmla="*/ 2147483647 w 402"/>
                <a:gd name="T77" fmla="*/ 2147483647 h 95"/>
                <a:gd name="T78" fmla="*/ 2147483647 w 402"/>
                <a:gd name="T79" fmla="*/ 2147483647 h 95"/>
                <a:gd name="T80" fmla="*/ 2147483647 w 402"/>
                <a:gd name="T81" fmla="*/ 2147483647 h 95"/>
                <a:gd name="T82" fmla="*/ 2147483647 w 402"/>
                <a:gd name="T83" fmla="*/ 2147483647 h 95"/>
                <a:gd name="T84" fmla="*/ 2147483647 w 402"/>
                <a:gd name="T85" fmla="*/ 2147483647 h 95"/>
                <a:gd name="T86" fmla="*/ 2147483647 w 402"/>
                <a:gd name="T87" fmla="*/ 2147483647 h 95"/>
                <a:gd name="T88" fmla="*/ 2147483647 w 402"/>
                <a:gd name="T89" fmla="*/ 2147483647 h 95"/>
                <a:gd name="T90" fmla="*/ 2147483647 w 402"/>
                <a:gd name="T91" fmla="*/ 2147483647 h 95"/>
                <a:gd name="T92" fmla="*/ 2147483647 w 402"/>
                <a:gd name="T93" fmla="*/ 2147483647 h 95"/>
                <a:gd name="T94" fmla="*/ 2147483647 w 402"/>
                <a:gd name="T95" fmla="*/ 2147483647 h 95"/>
                <a:gd name="T96" fmla="*/ 2147483647 w 402"/>
                <a:gd name="T97" fmla="*/ 2147483647 h 95"/>
                <a:gd name="T98" fmla="*/ 2147483647 w 402"/>
                <a:gd name="T99" fmla="*/ 2147483647 h 95"/>
                <a:gd name="T100" fmla="*/ 2147483647 w 402"/>
                <a:gd name="T101" fmla="*/ 2147483647 h 95"/>
                <a:gd name="T102" fmla="*/ 2147483647 w 402"/>
                <a:gd name="T103" fmla="*/ 2147483647 h 95"/>
                <a:gd name="T104" fmla="*/ 2147483647 w 402"/>
                <a:gd name="T105" fmla="*/ 2147483647 h 95"/>
                <a:gd name="T106" fmla="*/ 2147483647 w 402"/>
                <a:gd name="T107" fmla="*/ 2147483647 h 95"/>
                <a:gd name="T108" fmla="*/ 2147483647 w 402"/>
                <a:gd name="T109" fmla="*/ 2147483647 h 95"/>
                <a:gd name="T110" fmla="*/ 2147483647 w 402"/>
                <a:gd name="T111" fmla="*/ 2147483647 h 9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02"/>
                <a:gd name="T169" fmla="*/ 0 h 95"/>
                <a:gd name="T170" fmla="*/ 402 w 402"/>
                <a:gd name="T171" fmla="*/ 95 h 95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02" h="95">
                  <a:moveTo>
                    <a:pt x="72" y="20"/>
                  </a:moveTo>
                  <a:lnTo>
                    <a:pt x="72" y="20"/>
                  </a:lnTo>
                  <a:lnTo>
                    <a:pt x="80" y="23"/>
                  </a:lnTo>
                  <a:lnTo>
                    <a:pt x="83" y="23"/>
                  </a:lnTo>
                  <a:lnTo>
                    <a:pt x="80" y="26"/>
                  </a:lnTo>
                  <a:lnTo>
                    <a:pt x="83" y="29"/>
                  </a:lnTo>
                  <a:lnTo>
                    <a:pt x="86" y="29"/>
                  </a:lnTo>
                  <a:lnTo>
                    <a:pt x="89" y="29"/>
                  </a:lnTo>
                  <a:lnTo>
                    <a:pt x="95" y="31"/>
                  </a:lnTo>
                  <a:lnTo>
                    <a:pt x="103" y="31"/>
                  </a:lnTo>
                  <a:lnTo>
                    <a:pt x="106" y="29"/>
                  </a:lnTo>
                  <a:lnTo>
                    <a:pt x="112" y="29"/>
                  </a:lnTo>
                  <a:lnTo>
                    <a:pt x="124" y="26"/>
                  </a:lnTo>
                  <a:lnTo>
                    <a:pt x="126" y="26"/>
                  </a:lnTo>
                  <a:lnTo>
                    <a:pt x="126" y="29"/>
                  </a:lnTo>
                  <a:lnTo>
                    <a:pt x="115" y="29"/>
                  </a:lnTo>
                  <a:lnTo>
                    <a:pt x="112" y="31"/>
                  </a:lnTo>
                  <a:lnTo>
                    <a:pt x="115" y="31"/>
                  </a:lnTo>
                  <a:lnTo>
                    <a:pt x="121" y="31"/>
                  </a:lnTo>
                  <a:lnTo>
                    <a:pt x="129" y="31"/>
                  </a:lnTo>
                  <a:lnTo>
                    <a:pt x="138" y="31"/>
                  </a:lnTo>
                  <a:lnTo>
                    <a:pt x="144" y="29"/>
                  </a:lnTo>
                  <a:lnTo>
                    <a:pt x="146" y="29"/>
                  </a:lnTo>
                  <a:lnTo>
                    <a:pt x="155" y="29"/>
                  </a:lnTo>
                  <a:lnTo>
                    <a:pt x="158" y="29"/>
                  </a:lnTo>
                  <a:lnTo>
                    <a:pt x="161" y="31"/>
                  </a:lnTo>
                  <a:lnTo>
                    <a:pt x="164" y="31"/>
                  </a:lnTo>
                  <a:lnTo>
                    <a:pt x="178" y="31"/>
                  </a:lnTo>
                  <a:lnTo>
                    <a:pt x="190" y="29"/>
                  </a:lnTo>
                  <a:lnTo>
                    <a:pt x="195" y="26"/>
                  </a:lnTo>
                  <a:lnTo>
                    <a:pt x="201" y="23"/>
                  </a:lnTo>
                  <a:lnTo>
                    <a:pt x="218" y="20"/>
                  </a:lnTo>
                  <a:lnTo>
                    <a:pt x="224" y="17"/>
                  </a:lnTo>
                  <a:lnTo>
                    <a:pt x="227" y="17"/>
                  </a:lnTo>
                  <a:lnTo>
                    <a:pt x="224" y="20"/>
                  </a:lnTo>
                  <a:lnTo>
                    <a:pt x="221" y="23"/>
                  </a:lnTo>
                  <a:lnTo>
                    <a:pt x="218" y="23"/>
                  </a:lnTo>
                  <a:lnTo>
                    <a:pt x="215" y="26"/>
                  </a:lnTo>
                  <a:lnTo>
                    <a:pt x="221" y="29"/>
                  </a:lnTo>
                  <a:lnTo>
                    <a:pt x="218" y="29"/>
                  </a:lnTo>
                  <a:lnTo>
                    <a:pt x="207" y="29"/>
                  </a:lnTo>
                  <a:lnTo>
                    <a:pt x="201" y="31"/>
                  </a:lnTo>
                  <a:lnTo>
                    <a:pt x="195" y="34"/>
                  </a:lnTo>
                  <a:lnTo>
                    <a:pt x="178" y="34"/>
                  </a:lnTo>
                  <a:lnTo>
                    <a:pt x="167" y="34"/>
                  </a:lnTo>
                  <a:lnTo>
                    <a:pt x="149" y="34"/>
                  </a:lnTo>
                  <a:lnTo>
                    <a:pt x="144" y="37"/>
                  </a:lnTo>
                  <a:lnTo>
                    <a:pt x="141" y="37"/>
                  </a:lnTo>
                  <a:lnTo>
                    <a:pt x="144" y="37"/>
                  </a:lnTo>
                  <a:lnTo>
                    <a:pt x="149" y="40"/>
                  </a:lnTo>
                  <a:lnTo>
                    <a:pt x="152" y="40"/>
                  </a:lnTo>
                  <a:lnTo>
                    <a:pt x="158" y="43"/>
                  </a:lnTo>
                  <a:lnTo>
                    <a:pt x="161" y="43"/>
                  </a:lnTo>
                  <a:lnTo>
                    <a:pt x="169" y="43"/>
                  </a:lnTo>
                  <a:lnTo>
                    <a:pt x="161" y="46"/>
                  </a:lnTo>
                  <a:lnTo>
                    <a:pt x="152" y="46"/>
                  </a:lnTo>
                  <a:lnTo>
                    <a:pt x="146" y="46"/>
                  </a:lnTo>
                  <a:lnTo>
                    <a:pt x="146" y="43"/>
                  </a:lnTo>
                  <a:lnTo>
                    <a:pt x="141" y="40"/>
                  </a:lnTo>
                  <a:lnTo>
                    <a:pt x="138" y="40"/>
                  </a:lnTo>
                  <a:lnTo>
                    <a:pt x="135" y="37"/>
                  </a:lnTo>
                  <a:lnTo>
                    <a:pt x="129" y="37"/>
                  </a:lnTo>
                  <a:lnTo>
                    <a:pt x="124" y="37"/>
                  </a:lnTo>
                  <a:lnTo>
                    <a:pt x="112" y="37"/>
                  </a:lnTo>
                  <a:lnTo>
                    <a:pt x="106" y="37"/>
                  </a:lnTo>
                  <a:lnTo>
                    <a:pt x="103" y="40"/>
                  </a:lnTo>
                  <a:lnTo>
                    <a:pt x="101" y="40"/>
                  </a:lnTo>
                  <a:lnTo>
                    <a:pt x="101" y="43"/>
                  </a:lnTo>
                  <a:lnTo>
                    <a:pt x="109" y="43"/>
                  </a:lnTo>
                  <a:lnTo>
                    <a:pt x="112" y="46"/>
                  </a:lnTo>
                  <a:lnTo>
                    <a:pt x="112" y="49"/>
                  </a:lnTo>
                  <a:lnTo>
                    <a:pt x="115" y="49"/>
                  </a:lnTo>
                  <a:lnTo>
                    <a:pt x="115" y="52"/>
                  </a:lnTo>
                  <a:lnTo>
                    <a:pt x="121" y="52"/>
                  </a:lnTo>
                  <a:lnTo>
                    <a:pt x="129" y="52"/>
                  </a:lnTo>
                  <a:lnTo>
                    <a:pt x="135" y="52"/>
                  </a:lnTo>
                  <a:lnTo>
                    <a:pt x="135" y="54"/>
                  </a:lnTo>
                  <a:lnTo>
                    <a:pt x="126" y="57"/>
                  </a:lnTo>
                  <a:lnTo>
                    <a:pt x="118" y="57"/>
                  </a:lnTo>
                  <a:lnTo>
                    <a:pt x="106" y="57"/>
                  </a:lnTo>
                  <a:lnTo>
                    <a:pt x="101" y="57"/>
                  </a:lnTo>
                  <a:lnTo>
                    <a:pt x="89" y="57"/>
                  </a:lnTo>
                  <a:lnTo>
                    <a:pt x="78" y="57"/>
                  </a:lnTo>
                  <a:lnTo>
                    <a:pt x="69" y="60"/>
                  </a:lnTo>
                  <a:lnTo>
                    <a:pt x="63" y="63"/>
                  </a:lnTo>
                  <a:lnTo>
                    <a:pt x="60" y="66"/>
                  </a:lnTo>
                  <a:lnTo>
                    <a:pt x="60" y="69"/>
                  </a:lnTo>
                  <a:lnTo>
                    <a:pt x="57" y="69"/>
                  </a:lnTo>
                  <a:lnTo>
                    <a:pt x="52" y="69"/>
                  </a:lnTo>
                  <a:lnTo>
                    <a:pt x="43" y="72"/>
                  </a:lnTo>
                  <a:lnTo>
                    <a:pt x="49" y="77"/>
                  </a:lnTo>
                  <a:lnTo>
                    <a:pt x="43" y="80"/>
                  </a:lnTo>
                  <a:lnTo>
                    <a:pt x="37" y="80"/>
                  </a:lnTo>
                  <a:lnTo>
                    <a:pt x="26" y="80"/>
                  </a:lnTo>
                  <a:lnTo>
                    <a:pt x="17" y="83"/>
                  </a:lnTo>
                  <a:lnTo>
                    <a:pt x="0" y="86"/>
                  </a:lnTo>
                  <a:lnTo>
                    <a:pt x="0" y="89"/>
                  </a:lnTo>
                  <a:lnTo>
                    <a:pt x="3" y="89"/>
                  </a:lnTo>
                  <a:lnTo>
                    <a:pt x="12" y="89"/>
                  </a:lnTo>
                  <a:lnTo>
                    <a:pt x="9" y="92"/>
                  </a:lnTo>
                  <a:lnTo>
                    <a:pt x="17" y="89"/>
                  </a:lnTo>
                  <a:lnTo>
                    <a:pt x="17" y="92"/>
                  </a:lnTo>
                  <a:lnTo>
                    <a:pt x="20" y="92"/>
                  </a:lnTo>
                  <a:lnTo>
                    <a:pt x="26" y="89"/>
                  </a:lnTo>
                  <a:lnTo>
                    <a:pt x="29" y="89"/>
                  </a:lnTo>
                  <a:lnTo>
                    <a:pt x="32" y="89"/>
                  </a:lnTo>
                  <a:lnTo>
                    <a:pt x="35" y="92"/>
                  </a:lnTo>
                  <a:lnTo>
                    <a:pt x="37" y="92"/>
                  </a:lnTo>
                  <a:lnTo>
                    <a:pt x="49" y="92"/>
                  </a:lnTo>
                  <a:lnTo>
                    <a:pt x="57" y="92"/>
                  </a:lnTo>
                  <a:lnTo>
                    <a:pt x="63" y="89"/>
                  </a:lnTo>
                  <a:lnTo>
                    <a:pt x="69" y="89"/>
                  </a:lnTo>
                  <a:lnTo>
                    <a:pt x="75" y="92"/>
                  </a:lnTo>
                  <a:lnTo>
                    <a:pt x="78" y="89"/>
                  </a:lnTo>
                  <a:lnTo>
                    <a:pt x="80" y="92"/>
                  </a:lnTo>
                  <a:lnTo>
                    <a:pt x="89" y="89"/>
                  </a:lnTo>
                  <a:lnTo>
                    <a:pt x="89" y="86"/>
                  </a:lnTo>
                  <a:lnTo>
                    <a:pt x="92" y="86"/>
                  </a:lnTo>
                  <a:lnTo>
                    <a:pt x="95" y="89"/>
                  </a:lnTo>
                  <a:lnTo>
                    <a:pt x="101" y="89"/>
                  </a:lnTo>
                  <a:lnTo>
                    <a:pt x="106" y="89"/>
                  </a:lnTo>
                  <a:lnTo>
                    <a:pt x="103" y="92"/>
                  </a:lnTo>
                  <a:lnTo>
                    <a:pt x="95" y="95"/>
                  </a:lnTo>
                  <a:lnTo>
                    <a:pt x="98" y="95"/>
                  </a:lnTo>
                  <a:lnTo>
                    <a:pt x="106" y="92"/>
                  </a:lnTo>
                  <a:lnTo>
                    <a:pt x="126" y="92"/>
                  </a:lnTo>
                  <a:lnTo>
                    <a:pt x="129" y="89"/>
                  </a:lnTo>
                  <a:lnTo>
                    <a:pt x="132" y="89"/>
                  </a:lnTo>
                  <a:lnTo>
                    <a:pt x="135" y="92"/>
                  </a:lnTo>
                  <a:lnTo>
                    <a:pt x="141" y="89"/>
                  </a:lnTo>
                  <a:lnTo>
                    <a:pt x="146" y="83"/>
                  </a:lnTo>
                  <a:lnTo>
                    <a:pt x="144" y="83"/>
                  </a:lnTo>
                  <a:lnTo>
                    <a:pt x="138" y="83"/>
                  </a:lnTo>
                  <a:lnTo>
                    <a:pt x="135" y="83"/>
                  </a:lnTo>
                  <a:lnTo>
                    <a:pt x="138" y="80"/>
                  </a:lnTo>
                  <a:lnTo>
                    <a:pt x="149" y="77"/>
                  </a:lnTo>
                  <a:lnTo>
                    <a:pt x="155" y="75"/>
                  </a:lnTo>
                  <a:lnTo>
                    <a:pt x="155" y="72"/>
                  </a:lnTo>
                  <a:lnTo>
                    <a:pt x="155" y="69"/>
                  </a:lnTo>
                  <a:lnTo>
                    <a:pt x="158" y="69"/>
                  </a:lnTo>
                  <a:lnTo>
                    <a:pt x="164" y="69"/>
                  </a:lnTo>
                  <a:lnTo>
                    <a:pt x="175" y="69"/>
                  </a:lnTo>
                  <a:lnTo>
                    <a:pt x="187" y="69"/>
                  </a:lnTo>
                  <a:lnTo>
                    <a:pt x="190" y="66"/>
                  </a:lnTo>
                  <a:lnTo>
                    <a:pt x="195" y="66"/>
                  </a:lnTo>
                  <a:lnTo>
                    <a:pt x="204" y="63"/>
                  </a:lnTo>
                  <a:lnTo>
                    <a:pt x="207" y="60"/>
                  </a:lnTo>
                  <a:lnTo>
                    <a:pt x="212" y="57"/>
                  </a:lnTo>
                  <a:lnTo>
                    <a:pt x="215" y="57"/>
                  </a:lnTo>
                  <a:lnTo>
                    <a:pt x="212" y="57"/>
                  </a:lnTo>
                  <a:lnTo>
                    <a:pt x="210" y="54"/>
                  </a:lnTo>
                  <a:lnTo>
                    <a:pt x="215" y="54"/>
                  </a:lnTo>
                  <a:lnTo>
                    <a:pt x="215" y="52"/>
                  </a:lnTo>
                  <a:lnTo>
                    <a:pt x="218" y="49"/>
                  </a:lnTo>
                  <a:lnTo>
                    <a:pt x="227" y="49"/>
                  </a:lnTo>
                  <a:lnTo>
                    <a:pt x="233" y="49"/>
                  </a:lnTo>
                  <a:lnTo>
                    <a:pt x="238" y="46"/>
                  </a:lnTo>
                  <a:lnTo>
                    <a:pt x="241" y="43"/>
                  </a:lnTo>
                  <a:lnTo>
                    <a:pt x="244" y="43"/>
                  </a:lnTo>
                  <a:lnTo>
                    <a:pt x="247" y="46"/>
                  </a:lnTo>
                  <a:lnTo>
                    <a:pt x="256" y="46"/>
                  </a:lnTo>
                  <a:lnTo>
                    <a:pt x="270" y="40"/>
                  </a:lnTo>
                  <a:lnTo>
                    <a:pt x="284" y="37"/>
                  </a:lnTo>
                  <a:lnTo>
                    <a:pt x="301" y="31"/>
                  </a:lnTo>
                  <a:lnTo>
                    <a:pt x="324" y="29"/>
                  </a:lnTo>
                  <a:lnTo>
                    <a:pt x="356" y="23"/>
                  </a:lnTo>
                  <a:lnTo>
                    <a:pt x="347" y="20"/>
                  </a:lnTo>
                  <a:lnTo>
                    <a:pt x="339" y="20"/>
                  </a:lnTo>
                  <a:lnTo>
                    <a:pt x="336" y="20"/>
                  </a:lnTo>
                  <a:lnTo>
                    <a:pt x="347" y="17"/>
                  </a:lnTo>
                  <a:lnTo>
                    <a:pt x="365" y="17"/>
                  </a:lnTo>
                  <a:lnTo>
                    <a:pt x="376" y="17"/>
                  </a:lnTo>
                  <a:lnTo>
                    <a:pt x="388" y="17"/>
                  </a:lnTo>
                  <a:lnTo>
                    <a:pt x="402" y="11"/>
                  </a:lnTo>
                  <a:lnTo>
                    <a:pt x="402" y="8"/>
                  </a:lnTo>
                  <a:lnTo>
                    <a:pt x="393" y="8"/>
                  </a:lnTo>
                  <a:lnTo>
                    <a:pt x="388" y="8"/>
                  </a:lnTo>
                  <a:lnTo>
                    <a:pt x="385" y="8"/>
                  </a:lnTo>
                  <a:lnTo>
                    <a:pt x="385" y="6"/>
                  </a:lnTo>
                  <a:lnTo>
                    <a:pt x="382" y="3"/>
                  </a:lnTo>
                  <a:lnTo>
                    <a:pt x="379" y="3"/>
                  </a:lnTo>
                  <a:lnTo>
                    <a:pt x="370" y="6"/>
                  </a:lnTo>
                  <a:lnTo>
                    <a:pt x="370" y="3"/>
                  </a:lnTo>
                  <a:lnTo>
                    <a:pt x="365" y="6"/>
                  </a:lnTo>
                  <a:lnTo>
                    <a:pt x="359" y="6"/>
                  </a:lnTo>
                  <a:lnTo>
                    <a:pt x="356" y="3"/>
                  </a:lnTo>
                  <a:lnTo>
                    <a:pt x="347" y="3"/>
                  </a:lnTo>
                  <a:lnTo>
                    <a:pt x="330" y="3"/>
                  </a:lnTo>
                  <a:lnTo>
                    <a:pt x="324" y="3"/>
                  </a:lnTo>
                  <a:lnTo>
                    <a:pt x="322" y="0"/>
                  </a:lnTo>
                  <a:lnTo>
                    <a:pt x="307" y="3"/>
                  </a:lnTo>
                  <a:lnTo>
                    <a:pt x="301" y="3"/>
                  </a:lnTo>
                  <a:lnTo>
                    <a:pt x="296" y="3"/>
                  </a:lnTo>
                  <a:lnTo>
                    <a:pt x="290" y="3"/>
                  </a:lnTo>
                  <a:lnTo>
                    <a:pt x="287" y="3"/>
                  </a:lnTo>
                  <a:lnTo>
                    <a:pt x="284" y="6"/>
                  </a:lnTo>
                  <a:lnTo>
                    <a:pt x="281" y="8"/>
                  </a:lnTo>
                  <a:lnTo>
                    <a:pt x="279" y="6"/>
                  </a:lnTo>
                  <a:lnTo>
                    <a:pt x="273" y="3"/>
                  </a:lnTo>
                  <a:lnTo>
                    <a:pt x="270" y="3"/>
                  </a:lnTo>
                  <a:lnTo>
                    <a:pt x="253" y="3"/>
                  </a:lnTo>
                  <a:lnTo>
                    <a:pt x="244" y="6"/>
                  </a:lnTo>
                  <a:lnTo>
                    <a:pt x="247" y="6"/>
                  </a:lnTo>
                  <a:lnTo>
                    <a:pt x="253" y="6"/>
                  </a:lnTo>
                  <a:lnTo>
                    <a:pt x="253" y="8"/>
                  </a:lnTo>
                  <a:lnTo>
                    <a:pt x="244" y="6"/>
                  </a:lnTo>
                  <a:lnTo>
                    <a:pt x="233" y="6"/>
                  </a:lnTo>
                  <a:lnTo>
                    <a:pt x="218" y="3"/>
                  </a:lnTo>
                  <a:lnTo>
                    <a:pt x="212" y="3"/>
                  </a:lnTo>
                  <a:lnTo>
                    <a:pt x="218" y="6"/>
                  </a:lnTo>
                  <a:lnTo>
                    <a:pt x="215" y="8"/>
                  </a:lnTo>
                  <a:lnTo>
                    <a:pt x="212" y="8"/>
                  </a:lnTo>
                  <a:lnTo>
                    <a:pt x="204" y="6"/>
                  </a:lnTo>
                  <a:lnTo>
                    <a:pt x="201" y="6"/>
                  </a:lnTo>
                  <a:lnTo>
                    <a:pt x="204" y="8"/>
                  </a:lnTo>
                  <a:lnTo>
                    <a:pt x="195" y="8"/>
                  </a:lnTo>
                  <a:lnTo>
                    <a:pt x="187" y="6"/>
                  </a:lnTo>
                  <a:lnTo>
                    <a:pt x="184" y="8"/>
                  </a:lnTo>
                  <a:lnTo>
                    <a:pt x="187" y="8"/>
                  </a:lnTo>
                  <a:lnTo>
                    <a:pt x="192" y="11"/>
                  </a:lnTo>
                  <a:lnTo>
                    <a:pt x="198" y="11"/>
                  </a:lnTo>
                  <a:lnTo>
                    <a:pt x="204" y="14"/>
                  </a:lnTo>
                  <a:lnTo>
                    <a:pt x="210" y="14"/>
                  </a:lnTo>
                  <a:lnTo>
                    <a:pt x="210" y="17"/>
                  </a:lnTo>
                  <a:lnTo>
                    <a:pt x="207" y="17"/>
                  </a:lnTo>
                  <a:lnTo>
                    <a:pt x="195" y="17"/>
                  </a:lnTo>
                  <a:lnTo>
                    <a:pt x="181" y="14"/>
                  </a:lnTo>
                  <a:lnTo>
                    <a:pt x="169" y="11"/>
                  </a:lnTo>
                  <a:lnTo>
                    <a:pt x="167" y="11"/>
                  </a:lnTo>
                  <a:lnTo>
                    <a:pt x="161" y="11"/>
                  </a:lnTo>
                  <a:lnTo>
                    <a:pt x="155" y="8"/>
                  </a:lnTo>
                  <a:lnTo>
                    <a:pt x="152" y="11"/>
                  </a:lnTo>
                  <a:lnTo>
                    <a:pt x="152" y="14"/>
                  </a:lnTo>
                  <a:lnTo>
                    <a:pt x="155" y="17"/>
                  </a:lnTo>
                  <a:lnTo>
                    <a:pt x="152" y="14"/>
                  </a:lnTo>
                  <a:lnTo>
                    <a:pt x="146" y="14"/>
                  </a:lnTo>
                  <a:lnTo>
                    <a:pt x="141" y="14"/>
                  </a:lnTo>
                  <a:lnTo>
                    <a:pt x="135" y="14"/>
                  </a:lnTo>
                  <a:lnTo>
                    <a:pt x="126" y="14"/>
                  </a:lnTo>
                  <a:lnTo>
                    <a:pt x="109" y="14"/>
                  </a:lnTo>
                  <a:lnTo>
                    <a:pt x="103" y="14"/>
                  </a:lnTo>
                  <a:lnTo>
                    <a:pt x="86" y="17"/>
                  </a:lnTo>
                  <a:lnTo>
                    <a:pt x="75" y="17"/>
                  </a:lnTo>
                  <a:lnTo>
                    <a:pt x="72" y="17"/>
                  </a:lnTo>
                  <a:lnTo>
                    <a:pt x="72" y="20"/>
                  </a:lnTo>
                  <a:close/>
                  <a:moveTo>
                    <a:pt x="109" y="66"/>
                  </a:moveTo>
                  <a:lnTo>
                    <a:pt x="109" y="66"/>
                  </a:lnTo>
                  <a:lnTo>
                    <a:pt x="103" y="72"/>
                  </a:lnTo>
                  <a:lnTo>
                    <a:pt x="98" y="75"/>
                  </a:lnTo>
                  <a:lnTo>
                    <a:pt x="92" y="77"/>
                  </a:lnTo>
                  <a:lnTo>
                    <a:pt x="86" y="77"/>
                  </a:lnTo>
                  <a:lnTo>
                    <a:pt x="72" y="77"/>
                  </a:lnTo>
                  <a:lnTo>
                    <a:pt x="69" y="75"/>
                  </a:lnTo>
                  <a:lnTo>
                    <a:pt x="66" y="72"/>
                  </a:lnTo>
                  <a:lnTo>
                    <a:pt x="60" y="69"/>
                  </a:lnTo>
                  <a:lnTo>
                    <a:pt x="63" y="66"/>
                  </a:lnTo>
                  <a:lnTo>
                    <a:pt x="78" y="60"/>
                  </a:lnTo>
                  <a:lnTo>
                    <a:pt x="80" y="60"/>
                  </a:lnTo>
                  <a:lnTo>
                    <a:pt x="78" y="63"/>
                  </a:lnTo>
                  <a:lnTo>
                    <a:pt x="75" y="66"/>
                  </a:lnTo>
                  <a:lnTo>
                    <a:pt x="75" y="69"/>
                  </a:lnTo>
                  <a:lnTo>
                    <a:pt x="78" y="69"/>
                  </a:lnTo>
                  <a:lnTo>
                    <a:pt x="89" y="60"/>
                  </a:lnTo>
                  <a:lnTo>
                    <a:pt x="95" y="57"/>
                  </a:lnTo>
                  <a:lnTo>
                    <a:pt x="98" y="57"/>
                  </a:lnTo>
                  <a:lnTo>
                    <a:pt x="95" y="60"/>
                  </a:lnTo>
                  <a:lnTo>
                    <a:pt x="95" y="63"/>
                  </a:lnTo>
                  <a:lnTo>
                    <a:pt x="92" y="66"/>
                  </a:lnTo>
                  <a:lnTo>
                    <a:pt x="86" y="69"/>
                  </a:lnTo>
                  <a:lnTo>
                    <a:pt x="83" y="72"/>
                  </a:lnTo>
                  <a:lnTo>
                    <a:pt x="86" y="72"/>
                  </a:lnTo>
                  <a:lnTo>
                    <a:pt x="98" y="69"/>
                  </a:lnTo>
                  <a:lnTo>
                    <a:pt x="106" y="66"/>
                  </a:lnTo>
                  <a:lnTo>
                    <a:pt x="109" y="63"/>
                  </a:lnTo>
                  <a:lnTo>
                    <a:pt x="109" y="66"/>
                  </a:lnTo>
                  <a:close/>
                  <a:moveTo>
                    <a:pt x="95" y="29"/>
                  </a:moveTo>
                  <a:lnTo>
                    <a:pt x="95" y="29"/>
                  </a:lnTo>
                  <a:lnTo>
                    <a:pt x="92" y="29"/>
                  </a:lnTo>
                  <a:lnTo>
                    <a:pt x="89" y="29"/>
                  </a:lnTo>
                  <a:lnTo>
                    <a:pt x="95" y="26"/>
                  </a:lnTo>
                  <a:lnTo>
                    <a:pt x="98" y="26"/>
                  </a:lnTo>
                  <a:lnTo>
                    <a:pt x="95" y="2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82" name="Freeform 584"/>
            <p:cNvSpPr>
              <a:spLocks/>
            </p:cNvSpPr>
            <p:nvPr/>
          </p:nvSpPr>
          <p:spPr bwMode="auto">
            <a:xfrm>
              <a:off x="1263650" y="2339975"/>
              <a:ext cx="3175" cy="4763"/>
            </a:xfrm>
            <a:custGeom>
              <a:avLst/>
              <a:gdLst>
                <a:gd name="T0" fmla="*/ 2147483647 w 2"/>
                <a:gd name="T1" fmla="*/ 0 h 3"/>
                <a:gd name="T2" fmla="*/ 2147483647 w 2"/>
                <a:gd name="T3" fmla="*/ 0 h 3"/>
                <a:gd name="T4" fmla="*/ 2147483647 w 2"/>
                <a:gd name="T5" fmla="*/ 0 h 3"/>
                <a:gd name="T6" fmla="*/ 0 w 2"/>
                <a:gd name="T7" fmla="*/ 0 h 3"/>
                <a:gd name="T8" fmla="*/ 0 w 2"/>
                <a:gd name="T9" fmla="*/ 2147483647 h 3"/>
                <a:gd name="T10" fmla="*/ 2147483647 w 2"/>
                <a:gd name="T11" fmla="*/ 0 h 3"/>
                <a:gd name="T12" fmla="*/ 2147483647 w 2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"/>
                <a:gd name="T22" fmla="*/ 0 h 3"/>
                <a:gd name="T23" fmla="*/ 2 w 2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83" name="Freeform 585"/>
            <p:cNvSpPr>
              <a:spLocks/>
            </p:cNvSpPr>
            <p:nvPr/>
          </p:nvSpPr>
          <p:spPr bwMode="auto">
            <a:xfrm>
              <a:off x="452438" y="2354263"/>
              <a:ext cx="9525" cy="4762"/>
            </a:xfrm>
            <a:custGeom>
              <a:avLst/>
              <a:gdLst>
                <a:gd name="T0" fmla="*/ 2147483647 w 6"/>
                <a:gd name="T1" fmla="*/ 0 h 3"/>
                <a:gd name="T2" fmla="*/ 2147483647 w 6"/>
                <a:gd name="T3" fmla="*/ 0 h 3"/>
                <a:gd name="T4" fmla="*/ 0 w 6"/>
                <a:gd name="T5" fmla="*/ 2147483647 h 3"/>
                <a:gd name="T6" fmla="*/ 2147483647 w 6"/>
                <a:gd name="T7" fmla="*/ 0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6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84" name="Freeform 586"/>
            <p:cNvSpPr>
              <a:spLocks/>
            </p:cNvSpPr>
            <p:nvPr/>
          </p:nvSpPr>
          <p:spPr bwMode="auto">
            <a:xfrm>
              <a:off x="2763838" y="2546350"/>
              <a:ext cx="23812" cy="14288"/>
            </a:xfrm>
            <a:custGeom>
              <a:avLst/>
              <a:gdLst>
                <a:gd name="T0" fmla="*/ 2147483647 w 15"/>
                <a:gd name="T1" fmla="*/ 2147483647 h 9"/>
                <a:gd name="T2" fmla="*/ 2147483647 w 15"/>
                <a:gd name="T3" fmla="*/ 2147483647 h 9"/>
                <a:gd name="T4" fmla="*/ 0 w 15"/>
                <a:gd name="T5" fmla="*/ 2147483647 h 9"/>
                <a:gd name="T6" fmla="*/ 2147483647 w 15"/>
                <a:gd name="T7" fmla="*/ 2147483647 h 9"/>
                <a:gd name="T8" fmla="*/ 2147483647 w 15"/>
                <a:gd name="T9" fmla="*/ 2147483647 h 9"/>
                <a:gd name="T10" fmla="*/ 2147483647 w 15"/>
                <a:gd name="T11" fmla="*/ 2147483647 h 9"/>
                <a:gd name="T12" fmla="*/ 2147483647 w 15"/>
                <a:gd name="T13" fmla="*/ 2147483647 h 9"/>
                <a:gd name="T14" fmla="*/ 2147483647 w 15"/>
                <a:gd name="T15" fmla="*/ 2147483647 h 9"/>
                <a:gd name="T16" fmla="*/ 2147483647 w 15"/>
                <a:gd name="T17" fmla="*/ 2147483647 h 9"/>
                <a:gd name="T18" fmla="*/ 2147483647 w 15"/>
                <a:gd name="T19" fmla="*/ 0 h 9"/>
                <a:gd name="T20" fmla="*/ 2147483647 w 15"/>
                <a:gd name="T21" fmla="*/ 0 h 9"/>
                <a:gd name="T22" fmla="*/ 2147483647 w 15"/>
                <a:gd name="T23" fmla="*/ 0 h 9"/>
                <a:gd name="T24" fmla="*/ 2147483647 w 15"/>
                <a:gd name="T25" fmla="*/ 0 h 9"/>
                <a:gd name="T26" fmla="*/ 2147483647 w 15"/>
                <a:gd name="T27" fmla="*/ 2147483647 h 9"/>
                <a:gd name="T28" fmla="*/ 2147483647 w 15"/>
                <a:gd name="T29" fmla="*/ 2147483647 h 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5"/>
                <a:gd name="T46" fmla="*/ 0 h 9"/>
                <a:gd name="T47" fmla="*/ 15 w 15"/>
                <a:gd name="T48" fmla="*/ 9 h 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5" h="9">
                  <a:moveTo>
                    <a:pt x="6" y="3"/>
                  </a:moveTo>
                  <a:lnTo>
                    <a:pt x="6" y="3"/>
                  </a:lnTo>
                  <a:lnTo>
                    <a:pt x="0" y="9"/>
                  </a:lnTo>
                  <a:lnTo>
                    <a:pt x="3" y="9"/>
                  </a:lnTo>
                  <a:lnTo>
                    <a:pt x="6" y="6"/>
                  </a:lnTo>
                  <a:lnTo>
                    <a:pt x="9" y="6"/>
                  </a:lnTo>
                  <a:lnTo>
                    <a:pt x="12" y="3"/>
                  </a:lnTo>
                  <a:lnTo>
                    <a:pt x="15" y="0"/>
                  </a:lnTo>
                  <a:lnTo>
                    <a:pt x="9" y="0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85" name="Freeform 587"/>
            <p:cNvSpPr>
              <a:spLocks/>
            </p:cNvSpPr>
            <p:nvPr/>
          </p:nvSpPr>
          <p:spPr bwMode="auto">
            <a:xfrm>
              <a:off x="2698750" y="2565400"/>
              <a:ext cx="61913" cy="31750"/>
            </a:xfrm>
            <a:custGeom>
              <a:avLst/>
              <a:gdLst>
                <a:gd name="T0" fmla="*/ 2147483647 w 38"/>
                <a:gd name="T1" fmla="*/ 2147483647 h 20"/>
                <a:gd name="T2" fmla="*/ 2147483647 w 38"/>
                <a:gd name="T3" fmla="*/ 2147483647 h 20"/>
                <a:gd name="T4" fmla="*/ 2147483647 w 38"/>
                <a:gd name="T5" fmla="*/ 2147483647 h 20"/>
                <a:gd name="T6" fmla="*/ 2147483647 w 38"/>
                <a:gd name="T7" fmla="*/ 2147483647 h 20"/>
                <a:gd name="T8" fmla="*/ 2147483647 w 38"/>
                <a:gd name="T9" fmla="*/ 2147483647 h 20"/>
                <a:gd name="T10" fmla="*/ 2147483647 w 38"/>
                <a:gd name="T11" fmla="*/ 2147483647 h 20"/>
                <a:gd name="T12" fmla="*/ 2147483647 w 38"/>
                <a:gd name="T13" fmla="*/ 2147483647 h 20"/>
                <a:gd name="T14" fmla="*/ 2147483647 w 38"/>
                <a:gd name="T15" fmla="*/ 2147483647 h 20"/>
                <a:gd name="T16" fmla="*/ 2147483647 w 38"/>
                <a:gd name="T17" fmla="*/ 2147483647 h 20"/>
                <a:gd name="T18" fmla="*/ 2147483647 w 38"/>
                <a:gd name="T19" fmla="*/ 2147483647 h 20"/>
                <a:gd name="T20" fmla="*/ 2147483647 w 38"/>
                <a:gd name="T21" fmla="*/ 2147483647 h 20"/>
                <a:gd name="T22" fmla="*/ 2147483647 w 38"/>
                <a:gd name="T23" fmla="*/ 2147483647 h 20"/>
                <a:gd name="T24" fmla="*/ 2147483647 w 38"/>
                <a:gd name="T25" fmla="*/ 2147483647 h 20"/>
                <a:gd name="T26" fmla="*/ 2147483647 w 38"/>
                <a:gd name="T27" fmla="*/ 2147483647 h 20"/>
                <a:gd name="T28" fmla="*/ 2147483647 w 38"/>
                <a:gd name="T29" fmla="*/ 2147483647 h 20"/>
                <a:gd name="T30" fmla="*/ 2147483647 w 38"/>
                <a:gd name="T31" fmla="*/ 0 h 20"/>
                <a:gd name="T32" fmla="*/ 2147483647 w 38"/>
                <a:gd name="T33" fmla="*/ 2147483647 h 20"/>
                <a:gd name="T34" fmla="*/ 0 w 38"/>
                <a:gd name="T35" fmla="*/ 2147483647 h 20"/>
                <a:gd name="T36" fmla="*/ 2147483647 w 38"/>
                <a:gd name="T37" fmla="*/ 2147483647 h 20"/>
                <a:gd name="T38" fmla="*/ 2147483647 w 38"/>
                <a:gd name="T39" fmla="*/ 2147483647 h 20"/>
                <a:gd name="T40" fmla="*/ 2147483647 w 38"/>
                <a:gd name="T41" fmla="*/ 2147483647 h 20"/>
                <a:gd name="T42" fmla="*/ 2147483647 w 38"/>
                <a:gd name="T43" fmla="*/ 2147483647 h 20"/>
                <a:gd name="T44" fmla="*/ 2147483647 w 38"/>
                <a:gd name="T45" fmla="*/ 2147483647 h 20"/>
                <a:gd name="T46" fmla="*/ 2147483647 w 38"/>
                <a:gd name="T47" fmla="*/ 2147483647 h 20"/>
                <a:gd name="T48" fmla="*/ 2147483647 w 38"/>
                <a:gd name="T49" fmla="*/ 2147483647 h 20"/>
                <a:gd name="T50" fmla="*/ 2147483647 w 38"/>
                <a:gd name="T51" fmla="*/ 2147483647 h 20"/>
                <a:gd name="T52" fmla="*/ 2147483647 w 38"/>
                <a:gd name="T53" fmla="*/ 2147483647 h 20"/>
                <a:gd name="T54" fmla="*/ 2147483647 w 38"/>
                <a:gd name="T55" fmla="*/ 2147483647 h 2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38"/>
                <a:gd name="T85" fmla="*/ 0 h 20"/>
                <a:gd name="T86" fmla="*/ 38 w 38"/>
                <a:gd name="T87" fmla="*/ 20 h 2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38" h="20">
                  <a:moveTo>
                    <a:pt x="20" y="20"/>
                  </a:moveTo>
                  <a:lnTo>
                    <a:pt x="20" y="20"/>
                  </a:lnTo>
                  <a:lnTo>
                    <a:pt x="26" y="20"/>
                  </a:lnTo>
                  <a:lnTo>
                    <a:pt x="26" y="14"/>
                  </a:lnTo>
                  <a:lnTo>
                    <a:pt x="32" y="14"/>
                  </a:lnTo>
                  <a:lnTo>
                    <a:pt x="38" y="11"/>
                  </a:lnTo>
                  <a:lnTo>
                    <a:pt x="32" y="11"/>
                  </a:lnTo>
                  <a:lnTo>
                    <a:pt x="20" y="11"/>
                  </a:lnTo>
                  <a:lnTo>
                    <a:pt x="15" y="11"/>
                  </a:lnTo>
                  <a:lnTo>
                    <a:pt x="12" y="8"/>
                  </a:lnTo>
                  <a:lnTo>
                    <a:pt x="9" y="8"/>
                  </a:lnTo>
                  <a:lnTo>
                    <a:pt x="9" y="6"/>
                  </a:lnTo>
                  <a:lnTo>
                    <a:pt x="9" y="0"/>
                  </a:lnTo>
                  <a:lnTo>
                    <a:pt x="3" y="3"/>
                  </a:lnTo>
                  <a:lnTo>
                    <a:pt x="0" y="8"/>
                  </a:lnTo>
                  <a:lnTo>
                    <a:pt x="3" y="11"/>
                  </a:lnTo>
                  <a:lnTo>
                    <a:pt x="6" y="14"/>
                  </a:lnTo>
                  <a:lnTo>
                    <a:pt x="9" y="14"/>
                  </a:lnTo>
                  <a:lnTo>
                    <a:pt x="9" y="17"/>
                  </a:lnTo>
                  <a:lnTo>
                    <a:pt x="15" y="17"/>
                  </a:lnTo>
                  <a:lnTo>
                    <a:pt x="17" y="17"/>
                  </a:lnTo>
                  <a:lnTo>
                    <a:pt x="20" y="2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86" name="Freeform 588"/>
            <p:cNvSpPr>
              <a:spLocks/>
            </p:cNvSpPr>
            <p:nvPr/>
          </p:nvSpPr>
          <p:spPr bwMode="auto">
            <a:xfrm>
              <a:off x="2105025" y="3321050"/>
              <a:ext cx="9525" cy="3175"/>
            </a:xfrm>
            <a:custGeom>
              <a:avLst/>
              <a:gdLst>
                <a:gd name="T0" fmla="*/ 2147483647 w 6"/>
                <a:gd name="T1" fmla="*/ 2147483647 h 2"/>
                <a:gd name="T2" fmla="*/ 2147483647 w 6"/>
                <a:gd name="T3" fmla="*/ 0 h 2"/>
                <a:gd name="T4" fmla="*/ 0 w 6"/>
                <a:gd name="T5" fmla="*/ 0 h 2"/>
                <a:gd name="T6" fmla="*/ 2147483647 w 6"/>
                <a:gd name="T7" fmla="*/ 2147483647 h 2"/>
                <a:gd name="T8" fmla="*/ 2147483647 w 6"/>
                <a:gd name="T9" fmla="*/ 2147483647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2"/>
                <a:gd name="T17" fmla="*/ 6 w 6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2">
                  <a:moveTo>
                    <a:pt x="6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2"/>
                  </a:lnTo>
                  <a:lnTo>
                    <a:pt x="6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87" name="Freeform 589"/>
            <p:cNvSpPr>
              <a:spLocks/>
            </p:cNvSpPr>
            <p:nvPr/>
          </p:nvSpPr>
          <p:spPr bwMode="auto">
            <a:xfrm>
              <a:off x="1249363" y="2422525"/>
              <a:ext cx="9525" cy="12700"/>
            </a:xfrm>
            <a:custGeom>
              <a:avLst/>
              <a:gdLst>
                <a:gd name="T0" fmla="*/ 2147483647 w 6"/>
                <a:gd name="T1" fmla="*/ 0 h 8"/>
                <a:gd name="T2" fmla="*/ 0 w 6"/>
                <a:gd name="T3" fmla="*/ 2147483647 h 8"/>
                <a:gd name="T4" fmla="*/ 2147483647 w 6"/>
                <a:gd name="T5" fmla="*/ 2147483647 h 8"/>
                <a:gd name="T6" fmla="*/ 2147483647 w 6"/>
                <a:gd name="T7" fmla="*/ 2147483647 h 8"/>
                <a:gd name="T8" fmla="*/ 2147483647 w 6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8"/>
                <a:gd name="T17" fmla="*/ 6 w 6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8">
                  <a:moveTo>
                    <a:pt x="3" y="0"/>
                  </a:moveTo>
                  <a:lnTo>
                    <a:pt x="0" y="3"/>
                  </a:lnTo>
                  <a:lnTo>
                    <a:pt x="3" y="8"/>
                  </a:lnTo>
                  <a:lnTo>
                    <a:pt x="6" y="6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88" name="Freeform 590"/>
            <p:cNvSpPr>
              <a:spLocks/>
            </p:cNvSpPr>
            <p:nvPr/>
          </p:nvSpPr>
          <p:spPr bwMode="auto">
            <a:xfrm>
              <a:off x="788988" y="2008188"/>
              <a:ext cx="9525" cy="4762"/>
            </a:xfrm>
            <a:custGeom>
              <a:avLst/>
              <a:gdLst>
                <a:gd name="T0" fmla="*/ 2147483647 w 6"/>
                <a:gd name="T1" fmla="*/ 0 h 3"/>
                <a:gd name="T2" fmla="*/ 2147483647 w 6"/>
                <a:gd name="T3" fmla="*/ 0 h 3"/>
                <a:gd name="T4" fmla="*/ 0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6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89" name="Freeform 591"/>
            <p:cNvSpPr>
              <a:spLocks/>
            </p:cNvSpPr>
            <p:nvPr/>
          </p:nvSpPr>
          <p:spPr bwMode="auto">
            <a:xfrm>
              <a:off x="2546350" y="3692525"/>
              <a:ext cx="23813" cy="26988"/>
            </a:xfrm>
            <a:custGeom>
              <a:avLst/>
              <a:gdLst>
                <a:gd name="T0" fmla="*/ 2147483647 w 15"/>
                <a:gd name="T1" fmla="*/ 2147483647 h 17"/>
                <a:gd name="T2" fmla="*/ 2147483647 w 15"/>
                <a:gd name="T3" fmla="*/ 0 h 17"/>
                <a:gd name="T4" fmla="*/ 2147483647 w 15"/>
                <a:gd name="T5" fmla="*/ 2147483647 h 17"/>
                <a:gd name="T6" fmla="*/ 2147483647 w 15"/>
                <a:gd name="T7" fmla="*/ 2147483647 h 17"/>
                <a:gd name="T8" fmla="*/ 2147483647 w 15"/>
                <a:gd name="T9" fmla="*/ 2147483647 h 17"/>
                <a:gd name="T10" fmla="*/ 2147483647 w 15"/>
                <a:gd name="T11" fmla="*/ 2147483647 h 17"/>
                <a:gd name="T12" fmla="*/ 2147483647 w 15"/>
                <a:gd name="T13" fmla="*/ 2147483647 h 17"/>
                <a:gd name="T14" fmla="*/ 2147483647 w 15"/>
                <a:gd name="T15" fmla="*/ 2147483647 h 17"/>
                <a:gd name="T16" fmla="*/ 0 w 15"/>
                <a:gd name="T17" fmla="*/ 2147483647 h 17"/>
                <a:gd name="T18" fmla="*/ 0 w 15"/>
                <a:gd name="T19" fmla="*/ 2147483647 h 17"/>
                <a:gd name="T20" fmla="*/ 2147483647 w 15"/>
                <a:gd name="T21" fmla="*/ 2147483647 h 17"/>
                <a:gd name="T22" fmla="*/ 2147483647 w 15"/>
                <a:gd name="T23" fmla="*/ 2147483647 h 17"/>
                <a:gd name="T24" fmla="*/ 2147483647 w 15"/>
                <a:gd name="T25" fmla="*/ 2147483647 h 17"/>
                <a:gd name="T26" fmla="*/ 2147483647 w 15"/>
                <a:gd name="T27" fmla="*/ 2147483647 h 17"/>
                <a:gd name="T28" fmla="*/ 2147483647 w 15"/>
                <a:gd name="T29" fmla="*/ 2147483647 h 17"/>
                <a:gd name="T30" fmla="*/ 2147483647 w 15"/>
                <a:gd name="T31" fmla="*/ 2147483647 h 17"/>
                <a:gd name="T32" fmla="*/ 2147483647 w 15"/>
                <a:gd name="T33" fmla="*/ 2147483647 h 17"/>
                <a:gd name="T34" fmla="*/ 2147483647 w 15"/>
                <a:gd name="T35" fmla="*/ 2147483647 h 1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5"/>
                <a:gd name="T55" fmla="*/ 0 h 17"/>
                <a:gd name="T56" fmla="*/ 15 w 15"/>
                <a:gd name="T57" fmla="*/ 17 h 17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5" h="17">
                  <a:moveTo>
                    <a:pt x="15" y="3"/>
                  </a:moveTo>
                  <a:lnTo>
                    <a:pt x="15" y="0"/>
                  </a:lnTo>
                  <a:lnTo>
                    <a:pt x="6" y="3"/>
                  </a:lnTo>
                  <a:lnTo>
                    <a:pt x="9" y="3"/>
                  </a:lnTo>
                  <a:lnTo>
                    <a:pt x="9" y="9"/>
                  </a:lnTo>
                  <a:lnTo>
                    <a:pt x="3" y="12"/>
                  </a:lnTo>
                  <a:lnTo>
                    <a:pt x="0" y="12"/>
                  </a:lnTo>
                  <a:lnTo>
                    <a:pt x="0" y="17"/>
                  </a:lnTo>
                  <a:lnTo>
                    <a:pt x="9" y="17"/>
                  </a:lnTo>
                  <a:lnTo>
                    <a:pt x="15" y="15"/>
                  </a:lnTo>
                  <a:lnTo>
                    <a:pt x="15" y="12"/>
                  </a:lnTo>
                  <a:lnTo>
                    <a:pt x="12" y="9"/>
                  </a:lnTo>
                  <a:lnTo>
                    <a:pt x="15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90" name="Freeform 592"/>
            <p:cNvSpPr>
              <a:spLocks/>
            </p:cNvSpPr>
            <p:nvPr/>
          </p:nvSpPr>
          <p:spPr bwMode="auto">
            <a:xfrm>
              <a:off x="2555875" y="3490913"/>
              <a:ext cx="4763" cy="4762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0 h 3"/>
                <a:gd name="T4" fmla="*/ 0 w 3"/>
                <a:gd name="T5" fmla="*/ 0 h 3"/>
                <a:gd name="T6" fmla="*/ 0 w 3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91" name="Freeform 593"/>
            <p:cNvSpPr>
              <a:spLocks/>
            </p:cNvSpPr>
            <p:nvPr/>
          </p:nvSpPr>
          <p:spPr bwMode="auto">
            <a:xfrm>
              <a:off x="2574925" y="3592513"/>
              <a:ext cx="7938" cy="14287"/>
            </a:xfrm>
            <a:custGeom>
              <a:avLst/>
              <a:gdLst>
                <a:gd name="T0" fmla="*/ 0 w 5"/>
                <a:gd name="T1" fmla="*/ 2147483647 h 9"/>
                <a:gd name="T2" fmla="*/ 2147483647 w 5"/>
                <a:gd name="T3" fmla="*/ 2147483647 h 9"/>
                <a:gd name="T4" fmla="*/ 2147483647 w 5"/>
                <a:gd name="T5" fmla="*/ 0 h 9"/>
                <a:gd name="T6" fmla="*/ 2147483647 w 5"/>
                <a:gd name="T7" fmla="*/ 0 h 9"/>
                <a:gd name="T8" fmla="*/ 0 w 5"/>
                <a:gd name="T9" fmla="*/ 2147483647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9"/>
                <a:gd name="T17" fmla="*/ 5 w 5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9">
                  <a:moveTo>
                    <a:pt x="0" y="9"/>
                  </a:moveTo>
                  <a:lnTo>
                    <a:pt x="5" y="6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92" name="Freeform 594"/>
            <p:cNvSpPr>
              <a:spLocks/>
            </p:cNvSpPr>
            <p:nvPr/>
          </p:nvSpPr>
          <p:spPr bwMode="auto">
            <a:xfrm>
              <a:off x="2570163" y="3614738"/>
              <a:ext cx="4762" cy="9525"/>
            </a:xfrm>
            <a:custGeom>
              <a:avLst/>
              <a:gdLst>
                <a:gd name="T0" fmla="*/ 0 w 3"/>
                <a:gd name="T1" fmla="*/ 0 h 6"/>
                <a:gd name="T2" fmla="*/ 0 w 3"/>
                <a:gd name="T3" fmla="*/ 0 h 6"/>
                <a:gd name="T4" fmla="*/ 0 w 3"/>
                <a:gd name="T5" fmla="*/ 2147483647 h 6"/>
                <a:gd name="T6" fmla="*/ 2147483647 w 3"/>
                <a:gd name="T7" fmla="*/ 2147483647 h 6"/>
                <a:gd name="T8" fmla="*/ 0 w 3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0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93" name="Freeform 595"/>
            <p:cNvSpPr>
              <a:spLocks/>
            </p:cNvSpPr>
            <p:nvPr/>
          </p:nvSpPr>
          <p:spPr bwMode="auto">
            <a:xfrm>
              <a:off x="2555875" y="3467100"/>
              <a:ext cx="4763" cy="9525"/>
            </a:xfrm>
            <a:custGeom>
              <a:avLst/>
              <a:gdLst>
                <a:gd name="T0" fmla="*/ 2147483647 w 3"/>
                <a:gd name="T1" fmla="*/ 0 h 6"/>
                <a:gd name="T2" fmla="*/ 0 w 3"/>
                <a:gd name="T3" fmla="*/ 2147483647 h 6"/>
                <a:gd name="T4" fmla="*/ 0 w 3"/>
                <a:gd name="T5" fmla="*/ 2147483647 h 6"/>
                <a:gd name="T6" fmla="*/ 2147483647 w 3"/>
                <a:gd name="T7" fmla="*/ 2147483647 h 6"/>
                <a:gd name="T8" fmla="*/ 2147483647 w 3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3" y="0"/>
                  </a:moveTo>
                  <a:lnTo>
                    <a:pt x="0" y="3"/>
                  </a:lnTo>
                  <a:lnTo>
                    <a:pt x="3" y="6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94" name="Freeform 596"/>
            <p:cNvSpPr>
              <a:spLocks/>
            </p:cNvSpPr>
            <p:nvPr/>
          </p:nvSpPr>
          <p:spPr bwMode="auto">
            <a:xfrm>
              <a:off x="2551113" y="3646488"/>
              <a:ext cx="4762" cy="14287"/>
            </a:xfrm>
            <a:custGeom>
              <a:avLst/>
              <a:gdLst>
                <a:gd name="T0" fmla="*/ 0 w 3"/>
                <a:gd name="T1" fmla="*/ 2147483647 h 9"/>
                <a:gd name="T2" fmla="*/ 2147483647 w 3"/>
                <a:gd name="T3" fmla="*/ 2147483647 h 9"/>
                <a:gd name="T4" fmla="*/ 2147483647 w 3"/>
                <a:gd name="T5" fmla="*/ 0 h 9"/>
                <a:gd name="T6" fmla="*/ 2147483647 w 3"/>
                <a:gd name="T7" fmla="*/ 2147483647 h 9"/>
                <a:gd name="T8" fmla="*/ 0 w 3"/>
                <a:gd name="T9" fmla="*/ 2147483647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9"/>
                <a:gd name="T17" fmla="*/ 3 w 3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9">
                  <a:moveTo>
                    <a:pt x="0" y="6"/>
                  </a:moveTo>
                  <a:lnTo>
                    <a:pt x="3" y="9"/>
                  </a:lnTo>
                  <a:lnTo>
                    <a:pt x="3" y="0"/>
                  </a:lnTo>
                  <a:lnTo>
                    <a:pt x="3" y="3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95" name="Freeform 597"/>
            <p:cNvSpPr>
              <a:spLocks/>
            </p:cNvSpPr>
            <p:nvPr/>
          </p:nvSpPr>
          <p:spPr bwMode="auto">
            <a:xfrm>
              <a:off x="2528888" y="3463925"/>
              <a:ext cx="9525" cy="7938"/>
            </a:xfrm>
            <a:custGeom>
              <a:avLst/>
              <a:gdLst>
                <a:gd name="T0" fmla="*/ 2147483647 w 6"/>
                <a:gd name="T1" fmla="*/ 2147483647 h 5"/>
                <a:gd name="T2" fmla="*/ 2147483647 w 6"/>
                <a:gd name="T3" fmla="*/ 0 h 5"/>
                <a:gd name="T4" fmla="*/ 0 w 6"/>
                <a:gd name="T5" fmla="*/ 2147483647 h 5"/>
                <a:gd name="T6" fmla="*/ 2147483647 w 6"/>
                <a:gd name="T7" fmla="*/ 2147483647 h 5"/>
                <a:gd name="T8" fmla="*/ 2147483647 w 6"/>
                <a:gd name="T9" fmla="*/ 2147483647 h 5"/>
                <a:gd name="T10" fmla="*/ 2147483647 w 6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5"/>
                <a:gd name="T20" fmla="*/ 6 w 6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5">
                  <a:moveTo>
                    <a:pt x="6" y="2"/>
                  </a:moveTo>
                  <a:lnTo>
                    <a:pt x="3" y="0"/>
                  </a:lnTo>
                  <a:lnTo>
                    <a:pt x="0" y="2"/>
                  </a:lnTo>
                  <a:lnTo>
                    <a:pt x="3" y="5"/>
                  </a:lnTo>
                  <a:lnTo>
                    <a:pt x="6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96" name="Freeform 598"/>
            <p:cNvSpPr>
              <a:spLocks/>
            </p:cNvSpPr>
            <p:nvPr/>
          </p:nvSpPr>
          <p:spPr bwMode="auto">
            <a:xfrm>
              <a:off x="2519363" y="3536950"/>
              <a:ext cx="9525" cy="3175"/>
            </a:xfrm>
            <a:custGeom>
              <a:avLst/>
              <a:gdLst>
                <a:gd name="T0" fmla="*/ 2147483647 w 6"/>
                <a:gd name="T1" fmla="*/ 0 h 2"/>
                <a:gd name="T2" fmla="*/ 0 w 6"/>
                <a:gd name="T3" fmla="*/ 2147483647 h 2"/>
                <a:gd name="T4" fmla="*/ 2147483647 w 6"/>
                <a:gd name="T5" fmla="*/ 2147483647 h 2"/>
                <a:gd name="T6" fmla="*/ 2147483647 w 6"/>
                <a:gd name="T7" fmla="*/ 0 h 2"/>
                <a:gd name="T8" fmla="*/ 2147483647 w 6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2"/>
                <a:gd name="T17" fmla="*/ 6 w 6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2">
                  <a:moveTo>
                    <a:pt x="3" y="0"/>
                  </a:moveTo>
                  <a:lnTo>
                    <a:pt x="0" y="2"/>
                  </a:lnTo>
                  <a:lnTo>
                    <a:pt x="3" y="2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97" name="Freeform 599"/>
            <p:cNvSpPr>
              <a:spLocks/>
            </p:cNvSpPr>
            <p:nvPr/>
          </p:nvSpPr>
          <p:spPr bwMode="auto">
            <a:xfrm>
              <a:off x="2778125" y="2657475"/>
              <a:ext cx="9525" cy="4763"/>
            </a:xfrm>
            <a:custGeom>
              <a:avLst/>
              <a:gdLst>
                <a:gd name="T0" fmla="*/ 2147483647 w 6"/>
                <a:gd name="T1" fmla="*/ 0 h 3"/>
                <a:gd name="T2" fmla="*/ 0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3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6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98" name="Freeform 600"/>
            <p:cNvSpPr>
              <a:spLocks/>
            </p:cNvSpPr>
            <p:nvPr/>
          </p:nvSpPr>
          <p:spPr bwMode="auto">
            <a:xfrm>
              <a:off x="2574925" y="3563938"/>
              <a:ext cx="7938" cy="17462"/>
            </a:xfrm>
            <a:custGeom>
              <a:avLst/>
              <a:gdLst>
                <a:gd name="T0" fmla="*/ 2147483647 w 5"/>
                <a:gd name="T1" fmla="*/ 0 h 11"/>
                <a:gd name="T2" fmla="*/ 0 w 5"/>
                <a:gd name="T3" fmla="*/ 2147483647 h 11"/>
                <a:gd name="T4" fmla="*/ 2147483647 w 5"/>
                <a:gd name="T5" fmla="*/ 2147483647 h 11"/>
                <a:gd name="T6" fmla="*/ 2147483647 w 5"/>
                <a:gd name="T7" fmla="*/ 2147483647 h 11"/>
                <a:gd name="T8" fmla="*/ 2147483647 w 5"/>
                <a:gd name="T9" fmla="*/ 2147483647 h 11"/>
                <a:gd name="T10" fmla="*/ 2147483647 w 5"/>
                <a:gd name="T11" fmla="*/ 2147483647 h 11"/>
                <a:gd name="T12" fmla="*/ 2147483647 w 5"/>
                <a:gd name="T13" fmla="*/ 2147483647 h 11"/>
                <a:gd name="T14" fmla="*/ 2147483647 w 5"/>
                <a:gd name="T15" fmla="*/ 2147483647 h 11"/>
                <a:gd name="T16" fmla="*/ 2147483647 w 5"/>
                <a:gd name="T17" fmla="*/ 0 h 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"/>
                <a:gd name="T28" fmla="*/ 0 h 11"/>
                <a:gd name="T29" fmla="*/ 5 w 5"/>
                <a:gd name="T30" fmla="*/ 11 h 1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" h="11">
                  <a:moveTo>
                    <a:pt x="3" y="0"/>
                  </a:moveTo>
                  <a:lnTo>
                    <a:pt x="0" y="3"/>
                  </a:lnTo>
                  <a:lnTo>
                    <a:pt x="3" y="6"/>
                  </a:lnTo>
                  <a:lnTo>
                    <a:pt x="3" y="11"/>
                  </a:lnTo>
                  <a:lnTo>
                    <a:pt x="5" y="11"/>
                  </a:lnTo>
                  <a:lnTo>
                    <a:pt x="5" y="8"/>
                  </a:lnTo>
                  <a:lnTo>
                    <a:pt x="3" y="6"/>
                  </a:lnTo>
                  <a:lnTo>
                    <a:pt x="5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99" name="Freeform 601"/>
            <p:cNvSpPr>
              <a:spLocks/>
            </p:cNvSpPr>
            <p:nvPr/>
          </p:nvSpPr>
          <p:spPr bwMode="auto">
            <a:xfrm>
              <a:off x="2560638" y="3513138"/>
              <a:ext cx="19050" cy="23812"/>
            </a:xfrm>
            <a:custGeom>
              <a:avLst/>
              <a:gdLst>
                <a:gd name="T0" fmla="*/ 2147483647 w 12"/>
                <a:gd name="T1" fmla="*/ 0 h 15"/>
                <a:gd name="T2" fmla="*/ 2147483647 w 12"/>
                <a:gd name="T3" fmla="*/ 2147483647 h 15"/>
                <a:gd name="T4" fmla="*/ 2147483647 w 12"/>
                <a:gd name="T5" fmla="*/ 2147483647 h 15"/>
                <a:gd name="T6" fmla="*/ 0 w 12"/>
                <a:gd name="T7" fmla="*/ 2147483647 h 15"/>
                <a:gd name="T8" fmla="*/ 2147483647 w 12"/>
                <a:gd name="T9" fmla="*/ 2147483647 h 15"/>
                <a:gd name="T10" fmla="*/ 2147483647 w 12"/>
                <a:gd name="T11" fmla="*/ 2147483647 h 15"/>
                <a:gd name="T12" fmla="*/ 2147483647 w 12"/>
                <a:gd name="T13" fmla="*/ 2147483647 h 15"/>
                <a:gd name="T14" fmla="*/ 2147483647 w 12"/>
                <a:gd name="T15" fmla="*/ 2147483647 h 15"/>
                <a:gd name="T16" fmla="*/ 2147483647 w 12"/>
                <a:gd name="T17" fmla="*/ 2147483647 h 15"/>
                <a:gd name="T18" fmla="*/ 2147483647 w 12"/>
                <a:gd name="T19" fmla="*/ 2147483647 h 15"/>
                <a:gd name="T20" fmla="*/ 2147483647 w 12"/>
                <a:gd name="T21" fmla="*/ 2147483647 h 15"/>
                <a:gd name="T22" fmla="*/ 2147483647 w 12"/>
                <a:gd name="T23" fmla="*/ 2147483647 h 15"/>
                <a:gd name="T24" fmla="*/ 2147483647 w 12"/>
                <a:gd name="T25" fmla="*/ 0 h 1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2"/>
                <a:gd name="T40" fmla="*/ 0 h 15"/>
                <a:gd name="T41" fmla="*/ 12 w 12"/>
                <a:gd name="T42" fmla="*/ 15 h 1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2" h="15">
                  <a:moveTo>
                    <a:pt x="9" y="0"/>
                  </a:moveTo>
                  <a:lnTo>
                    <a:pt x="6" y="6"/>
                  </a:lnTo>
                  <a:lnTo>
                    <a:pt x="3" y="3"/>
                  </a:lnTo>
                  <a:lnTo>
                    <a:pt x="0" y="6"/>
                  </a:lnTo>
                  <a:lnTo>
                    <a:pt x="3" y="12"/>
                  </a:lnTo>
                  <a:lnTo>
                    <a:pt x="3" y="15"/>
                  </a:lnTo>
                  <a:lnTo>
                    <a:pt x="6" y="12"/>
                  </a:lnTo>
                  <a:lnTo>
                    <a:pt x="6" y="9"/>
                  </a:lnTo>
                  <a:lnTo>
                    <a:pt x="9" y="9"/>
                  </a:lnTo>
                  <a:lnTo>
                    <a:pt x="12" y="6"/>
                  </a:lnTo>
                  <a:lnTo>
                    <a:pt x="9" y="6"/>
                  </a:lnTo>
                  <a:lnTo>
                    <a:pt x="12" y="3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00" name="Freeform 602"/>
            <p:cNvSpPr>
              <a:spLocks/>
            </p:cNvSpPr>
            <p:nvPr/>
          </p:nvSpPr>
          <p:spPr bwMode="auto">
            <a:xfrm>
              <a:off x="2538413" y="3486150"/>
              <a:ext cx="4762" cy="9525"/>
            </a:xfrm>
            <a:custGeom>
              <a:avLst/>
              <a:gdLst>
                <a:gd name="T0" fmla="*/ 2147483647 w 3"/>
                <a:gd name="T1" fmla="*/ 2147483647 h 6"/>
                <a:gd name="T2" fmla="*/ 2147483647 w 3"/>
                <a:gd name="T3" fmla="*/ 2147483647 h 6"/>
                <a:gd name="T4" fmla="*/ 0 w 3"/>
                <a:gd name="T5" fmla="*/ 0 h 6"/>
                <a:gd name="T6" fmla="*/ 0 w 3"/>
                <a:gd name="T7" fmla="*/ 2147483647 h 6"/>
                <a:gd name="T8" fmla="*/ 2147483647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3" y="6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6"/>
                  </a:lnTo>
                  <a:lnTo>
                    <a:pt x="3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01" name="Freeform 603"/>
            <p:cNvSpPr>
              <a:spLocks/>
            </p:cNvSpPr>
            <p:nvPr/>
          </p:nvSpPr>
          <p:spPr bwMode="auto">
            <a:xfrm>
              <a:off x="2565400" y="3540125"/>
              <a:ext cx="9525" cy="4763"/>
            </a:xfrm>
            <a:custGeom>
              <a:avLst/>
              <a:gdLst>
                <a:gd name="T0" fmla="*/ 2147483647 w 6"/>
                <a:gd name="T1" fmla="*/ 2147483647 h 3"/>
                <a:gd name="T2" fmla="*/ 2147483647 w 6"/>
                <a:gd name="T3" fmla="*/ 0 h 3"/>
                <a:gd name="T4" fmla="*/ 0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6" y="3"/>
                  </a:moveTo>
                  <a:lnTo>
                    <a:pt x="6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02" name="Freeform 604"/>
            <p:cNvSpPr>
              <a:spLocks/>
            </p:cNvSpPr>
            <p:nvPr/>
          </p:nvSpPr>
          <p:spPr bwMode="auto">
            <a:xfrm>
              <a:off x="2617788" y="3614738"/>
              <a:ext cx="3175" cy="9525"/>
            </a:xfrm>
            <a:custGeom>
              <a:avLst/>
              <a:gdLst>
                <a:gd name="T0" fmla="*/ 2147483647 w 2"/>
                <a:gd name="T1" fmla="*/ 2147483647 h 6"/>
                <a:gd name="T2" fmla="*/ 0 w 2"/>
                <a:gd name="T3" fmla="*/ 0 h 6"/>
                <a:gd name="T4" fmla="*/ 0 w 2"/>
                <a:gd name="T5" fmla="*/ 2147483647 h 6"/>
                <a:gd name="T6" fmla="*/ 0 w 2"/>
                <a:gd name="T7" fmla="*/ 2147483647 h 6"/>
                <a:gd name="T8" fmla="*/ 0 w 2"/>
                <a:gd name="T9" fmla="*/ 2147483647 h 6"/>
                <a:gd name="T10" fmla="*/ 2147483647 w 2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"/>
                <a:gd name="T19" fmla="*/ 0 h 6"/>
                <a:gd name="T20" fmla="*/ 2 w 2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" h="6">
                  <a:moveTo>
                    <a:pt x="2" y="3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2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03" name="Freeform 605"/>
            <p:cNvSpPr>
              <a:spLocks/>
            </p:cNvSpPr>
            <p:nvPr/>
          </p:nvSpPr>
          <p:spPr bwMode="auto">
            <a:xfrm>
              <a:off x="2744788" y="3849688"/>
              <a:ext cx="84137" cy="111125"/>
            </a:xfrm>
            <a:custGeom>
              <a:avLst/>
              <a:gdLst>
                <a:gd name="T0" fmla="*/ 2147483647 w 52"/>
                <a:gd name="T1" fmla="*/ 2147483647 h 69"/>
                <a:gd name="T2" fmla="*/ 2147483647 w 52"/>
                <a:gd name="T3" fmla="*/ 2147483647 h 69"/>
                <a:gd name="T4" fmla="*/ 2147483647 w 52"/>
                <a:gd name="T5" fmla="*/ 2147483647 h 69"/>
                <a:gd name="T6" fmla="*/ 2147483647 w 52"/>
                <a:gd name="T7" fmla="*/ 2147483647 h 69"/>
                <a:gd name="T8" fmla="*/ 2147483647 w 52"/>
                <a:gd name="T9" fmla="*/ 2147483647 h 69"/>
                <a:gd name="T10" fmla="*/ 2147483647 w 52"/>
                <a:gd name="T11" fmla="*/ 2147483647 h 69"/>
                <a:gd name="T12" fmla="*/ 2147483647 w 52"/>
                <a:gd name="T13" fmla="*/ 2147483647 h 69"/>
                <a:gd name="T14" fmla="*/ 2147483647 w 52"/>
                <a:gd name="T15" fmla="*/ 2147483647 h 69"/>
                <a:gd name="T16" fmla="*/ 2147483647 w 52"/>
                <a:gd name="T17" fmla="*/ 2147483647 h 69"/>
                <a:gd name="T18" fmla="*/ 2147483647 w 52"/>
                <a:gd name="T19" fmla="*/ 2147483647 h 69"/>
                <a:gd name="T20" fmla="*/ 2147483647 w 52"/>
                <a:gd name="T21" fmla="*/ 2147483647 h 69"/>
                <a:gd name="T22" fmla="*/ 2147483647 w 52"/>
                <a:gd name="T23" fmla="*/ 2147483647 h 69"/>
                <a:gd name="T24" fmla="*/ 2147483647 w 52"/>
                <a:gd name="T25" fmla="*/ 2147483647 h 69"/>
                <a:gd name="T26" fmla="*/ 2147483647 w 52"/>
                <a:gd name="T27" fmla="*/ 2147483647 h 69"/>
                <a:gd name="T28" fmla="*/ 2147483647 w 52"/>
                <a:gd name="T29" fmla="*/ 2147483647 h 69"/>
                <a:gd name="T30" fmla="*/ 2147483647 w 52"/>
                <a:gd name="T31" fmla="*/ 2147483647 h 69"/>
                <a:gd name="T32" fmla="*/ 2147483647 w 52"/>
                <a:gd name="T33" fmla="*/ 2147483647 h 69"/>
                <a:gd name="T34" fmla="*/ 2147483647 w 52"/>
                <a:gd name="T35" fmla="*/ 2147483647 h 69"/>
                <a:gd name="T36" fmla="*/ 2147483647 w 52"/>
                <a:gd name="T37" fmla="*/ 2147483647 h 69"/>
                <a:gd name="T38" fmla="*/ 2147483647 w 52"/>
                <a:gd name="T39" fmla="*/ 2147483647 h 69"/>
                <a:gd name="T40" fmla="*/ 2147483647 w 52"/>
                <a:gd name="T41" fmla="*/ 0 h 69"/>
                <a:gd name="T42" fmla="*/ 2147483647 w 52"/>
                <a:gd name="T43" fmla="*/ 2147483647 h 69"/>
                <a:gd name="T44" fmla="*/ 2147483647 w 52"/>
                <a:gd name="T45" fmla="*/ 2147483647 h 69"/>
                <a:gd name="T46" fmla="*/ 2147483647 w 52"/>
                <a:gd name="T47" fmla="*/ 2147483647 h 69"/>
                <a:gd name="T48" fmla="*/ 2147483647 w 52"/>
                <a:gd name="T49" fmla="*/ 2147483647 h 69"/>
                <a:gd name="T50" fmla="*/ 2147483647 w 52"/>
                <a:gd name="T51" fmla="*/ 2147483647 h 69"/>
                <a:gd name="T52" fmla="*/ 2147483647 w 52"/>
                <a:gd name="T53" fmla="*/ 2147483647 h 69"/>
                <a:gd name="T54" fmla="*/ 2147483647 w 52"/>
                <a:gd name="T55" fmla="*/ 2147483647 h 69"/>
                <a:gd name="T56" fmla="*/ 2147483647 w 52"/>
                <a:gd name="T57" fmla="*/ 2147483647 h 69"/>
                <a:gd name="T58" fmla="*/ 2147483647 w 52"/>
                <a:gd name="T59" fmla="*/ 2147483647 h 69"/>
                <a:gd name="T60" fmla="*/ 2147483647 w 52"/>
                <a:gd name="T61" fmla="*/ 2147483647 h 69"/>
                <a:gd name="T62" fmla="*/ 2147483647 w 52"/>
                <a:gd name="T63" fmla="*/ 2147483647 h 69"/>
                <a:gd name="T64" fmla="*/ 2147483647 w 52"/>
                <a:gd name="T65" fmla="*/ 2147483647 h 69"/>
                <a:gd name="T66" fmla="*/ 2147483647 w 52"/>
                <a:gd name="T67" fmla="*/ 2147483647 h 69"/>
                <a:gd name="T68" fmla="*/ 2147483647 w 52"/>
                <a:gd name="T69" fmla="*/ 2147483647 h 69"/>
                <a:gd name="T70" fmla="*/ 2147483647 w 52"/>
                <a:gd name="T71" fmla="*/ 2147483647 h 69"/>
                <a:gd name="T72" fmla="*/ 0 w 52"/>
                <a:gd name="T73" fmla="*/ 2147483647 h 69"/>
                <a:gd name="T74" fmla="*/ 0 w 52"/>
                <a:gd name="T75" fmla="*/ 2147483647 h 69"/>
                <a:gd name="T76" fmla="*/ 2147483647 w 52"/>
                <a:gd name="T77" fmla="*/ 2147483647 h 69"/>
                <a:gd name="T78" fmla="*/ 2147483647 w 52"/>
                <a:gd name="T79" fmla="*/ 2147483647 h 69"/>
                <a:gd name="T80" fmla="*/ 2147483647 w 52"/>
                <a:gd name="T81" fmla="*/ 2147483647 h 69"/>
                <a:gd name="T82" fmla="*/ 2147483647 w 52"/>
                <a:gd name="T83" fmla="*/ 2147483647 h 69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52"/>
                <a:gd name="T127" fmla="*/ 0 h 69"/>
                <a:gd name="T128" fmla="*/ 52 w 52"/>
                <a:gd name="T129" fmla="*/ 69 h 69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52" h="69">
                  <a:moveTo>
                    <a:pt x="3" y="69"/>
                  </a:moveTo>
                  <a:lnTo>
                    <a:pt x="3" y="69"/>
                  </a:lnTo>
                  <a:lnTo>
                    <a:pt x="11" y="63"/>
                  </a:lnTo>
                  <a:lnTo>
                    <a:pt x="14" y="63"/>
                  </a:lnTo>
                  <a:lnTo>
                    <a:pt x="23" y="66"/>
                  </a:lnTo>
                  <a:lnTo>
                    <a:pt x="31" y="63"/>
                  </a:lnTo>
                  <a:lnTo>
                    <a:pt x="34" y="57"/>
                  </a:lnTo>
                  <a:lnTo>
                    <a:pt x="37" y="46"/>
                  </a:lnTo>
                  <a:lnTo>
                    <a:pt x="40" y="40"/>
                  </a:lnTo>
                  <a:lnTo>
                    <a:pt x="43" y="37"/>
                  </a:lnTo>
                  <a:lnTo>
                    <a:pt x="46" y="34"/>
                  </a:lnTo>
                  <a:lnTo>
                    <a:pt x="52" y="31"/>
                  </a:lnTo>
                  <a:lnTo>
                    <a:pt x="49" y="29"/>
                  </a:lnTo>
                  <a:lnTo>
                    <a:pt x="37" y="14"/>
                  </a:lnTo>
                  <a:lnTo>
                    <a:pt x="20" y="6"/>
                  </a:lnTo>
                  <a:lnTo>
                    <a:pt x="9" y="0"/>
                  </a:lnTo>
                  <a:lnTo>
                    <a:pt x="6" y="8"/>
                  </a:lnTo>
                  <a:lnTo>
                    <a:pt x="3" y="23"/>
                  </a:lnTo>
                  <a:lnTo>
                    <a:pt x="3" y="26"/>
                  </a:lnTo>
                  <a:lnTo>
                    <a:pt x="3" y="31"/>
                  </a:lnTo>
                  <a:lnTo>
                    <a:pt x="6" y="37"/>
                  </a:lnTo>
                  <a:lnTo>
                    <a:pt x="9" y="40"/>
                  </a:lnTo>
                  <a:lnTo>
                    <a:pt x="9" y="46"/>
                  </a:lnTo>
                  <a:lnTo>
                    <a:pt x="9" y="49"/>
                  </a:lnTo>
                  <a:lnTo>
                    <a:pt x="6" y="54"/>
                  </a:lnTo>
                  <a:lnTo>
                    <a:pt x="0" y="69"/>
                  </a:lnTo>
                  <a:lnTo>
                    <a:pt x="3" y="6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04" name="Freeform 606"/>
            <p:cNvSpPr>
              <a:spLocks/>
            </p:cNvSpPr>
            <p:nvPr/>
          </p:nvSpPr>
          <p:spPr bwMode="auto">
            <a:xfrm>
              <a:off x="2492375" y="2740025"/>
              <a:ext cx="9525" cy="4763"/>
            </a:xfrm>
            <a:custGeom>
              <a:avLst/>
              <a:gdLst>
                <a:gd name="T0" fmla="*/ 2147483647 w 6"/>
                <a:gd name="T1" fmla="*/ 0 h 3"/>
                <a:gd name="T2" fmla="*/ 2147483647 w 6"/>
                <a:gd name="T3" fmla="*/ 0 h 3"/>
                <a:gd name="T4" fmla="*/ 0 w 6"/>
                <a:gd name="T5" fmla="*/ 0 h 3"/>
                <a:gd name="T6" fmla="*/ 0 w 6"/>
                <a:gd name="T7" fmla="*/ 2147483647 h 3"/>
                <a:gd name="T8" fmla="*/ 2147483647 w 6"/>
                <a:gd name="T9" fmla="*/ 2147483647 h 3"/>
                <a:gd name="T10" fmla="*/ 2147483647 w 6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6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05" name="Freeform 608"/>
            <p:cNvSpPr>
              <a:spLocks/>
            </p:cNvSpPr>
            <p:nvPr/>
          </p:nvSpPr>
          <p:spPr bwMode="auto">
            <a:xfrm>
              <a:off x="2574925" y="3532188"/>
              <a:ext cx="4763" cy="4762"/>
            </a:xfrm>
            <a:custGeom>
              <a:avLst/>
              <a:gdLst>
                <a:gd name="T0" fmla="*/ 2147483647 w 3"/>
                <a:gd name="T1" fmla="*/ 0 h 3"/>
                <a:gd name="T2" fmla="*/ 0 w 3"/>
                <a:gd name="T3" fmla="*/ 2147483647 h 3"/>
                <a:gd name="T4" fmla="*/ 0 w 3"/>
                <a:gd name="T5" fmla="*/ 2147483647 h 3"/>
                <a:gd name="T6" fmla="*/ 2147483647 w 3"/>
                <a:gd name="T7" fmla="*/ 2147483647 h 3"/>
                <a:gd name="T8" fmla="*/ 2147483647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06" name="Freeform 609"/>
            <p:cNvSpPr>
              <a:spLocks/>
            </p:cNvSpPr>
            <p:nvPr/>
          </p:nvSpPr>
          <p:spPr bwMode="auto">
            <a:xfrm>
              <a:off x="2570163" y="3549650"/>
              <a:ext cx="9525" cy="4763"/>
            </a:xfrm>
            <a:custGeom>
              <a:avLst/>
              <a:gdLst>
                <a:gd name="T0" fmla="*/ 2147483647 w 6"/>
                <a:gd name="T1" fmla="*/ 0 h 3"/>
                <a:gd name="T2" fmla="*/ 2147483647 w 6"/>
                <a:gd name="T3" fmla="*/ 0 h 3"/>
                <a:gd name="T4" fmla="*/ 0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6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07" name="Freeform 610"/>
            <p:cNvSpPr>
              <a:spLocks/>
            </p:cNvSpPr>
            <p:nvPr/>
          </p:nvSpPr>
          <p:spPr bwMode="auto">
            <a:xfrm>
              <a:off x="2560638" y="3495675"/>
              <a:ext cx="9525" cy="7938"/>
            </a:xfrm>
            <a:custGeom>
              <a:avLst/>
              <a:gdLst>
                <a:gd name="T0" fmla="*/ 0 w 6"/>
                <a:gd name="T1" fmla="*/ 2147483647 h 5"/>
                <a:gd name="T2" fmla="*/ 2147483647 w 6"/>
                <a:gd name="T3" fmla="*/ 2147483647 h 5"/>
                <a:gd name="T4" fmla="*/ 2147483647 w 6"/>
                <a:gd name="T5" fmla="*/ 0 h 5"/>
                <a:gd name="T6" fmla="*/ 2147483647 w 6"/>
                <a:gd name="T7" fmla="*/ 0 h 5"/>
                <a:gd name="T8" fmla="*/ 0 w 6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5"/>
                <a:gd name="T17" fmla="*/ 6 w 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5">
                  <a:moveTo>
                    <a:pt x="0" y="3"/>
                  </a:moveTo>
                  <a:lnTo>
                    <a:pt x="6" y="5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08" name="Rectangle 611"/>
            <p:cNvSpPr>
              <a:spLocks noChangeArrowheads="1"/>
            </p:cNvSpPr>
            <p:nvPr/>
          </p:nvSpPr>
          <p:spPr bwMode="auto">
            <a:xfrm>
              <a:off x="2565400" y="3476625"/>
              <a:ext cx="4763" cy="9525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09" name="Freeform 612"/>
            <p:cNvSpPr>
              <a:spLocks/>
            </p:cNvSpPr>
            <p:nvPr/>
          </p:nvSpPr>
          <p:spPr bwMode="auto">
            <a:xfrm>
              <a:off x="619125" y="2170113"/>
              <a:ext cx="41275" cy="17462"/>
            </a:xfrm>
            <a:custGeom>
              <a:avLst/>
              <a:gdLst>
                <a:gd name="T0" fmla="*/ 2147483647 w 26"/>
                <a:gd name="T1" fmla="*/ 2147483647 h 11"/>
                <a:gd name="T2" fmla="*/ 2147483647 w 26"/>
                <a:gd name="T3" fmla="*/ 2147483647 h 11"/>
                <a:gd name="T4" fmla="*/ 2147483647 w 26"/>
                <a:gd name="T5" fmla="*/ 2147483647 h 11"/>
                <a:gd name="T6" fmla="*/ 2147483647 w 26"/>
                <a:gd name="T7" fmla="*/ 2147483647 h 11"/>
                <a:gd name="T8" fmla="*/ 2147483647 w 26"/>
                <a:gd name="T9" fmla="*/ 0 h 11"/>
                <a:gd name="T10" fmla="*/ 2147483647 w 26"/>
                <a:gd name="T11" fmla="*/ 0 h 11"/>
                <a:gd name="T12" fmla="*/ 2147483647 w 26"/>
                <a:gd name="T13" fmla="*/ 0 h 11"/>
                <a:gd name="T14" fmla="*/ 2147483647 w 26"/>
                <a:gd name="T15" fmla="*/ 2147483647 h 11"/>
                <a:gd name="T16" fmla="*/ 0 w 26"/>
                <a:gd name="T17" fmla="*/ 2147483647 h 11"/>
                <a:gd name="T18" fmla="*/ 0 w 26"/>
                <a:gd name="T19" fmla="*/ 2147483647 h 11"/>
                <a:gd name="T20" fmla="*/ 2147483647 w 26"/>
                <a:gd name="T21" fmla="*/ 2147483647 h 11"/>
                <a:gd name="T22" fmla="*/ 2147483647 w 26"/>
                <a:gd name="T23" fmla="*/ 2147483647 h 1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6"/>
                <a:gd name="T37" fmla="*/ 0 h 11"/>
                <a:gd name="T38" fmla="*/ 26 w 26"/>
                <a:gd name="T39" fmla="*/ 11 h 1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6" h="11">
                  <a:moveTo>
                    <a:pt x="8" y="11"/>
                  </a:moveTo>
                  <a:lnTo>
                    <a:pt x="14" y="8"/>
                  </a:lnTo>
                  <a:lnTo>
                    <a:pt x="20" y="8"/>
                  </a:lnTo>
                  <a:lnTo>
                    <a:pt x="23" y="3"/>
                  </a:lnTo>
                  <a:lnTo>
                    <a:pt x="26" y="0"/>
                  </a:lnTo>
                  <a:lnTo>
                    <a:pt x="20" y="0"/>
                  </a:lnTo>
                  <a:lnTo>
                    <a:pt x="11" y="0"/>
                  </a:lnTo>
                  <a:lnTo>
                    <a:pt x="8" y="3"/>
                  </a:lnTo>
                  <a:lnTo>
                    <a:pt x="0" y="3"/>
                  </a:lnTo>
                  <a:lnTo>
                    <a:pt x="0" y="6"/>
                  </a:lnTo>
                  <a:lnTo>
                    <a:pt x="5" y="11"/>
                  </a:lnTo>
                  <a:lnTo>
                    <a:pt x="8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10" name="Freeform 613"/>
            <p:cNvSpPr>
              <a:spLocks/>
            </p:cNvSpPr>
            <p:nvPr/>
          </p:nvSpPr>
          <p:spPr bwMode="auto">
            <a:xfrm>
              <a:off x="2506663" y="1677988"/>
              <a:ext cx="85725" cy="41275"/>
            </a:xfrm>
            <a:custGeom>
              <a:avLst/>
              <a:gdLst>
                <a:gd name="T0" fmla="*/ 2147483647 w 54"/>
                <a:gd name="T1" fmla="*/ 2147483647 h 26"/>
                <a:gd name="T2" fmla="*/ 2147483647 w 54"/>
                <a:gd name="T3" fmla="*/ 2147483647 h 26"/>
                <a:gd name="T4" fmla="*/ 2147483647 w 54"/>
                <a:gd name="T5" fmla="*/ 2147483647 h 26"/>
                <a:gd name="T6" fmla="*/ 2147483647 w 54"/>
                <a:gd name="T7" fmla="*/ 2147483647 h 26"/>
                <a:gd name="T8" fmla="*/ 2147483647 w 54"/>
                <a:gd name="T9" fmla="*/ 2147483647 h 26"/>
                <a:gd name="T10" fmla="*/ 2147483647 w 54"/>
                <a:gd name="T11" fmla="*/ 2147483647 h 26"/>
                <a:gd name="T12" fmla="*/ 2147483647 w 54"/>
                <a:gd name="T13" fmla="*/ 2147483647 h 26"/>
                <a:gd name="T14" fmla="*/ 2147483647 w 54"/>
                <a:gd name="T15" fmla="*/ 2147483647 h 26"/>
                <a:gd name="T16" fmla="*/ 2147483647 w 54"/>
                <a:gd name="T17" fmla="*/ 2147483647 h 26"/>
                <a:gd name="T18" fmla="*/ 2147483647 w 54"/>
                <a:gd name="T19" fmla="*/ 2147483647 h 26"/>
                <a:gd name="T20" fmla="*/ 2147483647 w 54"/>
                <a:gd name="T21" fmla="*/ 2147483647 h 26"/>
                <a:gd name="T22" fmla="*/ 2147483647 w 54"/>
                <a:gd name="T23" fmla="*/ 2147483647 h 26"/>
                <a:gd name="T24" fmla="*/ 2147483647 w 54"/>
                <a:gd name="T25" fmla="*/ 2147483647 h 26"/>
                <a:gd name="T26" fmla="*/ 2147483647 w 54"/>
                <a:gd name="T27" fmla="*/ 2147483647 h 26"/>
                <a:gd name="T28" fmla="*/ 2147483647 w 54"/>
                <a:gd name="T29" fmla="*/ 2147483647 h 26"/>
                <a:gd name="T30" fmla="*/ 2147483647 w 54"/>
                <a:gd name="T31" fmla="*/ 2147483647 h 26"/>
                <a:gd name="T32" fmla="*/ 2147483647 w 54"/>
                <a:gd name="T33" fmla="*/ 2147483647 h 26"/>
                <a:gd name="T34" fmla="*/ 2147483647 w 54"/>
                <a:gd name="T35" fmla="*/ 2147483647 h 26"/>
                <a:gd name="T36" fmla="*/ 2147483647 w 54"/>
                <a:gd name="T37" fmla="*/ 2147483647 h 26"/>
                <a:gd name="T38" fmla="*/ 2147483647 w 54"/>
                <a:gd name="T39" fmla="*/ 2147483647 h 26"/>
                <a:gd name="T40" fmla="*/ 2147483647 w 54"/>
                <a:gd name="T41" fmla="*/ 2147483647 h 26"/>
                <a:gd name="T42" fmla="*/ 2147483647 w 54"/>
                <a:gd name="T43" fmla="*/ 2147483647 h 26"/>
                <a:gd name="T44" fmla="*/ 2147483647 w 54"/>
                <a:gd name="T45" fmla="*/ 2147483647 h 26"/>
                <a:gd name="T46" fmla="*/ 2147483647 w 54"/>
                <a:gd name="T47" fmla="*/ 2147483647 h 26"/>
                <a:gd name="T48" fmla="*/ 2147483647 w 54"/>
                <a:gd name="T49" fmla="*/ 0 h 26"/>
                <a:gd name="T50" fmla="*/ 2147483647 w 54"/>
                <a:gd name="T51" fmla="*/ 0 h 26"/>
                <a:gd name="T52" fmla="*/ 2147483647 w 54"/>
                <a:gd name="T53" fmla="*/ 0 h 26"/>
                <a:gd name="T54" fmla="*/ 2147483647 w 54"/>
                <a:gd name="T55" fmla="*/ 0 h 26"/>
                <a:gd name="T56" fmla="*/ 2147483647 w 54"/>
                <a:gd name="T57" fmla="*/ 0 h 26"/>
                <a:gd name="T58" fmla="*/ 2147483647 w 54"/>
                <a:gd name="T59" fmla="*/ 0 h 26"/>
                <a:gd name="T60" fmla="*/ 2147483647 w 54"/>
                <a:gd name="T61" fmla="*/ 0 h 26"/>
                <a:gd name="T62" fmla="*/ 2147483647 w 54"/>
                <a:gd name="T63" fmla="*/ 0 h 26"/>
                <a:gd name="T64" fmla="*/ 2147483647 w 54"/>
                <a:gd name="T65" fmla="*/ 0 h 26"/>
                <a:gd name="T66" fmla="*/ 2147483647 w 54"/>
                <a:gd name="T67" fmla="*/ 2147483647 h 26"/>
                <a:gd name="T68" fmla="*/ 2147483647 w 54"/>
                <a:gd name="T69" fmla="*/ 2147483647 h 26"/>
                <a:gd name="T70" fmla="*/ 2147483647 w 54"/>
                <a:gd name="T71" fmla="*/ 2147483647 h 26"/>
                <a:gd name="T72" fmla="*/ 2147483647 w 54"/>
                <a:gd name="T73" fmla="*/ 2147483647 h 26"/>
                <a:gd name="T74" fmla="*/ 2147483647 w 54"/>
                <a:gd name="T75" fmla="*/ 2147483647 h 26"/>
                <a:gd name="T76" fmla="*/ 2147483647 w 54"/>
                <a:gd name="T77" fmla="*/ 2147483647 h 26"/>
                <a:gd name="T78" fmla="*/ 2147483647 w 54"/>
                <a:gd name="T79" fmla="*/ 2147483647 h 26"/>
                <a:gd name="T80" fmla="*/ 2147483647 w 54"/>
                <a:gd name="T81" fmla="*/ 2147483647 h 26"/>
                <a:gd name="T82" fmla="*/ 2147483647 w 54"/>
                <a:gd name="T83" fmla="*/ 2147483647 h 26"/>
                <a:gd name="T84" fmla="*/ 2147483647 w 54"/>
                <a:gd name="T85" fmla="*/ 2147483647 h 26"/>
                <a:gd name="T86" fmla="*/ 2147483647 w 54"/>
                <a:gd name="T87" fmla="*/ 2147483647 h 26"/>
                <a:gd name="T88" fmla="*/ 0 w 54"/>
                <a:gd name="T89" fmla="*/ 2147483647 h 26"/>
                <a:gd name="T90" fmla="*/ 0 w 54"/>
                <a:gd name="T91" fmla="*/ 2147483647 h 26"/>
                <a:gd name="T92" fmla="*/ 2147483647 w 54"/>
                <a:gd name="T93" fmla="*/ 2147483647 h 26"/>
                <a:gd name="T94" fmla="*/ 2147483647 w 54"/>
                <a:gd name="T95" fmla="*/ 2147483647 h 2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4"/>
                <a:gd name="T145" fmla="*/ 0 h 26"/>
                <a:gd name="T146" fmla="*/ 54 w 54"/>
                <a:gd name="T147" fmla="*/ 26 h 2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4" h="26">
                  <a:moveTo>
                    <a:pt x="23" y="17"/>
                  </a:moveTo>
                  <a:lnTo>
                    <a:pt x="31" y="20"/>
                  </a:lnTo>
                  <a:lnTo>
                    <a:pt x="25" y="20"/>
                  </a:lnTo>
                  <a:lnTo>
                    <a:pt x="14" y="20"/>
                  </a:lnTo>
                  <a:lnTo>
                    <a:pt x="8" y="23"/>
                  </a:lnTo>
                  <a:lnTo>
                    <a:pt x="8" y="26"/>
                  </a:lnTo>
                  <a:lnTo>
                    <a:pt x="23" y="23"/>
                  </a:lnTo>
                  <a:lnTo>
                    <a:pt x="31" y="23"/>
                  </a:lnTo>
                  <a:lnTo>
                    <a:pt x="46" y="26"/>
                  </a:lnTo>
                  <a:lnTo>
                    <a:pt x="51" y="20"/>
                  </a:lnTo>
                  <a:lnTo>
                    <a:pt x="54" y="11"/>
                  </a:lnTo>
                  <a:lnTo>
                    <a:pt x="51" y="5"/>
                  </a:lnTo>
                  <a:lnTo>
                    <a:pt x="48" y="8"/>
                  </a:lnTo>
                  <a:lnTo>
                    <a:pt x="46" y="5"/>
                  </a:lnTo>
                  <a:lnTo>
                    <a:pt x="43" y="3"/>
                  </a:lnTo>
                  <a:lnTo>
                    <a:pt x="34" y="5"/>
                  </a:lnTo>
                  <a:lnTo>
                    <a:pt x="31" y="0"/>
                  </a:lnTo>
                  <a:lnTo>
                    <a:pt x="25" y="0"/>
                  </a:lnTo>
                  <a:lnTo>
                    <a:pt x="17" y="0"/>
                  </a:lnTo>
                  <a:lnTo>
                    <a:pt x="14" y="0"/>
                  </a:lnTo>
                  <a:lnTo>
                    <a:pt x="5" y="0"/>
                  </a:lnTo>
                  <a:lnTo>
                    <a:pt x="5" y="3"/>
                  </a:lnTo>
                  <a:lnTo>
                    <a:pt x="3" y="5"/>
                  </a:lnTo>
                  <a:lnTo>
                    <a:pt x="5" y="8"/>
                  </a:lnTo>
                  <a:lnTo>
                    <a:pt x="8" y="8"/>
                  </a:lnTo>
                  <a:lnTo>
                    <a:pt x="11" y="11"/>
                  </a:lnTo>
                  <a:lnTo>
                    <a:pt x="5" y="11"/>
                  </a:lnTo>
                  <a:lnTo>
                    <a:pt x="0" y="11"/>
                  </a:lnTo>
                  <a:lnTo>
                    <a:pt x="0" y="14"/>
                  </a:lnTo>
                  <a:lnTo>
                    <a:pt x="11" y="17"/>
                  </a:lnTo>
                  <a:lnTo>
                    <a:pt x="23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11" name="Freeform 614"/>
            <p:cNvSpPr>
              <a:spLocks/>
            </p:cNvSpPr>
            <p:nvPr/>
          </p:nvSpPr>
          <p:spPr bwMode="auto">
            <a:xfrm>
              <a:off x="2543175" y="1787525"/>
              <a:ext cx="7938" cy="3175"/>
            </a:xfrm>
            <a:custGeom>
              <a:avLst/>
              <a:gdLst>
                <a:gd name="T0" fmla="*/ 0 w 5"/>
                <a:gd name="T1" fmla="*/ 2147483647 h 2"/>
                <a:gd name="T2" fmla="*/ 2147483647 w 5"/>
                <a:gd name="T3" fmla="*/ 2147483647 h 2"/>
                <a:gd name="T4" fmla="*/ 2147483647 w 5"/>
                <a:gd name="T5" fmla="*/ 0 h 2"/>
                <a:gd name="T6" fmla="*/ 2147483647 w 5"/>
                <a:gd name="T7" fmla="*/ 0 h 2"/>
                <a:gd name="T8" fmla="*/ 2147483647 w 5"/>
                <a:gd name="T9" fmla="*/ 0 h 2"/>
                <a:gd name="T10" fmla="*/ 0 w 5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2"/>
                <a:gd name="T20" fmla="*/ 5 w 5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2">
                  <a:moveTo>
                    <a:pt x="0" y="2"/>
                  </a:moveTo>
                  <a:lnTo>
                    <a:pt x="2" y="2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12" name="Freeform 615"/>
            <p:cNvSpPr>
              <a:spLocks/>
            </p:cNvSpPr>
            <p:nvPr/>
          </p:nvSpPr>
          <p:spPr bwMode="auto">
            <a:xfrm>
              <a:off x="2432050" y="1736725"/>
              <a:ext cx="128588" cy="41275"/>
            </a:xfrm>
            <a:custGeom>
              <a:avLst/>
              <a:gdLst>
                <a:gd name="T0" fmla="*/ 2147483647 w 80"/>
                <a:gd name="T1" fmla="*/ 2147483647 h 26"/>
                <a:gd name="T2" fmla="*/ 2147483647 w 80"/>
                <a:gd name="T3" fmla="*/ 2147483647 h 26"/>
                <a:gd name="T4" fmla="*/ 2147483647 w 80"/>
                <a:gd name="T5" fmla="*/ 2147483647 h 26"/>
                <a:gd name="T6" fmla="*/ 2147483647 w 80"/>
                <a:gd name="T7" fmla="*/ 2147483647 h 26"/>
                <a:gd name="T8" fmla="*/ 2147483647 w 80"/>
                <a:gd name="T9" fmla="*/ 2147483647 h 26"/>
                <a:gd name="T10" fmla="*/ 2147483647 w 80"/>
                <a:gd name="T11" fmla="*/ 2147483647 h 26"/>
                <a:gd name="T12" fmla="*/ 2147483647 w 80"/>
                <a:gd name="T13" fmla="*/ 2147483647 h 26"/>
                <a:gd name="T14" fmla="*/ 2147483647 w 80"/>
                <a:gd name="T15" fmla="*/ 2147483647 h 26"/>
                <a:gd name="T16" fmla="*/ 2147483647 w 80"/>
                <a:gd name="T17" fmla="*/ 2147483647 h 26"/>
                <a:gd name="T18" fmla="*/ 2147483647 w 80"/>
                <a:gd name="T19" fmla="*/ 2147483647 h 26"/>
                <a:gd name="T20" fmla="*/ 2147483647 w 80"/>
                <a:gd name="T21" fmla="*/ 2147483647 h 26"/>
                <a:gd name="T22" fmla="*/ 2147483647 w 80"/>
                <a:gd name="T23" fmla="*/ 2147483647 h 26"/>
                <a:gd name="T24" fmla="*/ 2147483647 w 80"/>
                <a:gd name="T25" fmla="*/ 2147483647 h 26"/>
                <a:gd name="T26" fmla="*/ 2147483647 w 80"/>
                <a:gd name="T27" fmla="*/ 2147483647 h 26"/>
                <a:gd name="T28" fmla="*/ 2147483647 w 80"/>
                <a:gd name="T29" fmla="*/ 2147483647 h 26"/>
                <a:gd name="T30" fmla="*/ 2147483647 w 80"/>
                <a:gd name="T31" fmla="*/ 0 h 26"/>
                <a:gd name="T32" fmla="*/ 2147483647 w 80"/>
                <a:gd name="T33" fmla="*/ 2147483647 h 26"/>
                <a:gd name="T34" fmla="*/ 2147483647 w 80"/>
                <a:gd name="T35" fmla="*/ 0 h 26"/>
                <a:gd name="T36" fmla="*/ 2147483647 w 80"/>
                <a:gd name="T37" fmla="*/ 0 h 26"/>
                <a:gd name="T38" fmla="*/ 2147483647 w 80"/>
                <a:gd name="T39" fmla="*/ 2147483647 h 26"/>
                <a:gd name="T40" fmla="*/ 2147483647 w 80"/>
                <a:gd name="T41" fmla="*/ 0 h 26"/>
                <a:gd name="T42" fmla="*/ 2147483647 w 80"/>
                <a:gd name="T43" fmla="*/ 0 h 26"/>
                <a:gd name="T44" fmla="*/ 2147483647 w 80"/>
                <a:gd name="T45" fmla="*/ 0 h 26"/>
                <a:gd name="T46" fmla="*/ 2147483647 w 80"/>
                <a:gd name="T47" fmla="*/ 2147483647 h 26"/>
                <a:gd name="T48" fmla="*/ 2147483647 w 80"/>
                <a:gd name="T49" fmla="*/ 2147483647 h 26"/>
                <a:gd name="T50" fmla="*/ 2147483647 w 80"/>
                <a:gd name="T51" fmla="*/ 2147483647 h 26"/>
                <a:gd name="T52" fmla="*/ 2147483647 w 80"/>
                <a:gd name="T53" fmla="*/ 2147483647 h 26"/>
                <a:gd name="T54" fmla="*/ 2147483647 w 80"/>
                <a:gd name="T55" fmla="*/ 2147483647 h 26"/>
                <a:gd name="T56" fmla="*/ 2147483647 w 80"/>
                <a:gd name="T57" fmla="*/ 2147483647 h 26"/>
                <a:gd name="T58" fmla="*/ 2147483647 w 80"/>
                <a:gd name="T59" fmla="*/ 2147483647 h 26"/>
                <a:gd name="T60" fmla="*/ 2147483647 w 80"/>
                <a:gd name="T61" fmla="*/ 2147483647 h 26"/>
                <a:gd name="T62" fmla="*/ 2147483647 w 80"/>
                <a:gd name="T63" fmla="*/ 2147483647 h 26"/>
                <a:gd name="T64" fmla="*/ 2147483647 w 80"/>
                <a:gd name="T65" fmla="*/ 2147483647 h 26"/>
                <a:gd name="T66" fmla="*/ 2147483647 w 80"/>
                <a:gd name="T67" fmla="*/ 2147483647 h 26"/>
                <a:gd name="T68" fmla="*/ 2147483647 w 80"/>
                <a:gd name="T69" fmla="*/ 0 h 26"/>
                <a:gd name="T70" fmla="*/ 2147483647 w 80"/>
                <a:gd name="T71" fmla="*/ 2147483647 h 26"/>
                <a:gd name="T72" fmla="*/ 0 w 80"/>
                <a:gd name="T73" fmla="*/ 2147483647 h 26"/>
                <a:gd name="T74" fmla="*/ 0 w 80"/>
                <a:gd name="T75" fmla="*/ 2147483647 h 26"/>
                <a:gd name="T76" fmla="*/ 2147483647 w 80"/>
                <a:gd name="T77" fmla="*/ 2147483647 h 2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80"/>
                <a:gd name="T118" fmla="*/ 0 h 26"/>
                <a:gd name="T119" fmla="*/ 80 w 80"/>
                <a:gd name="T120" fmla="*/ 26 h 2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80" h="26">
                  <a:moveTo>
                    <a:pt x="3" y="14"/>
                  </a:moveTo>
                  <a:lnTo>
                    <a:pt x="5" y="17"/>
                  </a:lnTo>
                  <a:lnTo>
                    <a:pt x="8" y="20"/>
                  </a:lnTo>
                  <a:lnTo>
                    <a:pt x="20" y="17"/>
                  </a:lnTo>
                  <a:lnTo>
                    <a:pt x="26" y="17"/>
                  </a:lnTo>
                  <a:lnTo>
                    <a:pt x="28" y="17"/>
                  </a:lnTo>
                  <a:lnTo>
                    <a:pt x="28" y="20"/>
                  </a:lnTo>
                  <a:lnTo>
                    <a:pt x="26" y="20"/>
                  </a:lnTo>
                  <a:lnTo>
                    <a:pt x="26" y="23"/>
                  </a:lnTo>
                  <a:lnTo>
                    <a:pt x="28" y="26"/>
                  </a:lnTo>
                  <a:lnTo>
                    <a:pt x="34" y="26"/>
                  </a:lnTo>
                  <a:lnTo>
                    <a:pt x="51" y="26"/>
                  </a:lnTo>
                  <a:lnTo>
                    <a:pt x="57" y="23"/>
                  </a:lnTo>
                  <a:lnTo>
                    <a:pt x="60" y="23"/>
                  </a:lnTo>
                  <a:lnTo>
                    <a:pt x="63" y="20"/>
                  </a:lnTo>
                  <a:lnTo>
                    <a:pt x="63" y="17"/>
                  </a:lnTo>
                  <a:lnTo>
                    <a:pt x="71" y="14"/>
                  </a:lnTo>
                  <a:lnTo>
                    <a:pt x="74" y="11"/>
                  </a:lnTo>
                  <a:lnTo>
                    <a:pt x="80" y="9"/>
                  </a:lnTo>
                  <a:lnTo>
                    <a:pt x="80" y="3"/>
                  </a:lnTo>
                  <a:lnTo>
                    <a:pt x="71" y="0"/>
                  </a:lnTo>
                  <a:lnTo>
                    <a:pt x="66" y="3"/>
                  </a:lnTo>
                  <a:lnTo>
                    <a:pt x="69" y="3"/>
                  </a:lnTo>
                  <a:lnTo>
                    <a:pt x="69" y="0"/>
                  </a:lnTo>
                  <a:lnTo>
                    <a:pt x="66" y="0"/>
                  </a:lnTo>
                  <a:lnTo>
                    <a:pt x="63" y="0"/>
                  </a:lnTo>
                  <a:lnTo>
                    <a:pt x="60" y="3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0" y="3"/>
                  </a:lnTo>
                  <a:lnTo>
                    <a:pt x="43" y="3"/>
                  </a:lnTo>
                  <a:lnTo>
                    <a:pt x="46" y="6"/>
                  </a:lnTo>
                  <a:lnTo>
                    <a:pt x="43" y="9"/>
                  </a:lnTo>
                  <a:lnTo>
                    <a:pt x="37" y="6"/>
                  </a:lnTo>
                  <a:lnTo>
                    <a:pt x="31" y="6"/>
                  </a:lnTo>
                  <a:lnTo>
                    <a:pt x="26" y="9"/>
                  </a:lnTo>
                  <a:lnTo>
                    <a:pt x="28" y="14"/>
                  </a:lnTo>
                  <a:lnTo>
                    <a:pt x="26" y="14"/>
                  </a:lnTo>
                  <a:lnTo>
                    <a:pt x="23" y="11"/>
                  </a:lnTo>
                  <a:lnTo>
                    <a:pt x="23" y="6"/>
                  </a:lnTo>
                  <a:lnTo>
                    <a:pt x="20" y="6"/>
                  </a:lnTo>
                  <a:lnTo>
                    <a:pt x="20" y="3"/>
                  </a:lnTo>
                  <a:lnTo>
                    <a:pt x="17" y="3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5" y="3"/>
                  </a:lnTo>
                  <a:lnTo>
                    <a:pt x="0" y="9"/>
                  </a:lnTo>
                  <a:lnTo>
                    <a:pt x="0" y="14"/>
                  </a:lnTo>
                  <a:lnTo>
                    <a:pt x="3" y="1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13" name="Freeform 616"/>
            <p:cNvSpPr>
              <a:spLocks/>
            </p:cNvSpPr>
            <p:nvPr/>
          </p:nvSpPr>
          <p:spPr bwMode="auto">
            <a:xfrm>
              <a:off x="2444750" y="1714500"/>
              <a:ext cx="25400" cy="17463"/>
            </a:xfrm>
            <a:custGeom>
              <a:avLst/>
              <a:gdLst>
                <a:gd name="T0" fmla="*/ 2147483647 w 15"/>
                <a:gd name="T1" fmla="*/ 2147483647 h 11"/>
                <a:gd name="T2" fmla="*/ 2147483647 w 15"/>
                <a:gd name="T3" fmla="*/ 2147483647 h 11"/>
                <a:gd name="T4" fmla="*/ 2147483647 w 15"/>
                <a:gd name="T5" fmla="*/ 2147483647 h 11"/>
                <a:gd name="T6" fmla="*/ 2147483647 w 15"/>
                <a:gd name="T7" fmla="*/ 0 h 11"/>
                <a:gd name="T8" fmla="*/ 2147483647 w 15"/>
                <a:gd name="T9" fmla="*/ 0 h 11"/>
                <a:gd name="T10" fmla="*/ 2147483647 w 15"/>
                <a:gd name="T11" fmla="*/ 0 h 11"/>
                <a:gd name="T12" fmla="*/ 0 w 15"/>
                <a:gd name="T13" fmla="*/ 2147483647 h 11"/>
                <a:gd name="T14" fmla="*/ 0 w 15"/>
                <a:gd name="T15" fmla="*/ 2147483647 h 11"/>
                <a:gd name="T16" fmla="*/ 2147483647 w 15"/>
                <a:gd name="T17" fmla="*/ 2147483647 h 11"/>
                <a:gd name="T18" fmla="*/ 2147483647 w 15"/>
                <a:gd name="T19" fmla="*/ 2147483647 h 11"/>
                <a:gd name="T20" fmla="*/ 2147483647 w 15"/>
                <a:gd name="T21" fmla="*/ 2147483647 h 11"/>
                <a:gd name="T22" fmla="*/ 2147483647 w 15"/>
                <a:gd name="T23" fmla="*/ 2147483647 h 11"/>
                <a:gd name="T24" fmla="*/ 2147483647 w 15"/>
                <a:gd name="T25" fmla="*/ 2147483647 h 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5"/>
                <a:gd name="T40" fmla="*/ 0 h 11"/>
                <a:gd name="T41" fmla="*/ 15 w 15"/>
                <a:gd name="T42" fmla="*/ 11 h 1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5" h="11">
                  <a:moveTo>
                    <a:pt x="12" y="11"/>
                  </a:moveTo>
                  <a:lnTo>
                    <a:pt x="15" y="8"/>
                  </a:lnTo>
                  <a:lnTo>
                    <a:pt x="12" y="3"/>
                  </a:lnTo>
                  <a:lnTo>
                    <a:pt x="12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3" y="8"/>
                  </a:lnTo>
                  <a:lnTo>
                    <a:pt x="9" y="11"/>
                  </a:lnTo>
                  <a:lnTo>
                    <a:pt x="12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14" name="Freeform 617"/>
            <p:cNvSpPr>
              <a:spLocks/>
            </p:cNvSpPr>
            <p:nvPr/>
          </p:nvSpPr>
          <p:spPr bwMode="auto">
            <a:xfrm>
              <a:off x="2698750" y="1719263"/>
              <a:ext cx="31750" cy="12700"/>
            </a:xfrm>
            <a:custGeom>
              <a:avLst/>
              <a:gdLst>
                <a:gd name="T0" fmla="*/ 2147483647 w 20"/>
                <a:gd name="T1" fmla="*/ 2147483647 h 8"/>
                <a:gd name="T2" fmla="*/ 2147483647 w 20"/>
                <a:gd name="T3" fmla="*/ 2147483647 h 8"/>
                <a:gd name="T4" fmla="*/ 2147483647 w 20"/>
                <a:gd name="T5" fmla="*/ 2147483647 h 8"/>
                <a:gd name="T6" fmla="*/ 2147483647 w 20"/>
                <a:gd name="T7" fmla="*/ 2147483647 h 8"/>
                <a:gd name="T8" fmla="*/ 2147483647 w 20"/>
                <a:gd name="T9" fmla="*/ 2147483647 h 8"/>
                <a:gd name="T10" fmla="*/ 2147483647 w 20"/>
                <a:gd name="T11" fmla="*/ 0 h 8"/>
                <a:gd name="T12" fmla="*/ 2147483647 w 20"/>
                <a:gd name="T13" fmla="*/ 0 h 8"/>
                <a:gd name="T14" fmla="*/ 2147483647 w 20"/>
                <a:gd name="T15" fmla="*/ 2147483647 h 8"/>
                <a:gd name="T16" fmla="*/ 0 w 20"/>
                <a:gd name="T17" fmla="*/ 2147483647 h 8"/>
                <a:gd name="T18" fmla="*/ 2147483647 w 20"/>
                <a:gd name="T19" fmla="*/ 2147483647 h 8"/>
                <a:gd name="T20" fmla="*/ 2147483647 w 20"/>
                <a:gd name="T21" fmla="*/ 2147483647 h 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0"/>
                <a:gd name="T34" fmla="*/ 0 h 8"/>
                <a:gd name="T35" fmla="*/ 20 w 20"/>
                <a:gd name="T36" fmla="*/ 8 h 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0" h="8">
                  <a:moveTo>
                    <a:pt x="12" y="5"/>
                  </a:moveTo>
                  <a:lnTo>
                    <a:pt x="12" y="5"/>
                  </a:lnTo>
                  <a:lnTo>
                    <a:pt x="20" y="2"/>
                  </a:lnTo>
                  <a:lnTo>
                    <a:pt x="20" y="0"/>
                  </a:lnTo>
                  <a:lnTo>
                    <a:pt x="12" y="0"/>
                  </a:lnTo>
                  <a:lnTo>
                    <a:pt x="3" y="2"/>
                  </a:lnTo>
                  <a:lnTo>
                    <a:pt x="0" y="8"/>
                  </a:lnTo>
                  <a:lnTo>
                    <a:pt x="6" y="5"/>
                  </a:lnTo>
                  <a:lnTo>
                    <a:pt x="12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15" name="Freeform 618"/>
            <p:cNvSpPr>
              <a:spLocks/>
            </p:cNvSpPr>
            <p:nvPr/>
          </p:nvSpPr>
          <p:spPr bwMode="auto">
            <a:xfrm>
              <a:off x="2582863" y="1727200"/>
              <a:ext cx="282575" cy="63500"/>
            </a:xfrm>
            <a:custGeom>
              <a:avLst/>
              <a:gdLst>
                <a:gd name="T0" fmla="*/ 0 w 176"/>
                <a:gd name="T1" fmla="*/ 2147483647 h 40"/>
                <a:gd name="T2" fmla="*/ 2147483647 w 176"/>
                <a:gd name="T3" fmla="*/ 2147483647 h 40"/>
                <a:gd name="T4" fmla="*/ 2147483647 w 176"/>
                <a:gd name="T5" fmla="*/ 2147483647 h 40"/>
                <a:gd name="T6" fmla="*/ 2147483647 w 176"/>
                <a:gd name="T7" fmla="*/ 2147483647 h 40"/>
                <a:gd name="T8" fmla="*/ 2147483647 w 176"/>
                <a:gd name="T9" fmla="*/ 2147483647 h 40"/>
                <a:gd name="T10" fmla="*/ 2147483647 w 176"/>
                <a:gd name="T11" fmla="*/ 2147483647 h 40"/>
                <a:gd name="T12" fmla="*/ 2147483647 w 176"/>
                <a:gd name="T13" fmla="*/ 2147483647 h 40"/>
                <a:gd name="T14" fmla="*/ 2147483647 w 176"/>
                <a:gd name="T15" fmla="*/ 2147483647 h 40"/>
                <a:gd name="T16" fmla="*/ 2147483647 w 176"/>
                <a:gd name="T17" fmla="*/ 2147483647 h 40"/>
                <a:gd name="T18" fmla="*/ 2147483647 w 176"/>
                <a:gd name="T19" fmla="*/ 2147483647 h 40"/>
                <a:gd name="T20" fmla="*/ 2147483647 w 176"/>
                <a:gd name="T21" fmla="*/ 2147483647 h 40"/>
                <a:gd name="T22" fmla="*/ 2147483647 w 176"/>
                <a:gd name="T23" fmla="*/ 2147483647 h 40"/>
                <a:gd name="T24" fmla="*/ 2147483647 w 176"/>
                <a:gd name="T25" fmla="*/ 2147483647 h 40"/>
                <a:gd name="T26" fmla="*/ 2147483647 w 176"/>
                <a:gd name="T27" fmla="*/ 2147483647 h 40"/>
                <a:gd name="T28" fmla="*/ 2147483647 w 176"/>
                <a:gd name="T29" fmla="*/ 2147483647 h 40"/>
                <a:gd name="T30" fmla="*/ 2147483647 w 176"/>
                <a:gd name="T31" fmla="*/ 2147483647 h 40"/>
                <a:gd name="T32" fmla="*/ 2147483647 w 176"/>
                <a:gd name="T33" fmla="*/ 2147483647 h 40"/>
                <a:gd name="T34" fmla="*/ 2147483647 w 176"/>
                <a:gd name="T35" fmla="*/ 2147483647 h 40"/>
                <a:gd name="T36" fmla="*/ 2147483647 w 176"/>
                <a:gd name="T37" fmla="*/ 2147483647 h 40"/>
                <a:gd name="T38" fmla="*/ 2147483647 w 176"/>
                <a:gd name="T39" fmla="*/ 2147483647 h 40"/>
                <a:gd name="T40" fmla="*/ 2147483647 w 176"/>
                <a:gd name="T41" fmla="*/ 2147483647 h 40"/>
                <a:gd name="T42" fmla="*/ 2147483647 w 176"/>
                <a:gd name="T43" fmla="*/ 2147483647 h 40"/>
                <a:gd name="T44" fmla="*/ 2147483647 w 176"/>
                <a:gd name="T45" fmla="*/ 2147483647 h 40"/>
                <a:gd name="T46" fmla="*/ 2147483647 w 176"/>
                <a:gd name="T47" fmla="*/ 2147483647 h 40"/>
                <a:gd name="T48" fmla="*/ 2147483647 w 176"/>
                <a:gd name="T49" fmla="*/ 2147483647 h 40"/>
                <a:gd name="T50" fmla="*/ 2147483647 w 176"/>
                <a:gd name="T51" fmla="*/ 2147483647 h 40"/>
                <a:gd name="T52" fmla="*/ 2147483647 w 176"/>
                <a:gd name="T53" fmla="*/ 2147483647 h 40"/>
                <a:gd name="T54" fmla="*/ 2147483647 w 176"/>
                <a:gd name="T55" fmla="*/ 2147483647 h 40"/>
                <a:gd name="T56" fmla="*/ 2147483647 w 176"/>
                <a:gd name="T57" fmla="*/ 2147483647 h 40"/>
                <a:gd name="T58" fmla="*/ 2147483647 w 176"/>
                <a:gd name="T59" fmla="*/ 2147483647 h 40"/>
                <a:gd name="T60" fmla="*/ 2147483647 w 176"/>
                <a:gd name="T61" fmla="*/ 2147483647 h 40"/>
                <a:gd name="T62" fmla="*/ 2147483647 w 176"/>
                <a:gd name="T63" fmla="*/ 2147483647 h 40"/>
                <a:gd name="T64" fmla="*/ 2147483647 w 176"/>
                <a:gd name="T65" fmla="*/ 2147483647 h 40"/>
                <a:gd name="T66" fmla="*/ 2147483647 w 176"/>
                <a:gd name="T67" fmla="*/ 2147483647 h 40"/>
                <a:gd name="T68" fmla="*/ 2147483647 w 176"/>
                <a:gd name="T69" fmla="*/ 2147483647 h 40"/>
                <a:gd name="T70" fmla="*/ 2147483647 w 176"/>
                <a:gd name="T71" fmla="*/ 2147483647 h 40"/>
                <a:gd name="T72" fmla="*/ 2147483647 w 176"/>
                <a:gd name="T73" fmla="*/ 2147483647 h 40"/>
                <a:gd name="T74" fmla="*/ 2147483647 w 176"/>
                <a:gd name="T75" fmla="*/ 2147483647 h 40"/>
                <a:gd name="T76" fmla="*/ 2147483647 w 176"/>
                <a:gd name="T77" fmla="*/ 2147483647 h 40"/>
                <a:gd name="T78" fmla="*/ 2147483647 w 176"/>
                <a:gd name="T79" fmla="*/ 2147483647 h 40"/>
                <a:gd name="T80" fmla="*/ 2147483647 w 176"/>
                <a:gd name="T81" fmla="*/ 2147483647 h 40"/>
                <a:gd name="T82" fmla="*/ 2147483647 w 176"/>
                <a:gd name="T83" fmla="*/ 2147483647 h 40"/>
                <a:gd name="T84" fmla="*/ 2147483647 w 176"/>
                <a:gd name="T85" fmla="*/ 2147483647 h 40"/>
                <a:gd name="T86" fmla="*/ 2147483647 w 176"/>
                <a:gd name="T87" fmla="*/ 2147483647 h 40"/>
                <a:gd name="T88" fmla="*/ 2147483647 w 176"/>
                <a:gd name="T89" fmla="*/ 2147483647 h 40"/>
                <a:gd name="T90" fmla="*/ 2147483647 w 176"/>
                <a:gd name="T91" fmla="*/ 2147483647 h 40"/>
                <a:gd name="T92" fmla="*/ 2147483647 w 176"/>
                <a:gd name="T93" fmla="*/ 2147483647 h 40"/>
                <a:gd name="T94" fmla="*/ 2147483647 w 176"/>
                <a:gd name="T95" fmla="*/ 2147483647 h 40"/>
                <a:gd name="T96" fmla="*/ 2147483647 w 176"/>
                <a:gd name="T97" fmla="*/ 2147483647 h 40"/>
                <a:gd name="T98" fmla="*/ 2147483647 w 176"/>
                <a:gd name="T99" fmla="*/ 0 h 40"/>
                <a:gd name="T100" fmla="*/ 2147483647 w 176"/>
                <a:gd name="T101" fmla="*/ 2147483647 h 40"/>
                <a:gd name="T102" fmla="*/ 2147483647 w 176"/>
                <a:gd name="T103" fmla="*/ 2147483647 h 4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76"/>
                <a:gd name="T157" fmla="*/ 0 h 40"/>
                <a:gd name="T158" fmla="*/ 176 w 176"/>
                <a:gd name="T159" fmla="*/ 40 h 4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76" h="40">
                  <a:moveTo>
                    <a:pt x="3" y="6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3" y="9"/>
                  </a:lnTo>
                  <a:lnTo>
                    <a:pt x="9" y="9"/>
                  </a:lnTo>
                  <a:lnTo>
                    <a:pt x="12" y="9"/>
                  </a:lnTo>
                  <a:lnTo>
                    <a:pt x="9" y="9"/>
                  </a:lnTo>
                  <a:lnTo>
                    <a:pt x="9" y="15"/>
                  </a:lnTo>
                  <a:lnTo>
                    <a:pt x="12" y="15"/>
                  </a:lnTo>
                  <a:lnTo>
                    <a:pt x="15" y="15"/>
                  </a:lnTo>
                  <a:lnTo>
                    <a:pt x="15" y="17"/>
                  </a:lnTo>
                  <a:lnTo>
                    <a:pt x="18" y="17"/>
                  </a:lnTo>
                  <a:lnTo>
                    <a:pt x="18" y="15"/>
                  </a:lnTo>
                  <a:lnTo>
                    <a:pt x="21" y="15"/>
                  </a:lnTo>
                  <a:lnTo>
                    <a:pt x="29" y="12"/>
                  </a:lnTo>
                  <a:lnTo>
                    <a:pt x="35" y="12"/>
                  </a:lnTo>
                  <a:lnTo>
                    <a:pt x="41" y="17"/>
                  </a:lnTo>
                  <a:lnTo>
                    <a:pt x="38" y="20"/>
                  </a:lnTo>
                  <a:lnTo>
                    <a:pt x="35" y="23"/>
                  </a:lnTo>
                  <a:lnTo>
                    <a:pt x="29" y="26"/>
                  </a:lnTo>
                  <a:lnTo>
                    <a:pt x="26" y="29"/>
                  </a:lnTo>
                  <a:lnTo>
                    <a:pt x="23" y="35"/>
                  </a:lnTo>
                  <a:lnTo>
                    <a:pt x="23" y="38"/>
                  </a:lnTo>
                  <a:lnTo>
                    <a:pt x="29" y="38"/>
                  </a:lnTo>
                  <a:lnTo>
                    <a:pt x="32" y="35"/>
                  </a:lnTo>
                  <a:lnTo>
                    <a:pt x="32" y="32"/>
                  </a:lnTo>
                  <a:lnTo>
                    <a:pt x="35" y="32"/>
                  </a:lnTo>
                  <a:lnTo>
                    <a:pt x="35" y="35"/>
                  </a:lnTo>
                  <a:lnTo>
                    <a:pt x="38" y="38"/>
                  </a:lnTo>
                  <a:lnTo>
                    <a:pt x="43" y="40"/>
                  </a:lnTo>
                  <a:lnTo>
                    <a:pt x="55" y="38"/>
                  </a:lnTo>
                  <a:lnTo>
                    <a:pt x="61" y="35"/>
                  </a:lnTo>
                  <a:lnTo>
                    <a:pt x="64" y="35"/>
                  </a:lnTo>
                  <a:lnTo>
                    <a:pt x="64" y="32"/>
                  </a:lnTo>
                  <a:lnTo>
                    <a:pt x="64" y="35"/>
                  </a:lnTo>
                  <a:lnTo>
                    <a:pt x="61" y="38"/>
                  </a:lnTo>
                  <a:lnTo>
                    <a:pt x="64" y="40"/>
                  </a:lnTo>
                  <a:lnTo>
                    <a:pt x="69" y="40"/>
                  </a:lnTo>
                  <a:lnTo>
                    <a:pt x="75" y="40"/>
                  </a:lnTo>
                  <a:lnTo>
                    <a:pt x="81" y="38"/>
                  </a:lnTo>
                  <a:lnTo>
                    <a:pt x="81" y="40"/>
                  </a:lnTo>
                  <a:lnTo>
                    <a:pt x="89" y="35"/>
                  </a:lnTo>
                  <a:lnTo>
                    <a:pt x="89" y="40"/>
                  </a:lnTo>
                  <a:lnTo>
                    <a:pt x="89" y="38"/>
                  </a:lnTo>
                  <a:lnTo>
                    <a:pt x="92" y="35"/>
                  </a:lnTo>
                  <a:lnTo>
                    <a:pt x="95" y="35"/>
                  </a:lnTo>
                  <a:lnTo>
                    <a:pt x="98" y="40"/>
                  </a:lnTo>
                  <a:lnTo>
                    <a:pt x="101" y="40"/>
                  </a:lnTo>
                  <a:lnTo>
                    <a:pt x="107" y="40"/>
                  </a:lnTo>
                  <a:lnTo>
                    <a:pt x="118" y="38"/>
                  </a:lnTo>
                  <a:lnTo>
                    <a:pt x="121" y="32"/>
                  </a:lnTo>
                  <a:lnTo>
                    <a:pt x="124" y="35"/>
                  </a:lnTo>
                  <a:lnTo>
                    <a:pt x="124" y="38"/>
                  </a:lnTo>
                  <a:lnTo>
                    <a:pt x="127" y="38"/>
                  </a:lnTo>
                  <a:lnTo>
                    <a:pt x="130" y="38"/>
                  </a:lnTo>
                  <a:lnTo>
                    <a:pt x="135" y="40"/>
                  </a:lnTo>
                  <a:lnTo>
                    <a:pt x="138" y="40"/>
                  </a:lnTo>
                  <a:lnTo>
                    <a:pt x="141" y="38"/>
                  </a:lnTo>
                  <a:lnTo>
                    <a:pt x="144" y="38"/>
                  </a:lnTo>
                  <a:lnTo>
                    <a:pt x="147" y="38"/>
                  </a:lnTo>
                  <a:lnTo>
                    <a:pt x="155" y="38"/>
                  </a:lnTo>
                  <a:lnTo>
                    <a:pt x="158" y="35"/>
                  </a:lnTo>
                  <a:lnTo>
                    <a:pt x="164" y="29"/>
                  </a:lnTo>
                  <a:lnTo>
                    <a:pt x="167" y="35"/>
                  </a:lnTo>
                  <a:lnTo>
                    <a:pt x="170" y="32"/>
                  </a:lnTo>
                  <a:lnTo>
                    <a:pt x="170" y="29"/>
                  </a:lnTo>
                  <a:lnTo>
                    <a:pt x="176" y="29"/>
                  </a:lnTo>
                  <a:lnTo>
                    <a:pt x="173" y="23"/>
                  </a:lnTo>
                  <a:lnTo>
                    <a:pt x="167" y="23"/>
                  </a:lnTo>
                  <a:lnTo>
                    <a:pt x="164" y="20"/>
                  </a:lnTo>
                  <a:lnTo>
                    <a:pt x="155" y="17"/>
                  </a:lnTo>
                  <a:lnTo>
                    <a:pt x="147" y="17"/>
                  </a:lnTo>
                  <a:lnTo>
                    <a:pt x="144" y="20"/>
                  </a:lnTo>
                  <a:lnTo>
                    <a:pt x="138" y="20"/>
                  </a:lnTo>
                  <a:lnTo>
                    <a:pt x="130" y="20"/>
                  </a:lnTo>
                  <a:lnTo>
                    <a:pt x="112" y="23"/>
                  </a:lnTo>
                  <a:lnTo>
                    <a:pt x="104" y="23"/>
                  </a:lnTo>
                  <a:lnTo>
                    <a:pt x="101" y="26"/>
                  </a:lnTo>
                  <a:lnTo>
                    <a:pt x="95" y="23"/>
                  </a:lnTo>
                  <a:lnTo>
                    <a:pt x="87" y="23"/>
                  </a:lnTo>
                  <a:lnTo>
                    <a:pt x="78" y="23"/>
                  </a:lnTo>
                  <a:lnTo>
                    <a:pt x="75" y="23"/>
                  </a:lnTo>
                  <a:lnTo>
                    <a:pt x="69" y="23"/>
                  </a:lnTo>
                  <a:lnTo>
                    <a:pt x="72" y="20"/>
                  </a:lnTo>
                  <a:lnTo>
                    <a:pt x="66" y="17"/>
                  </a:lnTo>
                  <a:lnTo>
                    <a:pt x="64" y="15"/>
                  </a:lnTo>
                  <a:lnTo>
                    <a:pt x="69" y="15"/>
                  </a:lnTo>
                  <a:lnTo>
                    <a:pt x="75" y="15"/>
                  </a:lnTo>
                  <a:lnTo>
                    <a:pt x="75" y="9"/>
                  </a:lnTo>
                  <a:lnTo>
                    <a:pt x="69" y="9"/>
                  </a:lnTo>
                  <a:lnTo>
                    <a:pt x="69" y="6"/>
                  </a:lnTo>
                  <a:lnTo>
                    <a:pt x="66" y="6"/>
                  </a:lnTo>
                  <a:lnTo>
                    <a:pt x="64" y="6"/>
                  </a:lnTo>
                  <a:lnTo>
                    <a:pt x="58" y="6"/>
                  </a:lnTo>
                  <a:lnTo>
                    <a:pt x="46" y="6"/>
                  </a:lnTo>
                  <a:lnTo>
                    <a:pt x="43" y="6"/>
                  </a:lnTo>
                  <a:lnTo>
                    <a:pt x="41" y="3"/>
                  </a:lnTo>
                  <a:lnTo>
                    <a:pt x="29" y="3"/>
                  </a:lnTo>
                  <a:lnTo>
                    <a:pt x="21" y="0"/>
                  </a:lnTo>
                  <a:lnTo>
                    <a:pt x="18" y="0"/>
                  </a:lnTo>
                  <a:lnTo>
                    <a:pt x="12" y="3"/>
                  </a:lnTo>
                  <a:lnTo>
                    <a:pt x="6" y="3"/>
                  </a:lnTo>
                  <a:lnTo>
                    <a:pt x="3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16" name="Freeform 619"/>
            <p:cNvSpPr>
              <a:spLocks/>
            </p:cNvSpPr>
            <p:nvPr/>
          </p:nvSpPr>
          <p:spPr bwMode="auto">
            <a:xfrm>
              <a:off x="2506663" y="1787525"/>
              <a:ext cx="7937" cy="3175"/>
            </a:xfrm>
            <a:custGeom>
              <a:avLst/>
              <a:gdLst>
                <a:gd name="T0" fmla="*/ 0 w 5"/>
                <a:gd name="T1" fmla="*/ 2147483647 h 2"/>
                <a:gd name="T2" fmla="*/ 2147483647 w 5"/>
                <a:gd name="T3" fmla="*/ 2147483647 h 2"/>
                <a:gd name="T4" fmla="*/ 2147483647 w 5"/>
                <a:gd name="T5" fmla="*/ 0 h 2"/>
                <a:gd name="T6" fmla="*/ 2147483647 w 5"/>
                <a:gd name="T7" fmla="*/ 0 h 2"/>
                <a:gd name="T8" fmla="*/ 0 w 5"/>
                <a:gd name="T9" fmla="*/ 2147483647 h 2"/>
                <a:gd name="T10" fmla="*/ 0 w 5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2"/>
                <a:gd name="T20" fmla="*/ 5 w 5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2">
                  <a:moveTo>
                    <a:pt x="0" y="2"/>
                  </a:moveTo>
                  <a:lnTo>
                    <a:pt x="3" y="2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17" name="Freeform 620"/>
            <p:cNvSpPr>
              <a:spLocks/>
            </p:cNvSpPr>
            <p:nvPr/>
          </p:nvSpPr>
          <p:spPr bwMode="auto">
            <a:xfrm>
              <a:off x="2630488" y="1657350"/>
              <a:ext cx="26987" cy="9525"/>
            </a:xfrm>
            <a:custGeom>
              <a:avLst/>
              <a:gdLst>
                <a:gd name="T0" fmla="*/ 2147483647 w 17"/>
                <a:gd name="T1" fmla="*/ 2147483647 h 6"/>
                <a:gd name="T2" fmla="*/ 2147483647 w 17"/>
                <a:gd name="T3" fmla="*/ 2147483647 h 6"/>
                <a:gd name="T4" fmla="*/ 2147483647 w 17"/>
                <a:gd name="T5" fmla="*/ 0 h 6"/>
                <a:gd name="T6" fmla="*/ 2147483647 w 17"/>
                <a:gd name="T7" fmla="*/ 0 h 6"/>
                <a:gd name="T8" fmla="*/ 2147483647 w 17"/>
                <a:gd name="T9" fmla="*/ 0 h 6"/>
                <a:gd name="T10" fmla="*/ 2147483647 w 17"/>
                <a:gd name="T11" fmla="*/ 2147483647 h 6"/>
                <a:gd name="T12" fmla="*/ 2147483647 w 17"/>
                <a:gd name="T13" fmla="*/ 2147483647 h 6"/>
                <a:gd name="T14" fmla="*/ 0 w 17"/>
                <a:gd name="T15" fmla="*/ 2147483647 h 6"/>
                <a:gd name="T16" fmla="*/ 2147483647 w 17"/>
                <a:gd name="T17" fmla="*/ 2147483647 h 6"/>
                <a:gd name="T18" fmla="*/ 2147483647 w 17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7"/>
                <a:gd name="T31" fmla="*/ 0 h 6"/>
                <a:gd name="T32" fmla="*/ 17 w 1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7" h="6">
                  <a:moveTo>
                    <a:pt x="14" y="6"/>
                  </a:moveTo>
                  <a:lnTo>
                    <a:pt x="17" y="3"/>
                  </a:lnTo>
                  <a:lnTo>
                    <a:pt x="14" y="0"/>
                  </a:lnTo>
                  <a:lnTo>
                    <a:pt x="9" y="0"/>
                  </a:lnTo>
                  <a:lnTo>
                    <a:pt x="3" y="3"/>
                  </a:lnTo>
                  <a:lnTo>
                    <a:pt x="0" y="6"/>
                  </a:lnTo>
                  <a:lnTo>
                    <a:pt x="9" y="6"/>
                  </a:lnTo>
                  <a:lnTo>
                    <a:pt x="14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18" name="Freeform 621"/>
            <p:cNvSpPr>
              <a:spLocks/>
            </p:cNvSpPr>
            <p:nvPr/>
          </p:nvSpPr>
          <p:spPr bwMode="auto">
            <a:xfrm>
              <a:off x="2689225" y="1630363"/>
              <a:ext cx="176213" cy="74612"/>
            </a:xfrm>
            <a:custGeom>
              <a:avLst/>
              <a:gdLst>
                <a:gd name="T0" fmla="*/ 2147483647 w 110"/>
                <a:gd name="T1" fmla="*/ 2147483647 h 46"/>
                <a:gd name="T2" fmla="*/ 2147483647 w 110"/>
                <a:gd name="T3" fmla="*/ 2147483647 h 46"/>
                <a:gd name="T4" fmla="*/ 2147483647 w 110"/>
                <a:gd name="T5" fmla="*/ 2147483647 h 46"/>
                <a:gd name="T6" fmla="*/ 2147483647 w 110"/>
                <a:gd name="T7" fmla="*/ 2147483647 h 46"/>
                <a:gd name="T8" fmla="*/ 2147483647 w 110"/>
                <a:gd name="T9" fmla="*/ 2147483647 h 46"/>
                <a:gd name="T10" fmla="*/ 2147483647 w 110"/>
                <a:gd name="T11" fmla="*/ 2147483647 h 46"/>
                <a:gd name="T12" fmla="*/ 2147483647 w 110"/>
                <a:gd name="T13" fmla="*/ 2147483647 h 46"/>
                <a:gd name="T14" fmla="*/ 2147483647 w 110"/>
                <a:gd name="T15" fmla="*/ 2147483647 h 46"/>
                <a:gd name="T16" fmla="*/ 2147483647 w 110"/>
                <a:gd name="T17" fmla="*/ 2147483647 h 46"/>
                <a:gd name="T18" fmla="*/ 2147483647 w 110"/>
                <a:gd name="T19" fmla="*/ 2147483647 h 46"/>
                <a:gd name="T20" fmla="*/ 2147483647 w 110"/>
                <a:gd name="T21" fmla="*/ 2147483647 h 46"/>
                <a:gd name="T22" fmla="*/ 2147483647 w 110"/>
                <a:gd name="T23" fmla="*/ 2147483647 h 46"/>
                <a:gd name="T24" fmla="*/ 2147483647 w 110"/>
                <a:gd name="T25" fmla="*/ 2147483647 h 46"/>
                <a:gd name="T26" fmla="*/ 2147483647 w 110"/>
                <a:gd name="T27" fmla="*/ 2147483647 h 46"/>
                <a:gd name="T28" fmla="*/ 2147483647 w 110"/>
                <a:gd name="T29" fmla="*/ 2147483647 h 46"/>
                <a:gd name="T30" fmla="*/ 2147483647 w 110"/>
                <a:gd name="T31" fmla="*/ 2147483647 h 46"/>
                <a:gd name="T32" fmla="*/ 2147483647 w 110"/>
                <a:gd name="T33" fmla="*/ 2147483647 h 46"/>
                <a:gd name="T34" fmla="*/ 2147483647 w 110"/>
                <a:gd name="T35" fmla="*/ 2147483647 h 46"/>
                <a:gd name="T36" fmla="*/ 2147483647 w 110"/>
                <a:gd name="T37" fmla="*/ 2147483647 h 46"/>
                <a:gd name="T38" fmla="*/ 2147483647 w 110"/>
                <a:gd name="T39" fmla="*/ 2147483647 h 46"/>
                <a:gd name="T40" fmla="*/ 2147483647 w 110"/>
                <a:gd name="T41" fmla="*/ 2147483647 h 46"/>
                <a:gd name="T42" fmla="*/ 2147483647 w 110"/>
                <a:gd name="T43" fmla="*/ 2147483647 h 46"/>
                <a:gd name="T44" fmla="*/ 2147483647 w 110"/>
                <a:gd name="T45" fmla="*/ 2147483647 h 46"/>
                <a:gd name="T46" fmla="*/ 2147483647 w 110"/>
                <a:gd name="T47" fmla="*/ 2147483647 h 46"/>
                <a:gd name="T48" fmla="*/ 2147483647 w 110"/>
                <a:gd name="T49" fmla="*/ 2147483647 h 46"/>
                <a:gd name="T50" fmla="*/ 2147483647 w 110"/>
                <a:gd name="T51" fmla="*/ 2147483647 h 46"/>
                <a:gd name="T52" fmla="*/ 2147483647 w 110"/>
                <a:gd name="T53" fmla="*/ 2147483647 h 46"/>
                <a:gd name="T54" fmla="*/ 2147483647 w 110"/>
                <a:gd name="T55" fmla="*/ 2147483647 h 46"/>
                <a:gd name="T56" fmla="*/ 2147483647 w 110"/>
                <a:gd name="T57" fmla="*/ 2147483647 h 46"/>
                <a:gd name="T58" fmla="*/ 2147483647 w 110"/>
                <a:gd name="T59" fmla="*/ 2147483647 h 46"/>
                <a:gd name="T60" fmla="*/ 2147483647 w 110"/>
                <a:gd name="T61" fmla="*/ 2147483647 h 46"/>
                <a:gd name="T62" fmla="*/ 2147483647 w 110"/>
                <a:gd name="T63" fmla="*/ 2147483647 h 46"/>
                <a:gd name="T64" fmla="*/ 2147483647 w 110"/>
                <a:gd name="T65" fmla="*/ 2147483647 h 46"/>
                <a:gd name="T66" fmla="*/ 2147483647 w 110"/>
                <a:gd name="T67" fmla="*/ 2147483647 h 46"/>
                <a:gd name="T68" fmla="*/ 2147483647 w 110"/>
                <a:gd name="T69" fmla="*/ 2147483647 h 46"/>
                <a:gd name="T70" fmla="*/ 2147483647 w 110"/>
                <a:gd name="T71" fmla="*/ 2147483647 h 46"/>
                <a:gd name="T72" fmla="*/ 2147483647 w 110"/>
                <a:gd name="T73" fmla="*/ 2147483647 h 46"/>
                <a:gd name="T74" fmla="*/ 2147483647 w 110"/>
                <a:gd name="T75" fmla="*/ 2147483647 h 46"/>
                <a:gd name="T76" fmla="*/ 2147483647 w 110"/>
                <a:gd name="T77" fmla="*/ 2147483647 h 46"/>
                <a:gd name="T78" fmla="*/ 2147483647 w 110"/>
                <a:gd name="T79" fmla="*/ 2147483647 h 46"/>
                <a:gd name="T80" fmla="*/ 2147483647 w 110"/>
                <a:gd name="T81" fmla="*/ 0 h 46"/>
                <a:gd name="T82" fmla="*/ 2147483647 w 110"/>
                <a:gd name="T83" fmla="*/ 2147483647 h 46"/>
                <a:gd name="T84" fmla="*/ 2147483647 w 110"/>
                <a:gd name="T85" fmla="*/ 2147483647 h 46"/>
                <a:gd name="T86" fmla="*/ 2147483647 w 110"/>
                <a:gd name="T87" fmla="*/ 2147483647 h 46"/>
                <a:gd name="T88" fmla="*/ 2147483647 w 110"/>
                <a:gd name="T89" fmla="*/ 2147483647 h 46"/>
                <a:gd name="T90" fmla="*/ 2147483647 w 110"/>
                <a:gd name="T91" fmla="*/ 2147483647 h 46"/>
                <a:gd name="T92" fmla="*/ 2147483647 w 110"/>
                <a:gd name="T93" fmla="*/ 2147483647 h 46"/>
                <a:gd name="T94" fmla="*/ 2147483647 w 110"/>
                <a:gd name="T95" fmla="*/ 2147483647 h 46"/>
                <a:gd name="T96" fmla="*/ 2147483647 w 110"/>
                <a:gd name="T97" fmla="*/ 2147483647 h 46"/>
                <a:gd name="T98" fmla="*/ 2147483647 w 110"/>
                <a:gd name="T99" fmla="*/ 2147483647 h 46"/>
                <a:gd name="T100" fmla="*/ 2147483647 w 110"/>
                <a:gd name="T101" fmla="*/ 2147483647 h 46"/>
                <a:gd name="T102" fmla="*/ 2147483647 w 110"/>
                <a:gd name="T103" fmla="*/ 2147483647 h 46"/>
                <a:gd name="T104" fmla="*/ 2147483647 w 110"/>
                <a:gd name="T105" fmla="*/ 2147483647 h 46"/>
                <a:gd name="T106" fmla="*/ 0 w 110"/>
                <a:gd name="T107" fmla="*/ 2147483647 h 46"/>
                <a:gd name="T108" fmla="*/ 2147483647 w 110"/>
                <a:gd name="T109" fmla="*/ 2147483647 h 4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10"/>
                <a:gd name="T166" fmla="*/ 0 h 46"/>
                <a:gd name="T167" fmla="*/ 110 w 110"/>
                <a:gd name="T168" fmla="*/ 46 h 4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10" h="46">
                  <a:moveTo>
                    <a:pt x="9" y="23"/>
                  </a:moveTo>
                  <a:lnTo>
                    <a:pt x="9" y="23"/>
                  </a:lnTo>
                  <a:lnTo>
                    <a:pt x="3" y="29"/>
                  </a:lnTo>
                  <a:lnTo>
                    <a:pt x="3" y="32"/>
                  </a:lnTo>
                  <a:lnTo>
                    <a:pt x="9" y="32"/>
                  </a:lnTo>
                  <a:lnTo>
                    <a:pt x="12" y="29"/>
                  </a:lnTo>
                  <a:lnTo>
                    <a:pt x="12" y="26"/>
                  </a:lnTo>
                  <a:lnTo>
                    <a:pt x="15" y="23"/>
                  </a:lnTo>
                  <a:lnTo>
                    <a:pt x="21" y="20"/>
                  </a:lnTo>
                  <a:lnTo>
                    <a:pt x="23" y="20"/>
                  </a:lnTo>
                  <a:lnTo>
                    <a:pt x="21" y="23"/>
                  </a:lnTo>
                  <a:lnTo>
                    <a:pt x="21" y="26"/>
                  </a:lnTo>
                  <a:lnTo>
                    <a:pt x="23" y="26"/>
                  </a:lnTo>
                  <a:lnTo>
                    <a:pt x="29" y="26"/>
                  </a:lnTo>
                  <a:lnTo>
                    <a:pt x="38" y="23"/>
                  </a:lnTo>
                  <a:lnTo>
                    <a:pt x="38" y="26"/>
                  </a:lnTo>
                  <a:lnTo>
                    <a:pt x="38" y="29"/>
                  </a:lnTo>
                  <a:lnTo>
                    <a:pt x="46" y="26"/>
                  </a:lnTo>
                  <a:lnTo>
                    <a:pt x="49" y="29"/>
                  </a:lnTo>
                  <a:lnTo>
                    <a:pt x="46" y="32"/>
                  </a:lnTo>
                  <a:lnTo>
                    <a:pt x="38" y="32"/>
                  </a:lnTo>
                  <a:lnTo>
                    <a:pt x="18" y="32"/>
                  </a:lnTo>
                  <a:lnTo>
                    <a:pt x="12" y="34"/>
                  </a:lnTo>
                  <a:lnTo>
                    <a:pt x="9" y="34"/>
                  </a:lnTo>
                  <a:lnTo>
                    <a:pt x="12" y="34"/>
                  </a:lnTo>
                  <a:lnTo>
                    <a:pt x="15" y="37"/>
                  </a:lnTo>
                  <a:lnTo>
                    <a:pt x="18" y="40"/>
                  </a:lnTo>
                  <a:lnTo>
                    <a:pt x="23" y="40"/>
                  </a:lnTo>
                  <a:lnTo>
                    <a:pt x="18" y="40"/>
                  </a:lnTo>
                  <a:lnTo>
                    <a:pt x="15" y="40"/>
                  </a:lnTo>
                  <a:lnTo>
                    <a:pt x="15" y="43"/>
                  </a:lnTo>
                  <a:lnTo>
                    <a:pt x="15" y="46"/>
                  </a:lnTo>
                  <a:lnTo>
                    <a:pt x="21" y="46"/>
                  </a:lnTo>
                  <a:lnTo>
                    <a:pt x="32" y="46"/>
                  </a:lnTo>
                  <a:lnTo>
                    <a:pt x="44" y="46"/>
                  </a:lnTo>
                  <a:lnTo>
                    <a:pt x="46" y="43"/>
                  </a:lnTo>
                  <a:lnTo>
                    <a:pt x="49" y="46"/>
                  </a:lnTo>
                  <a:lnTo>
                    <a:pt x="52" y="46"/>
                  </a:lnTo>
                  <a:lnTo>
                    <a:pt x="61" y="43"/>
                  </a:lnTo>
                  <a:lnTo>
                    <a:pt x="64" y="40"/>
                  </a:lnTo>
                  <a:lnTo>
                    <a:pt x="66" y="40"/>
                  </a:lnTo>
                  <a:lnTo>
                    <a:pt x="69" y="37"/>
                  </a:lnTo>
                  <a:lnTo>
                    <a:pt x="72" y="34"/>
                  </a:lnTo>
                  <a:lnTo>
                    <a:pt x="78" y="34"/>
                  </a:lnTo>
                  <a:lnTo>
                    <a:pt x="84" y="34"/>
                  </a:lnTo>
                  <a:lnTo>
                    <a:pt x="89" y="34"/>
                  </a:lnTo>
                  <a:lnTo>
                    <a:pt x="95" y="32"/>
                  </a:lnTo>
                  <a:lnTo>
                    <a:pt x="98" y="32"/>
                  </a:lnTo>
                  <a:lnTo>
                    <a:pt x="101" y="32"/>
                  </a:lnTo>
                  <a:lnTo>
                    <a:pt x="110" y="29"/>
                  </a:lnTo>
                  <a:lnTo>
                    <a:pt x="107" y="23"/>
                  </a:lnTo>
                  <a:lnTo>
                    <a:pt x="101" y="26"/>
                  </a:lnTo>
                  <a:lnTo>
                    <a:pt x="98" y="26"/>
                  </a:lnTo>
                  <a:lnTo>
                    <a:pt x="98" y="23"/>
                  </a:lnTo>
                  <a:lnTo>
                    <a:pt x="104" y="20"/>
                  </a:lnTo>
                  <a:lnTo>
                    <a:pt x="101" y="20"/>
                  </a:lnTo>
                  <a:lnTo>
                    <a:pt x="98" y="20"/>
                  </a:lnTo>
                  <a:lnTo>
                    <a:pt x="101" y="17"/>
                  </a:lnTo>
                  <a:lnTo>
                    <a:pt x="104" y="14"/>
                  </a:lnTo>
                  <a:lnTo>
                    <a:pt x="101" y="14"/>
                  </a:lnTo>
                  <a:lnTo>
                    <a:pt x="95" y="14"/>
                  </a:lnTo>
                  <a:lnTo>
                    <a:pt x="92" y="17"/>
                  </a:lnTo>
                  <a:lnTo>
                    <a:pt x="89" y="17"/>
                  </a:lnTo>
                  <a:lnTo>
                    <a:pt x="89" y="14"/>
                  </a:lnTo>
                  <a:lnTo>
                    <a:pt x="89" y="11"/>
                  </a:lnTo>
                  <a:lnTo>
                    <a:pt x="87" y="11"/>
                  </a:lnTo>
                  <a:lnTo>
                    <a:pt x="81" y="11"/>
                  </a:lnTo>
                  <a:lnTo>
                    <a:pt x="78" y="11"/>
                  </a:lnTo>
                  <a:lnTo>
                    <a:pt x="75" y="6"/>
                  </a:lnTo>
                  <a:lnTo>
                    <a:pt x="75" y="3"/>
                  </a:lnTo>
                  <a:lnTo>
                    <a:pt x="72" y="0"/>
                  </a:lnTo>
                  <a:lnTo>
                    <a:pt x="64" y="0"/>
                  </a:lnTo>
                  <a:lnTo>
                    <a:pt x="55" y="3"/>
                  </a:lnTo>
                  <a:lnTo>
                    <a:pt x="52" y="3"/>
                  </a:lnTo>
                  <a:lnTo>
                    <a:pt x="49" y="3"/>
                  </a:lnTo>
                  <a:lnTo>
                    <a:pt x="49" y="6"/>
                  </a:lnTo>
                  <a:lnTo>
                    <a:pt x="52" y="6"/>
                  </a:lnTo>
                  <a:lnTo>
                    <a:pt x="44" y="9"/>
                  </a:lnTo>
                  <a:lnTo>
                    <a:pt x="38" y="9"/>
                  </a:lnTo>
                  <a:lnTo>
                    <a:pt x="32" y="9"/>
                  </a:lnTo>
                  <a:lnTo>
                    <a:pt x="35" y="11"/>
                  </a:lnTo>
                  <a:lnTo>
                    <a:pt x="38" y="11"/>
                  </a:lnTo>
                  <a:lnTo>
                    <a:pt x="41" y="11"/>
                  </a:lnTo>
                  <a:lnTo>
                    <a:pt x="35" y="14"/>
                  </a:lnTo>
                  <a:lnTo>
                    <a:pt x="23" y="11"/>
                  </a:lnTo>
                  <a:lnTo>
                    <a:pt x="18" y="14"/>
                  </a:lnTo>
                  <a:lnTo>
                    <a:pt x="18" y="17"/>
                  </a:lnTo>
                  <a:lnTo>
                    <a:pt x="26" y="17"/>
                  </a:lnTo>
                  <a:lnTo>
                    <a:pt x="29" y="17"/>
                  </a:lnTo>
                  <a:lnTo>
                    <a:pt x="26" y="20"/>
                  </a:lnTo>
                  <a:lnTo>
                    <a:pt x="21" y="20"/>
                  </a:lnTo>
                  <a:lnTo>
                    <a:pt x="9" y="20"/>
                  </a:lnTo>
                  <a:lnTo>
                    <a:pt x="3" y="20"/>
                  </a:lnTo>
                  <a:lnTo>
                    <a:pt x="0" y="20"/>
                  </a:lnTo>
                  <a:lnTo>
                    <a:pt x="0" y="23"/>
                  </a:lnTo>
                  <a:lnTo>
                    <a:pt x="6" y="23"/>
                  </a:lnTo>
                  <a:lnTo>
                    <a:pt x="9" y="2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19" name="Freeform 622"/>
            <p:cNvSpPr>
              <a:spLocks/>
            </p:cNvSpPr>
            <p:nvPr/>
          </p:nvSpPr>
          <p:spPr bwMode="auto">
            <a:xfrm>
              <a:off x="2063750" y="3259138"/>
              <a:ext cx="4763" cy="4762"/>
            </a:xfrm>
            <a:custGeom>
              <a:avLst/>
              <a:gdLst>
                <a:gd name="T0" fmla="*/ 2147483647 w 3"/>
                <a:gd name="T1" fmla="*/ 0 h 3"/>
                <a:gd name="T2" fmla="*/ 0 w 3"/>
                <a:gd name="T3" fmla="*/ 0 h 3"/>
                <a:gd name="T4" fmla="*/ 0 w 3"/>
                <a:gd name="T5" fmla="*/ 2147483647 h 3"/>
                <a:gd name="T6" fmla="*/ 2147483647 w 3"/>
                <a:gd name="T7" fmla="*/ 0 h 3"/>
                <a:gd name="T8" fmla="*/ 2147483647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20" name="Freeform 623"/>
            <p:cNvSpPr>
              <a:spLocks/>
            </p:cNvSpPr>
            <p:nvPr/>
          </p:nvSpPr>
          <p:spPr bwMode="auto">
            <a:xfrm>
              <a:off x="2538413" y="1758950"/>
              <a:ext cx="63500" cy="28575"/>
            </a:xfrm>
            <a:custGeom>
              <a:avLst/>
              <a:gdLst>
                <a:gd name="T0" fmla="*/ 2147483647 w 40"/>
                <a:gd name="T1" fmla="*/ 2147483647 h 18"/>
                <a:gd name="T2" fmla="*/ 2147483647 w 40"/>
                <a:gd name="T3" fmla="*/ 2147483647 h 18"/>
                <a:gd name="T4" fmla="*/ 2147483647 w 40"/>
                <a:gd name="T5" fmla="*/ 2147483647 h 18"/>
                <a:gd name="T6" fmla="*/ 2147483647 w 40"/>
                <a:gd name="T7" fmla="*/ 2147483647 h 18"/>
                <a:gd name="T8" fmla="*/ 2147483647 w 40"/>
                <a:gd name="T9" fmla="*/ 2147483647 h 18"/>
                <a:gd name="T10" fmla="*/ 2147483647 w 40"/>
                <a:gd name="T11" fmla="*/ 2147483647 h 18"/>
                <a:gd name="T12" fmla="*/ 2147483647 w 40"/>
                <a:gd name="T13" fmla="*/ 2147483647 h 18"/>
                <a:gd name="T14" fmla="*/ 2147483647 w 40"/>
                <a:gd name="T15" fmla="*/ 2147483647 h 18"/>
                <a:gd name="T16" fmla="*/ 2147483647 w 40"/>
                <a:gd name="T17" fmla="*/ 0 h 18"/>
                <a:gd name="T18" fmla="*/ 2147483647 w 40"/>
                <a:gd name="T19" fmla="*/ 2147483647 h 18"/>
                <a:gd name="T20" fmla="*/ 2147483647 w 40"/>
                <a:gd name="T21" fmla="*/ 2147483647 h 18"/>
                <a:gd name="T22" fmla="*/ 2147483647 w 40"/>
                <a:gd name="T23" fmla="*/ 2147483647 h 18"/>
                <a:gd name="T24" fmla="*/ 2147483647 w 40"/>
                <a:gd name="T25" fmla="*/ 2147483647 h 18"/>
                <a:gd name="T26" fmla="*/ 2147483647 w 40"/>
                <a:gd name="T27" fmla="*/ 2147483647 h 18"/>
                <a:gd name="T28" fmla="*/ 2147483647 w 40"/>
                <a:gd name="T29" fmla="*/ 2147483647 h 18"/>
                <a:gd name="T30" fmla="*/ 2147483647 w 40"/>
                <a:gd name="T31" fmla="*/ 2147483647 h 18"/>
                <a:gd name="T32" fmla="*/ 2147483647 w 40"/>
                <a:gd name="T33" fmla="*/ 2147483647 h 18"/>
                <a:gd name="T34" fmla="*/ 0 w 40"/>
                <a:gd name="T35" fmla="*/ 2147483647 h 18"/>
                <a:gd name="T36" fmla="*/ 2147483647 w 40"/>
                <a:gd name="T37" fmla="*/ 2147483647 h 18"/>
                <a:gd name="T38" fmla="*/ 2147483647 w 40"/>
                <a:gd name="T39" fmla="*/ 2147483647 h 18"/>
                <a:gd name="T40" fmla="*/ 2147483647 w 40"/>
                <a:gd name="T41" fmla="*/ 2147483647 h 18"/>
                <a:gd name="T42" fmla="*/ 2147483647 w 40"/>
                <a:gd name="T43" fmla="*/ 2147483647 h 18"/>
                <a:gd name="T44" fmla="*/ 2147483647 w 40"/>
                <a:gd name="T45" fmla="*/ 2147483647 h 18"/>
                <a:gd name="T46" fmla="*/ 2147483647 w 40"/>
                <a:gd name="T47" fmla="*/ 2147483647 h 18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40"/>
                <a:gd name="T73" fmla="*/ 0 h 18"/>
                <a:gd name="T74" fmla="*/ 40 w 40"/>
                <a:gd name="T75" fmla="*/ 18 h 18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40" h="18">
                  <a:moveTo>
                    <a:pt x="14" y="18"/>
                  </a:moveTo>
                  <a:lnTo>
                    <a:pt x="14" y="18"/>
                  </a:lnTo>
                  <a:lnTo>
                    <a:pt x="20" y="18"/>
                  </a:lnTo>
                  <a:lnTo>
                    <a:pt x="28" y="18"/>
                  </a:lnTo>
                  <a:lnTo>
                    <a:pt x="37" y="12"/>
                  </a:lnTo>
                  <a:lnTo>
                    <a:pt x="40" y="6"/>
                  </a:lnTo>
                  <a:lnTo>
                    <a:pt x="37" y="0"/>
                  </a:lnTo>
                  <a:lnTo>
                    <a:pt x="34" y="3"/>
                  </a:lnTo>
                  <a:lnTo>
                    <a:pt x="23" y="3"/>
                  </a:lnTo>
                  <a:lnTo>
                    <a:pt x="17" y="3"/>
                  </a:lnTo>
                  <a:lnTo>
                    <a:pt x="8" y="3"/>
                  </a:lnTo>
                  <a:lnTo>
                    <a:pt x="5" y="6"/>
                  </a:lnTo>
                  <a:lnTo>
                    <a:pt x="8" y="9"/>
                  </a:lnTo>
                  <a:lnTo>
                    <a:pt x="3" y="9"/>
                  </a:lnTo>
                  <a:lnTo>
                    <a:pt x="0" y="9"/>
                  </a:lnTo>
                  <a:lnTo>
                    <a:pt x="3" y="12"/>
                  </a:lnTo>
                  <a:lnTo>
                    <a:pt x="8" y="18"/>
                  </a:lnTo>
                  <a:lnTo>
                    <a:pt x="11" y="18"/>
                  </a:lnTo>
                  <a:lnTo>
                    <a:pt x="14" y="1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21" name="Rectangle 624"/>
            <p:cNvSpPr>
              <a:spLocks noChangeArrowheads="1"/>
            </p:cNvSpPr>
            <p:nvPr/>
          </p:nvSpPr>
          <p:spPr bwMode="auto">
            <a:xfrm>
              <a:off x="2482850" y="1790700"/>
              <a:ext cx="4763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22" name="Freeform 625"/>
            <p:cNvSpPr>
              <a:spLocks/>
            </p:cNvSpPr>
            <p:nvPr/>
          </p:nvSpPr>
          <p:spPr bwMode="auto">
            <a:xfrm>
              <a:off x="1990725" y="1809750"/>
              <a:ext cx="363538" cy="133350"/>
            </a:xfrm>
            <a:custGeom>
              <a:avLst/>
              <a:gdLst>
                <a:gd name="T0" fmla="*/ 2147483647 w 227"/>
                <a:gd name="T1" fmla="*/ 0 h 83"/>
                <a:gd name="T2" fmla="*/ 2147483647 w 227"/>
                <a:gd name="T3" fmla="*/ 2147483647 h 83"/>
                <a:gd name="T4" fmla="*/ 2147483647 w 227"/>
                <a:gd name="T5" fmla="*/ 2147483647 h 83"/>
                <a:gd name="T6" fmla="*/ 2147483647 w 227"/>
                <a:gd name="T7" fmla="*/ 2147483647 h 83"/>
                <a:gd name="T8" fmla="*/ 2147483647 w 227"/>
                <a:gd name="T9" fmla="*/ 2147483647 h 83"/>
                <a:gd name="T10" fmla="*/ 2147483647 w 227"/>
                <a:gd name="T11" fmla="*/ 2147483647 h 83"/>
                <a:gd name="T12" fmla="*/ 2147483647 w 227"/>
                <a:gd name="T13" fmla="*/ 2147483647 h 83"/>
                <a:gd name="T14" fmla="*/ 2147483647 w 227"/>
                <a:gd name="T15" fmla="*/ 2147483647 h 83"/>
                <a:gd name="T16" fmla="*/ 2147483647 w 227"/>
                <a:gd name="T17" fmla="*/ 2147483647 h 83"/>
                <a:gd name="T18" fmla="*/ 2147483647 w 227"/>
                <a:gd name="T19" fmla="*/ 2147483647 h 83"/>
                <a:gd name="T20" fmla="*/ 2147483647 w 227"/>
                <a:gd name="T21" fmla="*/ 2147483647 h 83"/>
                <a:gd name="T22" fmla="*/ 2147483647 w 227"/>
                <a:gd name="T23" fmla="*/ 2147483647 h 83"/>
                <a:gd name="T24" fmla="*/ 2147483647 w 227"/>
                <a:gd name="T25" fmla="*/ 2147483647 h 83"/>
                <a:gd name="T26" fmla="*/ 2147483647 w 227"/>
                <a:gd name="T27" fmla="*/ 2147483647 h 83"/>
                <a:gd name="T28" fmla="*/ 2147483647 w 227"/>
                <a:gd name="T29" fmla="*/ 2147483647 h 83"/>
                <a:gd name="T30" fmla="*/ 2147483647 w 227"/>
                <a:gd name="T31" fmla="*/ 2147483647 h 83"/>
                <a:gd name="T32" fmla="*/ 2147483647 w 227"/>
                <a:gd name="T33" fmla="*/ 2147483647 h 83"/>
                <a:gd name="T34" fmla="*/ 2147483647 w 227"/>
                <a:gd name="T35" fmla="*/ 2147483647 h 83"/>
                <a:gd name="T36" fmla="*/ 2147483647 w 227"/>
                <a:gd name="T37" fmla="*/ 2147483647 h 83"/>
                <a:gd name="T38" fmla="*/ 2147483647 w 227"/>
                <a:gd name="T39" fmla="*/ 2147483647 h 83"/>
                <a:gd name="T40" fmla="*/ 2147483647 w 227"/>
                <a:gd name="T41" fmla="*/ 2147483647 h 83"/>
                <a:gd name="T42" fmla="*/ 2147483647 w 227"/>
                <a:gd name="T43" fmla="*/ 2147483647 h 83"/>
                <a:gd name="T44" fmla="*/ 2147483647 w 227"/>
                <a:gd name="T45" fmla="*/ 2147483647 h 83"/>
                <a:gd name="T46" fmla="*/ 2147483647 w 227"/>
                <a:gd name="T47" fmla="*/ 2147483647 h 83"/>
                <a:gd name="T48" fmla="*/ 2147483647 w 227"/>
                <a:gd name="T49" fmla="*/ 2147483647 h 83"/>
                <a:gd name="T50" fmla="*/ 2147483647 w 227"/>
                <a:gd name="T51" fmla="*/ 2147483647 h 83"/>
                <a:gd name="T52" fmla="*/ 2147483647 w 227"/>
                <a:gd name="T53" fmla="*/ 2147483647 h 83"/>
                <a:gd name="T54" fmla="*/ 2147483647 w 227"/>
                <a:gd name="T55" fmla="*/ 2147483647 h 83"/>
                <a:gd name="T56" fmla="*/ 2147483647 w 227"/>
                <a:gd name="T57" fmla="*/ 2147483647 h 83"/>
                <a:gd name="T58" fmla="*/ 2147483647 w 227"/>
                <a:gd name="T59" fmla="*/ 2147483647 h 83"/>
                <a:gd name="T60" fmla="*/ 2147483647 w 227"/>
                <a:gd name="T61" fmla="*/ 2147483647 h 83"/>
                <a:gd name="T62" fmla="*/ 2147483647 w 227"/>
                <a:gd name="T63" fmla="*/ 2147483647 h 83"/>
                <a:gd name="T64" fmla="*/ 2147483647 w 227"/>
                <a:gd name="T65" fmla="*/ 2147483647 h 83"/>
                <a:gd name="T66" fmla="*/ 2147483647 w 227"/>
                <a:gd name="T67" fmla="*/ 2147483647 h 83"/>
                <a:gd name="T68" fmla="*/ 2147483647 w 227"/>
                <a:gd name="T69" fmla="*/ 2147483647 h 83"/>
                <a:gd name="T70" fmla="*/ 2147483647 w 227"/>
                <a:gd name="T71" fmla="*/ 2147483647 h 83"/>
                <a:gd name="T72" fmla="*/ 2147483647 w 227"/>
                <a:gd name="T73" fmla="*/ 2147483647 h 83"/>
                <a:gd name="T74" fmla="*/ 2147483647 w 227"/>
                <a:gd name="T75" fmla="*/ 2147483647 h 83"/>
                <a:gd name="T76" fmla="*/ 2147483647 w 227"/>
                <a:gd name="T77" fmla="*/ 2147483647 h 83"/>
                <a:gd name="T78" fmla="*/ 2147483647 w 227"/>
                <a:gd name="T79" fmla="*/ 2147483647 h 83"/>
                <a:gd name="T80" fmla="*/ 2147483647 w 227"/>
                <a:gd name="T81" fmla="*/ 2147483647 h 83"/>
                <a:gd name="T82" fmla="*/ 2147483647 w 227"/>
                <a:gd name="T83" fmla="*/ 2147483647 h 83"/>
                <a:gd name="T84" fmla="*/ 2147483647 w 227"/>
                <a:gd name="T85" fmla="*/ 2147483647 h 83"/>
                <a:gd name="T86" fmla="*/ 2147483647 w 227"/>
                <a:gd name="T87" fmla="*/ 2147483647 h 83"/>
                <a:gd name="T88" fmla="*/ 2147483647 w 227"/>
                <a:gd name="T89" fmla="*/ 2147483647 h 83"/>
                <a:gd name="T90" fmla="*/ 2147483647 w 227"/>
                <a:gd name="T91" fmla="*/ 2147483647 h 83"/>
                <a:gd name="T92" fmla="*/ 2147483647 w 227"/>
                <a:gd name="T93" fmla="*/ 2147483647 h 83"/>
                <a:gd name="T94" fmla="*/ 2147483647 w 227"/>
                <a:gd name="T95" fmla="*/ 2147483647 h 83"/>
                <a:gd name="T96" fmla="*/ 2147483647 w 227"/>
                <a:gd name="T97" fmla="*/ 2147483647 h 83"/>
                <a:gd name="T98" fmla="*/ 2147483647 w 227"/>
                <a:gd name="T99" fmla="*/ 2147483647 h 83"/>
                <a:gd name="T100" fmla="*/ 2147483647 w 227"/>
                <a:gd name="T101" fmla="*/ 2147483647 h 83"/>
                <a:gd name="T102" fmla="*/ 2147483647 w 227"/>
                <a:gd name="T103" fmla="*/ 2147483647 h 83"/>
                <a:gd name="T104" fmla="*/ 2147483647 w 227"/>
                <a:gd name="T105" fmla="*/ 2147483647 h 83"/>
                <a:gd name="T106" fmla="*/ 2147483647 w 227"/>
                <a:gd name="T107" fmla="*/ 2147483647 h 83"/>
                <a:gd name="T108" fmla="*/ 2147483647 w 227"/>
                <a:gd name="T109" fmla="*/ 2147483647 h 83"/>
                <a:gd name="T110" fmla="*/ 2147483647 w 227"/>
                <a:gd name="T111" fmla="*/ 2147483647 h 83"/>
                <a:gd name="T112" fmla="*/ 2147483647 w 227"/>
                <a:gd name="T113" fmla="*/ 2147483647 h 8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27"/>
                <a:gd name="T172" fmla="*/ 0 h 83"/>
                <a:gd name="T173" fmla="*/ 227 w 227"/>
                <a:gd name="T174" fmla="*/ 83 h 8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27" h="83">
                  <a:moveTo>
                    <a:pt x="221" y="0"/>
                  </a:moveTo>
                  <a:lnTo>
                    <a:pt x="221" y="0"/>
                  </a:lnTo>
                  <a:lnTo>
                    <a:pt x="215" y="0"/>
                  </a:lnTo>
                  <a:lnTo>
                    <a:pt x="204" y="0"/>
                  </a:lnTo>
                  <a:lnTo>
                    <a:pt x="201" y="0"/>
                  </a:lnTo>
                  <a:lnTo>
                    <a:pt x="195" y="3"/>
                  </a:lnTo>
                  <a:lnTo>
                    <a:pt x="198" y="9"/>
                  </a:lnTo>
                  <a:lnTo>
                    <a:pt x="198" y="11"/>
                  </a:lnTo>
                  <a:lnTo>
                    <a:pt x="192" y="6"/>
                  </a:lnTo>
                  <a:lnTo>
                    <a:pt x="190" y="6"/>
                  </a:lnTo>
                  <a:lnTo>
                    <a:pt x="184" y="6"/>
                  </a:lnTo>
                  <a:lnTo>
                    <a:pt x="175" y="9"/>
                  </a:lnTo>
                  <a:lnTo>
                    <a:pt x="167" y="20"/>
                  </a:lnTo>
                  <a:lnTo>
                    <a:pt x="161" y="26"/>
                  </a:lnTo>
                  <a:lnTo>
                    <a:pt x="158" y="29"/>
                  </a:lnTo>
                  <a:lnTo>
                    <a:pt x="155" y="29"/>
                  </a:lnTo>
                  <a:lnTo>
                    <a:pt x="149" y="32"/>
                  </a:lnTo>
                  <a:lnTo>
                    <a:pt x="152" y="26"/>
                  </a:lnTo>
                  <a:lnTo>
                    <a:pt x="158" y="23"/>
                  </a:lnTo>
                  <a:lnTo>
                    <a:pt x="152" y="23"/>
                  </a:lnTo>
                  <a:lnTo>
                    <a:pt x="155" y="20"/>
                  </a:lnTo>
                  <a:lnTo>
                    <a:pt x="155" y="14"/>
                  </a:lnTo>
                  <a:lnTo>
                    <a:pt x="147" y="11"/>
                  </a:lnTo>
                  <a:lnTo>
                    <a:pt x="141" y="14"/>
                  </a:lnTo>
                  <a:lnTo>
                    <a:pt x="147" y="14"/>
                  </a:lnTo>
                  <a:lnTo>
                    <a:pt x="141" y="17"/>
                  </a:lnTo>
                  <a:lnTo>
                    <a:pt x="135" y="17"/>
                  </a:lnTo>
                  <a:lnTo>
                    <a:pt x="126" y="23"/>
                  </a:lnTo>
                  <a:lnTo>
                    <a:pt x="118" y="23"/>
                  </a:lnTo>
                  <a:lnTo>
                    <a:pt x="124" y="17"/>
                  </a:lnTo>
                  <a:lnTo>
                    <a:pt x="129" y="14"/>
                  </a:lnTo>
                  <a:lnTo>
                    <a:pt x="118" y="11"/>
                  </a:lnTo>
                  <a:lnTo>
                    <a:pt x="109" y="11"/>
                  </a:lnTo>
                  <a:lnTo>
                    <a:pt x="98" y="14"/>
                  </a:lnTo>
                  <a:lnTo>
                    <a:pt x="89" y="17"/>
                  </a:lnTo>
                  <a:lnTo>
                    <a:pt x="103" y="11"/>
                  </a:lnTo>
                  <a:lnTo>
                    <a:pt x="103" y="6"/>
                  </a:lnTo>
                  <a:lnTo>
                    <a:pt x="98" y="6"/>
                  </a:lnTo>
                  <a:lnTo>
                    <a:pt x="92" y="6"/>
                  </a:lnTo>
                  <a:lnTo>
                    <a:pt x="86" y="9"/>
                  </a:lnTo>
                  <a:lnTo>
                    <a:pt x="78" y="9"/>
                  </a:lnTo>
                  <a:lnTo>
                    <a:pt x="63" y="11"/>
                  </a:lnTo>
                  <a:lnTo>
                    <a:pt x="46" y="14"/>
                  </a:lnTo>
                  <a:lnTo>
                    <a:pt x="37" y="20"/>
                  </a:lnTo>
                  <a:lnTo>
                    <a:pt x="35" y="23"/>
                  </a:lnTo>
                  <a:lnTo>
                    <a:pt x="26" y="26"/>
                  </a:lnTo>
                  <a:lnTo>
                    <a:pt x="17" y="32"/>
                  </a:lnTo>
                  <a:lnTo>
                    <a:pt x="23" y="32"/>
                  </a:lnTo>
                  <a:lnTo>
                    <a:pt x="29" y="29"/>
                  </a:lnTo>
                  <a:lnTo>
                    <a:pt x="26" y="32"/>
                  </a:lnTo>
                  <a:lnTo>
                    <a:pt x="23" y="34"/>
                  </a:lnTo>
                  <a:lnTo>
                    <a:pt x="20" y="34"/>
                  </a:lnTo>
                  <a:lnTo>
                    <a:pt x="23" y="34"/>
                  </a:lnTo>
                  <a:lnTo>
                    <a:pt x="29" y="37"/>
                  </a:lnTo>
                  <a:lnTo>
                    <a:pt x="35" y="34"/>
                  </a:lnTo>
                  <a:lnTo>
                    <a:pt x="37" y="32"/>
                  </a:lnTo>
                  <a:lnTo>
                    <a:pt x="43" y="32"/>
                  </a:lnTo>
                  <a:lnTo>
                    <a:pt x="46" y="34"/>
                  </a:lnTo>
                  <a:lnTo>
                    <a:pt x="55" y="34"/>
                  </a:lnTo>
                  <a:lnTo>
                    <a:pt x="60" y="34"/>
                  </a:lnTo>
                  <a:lnTo>
                    <a:pt x="52" y="37"/>
                  </a:lnTo>
                  <a:lnTo>
                    <a:pt x="46" y="37"/>
                  </a:lnTo>
                  <a:lnTo>
                    <a:pt x="40" y="37"/>
                  </a:lnTo>
                  <a:lnTo>
                    <a:pt x="23" y="40"/>
                  </a:lnTo>
                  <a:lnTo>
                    <a:pt x="17" y="40"/>
                  </a:lnTo>
                  <a:lnTo>
                    <a:pt x="12" y="40"/>
                  </a:lnTo>
                  <a:lnTo>
                    <a:pt x="9" y="43"/>
                  </a:lnTo>
                  <a:lnTo>
                    <a:pt x="12" y="46"/>
                  </a:lnTo>
                  <a:lnTo>
                    <a:pt x="17" y="49"/>
                  </a:lnTo>
                  <a:lnTo>
                    <a:pt x="32" y="49"/>
                  </a:lnTo>
                  <a:lnTo>
                    <a:pt x="46" y="49"/>
                  </a:lnTo>
                  <a:lnTo>
                    <a:pt x="66" y="49"/>
                  </a:lnTo>
                  <a:lnTo>
                    <a:pt x="81" y="54"/>
                  </a:lnTo>
                  <a:lnTo>
                    <a:pt x="69" y="54"/>
                  </a:lnTo>
                  <a:lnTo>
                    <a:pt x="40" y="54"/>
                  </a:lnTo>
                  <a:lnTo>
                    <a:pt x="26" y="54"/>
                  </a:lnTo>
                  <a:lnTo>
                    <a:pt x="12" y="57"/>
                  </a:lnTo>
                  <a:lnTo>
                    <a:pt x="3" y="60"/>
                  </a:lnTo>
                  <a:lnTo>
                    <a:pt x="0" y="63"/>
                  </a:lnTo>
                  <a:lnTo>
                    <a:pt x="3" y="66"/>
                  </a:lnTo>
                  <a:lnTo>
                    <a:pt x="9" y="69"/>
                  </a:lnTo>
                  <a:lnTo>
                    <a:pt x="20" y="72"/>
                  </a:lnTo>
                  <a:lnTo>
                    <a:pt x="35" y="72"/>
                  </a:lnTo>
                  <a:lnTo>
                    <a:pt x="37" y="72"/>
                  </a:lnTo>
                  <a:lnTo>
                    <a:pt x="32" y="75"/>
                  </a:lnTo>
                  <a:lnTo>
                    <a:pt x="29" y="77"/>
                  </a:lnTo>
                  <a:lnTo>
                    <a:pt x="29" y="80"/>
                  </a:lnTo>
                  <a:lnTo>
                    <a:pt x="29" y="83"/>
                  </a:lnTo>
                  <a:lnTo>
                    <a:pt x="37" y="83"/>
                  </a:lnTo>
                  <a:lnTo>
                    <a:pt x="55" y="83"/>
                  </a:lnTo>
                  <a:lnTo>
                    <a:pt x="66" y="83"/>
                  </a:lnTo>
                  <a:lnTo>
                    <a:pt x="89" y="80"/>
                  </a:lnTo>
                  <a:lnTo>
                    <a:pt x="95" y="77"/>
                  </a:lnTo>
                  <a:lnTo>
                    <a:pt x="103" y="77"/>
                  </a:lnTo>
                  <a:lnTo>
                    <a:pt x="115" y="75"/>
                  </a:lnTo>
                  <a:lnTo>
                    <a:pt x="121" y="72"/>
                  </a:lnTo>
                  <a:lnTo>
                    <a:pt x="126" y="66"/>
                  </a:lnTo>
                  <a:lnTo>
                    <a:pt x="129" y="66"/>
                  </a:lnTo>
                  <a:lnTo>
                    <a:pt x="129" y="69"/>
                  </a:lnTo>
                  <a:lnTo>
                    <a:pt x="129" y="72"/>
                  </a:lnTo>
                  <a:lnTo>
                    <a:pt x="126" y="72"/>
                  </a:lnTo>
                  <a:lnTo>
                    <a:pt x="135" y="72"/>
                  </a:lnTo>
                  <a:lnTo>
                    <a:pt x="138" y="75"/>
                  </a:lnTo>
                  <a:lnTo>
                    <a:pt x="138" y="77"/>
                  </a:lnTo>
                  <a:lnTo>
                    <a:pt x="147" y="77"/>
                  </a:lnTo>
                  <a:lnTo>
                    <a:pt x="152" y="77"/>
                  </a:lnTo>
                  <a:lnTo>
                    <a:pt x="167" y="77"/>
                  </a:lnTo>
                  <a:lnTo>
                    <a:pt x="175" y="75"/>
                  </a:lnTo>
                  <a:lnTo>
                    <a:pt x="184" y="72"/>
                  </a:lnTo>
                  <a:lnTo>
                    <a:pt x="184" y="69"/>
                  </a:lnTo>
                  <a:lnTo>
                    <a:pt x="184" y="66"/>
                  </a:lnTo>
                  <a:lnTo>
                    <a:pt x="181" y="66"/>
                  </a:lnTo>
                  <a:lnTo>
                    <a:pt x="172" y="69"/>
                  </a:lnTo>
                  <a:lnTo>
                    <a:pt x="170" y="69"/>
                  </a:lnTo>
                  <a:lnTo>
                    <a:pt x="170" y="66"/>
                  </a:lnTo>
                  <a:lnTo>
                    <a:pt x="172" y="66"/>
                  </a:lnTo>
                  <a:lnTo>
                    <a:pt x="178" y="66"/>
                  </a:lnTo>
                  <a:lnTo>
                    <a:pt x="181" y="60"/>
                  </a:lnTo>
                  <a:lnTo>
                    <a:pt x="187" y="60"/>
                  </a:lnTo>
                  <a:lnTo>
                    <a:pt x="190" y="63"/>
                  </a:lnTo>
                  <a:lnTo>
                    <a:pt x="192" y="63"/>
                  </a:lnTo>
                  <a:lnTo>
                    <a:pt x="195" y="63"/>
                  </a:lnTo>
                  <a:lnTo>
                    <a:pt x="195" y="66"/>
                  </a:lnTo>
                  <a:lnTo>
                    <a:pt x="195" y="69"/>
                  </a:lnTo>
                  <a:lnTo>
                    <a:pt x="198" y="66"/>
                  </a:lnTo>
                  <a:lnTo>
                    <a:pt x="201" y="66"/>
                  </a:lnTo>
                  <a:lnTo>
                    <a:pt x="204" y="63"/>
                  </a:lnTo>
                  <a:lnTo>
                    <a:pt x="210" y="60"/>
                  </a:lnTo>
                  <a:lnTo>
                    <a:pt x="207" y="57"/>
                  </a:lnTo>
                  <a:lnTo>
                    <a:pt x="201" y="54"/>
                  </a:lnTo>
                  <a:lnTo>
                    <a:pt x="195" y="49"/>
                  </a:lnTo>
                  <a:lnTo>
                    <a:pt x="192" y="49"/>
                  </a:lnTo>
                  <a:lnTo>
                    <a:pt x="187" y="49"/>
                  </a:lnTo>
                  <a:lnTo>
                    <a:pt x="184" y="49"/>
                  </a:lnTo>
                  <a:lnTo>
                    <a:pt x="181" y="43"/>
                  </a:lnTo>
                  <a:lnTo>
                    <a:pt x="187" y="40"/>
                  </a:lnTo>
                  <a:lnTo>
                    <a:pt x="187" y="37"/>
                  </a:lnTo>
                  <a:lnTo>
                    <a:pt x="190" y="37"/>
                  </a:lnTo>
                  <a:lnTo>
                    <a:pt x="192" y="29"/>
                  </a:lnTo>
                  <a:lnTo>
                    <a:pt x="198" y="17"/>
                  </a:lnTo>
                  <a:lnTo>
                    <a:pt x="201" y="11"/>
                  </a:lnTo>
                  <a:lnTo>
                    <a:pt x="204" y="11"/>
                  </a:lnTo>
                  <a:lnTo>
                    <a:pt x="207" y="11"/>
                  </a:lnTo>
                  <a:lnTo>
                    <a:pt x="215" y="9"/>
                  </a:lnTo>
                  <a:lnTo>
                    <a:pt x="221" y="6"/>
                  </a:lnTo>
                  <a:lnTo>
                    <a:pt x="227" y="3"/>
                  </a:lnTo>
                  <a:lnTo>
                    <a:pt x="221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23" name="Freeform 626"/>
            <p:cNvSpPr>
              <a:spLocks noEditPoints="1"/>
            </p:cNvSpPr>
            <p:nvPr/>
          </p:nvSpPr>
          <p:spPr bwMode="auto">
            <a:xfrm>
              <a:off x="2160588" y="1731963"/>
              <a:ext cx="242887" cy="58737"/>
            </a:xfrm>
            <a:custGeom>
              <a:avLst/>
              <a:gdLst>
                <a:gd name="T0" fmla="*/ 2147483647 w 152"/>
                <a:gd name="T1" fmla="*/ 2147483647 h 37"/>
                <a:gd name="T2" fmla="*/ 2147483647 w 152"/>
                <a:gd name="T3" fmla="*/ 2147483647 h 37"/>
                <a:gd name="T4" fmla="*/ 2147483647 w 152"/>
                <a:gd name="T5" fmla="*/ 2147483647 h 37"/>
                <a:gd name="T6" fmla="*/ 2147483647 w 152"/>
                <a:gd name="T7" fmla="*/ 2147483647 h 37"/>
                <a:gd name="T8" fmla="*/ 2147483647 w 152"/>
                <a:gd name="T9" fmla="*/ 2147483647 h 37"/>
                <a:gd name="T10" fmla="*/ 2147483647 w 152"/>
                <a:gd name="T11" fmla="*/ 2147483647 h 37"/>
                <a:gd name="T12" fmla="*/ 2147483647 w 152"/>
                <a:gd name="T13" fmla="*/ 2147483647 h 37"/>
                <a:gd name="T14" fmla="*/ 2147483647 w 152"/>
                <a:gd name="T15" fmla="*/ 2147483647 h 37"/>
                <a:gd name="T16" fmla="*/ 2147483647 w 152"/>
                <a:gd name="T17" fmla="*/ 2147483647 h 37"/>
                <a:gd name="T18" fmla="*/ 2147483647 w 152"/>
                <a:gd name="T19" fmla="*/ 2147483647 h 37"/>
                <a:gd name="T20" fmla="*/ 2147483647 w 152"/>
                <a:gd name="T21" fmla="*/ 2147483647 h 37"/>
                <a:gd name="T22" fmla="*/ 2147483647 w 152"/>
                <a:gd name="T23" fmla="*/ 2147483647 h 37"/>
                <a:gd name="T24" fmla="*/ 0 w 152"/>
                <a:gd name="T25" fmla="*/ 2147483647 h 37"/>
                <a:gd name="T26" fmla="*/ 2147483647 w 152"/>
                <a:gd name="T27" fmla="*/ 2147483647 h 37"/>
                <a:gd name="T28" fmla="*/ 2147483647 w 152"/>
                <a:gd name="T29" fmla="*/ 2147483647 h 37"/>
                <a:gd name="T30" fmla="*/ 2147483647 w 152"/>
                <a:gd name="T31" fmla="*/ 2147483647 h 37"/>
                <a:gd name="T32" fmla="*/ 2147483647 w 152"/>
                <a:gd name="T33" fmla="*/ 2147483647 h 37"/>
                <a:gd name="T34" fmla="*/ 2147483647 w 152"/>
                <a:gd name="T35" fmla="*/ 2147483647 h 37"/>
                <a:gd name="T36" fmla="*/ 2147483647 w 152"/>
                <a:gd name="T37" fmla="*/ 2147483647 h 37"/>
                <a:gd name="T38" fmla="*/ 2147483647 w 152"/>
                <a:gd name="T39" fmla="*/ 2147483647 h 37"/>
                <a:gd name="T40" fmla="*/ 2147483647 w 152"/>
                <a:gd name="T41" fmla="*/ 2147483647 h 37"/>
                <a:gd name="T42" fmla="*/ 2147483647 w 152"/>
                <a:gd name="T43" fmla="*/ 2147483647 h 37"/>
                <a:gd name="T44" fmla="*/ 2147483647 w 152"/>
                <a:gd name="T45" fmla="*/ 2147483647 h 37"/>
                <a:gd name="T46" fmla="*/ 2147483647 w 152"/>
                <a:gd name="T47" fmla="*/ 2147483647 h 37"/>
                <a:gd name="T48" fmla="*/ 2147483647 w 152"/>
                <a:gd name="T49" fmla="*/ 2147483647 h 37"/>
                <a:gd name="T50" fmla="*/ 2147483647 w 152"/>
                <a:gd name="T51" fmla="*/ 2147483647 h 37"/>
                <a:gd name="T52" fmla="*/ 2147483647 w 152"/>
                <a:gd name="T53" fmla="*/ 2147483647 h 37"/>
                <a:gd name="T54" fmla="*/ 2147483647 w 152"/>
                <a:gd name="T55" fmla="*/ 2147483647 h 37"/>
                <a:gd name="T56" fmla="*/ 2147483647 w 152"/>
                <a:gd name="T57" fmla="*/ 2147483647 h 37"/>
                <a:gd name="T58" fmla="*/ 2147483647 w 152"/>
                <a:gd name="T59" fmla="*/ 2147483647 h 37"/>
                <a:gd name="T60" fmla="*/ 2147483647 w 152"/>
                <a:gd name="T61" fmla="*/ 2147483647 h 37"/>
                <a:gd name="T62" fmla="*/ 2147483647 w 152"/>
                <a:gd name="T63" fmla="*/ 2147483647 h 37"/>
                <a:gd name="T64" fmla="*/ 2147483647 w 152"/>
                <a:gd name="T65" fmla="*/ 2147483647 h 37"/>
                <a:gd name="T66" fmla="*/ 2147483647 w 152"/>
                <a:gd name="T67" fmla="*/ 2147483647 h 37"/>
                <a:gd name="T68" fmla="*/ 2147483647 w 152"/>
                <a:gd name="T69" fmla="*/ 2147483647 h 37"/>
                <a:gd name="T70" fmla="*/ 2147483647 w 152"/>
                <a:gd name="T71" fmla="*/ 2147483647 h 37"/>
                <a:gd name="T72" fmla="*/ 2147483647 w 152"/>
                <a:gd name="T73" fmla="*/ 2147483647 h 37"/>
                <a:gd name="T74" fmla="*/ 2147483647 w 152"/>
                <a:gd name="T75" fmla="*/ 2147483647 h 37"/>
                <a:gd name="T76" fmla="*/ 2147483647 w 152"/>
                <a:gd name="T77" fmla="*/ 2147483647 h 37"/>
                <a:gd name="T78" fmla="*/ 2147483647 w 152"/>
                <a:gd name="T79" fmla="*/ 2147483647 h 37"/>
                <a:gd name="T80" fmla="*/ 2147483647 w 152"/>
                <a:gd name="T81" fmla="*/ 0 h 37"/>
                <a:gd name="T82" fmla="*/ 2147483647 w 152"/>
                <a:gd name="T83" fmla="*/ 2147483647 h 37"/>
                <a:gd name="T84" fmla="*/ 2147483647 w 152"/>
                <a:gd name="T85" fmla="*/ 2147483647 h 37"/>
                <a:gd name="T86" fmla="*/ 2147483647 w 152"/>
                <a:gd name="T87" fmla="*/ 2147483647 h 37"/>
                <a:gd name="T88" fmla="*/ 2147483647 w 152"/>
                <a:gd name="T89" fmla="*/ 2147483647 h 37"/>
                <a:gd name="T90" fmla="*/ 2147483647 w 152"/>
                <a:gd name="T91" fmla="*/ 2147483647 h 37"/>
                <a:gd name="T92" fmla="*/ 2147483647 w 152"/>
                <a:gd name="T93" fmla="*/ 2147483647 h 37"/>
                <a:gd name="T94" fmla="*/ 2147483647 w 152"/>
                <a:gd name="T95" fmla="*/ 2147483647 h 37"/>
                <a:gd name="T96" fmla="*/ 2147483647 w 152"/>
                <a:gd name="T97" fmla="*/ 2147483647 h 37"/>
                <a:gd name="T98" fmla="*/ 2147483647 w 152"/>
                <a:gd name="T99" fmla="*/ 2147483647 h 37"/>
                <a:gd name="T100" fmla="*/ 2147483647 w 152"/>
                <a:gd name="T101" fmla="*/ 2147483647 h 37"/>
                <a:gd name="T102" fmla="*/ 2147483647 w 152"/>
                <a:gd name="T103" fmla="*/ 2147483647 h 37"/>
                <a:gd name="T104" fmla="*/ 2147483647 w 152"/>
                <a:gd name="T105" fmla="*/ 2147483647 h 37"/>
                <a:gd name="T106" fmla="*/ 2147483647 w 152"/>
                <a:gd name="T107" fmla="*/ 2147483647 h 3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52"/>
                <a:gd name="T163" fmla="*/ 0 h 37"/>
                <a:gd name="T164" fmla="*/ 152 w 152"/>
                <a:gd name="T165" fmla="*/ 37 h 37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52" h="37">
                  <a:moveTo>
                    <a:pt x="66" y="12"/>
                  </a:moveTo>
                  <a:lnTo>
                    <a:pt x="66" y="12"/>
                  </a:lnTo>
                  <a:lnTo>
                    <a:pt x="61" y="12"/>
                  </a:lnTo>
                  <a:lnTo>
                    <a:pt x="61" y="9"/>
                  </a:lnTo>
                  <a:lnTo>
                    <a:pt x="64" y="9"/>
                  </a:lnTo>
                  <a:lnTo>
                    <a:pt x="61" y="6"/>
                  </a:lnTo>
                  <a:lnTo>
                    <a:pt x="52" y="6"/>
                  </a:lnTo>
                  <a:lnTo>
                    <a:pt x="49" y="9"/>
                  </a:lnTo>
                  <a:lnTo>
                    <a:pt x="43" y="12"/>
                  </a:lnTo>
                  <a:lnTo>
                    <a:pt x="46" y="12"/>
                  </a:lnTo>
                  <a:lnTo>
                    <a:pt x="55" y="9"/>
                  </a:lnTo>
                  <a:lnTo>
                    <a:pt x="38" y="12"/>
                  </a:lnTo>
                  <a:lnTo>
                    <a:pt x="26" y="14"/>
                  </a:lnTo>
                  <a:lnTo>
                    <a:pt x="32" y="14"/>
                  </a:lnTo>
                  <a:lnTo>
                    <a:pt x="43" y="14"/>
                  </a:lnTo>
                  <a:lnTo>
                    <a:pt x="38" y="17"/>
                  </a:lnTo>
                  <a:lnTo>
                    <a:pt x="29" y="17"/>
                  </a:lnTo>
                  <a:lnTo>
                    <a:pt x="23" y="17"/>
                  </a:lnTo>
                  <a:lnTo>
                    <a:pt x="18" y="17"/>
                  </a:lnTo>
                  <a:lnTo>
                    <a:pt x="18" y="20"/>
                  </a:lnTo>
                  <a:lnTo>
                    <a:pt x="9" y="20"/>
                  </a:lnTo>
                  <a:lnTo>
                    <a:pt x="3" y="23"/>
                  </a:lnTo>
                  <a:lnTo>
                    <a:pt x="0" y="26"/>
                  </a:lnTo>
                  <a:lnTo>
                    <a:pt x="6" y="26"/>
                  </a:lnTo>
                  <a:lnTo>
                    <a:pt x="12" y="26"/>
                  </a:lnTo>
                  <a:lnTo>
                    <a:pt x="15" y="29"/>
                  </a:lnTo>
                  <a:lnTo>
                    <a:pt x="18" y="26"/>
                  </a:lnTo>
                  <a:lnTo>
                    <a:pt x="20" y="26"/>
                  </a:lnTo>
                  <a:lnTo>
                    <a:pt x="20" y="29"/>
                  </a:lnTo>
                  <a:lnTo>
                    <a:pt x="26" y="29"/>
                  </a:lnTo>
                  <a:lnTo>
                    <a:pt x="32" y="29"/>
                  </a:lnTo>
                  <a:lnTo>
                    <a:pt x="35" y="26"/>
                  </a:lnTo>
                  <a:lnTo>
                    <a:pt x="41" y="23"/>
                  </a:lnTo>
                  <a:lnTo>
                    <a:pt x="43" y="20"/>
                  </a:lnTo>
                  <a:lnTo>
                    <a:pt x="52" y="14"/>
                  </a:lnTo>
                  <a:lnTo>
                    <a:pt x="55" y="20"/>
                  </a:lnTo>
                  <a:lnTo>
                    <a:pt x="46" y="23"/>
                  </a:lnTo>
                  <a:lnTo>
                    <a:pt x="41" y="26"/>
                  </a:lnTo>
                  <a:lnTo>
                    <a:pt x="43" y="29"/>
                  </a:lnTo>
                  <a:lnTo>
                    <a:pt x="49" y="26"/>
                  </a:lnTo>
                  <a:lnTo>
                    <a:pt x="52" y="26"/>
                  </a:lnTo>
                  <a:lnTo>
                    <a:pt x="58" y="23"/>
                  </a:lnTo>
                  <a:lnTo>
                    <a:pt x="58" y="26"/>
                  </a:lnTo>
                  <a:lnTo>
                    <a:pt x="58" y="29"/>
                  </a:lnTo>
                  <a:lnTo>
                    <a:pt x="49" y="29"/>
                  </a:lnTo>
                  <a:lnTo>
                    <a:pt x="32" y="32"/>
                  </a:lnTo>
                  <a:lnTo>
                    <a:pt x="26" y="35"/>
                  </a:lnTo>
                  <a:lnTo>
                    <a:pt x="26" y="37"/>
                  </a:lnTo>
                  <a:lnTo>
                    <a:pt x="29" y="37"/>
                  </a:lnTo>
                  <a:lnTo>
                    <a:pt x="46" y="37"/>
                  </a:lnTo>
                  <a:lnTo>
                    <a:pt x="61" y="35"/>
                  </a:lnTo>
                  <a:lnTo>
                    <a:pt x="75" y="32"/>
                  </a:lnTo>
                  <a:lnTo>
                    <a:pt x="89" y="29"/>
                  </a:lnTo>
                  <a:lnTo>
                    <a:pt x="98" y="29"/>
                  </a:lnTo>
                  <a:lnTo>
                    <a:pt x="104" y="29"/>
                  </a:lnTo>
                  <a:lnTo>
                    <a:pt x="109" y="29"/>
                  </a:lnTo>
                  <a:lnTo>
                    <a:pt x="112" y="32"/>
                  </a:lnTo>
                  <a:lnTo>
                    <a:pt x="124" y="29"/>
                  </a:lnTo>
                  <a:lnTo>
                    <a:pt x="127" y="29"/>
                  </a:lnTo>
                  <a:lnTo>
                    <a:pt x="132" y="29"/>
                  </a:lnTo>
                  <a:lnTo>
                    <a:pt x="141" y="23"/>
                  </a:lnTo>
                  <a:lnTo>
                    <a:pt x="147" y="20"/>
                  </a:lnTo>
                  <a:lnTo>
                    <a:pt x="152" y="17"/>
                  </a:lnTo>
                  <a:lnTo>
                    <a:pt x="150" y="14"/>
                  </a:lnTo>
                  <a:lnTo>
                    <a:pt x="147" y="14"/>
                  </a:lnTo>
                  <a:lnTo>
                    <a:pt x="141" y="14"/>
                  </a:lnTo>
                  <a:lnTo>
                    <a:pt x="138" y="14"/>
                  </a:lnTo>
                  <a:lnTo>
                    <a:pt x="135" y="17"/>
                  </a:lnTo>
                  <a:lnTo>
                    <a:pt x="130" y="17"/>
                  </a:lnTo>
                  <a:lnTo>
                    <a:pt x="124" y="17"/>
                  </a:lnTo>
                  <a:lnTo>
                    <a:pt x="121" y="12"/>
                  </a:lnTo>
                  <a:lnTo>
                    <a:pt x="130" y="9"/>
                  </a:lnTo>
                  <a:lnTo>
                    <a:pt x="130" y="6"/>
                  </a:lnTo>
                  <a:lnTo>
                    <a:pt x="135" y="6"/>
                  </a:lnTo>
                  <a:lnTo>
                    <a:pt x="135" y="3"/>
                  </a:lnTo>
                  <a:lnTo>
                    <a:pt x="132" y="0"/>
                  </a:lnTo>
                  <a:lnTo>
                    <a:pt x="127" y="3"/>
                  </a:lnTo>
                  <a:lnTo>
                    <a:pt x="115" y="6"/>
                  </a:lnTo>
                  <a:lnTo>
                    <a:pt x="109" y="6"/>
                  </a:lnTo>
                  <a:lnTo>
                    <a:pt x="107" y="9"/>
                  </a:lnTo>
                  <a:lnTo>
                    <a:pt x="107" y="12"/>
                  </a:lnTo>
                  <a:lnTo>
                    <a:pt x="109" y="12"/>
                  </a:lnTo>
                  <a:lnTo>
                    <a:pt x="112" y="12"/>
                  </a:lnTo>
                  <a:lnTo>
                    <a:pt x="112" y="14"/>
                  </a:lnTo>
                  <a:lnTo>
                    <a:pt x="107" y="14"/>
                  </a:lnTo>
                  <a:lnTo>
                    <a:pt x="101" y="14"/>
                  </a:lnTo>
                  <a:lnTo>
                    <a:pt x="104" y="17"/>
                  </a:lnTo>
                  <a:lnTo>
                    <a:pt x="107" y="17"/>
                  </a:lnTo>
                  <a:lnTo>
                    <a:pt x="109" y="20"/>
                  </a:lnTo>
                  <a:lnTo>
                    <a:pt x="107" y="20"/>
                  </a:lnTo>
                  <a:lnTo>
                    <a:pt x="92" y="20"/>
                  </a:lnTo>
                  <a:lnTo>
                    <a:pt x="78" y="17"/>
                  </a:lnTo>
                  <a:lnTo>
                    <a:pt x="75" y="14"/>
                  </a:lnTo>
                  <a:lnTo>
                    <a:pt x="78" y="14"/>
                  </a:lnTo>
                  <a:lnTo>
                    <a:pt x="81" y="14"/>
                  </a:lnTo>
                  <a:lnTo>
                    <a:pt x="81" y="12"/>
                  </a:lnTo>
                  <a:lnTo>
                    <a:pt x="75" y="12"/>
                  </a:lnTo>
                  <a:lnTo>
                    <a:pt x="66" y="12"/>
                  </a:lnTo>
                  <a:close/>
                  <a:moveTo>
                    <a:pt x="29" y="20"/>
                  </a:moveTo>
                  <a:lnTo>
                    <a:pt x="29" y="20"/>
                  </a:lnTo>
                  <a:lnTo>
                    <a:pt x="32" y="17"/>
                  </a:lnTo>
                  <a:lnTo>
                    <a:pt x="32" y="20"/>
                  </a:lnTo>
                  <a:lnTo>
                    <a:pt x="29" y="2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24" name="Freeform 627"/>
            <p:cNvSpPr>
              <a:spLocks/>
            </p:cNvSpPr>
            <p:nvPr/>
          </p:nvSpPr>
          <p:spPr bwMode="auto">
            <a:xfrm>
              <a:off x="2332038" y="1893888"/>
              <a:ext cx="3175" cy="3175"/>
            </a:xfrm>
            <a:custGeom>
              <a:avLst/>
              <a:gdLst>
                <a:gd name="T0" fmla="*/ 2147483647 w 2"/>
                <a:gd name="T1" fmla="*/ 2147483647 h 2"/>
                <a:gd name="T2" fmla="*/ 2147483647 w 2"/>
                <a:gd name="T3" fmla="*/ 0 h 2"/>
                <a:gd name="T4" fmla="*/ 0 w 2"/>
                <a:gd name="T5" fmla="*/ 2147483647 h 2"/>
                <a:gd name="T6" fmla="*/ 2147483647 w 2"/>
                <a:gd name="T7" fmla="*/ 2147483647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2"/>
                <a:gd name="T14" fmla="*/ 2 w 2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2">
                  <a:moveTo>
                    <a:pt x="2" y="2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25" name="Freeform 628"/>
            <p:cNvSpPr>
              <a:spLocks/>
            </p:cNvSpPr>
            <p:nvPr/>
          </p:nvSpPr>
          <p:spPr bwMode="auto">
            <a:xfrm>
              <a:off x="2339975" y="1889125"/>
              <a:ext cx="9525" cy="4763"/>
            </a:xfrm>
            <a:custGeom>
              <a:avLst/>
              <a:gdLst>
                <a:gd name="T0" fmla="*/ 0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0 h 3"/>
                <a:gd name="T6" fmla="*/ 2147483647 w 6"/>
                <a:gd name="T7" fmla="*/ 0 h 3"/>
                <a:gd name="T8" fmla="*/ 0 w 6"/>
                <a:gd name="T9" fmla="*/ 0 h 3"/>
                <a:gd name="T10" fmla="*/ 0 w 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0" y="3"/>
                  </a:moveTo>
                  <a:lnTo>
                    <a:pt x="3" y="3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26" name="Freeform 629"/>
            <p:cNvSpPr>
              <a:spLocks/>
            </p:cNvSpPr>
            <p:nvPr/>
          </p:nvSpPr>
          <p:spPr bwMode="auto">
            <a:xfrm>
              <a:off x="2322513" y="1704975"/>
              <a:ext cx="77787" cy="17463"/>
            </a:xfrm>
            <a:custGeom>
              <a:avLst/>
              <a:gdLst>
                <a:gd name="T0" fmla="*/ 2147483647 w 49"/>
                <a:gd name="T1" fmla="*/ 2147483647 h 11"/>
                <a:gd name="T2" fmla="*/ 2147483647 w 49"/>
                <a:gd name="T3" fmla="*/ 2147483647 h 11"/>
                <a:gd name="T4" fmla="*/ 2147483647 w 49"/>
                <a:gd name="T5" fmla="*/ 2147483647 h 11"/>
                <a:gd name="T6" fmla="*/ 2147483647 w 49"/>
                <a:gd name="T7" fmla="*/ 2147483647 h 11"/>
                <a:gd name="T8" fmla="*/ 2147483647 w 49"/>
                <a:gd name="T9" fmla="*/ 2147483647 h 11"/>
                <a:gd name="T10" fmla="*/ 2147483647 w 49"/>
                <a:gd name="T11" fmla="*/ 2147483647 h 11"/>
                <a:gd name="T12" fmla="*/ 2147483647 w 49"/>
                <a:gd name="T13" fmla="*/ 2147483647 h 11"/>
                <a:gd name="T14" fmla="*/ 2147483647 w 49"/>
                <a:gd name="T15" fmla="*/ 2147483647 h 11"/>
                <a:gd name="T16" fmla="*/ 2147483647 w 49"/>
                <a:gd name="T17" fmla="*/ 2147483647 h 11"/>
                <a:gd name="T18" fmla="*/ 2147483647 w 49"/>
                <a:gd name="T19" fmla="*/ 0 h 11"/>
                <a:gd name="T20" fmla="*/ 2147483647 w 49"/>
                <a:gd name="T21" fmla="*/ 0 h 11"/>
                <a:gd name="T22" fmla="*/ 2147483647 w 49"/>
                <a:gd name="T23" fmla="*/ 0 h 11"/>
                <a:gd name="T24" fmla="*/ 2147483647 w 49"/>
                <a:gd name="T25" fmla="*/ 0 h 11"/>
                <a:gd name="T26" fmla="*/ 2147483647 w 49"/>
                <a:gd name="T27" fmla="*/ 0 h 11"/>
                <a:gd name="T28" fmla="*/ 2147483647 w 49"/>
                <a:gd name="T29" fmla="*/ 2147483647 h 11"/>
                <a:gd name="T30" fmla="*/ 2147483647 w 49"/>
                <a:gd name="T31" fmla="*/ 2147483647 h 11"/>
                <a:gd name="T32" fmla="*/ 2147483647 w 49"/>
                <a:gd name="T33" fmla="*/ 2147483647 h 11"/>
                <a:gd name="T34" fmla="*/ 0 w 49"/>
                <a:gd name="T35" fmla="*/ 2147483647 h 11"/>
                <a:gd name="T36" fmla="*/ 2147483647 w 49"/>
                <a:gd name="T37" fmla="*/ 2147483647 h 11"/>
                <a:gd name="T38" fmla="*/ 2147483647 w 49"/>
                <a:gd name="T39" fmla="*/ 2147483647 h 11"/>
                <a:gd name="T40" fmla="*/ 2147483647 w 49"/>
                <a:gd name="T41" fmla="*/ 2147483647 h 11"/>
                <a:gd name="T42" fmla="*/ 2147483647 w 49"/>
                <a:gd name="T43" fmla="*/ 2147483647 h 11"/>
                <a:gd name="T44" fmla="*/ 2147483647 w 49"/>
                <a:gd name="T45" fmla="*/ 2147483647 h 1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49"/>
                <a:gd name="T70" fmla="*/ 0 h 11"/>
                <a:gd name="T71" fmla="*/ 49 w 49"/>
                <a:gd name="T72" fmla="*/ 11 h 1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49" h="11">
                  <a:moveTo>
                    <a:pt x="14" y="11"/>
                  </a:moveTo>
                  <a:lnTo>
                    <a:pt x="14" y="11"/>
                  </a:lnTo>
                  <a:lnTo>
                    <a:pt x="29" y="9"/>
                  </a:lnTo>
                  <a:lnTo>
                    <a:pt x="37" y="6"/>
                  </a:lnTo>
                  <a:lnTo>
                    <a:pt x="34" y="3"/>
                  </a:lnTo>
                  <a:lnTo>
                    <a:pt x="43" y="3"/>
                  </a:lnTo>
                  <a:lnTo>
                    <a:pt x="49" y="3"/>
                  </a:lnTo>
                  <a:lnTo>
                    <a:pt x="46" y="0"/>
                  </a:lnTo>
                  <a:lnTo>
                    <a:pt x="43" y="0"/>
                  </a:lnTo>
                  <a:lnTo>
                    <a:pt x="29" y="0"/>
                  </a:lnTo>
                  <a:lnTo>
                    <a:pt x="14" y="3"/>
                  </a:lnTo>
                  <a:lnTo>
                    <a:pt x="6" y="3"/>
                  </a:lnTo>
                  <a:lnTo>
                    <a:pt x="0" y="6"/>
                  </a:lnTo>
                  <a:lnTo>
                    <a:pt x="3" y="11"/>
                  </a:lnTo>
                  <a:lnTo>
                    <a:pt x="6" y="11"/>
                  </a:lnTo>
                  <a:lnTo>
                    <a:pt x="14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27" name="Freeform 630"/>
            <p:cNvSpPr>
              <a:spLocks/>
            </p:cNvSpPr>
            <p:nvPr/>
          </p:nvSpPr>
          <p:spPr bwMode="auto">
            <a:xfrm>
              <a:off x="2390775" y="1768475"/>
              <a:ext cx="26988" cy="9525"/>
            </a:xfrm>
            <a:custGeom>
              <a:avLst/>
              <a:gdLst>
                <a:gd name="T0" fmla="*/ 2147483647 w 17"/>
                <a:gd name="T1" fmla="*/ 2147483647 h 6"/>
                <a:gd name="T2" fmla="*/ 2147483647 w 17"/>
                <a:gd name="T3" fmla="*/ 2147483647 h 6"/>
                <a:gd name="T4" fmla="*/ 2147483647 w 17"/>
                <a:gd name="T5" fmla="*/ 0 h 6"/>
                <a:gd name="T6" fmla="*/ 2147483647 w 17"/>
                <a:gd name="T7" fmla="*/ 0 h 6"/>
                <a:gd name="T8" fmla="*/ 2147483647 w 17"/>
                <a:gd name="T9" fmla="*/ 0 h 6"/>
                <a:gd name="T10" fmla="*/ 2147483647 w 17"/>
                <a:gd name="T11" fmla="*/ 0 h 6"/>
                <a:gd name="T12" fmla="*/ 2147483647 w 17"/>
                <a:gd name="T13" fmla="*/ 0 h 6"/>
                <a:gd name="T14" fmla="*/ 2147483647 w 17"/>
                <a:gd name="T15" fmla="*/ 0 h 6"/>
                <a:gd name="T16" fmla="*/ 2147483647 w 17"/>
                <a:gd name="T17" fmla="*/ 2147483647 h 6"/>
                <a:gd name="T18" fmla="*/ 0 w 17"/>
                <a:gd name="T19" fmla="*/ 2147483647 h 6"/>
                <a:gd name="T20" fmla="*/ 2147483647 w 17"/>
                <a:gd name="T21" fmla="*/ 2147483647 h 6"/>
                <a:gd name="T22" fmla="*/ 2147483647 w 17"/>
                <a:gd name="T23" fmla="*/ 2147483647 h 6"/>
                <a:gd name="T24" fmla="*/ 2147483647 w 17"/>
                <a:gd name="T25" fmla="*/ 2147483647 h 6"/>
                <a:gd name="T26" fmla="*/ 2147483647 w 17"/>
                <a:gd name="T27" fmla="*/ 2147483647 h 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7"/>
                <a:gd name="T43" fmla="*/ 0 h 6"/>
                <a:gd name="T44" fmla="*/ 17 w 17"/>
                <a:gd name="T45" fmla="*/ 6 h 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7" h="6">
                  <a:moveTo>
                    <a:pt x="11" y="6"/>
                  </a:moveTo>
                  <a:lnTo>
                    <a:pt x="11" y="6"/>
                  </a:lnTo>
                  <a:lnTo>
                    <a:pt x="17" y="0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6" y="0"/>
                  </a:lnTo>
                  <a:lnTo>
                    <a:pt x="3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11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28" name="Freeform 631"/>
            <p:cNvSpPr>
              <a:spLocks/>
            </p:cNvSpPr>
            <p:nvPr/>
          </p:nvSpPr>
          <p:spPr bwMode="auto">
            <a:xfrm>
              <a:off x="2363788" y="1795463"/>
              <a:ext cx="133350" cy="79375"/>
            </a:xfrm>
            <a:custGeom>
              <a:avLst/>
              <a:gdLst>
                <a:gd name="T0" fmla="*/ 2147483647 w 83"/>
                <a:gd name="T1" fmla="*/ 2147483647 h 49"/>
                <a:gd name="T2" fmla="*/ 2147483647 w 83"/>
                <a:gd name="T3" fmla="*/ 2147483647 h 49"/>
                <a:gd name="T4" fmla="*/ 2147483647 w 83"/>
                <a:gd name="T5" fmla="*/ 2147483647 h 49"/>
                <a:gd name="T6" fmla="*/ 2147483647 w 83"/>
                <a:gd name="T7" fmla="*/ 2147483647 h 49"/>
                <a:gd name="T8" fmla="*/ 2147483647 w 83"/>
                <a:gd name="T9" fmla="*/ 2147483647 h 49"/>
                <a:gd name="T10" fmla="*/ 2147483647 w 83"/>
                <a:gd name="T11" fmla="*/ 2147483647 h 49"/>
                <a:gd name="T12" fmla="*/ 2147483647 w 83"/>
                <a:gd name="T13" fmla="*/ 2147483647 h 49"/>
                <a:gd name="T14" fmla="*/ 2147483647 w 83"/>
                <a:gd name="T15" fmla="*/ 2147483647 h 49"/>
                <a:gd name="T16" fmla="*/ 2147483647 w 83"/>
                <a:gd name="T17" fmla="*/ 2147483647 h 49"/>
                <a:gd name="T18" fmla="*/ 0 w 83"/>
                <a:gd name="T19" fmla="*/ 2147483647 h 49"/>
                <a:gd name="T20" fmla="*/ 2147483647 w 83"/>
                <a:gd name="T21" fmla="*/ 2147483647 h 49"/>
                <a:gd name="T22" fmla="*/ 2147483647 w 83"/>
                <a:gd name="T23" fmla="*/ 2147483647 h 49"/>
                <a:gd name="T24" fmla="*/ 2147483647 w 83"/>
                <a:gd name="T25" fmla="*/ 2147483647 h 49"/>
                <a:gd name="T26" fmla="*/ 2147483647 w 83"/>
                <a:gd name="T27" fmla="*/ 2147483647 h 49"/>
                <a:gd name="T28" fmla="*/ 2147483647 w 83"/>
                <a:gd name="T29" fmla="*/ 2147483647 h 49"/>
                <a:gd name="T30" fmla="*/ 2147483647 w 83"/>
                <a:gd name="T31" fmla="*/ 2147483647 h 49"/>
                <a:gd name="T32" fmla="*/ 2147483647 w 83"/>
                <a:gd name="T33" fmla="*/ 2147483647 h 49"/>
                <a:gd name="T34" fmla="*/ 2147483647 w 83"/>
                <a:gd name="T35" fmla="*/ 2147483647 h 49"/>
                <a:gd name="T36" fmla="*/ 2147483647 w 83"/>
                <a:gd name="T37" fmla="*/ 2147483647 h 49"/>
                <a:gd name="T38" fmla="*/ 2147483647 w 83"/>
                <a:gd name="T39" fmla="*/ 2147483647 h 49"/>
                <a:gd name="T40" fmla="*/ 2147483647 w 83"/>
                <a:gd name="T41" fmla="*/ 2147483647 h 49"/>
                <a:gd name="T42" fmla="*/ 2147483647 w 83"/>
                <a:gd name="T43" fmla="*/ 2147483647 h 49"/>
                <a:gd name="T44" fmla="*/ 2147483647 w 83"/>
                <a:gd name="T45" fmla="*/ 2147483647 h 49"/>
                <a:gd name="T46" fmla="*/ 2147483647 w 83"/>
                <a:gd name="T47" fmla="*/ 2147483647 h 49"/>
                <a:gd name="T48" fmla="*/ 2147483647 w 83"/>
                <a:gd name="T49" fmla="*/ 2147483647 h 49"/>
                <a:gd name="T50" fmla="*/ 2147483647 w 83"/>
                <a:gd name="T51" fmla="*/ 2147483647 h 49"/>
                <a:gd name="T52" fmla="*/ 2147483647 w 83"/>
                <a:gd name="T53" fmla="*/ 2147483647 h 49"/>
                <a:gd name="T54" fmla="*/ 2147483647 w 83"/>
                <a:gd name="T55" fmla="*/ 2147483647 h 49"/>
                <a:gd name="T56" fmla="*/ 2147483647 w 83"/>
                <a:gd name="T57" fmla="*/ 2147483647 h 49"/>
                <a:gd name="T58" fmla="*/ 2147483647 w 83"/>
                <a:gd name="T59" fmla="*/ 2147483647 h 49"/>
                <a:gd name="T60" fmla="*/ 2147483647 w 83"/>
                <a:gd name="T61" fmla="*/ 2147483647 h 49"/>
                <a:gd name="T62" fmla="*/ 2147483647 w 83"/>
                <a:gd name="T63" fmla="*/ 2147483647 h 49"/>
                <a:gd name="T64" fmla="*/ 2147483647 w 83"/>
                <a:gd name="T65" fmla="*/ 2147483647 h 49"/>
                <a:gd name="T66" fmla="*/ 2147483647 w 83"/>
                <a:gd name="T67" fmla="*/ 2147483647 h 49"/>
                <a:gd name="T68" fmla="*/ 2147483647 w 83"/>
                <a:gd name="T69" fmla="*/ 2147483647 h 49"/>
                <a:gd name="T70" fmla="*/ 2147483647 w 83"/>
                <a:gd name="T71" fmla="*/ 2147483647 h 49"/>
                <a:gd name="T72" fmla="*/ 2147483647 w 83"/>
                <a:gd name="T73" fmla="*/ 2147483647 h 49"/>
                <a:gd name="T74" fmla="*/ 2147483647 w 83"/>
                <a:gd name="T75" fmla="*/ 2147483647 h 49"/>
                <a:gd name="T76" fmla="*/ 2147483647 w 83"/>
                <a:gd name="T77" fmla="*/ 2147483647 h 49"/>
                <a:gd name="T78" fmla="*/ 2147483647 w 83"/>
                <a:gd name="T79" fmla="*/ 2147483647 h 49"/>
                <a:gd name="T80" fmla="*/ 2147483647 w 83"/>
                <a:gd name="T81" fmla="*/ 2147483647 h 49"/>
                <a:gd name="T82" fmla="*/ 2147483647 w 83"/>
                <a:gd name="T83" fmla="*/ 2147483647 h 49"/>
                <a:gd name="T84" fmla="*/ 2147483647 w 83"/>
                <a:gd name="T85" fmla="*/ 2147483647 h 49"/>
                <a:gd name="T86" fmla="*/ 2147483647 w 83"/>
                <a:gd name="T87" fmla="*/ 2147483647 h 49"/>
                <a:gd name="T88" fmla="*/ 2147483647 w 83"/>
                <a:gd name="T89" fmla="*/ 2147483647 h 49"/>
                <a:gd name="T90" fmla="*/ 2147483647 w 83"/>
                <a:gd name="T91" fmla="*/ 2147483647 h 49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83"/>
                <a:gd name="T139" fmla="*/ 0 h 49"/>
                <a:gd name="T140" fmla="*/ 83 w 83"/>
                <a:gd name="T141" fmla="*/ 49 h 49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83" h="49">
                  <a:moveTo>
                    <a:pt x="28" y="12"/>
                  </a:moveTo>
                  <a:lnTo>
                    <a:pt x="28" y="12"/>
                  </a:lnTo>
                  <a:lnTo>
                    <a:pt x="31" y="18"/>
                  </a:lnTo>
                  <a:lnTo>
                    <a:pt x="34" y="18"/>
                  </a:lnTo>
                  <a:lnTo>
                    <a:pt x="31" y="20"/>
                  </a:lnTo>
                  <a:lnTo>
                    <a:pt x="28" y="23"/>
                  </a:lnTo>
                  <a:lnTo>
                    <a:pt x="25" y="23"/>
                  </a:lnTo>
                  <a:lnTo>
                    <a:pt x="23" y="26"/>
                  </a:lnTo>
                  <a:lnTo>
                    <a:pt x="20" y="23"/>
                  </a:lnTo>
                  <a:lnTo>
                    <a:pt x="17" y="20"/>
                  </a:lnTo>
                  <a:lnTo>
                    <a:pt x="14" y="18"/>
                  </a:lnTo>
                  <a:lnTo>
                    <a:pt x="5" y="20"/>
                  </a:lnTo>
                  <a:lnTo>
                    <a:pt x="0" y="20"/>
                  </a:lnTo>
                  <a:lnTo>
                    <a:pt x="0" y="23"/>
                  </a:lnTo>
                  <a:lnTo>
                    <a:pt x="3" y="29"/>
                  </a:lnTo>
                  <a:lnTo>
                    <a:pt x="5" y="32"/>
                  </a:lnTo>
                  <a:lnTo>
                    <a:pt x="8" y="32"/>
                  </a:lnTo>
                  <a:lnTo>
                    <a:pt x="11" y="32"/>
                  </a:lnTo>
                  <a:lnTo>
                    <a:pt x="14" y="35"/>
                  </a:lnTo>
                  <a:lnTo>
                    <a:pt x="17" y="38"/>
                  </a:lnTo>
                  <a:lnTo>
                    <a:pt x="20" y="46"/>
                  </a:lnTo>
                  <a:lnTo>
                    <a:pt x="23" y="49"/>
                  </a:lnTo>
                  <a:lnTo>
                    <a:pt x="31" y="46"/>
                  </a:lnTo>
                  <a:lnTo>
                    <a:pt x="34" y="46"/>
                  </a:lnTo>
                  <a:lnTo>
                    <a:pt x="34" y="43"/>
                  </a:lnTo>
                  <a:lnTo>
                    <a:pt x="31" y="41"/>
                  </a:lnTo>
                  <a:lnTo>
                    <a:pt x="31" y="38"/>
                  </a:lnTo>
                  <a:lnTo>
                    <a:pt x="34" y="41"/>
                  </a:lnTo>
                  <a:lnTo>
                    <a:pt x="40" y="43"/>
                  </a:lnTo>
                  <a:lnTo>
                    <a:pt x="46" y="41"/>
                  </a:lnTo>
                  <a:lnTo>
                    <a:pt x="51" y="41"/>
                  </a:lnTo>
                  <a:lnTo>
                    <a:pt x="57" y="41"/>
                  </a:lnTo>
                  <a:lnTo>
                    <a:pt x="60" y="35"/>
                  </a:lnTo>
                  <a:lnTo>
                    <a:pt x="63" y="32"/>
                  </a:lnTo>
                  <a:lnTo>
                    <a:pt x="63" y="29"/>
                  </a:lnTo>
                  <a:lnTo>
                    <a:pt x="69" y="26"/>
                  </a:lnTo>
                  <a:lnTo>
                    <a:pt x="74" y="23"/>
                  </a:lnTo>
                  <a:lnTo>
                    <a:pt x="74" y="20"/>
                  </a:lnTo>
                  <a:lnTo>
                    <a:pt x="77" y="18"/>
                  </a:lnTo>
                  <a:lnTo>
                    <a:pt x="74" y="18"/>
                  </a:lnTo>
                  <a:lnTo>
                    <a:pt x="71" y="18"/>
                  </a:lnTo>
                  <a:lnTo>
                    <a:pt x="69" y="20"/>
                  </a:lnTo>
                  <a:lnTo>
                    <a:pt x="66" y="23"/>
                  </a:lnTo>
                  <a:lnTo>
                    <a:pt x="63" y="18"/>
                  </a:lnTo>
                  <a:lnTo>
                    <a:pt x="63" y="15"/>
                  </a:lnTo>
                  <a:lnTo>
                    <a:pt x="71" y="15"/>
                  </a:lnTo>
                  <a:lnTo>
                    <a:pt x="74" y="12"/>
                  </a:lnTo>
                  <a:lnTo>
                    <a:pt x="83" y="9"/>
                  </a:lnTo>
                  <a:lnTo>
                    <a:pt x="80" y="3"/>
                  </a:lnTo>
                  <a:lnTo>
                    <a:pt x="80" y="0"/>
                  </a:lnTo>
                  <a:lnTo>
                    <a:pt x="71" y="3"/>
                  </a:lnTo>
                  <a:lnTo>
                    <a:pt x="63" y="3"/>
                  </a:lnTo>
                  <a:lnTo>
                    <a:pt x="63" y="6"/>
                  </a:lnTo>
                  <a:lnTo>
                    <a:pt x="57" y="9"/>
                  </a:lnTo>
                  <a:lnTo>
                    <a:pt x="54" y="3"/>
                  </a:lnTo>
                  <a:lnTo>
                    <a:pt x="48" y="6"/>
                  </a:lnTo>
                  <a:lnTo>
                    <a:pt x="43" y="6"/>
                  </a:lnTo>
                  <a:lnTo>
                    <a:pt x="37" y="9"/>
                  </a:lnTo>
                  <a:lnTo>
                    <a:pt x="31" y="12"/>
                  </a:lnTo>
                  <a:lnTo>
                    <a:pt x="25" y="9"/>
                  </a:lnTo>
                  <a:lnTo>
                    <a:pt x="28" y="1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29" name="Freeform 632"/>
            <p:cNvSpPr>
              <a:spLocks/>
            </p:cNvSpPr>
            <p:nvPr/>
          </p:nvSpPr>
          <p:spPr bwMode="auto">
            <a:xfrm>
              <a:off x="2297113" y="1925638"/>
              <a:ext cx="20637" cy="12700"/>
            </a:xfrm>
            <a:custGeom>
              <a:avLst/>
              <a:gdLst>
                <a:gd name="T0" fmla="*/ 2147483647 w 12"/>
                <a:gd name="T1" fmla="*/ 2147483647 h 8"/>
                <a:gd name="T2" fmla="*/ 2147483647 w 12"/>
                <a:gd name="T3" fmla="*/ 2147483647 h 8"/>
                <a:gd name="T4" fmla="*/ 0 w 12"/>
                <a:gd name="T5" fmla="*/ 2147483647 h 8"/>
                <a:gd name="T6" fmla="*/ 0 w 12"/>
                <a:gd name="T7" fmla="*/ 2147483647 h 8"/>
                <a:gd name="T8" fmla="*/ 2147483647 w 12"/>
                <a:gd name="T9" fmla="*/ 2147483647 h 8"/>
                <a:gd name="T10" fmla="*/ 2147483647 w 12"/>
                <a:gd name="T11" fmla="*/ 2147483647 h 8"/>
                <a:gd name="T12" fmla="*/ 2147483647 w 12"/>
                <a:gd name="T13" fmla="*/ 2147483647 h 8"/>
                <a:gd name="T14" fmla="*/ 2147483647 w 12"/>
                <a:gd name="T15" fmla="*/ 2147483647 h 8"/>
                <a:gd name="T16" fmla="*/ 2147483647 w 12"/>
                <a:gd name="T17" fmla="*/ 0 h 8"/>
                <a:gd name="T18" fmla="*/ 2147483647 w 12"/>
                <a:gd name="T19" fmla="*/ 2147483647 h 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"/>
                <a:gd name="T31" fmla="*/ 0 h 8"/>
                <a:gd name="T32" fmla="*/ 12 w 12"/>
                <a:gd name="T33" fmla="*/ 8 h 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" h="8">
                  <a:moveTo>
                    <a:pt x="9" y="3"/>
                  </a:moveTo>
                  <a:lnTo>
                    <a:pt x="6" y="3"/>
                  </a:lnTo>
                  <a:lnTo>
                    <a:pt x="0" y="5"/>
                  </a:lnTo>
                  <a:lnTo>
                    <a:pt x="0" y="8"/>
                  </a:lnTo>
                  <a:lnTo>
                    <a:pt x="6" y="8"/>
                  </a:lnTo>
                  <a:lnTo>
                    <a:pt x="6" y="5"/>
                  </a:lnTo>
                  <a:lnTo>
                    <a:pt x="9" y="5"/>
                  </a:lnTo>
                  <a:lnTo>
                    <a:pt x="12" y="3"/>
                  </a:lnTo>
                  <a:lnTo>
                    <a:pt x="9" y="0"/>
                  </a:lnTo>
                  <a:lnTo>
                    <a:pt x="9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30" name="Freeform 633"/>
            <p:cNvSpPr>
              <a:spLocks/>
            </p:cNvSpPr>
            <p:nvPr/>
          </p:nvSpPr>
          <p:spPr bwMode="auto">
            <a:xfrm>
              <a:off x="2349500" y="1690688"/>
              <a:ext cx="68263" cy="14287"/>
            </a:xfrm>
            <a:custGeom>
              <a:avLst/>
              <a:gdLst>
                <a:gd name="T0" fmla="*/ 2147483647 w 43"/>
                <a:gd name="T1" fmla="*/ 2147483647 h 9"/>
                <a:gd name="T2" fmla="*/ 2147483647 w 43"/>
                <a:gd name="T3" fmla="*/ 2147483647 h 9"/>
                <a:gd name="T4" fmla="*/ 2147483647 w 43"/>
                <a:gd name="T5" fmla="*/ 2147483647 h 9"/>
                <a:gd name="T6" fmla="*/ 2147483647 w 43"/>
                <a:gd name="T7" fmla="*/ 2147483647 h 9"/>
                <a:gd name="T8" fmla="*/ 2147483647 w 43"/>
                <a:gd name="T9" fmla="*/ 2147483647 h 9"/>
                <a:gd name="T10" fmla="*/ 2147483647 w 43"/>
                <a:gd name="T11" fmla="*/ 2147483647 h 9"/>
                <a:gd name="T12" fmla="*/ 2147483647 w 43"/>
                <a:gd name="T13" fmla="*/ 2147483647 h 9"/>
                <a:gd name="T14" fmla="*/ 2147483647 w 43"/>
                <a:gd name="T15" fmla="*/ 2147483647 h 9"/>
                <a:gd name="T16" fmla="*/ 2147483647 w 43"/>
                <a:gd name="T17" fmla="*/ 2147483647 h 9"/>
                <a:gd name="T18" fmla="*/ 2147483647 w 43"/>
                <a:gd name="T19" fmla="*/ 2147483647 h 9"/>
                <a:gd name="T20" fmla="*/ 2147483647 w 43"/>
                <a:gd name="T21" fmla="*/ 2147483647 h 9"/>
                <a:gd name="T22" fmla="*/ 2147483647 w 43"/>
                <a:gd name="T23" fmla="*/ 2147483647 h 9"/>
                <a:gd name="T24" fmla="*/ 2147483647 w 43"/>
                <a:gd name="T25" fmla="*/ 2147483647 h 9"/>
                <a:gd name="T26" fmla="*/ 2147483647 w 43"/>
                <a:gd name="T27" fmla="*/ 2147483647 h 9"/>
                <a:gd name="T28" fmla="*/ 2147483647 w 43"/>
                <a:gd name="T29" fmla="*/ 0 h 9"/>
                <a:gd name="T30" fmla="*/ 2147483647 w 43"/>
                <a:gd name="T31" fmla="*/ 0 h 9"/>
                <a:gd name="T32" fmla="*/ 2147483647 w 43"/>
                <a:gd name="T33" fmla="*/ 0 h 9"/>
                <a:gd name="T34" fmla="*/ 2147483647 w 43"/>
                <a:gd name="T35" fmla="*/ 2147483647 h 9"/>
                <a:gd name="T36" fmla="*/ 2147483647 w 43"/>
                <a:gd name="T37" fmla="*/ 2147483647 h 9"/>
                <a:gd name="T38" fmla="*/ 0 w 43"/>
                <a:gd name="T39" fmla="*/ 2147483647 h 9"/>
                <a:gd name="T40" fmla="*/ 2147483647 w 43"/>
                <a:gd name="T41" fmla="*/ 2147483647 h 9"/>
                <a:gd name="T42" fmla="*/ 2147483647 w 43"/>
                <a:gd name="T43" fmla="*/ 2147483647 h 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43"/>
                <a:gd name="T67" fmla="*/ 0 h 9"/>
                <a:gd name="T68" fmla="*/ 43 w 43"/>
                <a:gd name="T69" fmla="*/ 9 h 9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43" h="9">
                  <a:moveTo>
                    <a:pt x="12" y="9"/>
                  </a:moveTo>
                  <a:lnTo>
                    <a:pt x="12" y="9"/>
                  </a:lnTo>
                  <a:lnTo>
                    <a:pt x="17" y="9"/>
                  </a:lnTo>
                  <a:lnTo>
                    <a:pt x="17" y="6"/>
                  </a:lnTo>
                  <a:lnTo>
                    <a:pt x="23" y="6"/>
                  </a:lnTo>
                  <a:lnTo>
                    <a:pt x="34" y="9"/>
                  </a:lnTo>
                  <a:lnTo>
                    <a:pt x="40" y="6"/>
                  </a:lnTo>
                  <a:lnTo>
                    <a:pt x="43" y="3"/>
                  </a:lnTo>
                  <a:lnTo>
                    <a:pt x="37" y="0"/>
                  </a:lnTo>
                  <a:lnTo>
                    <a:pt x="29" y="0"/>
                  </a:lnTo>
                  <a:lnTo>
                    <a:pt x="20" y="3"/>
                  </a:lnTo>
                  <a:lnTo>
                    <a:pt x="12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12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31" name="Freeform 634"/>
            <p:cNvSpPr>
              <a:spLocks/>
            </p:cNvSpPr>
            <p:nvPr/>
          </p:nvSpPr>
          <p:spPr bwMode="auto">
            <a:xfrm>
              <a:off x="2897188" y="2565400"/>
              <a:ext cx="7937" cy="9525"/>
            </a:xfrm>
            <a:custGeom>
              <a:avLst/>
              <a:gdLst>
                <a:gd name="T0" fmla="*/ 0 w 5"/>
                <a:gd name="T1" fmla="*/ 2147483647 h 6"/>
                <a:gd name="T2" fmla="*/ 2147483647 w 5"/>
                <a:gd name="T3" fmla="*/ 2147483647 h 6"/>
                <a:gd name="T4" fmla="*/ 2147483647 w 5"/>
                <a:gd name="T5" fmla="*/ 0 h 6"/>
                <a:gd name="T6" fmla="*/ 2147483647 w 5"/>
                <a:gd name="T7" fmla="*/ 0 h 6"/>
                <a:gd name="T8" fmla="*/ 0 w 5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6"/>
                <a:gd name="T17" fmla="*/ 5 w 5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6">
                  <a:moveTo>
                    <a:pt x="0" y="6"/>
                  </a:moveTo>
                  <a:lnTo>
                    <a:pt x="3" y="6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32" name="Freeform 635"/>
            <p:cNvSpPr>
              <a:spLocks/>
            </p:cNvSpPr>
            <p:nvPr/>
          </p:nvSpPr>
          <p:spPr bwMode="auto">
            <a:xfrm>
              <a:off x="2962275" y="2444750"/>
              <a:ext cx="4763" cy="4763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2147483647 h 3"/>
                <a:gd name="T4" fmla="*/ 0 w 3"/>
                <a:gd name="T5" fmla="*/ 0 h 3"/>
                <a:gd name="T6" fmla="*/ 0 w 3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33" name="Freeform 636"/>
            <p:cNvSpPr>
              <a:spLocks/>
            </p:cNvSpPr>
            <p:nvPr/>
          </p:nvSpPr>
          <p:spPr bwMode="auto">
            <a:xfrm>
              <a:off x="2836863" y="2427288"/>
              <a:ext cx="161925" cy="150812"/>
            </a:xfrm>
            <a:custGeom>
              <a:avLst/>
              <a:gdLst>
                <a:gd name="T0" fmla="*/ 2147483647 w 101"/>
                <a:gd name="T1" fmla="*/ 2147483647 h 94"/>
                <a:gd name="T2" fmla="*/ 2147483647 w 101"/>
                <a:gd name="T3" fmla="*/ 2147483647 h 94"/>
                <a:gd name="T4" fmla="*/ 2147483647 w 101"/>
                <a:gd name="T5" fmla="*/ 2147483647 h 94"/>
                <a:gd name="T6" fmla="*/ 2147483647 w 101"/>
                <a:gd name="T7" fmla="*/ 2147483647 h 94"/>
                <a:gd name="T8" fmla="*/ 2147483647 w 101"/>
                <a:gd name="T9" fmla="*/ 2147483647 h 94"/>
                <a:gd name="T10" fmla="*/ 2147483647 w 101"/>
                <a:gd name="T11" fmla="*/ 2147483647 h 94"/>
                <a:gd name="T12" fmla="*/ 2147483647 w 101"/>
                <a:gd name="T13" fmla="*/ 2147483647 h 94"/>
                <a:gd name="T14" fmla="*/ 2147483647 w 101"/>
                <a:gd name="T15" fmla="*/ 2147483647 h 94"/>
                <a:gd name="T16" fmla="*/ 2147483647 w 101"/>
                <a:gd name="T17" fmla="*/ 2147483647 h 94"/>
                <a:gd name="T18" fmla="*/ 2147483647 w 101"/>
                <a:gd name="T19" fmla="*/ 2147483647 h 94"/>
                <a:gd name="T20" fmla="*/ 2147483647 w 101"/>
                <a:gd name="T21" fmla="*/ 2147483647 h 94"/>
                <a:gd name="T22" fmla="*/ 2147483647 w 101"/>
                <a:gd name="T23" fmla="*/ 2147483647 h 94"/>
                <a:gd name="T24" fmla="*/ 2147483647 w 101"/>
                <a:gd name="T25" fmla="*/ 2147483647 h 94"/>
                <a:gd name="T26" fmla="*/ 2147483647 w 101"/>
                <a:gd name="T27" fmla="*/ 2147483647 h 94"/>
                <a:gd name="T28" fmla="*/ 2147483647 w 101"/>
                <a:gd name="T29" fmla="*/ 2147483647 h 94"/>
                <a:gd name="T30" fmla="*/ 2147483647 w 101"/>
                <a:gd name="T31" fmla="*/ 2147483647 h 94"/>
                <a:gd name="T32" fmla="*/ 2147483647 w 101"/>
                <a:gd name="T33" fmla="*/ 2147483647 h 94"/>
                <a:gd name="T34" fmla="*/ 2147483647 w 101"/>
                <a:gd name="T35" fmla="*/ 2147483647 h 94"/>
                <a:gd name="T36" fmla="*/ 2147483647 w 101"/>
                <a:gd name="T37" fmla="*/ 2147483647 h 94"/>
                <a:gd name="T38" fmla="*/ 2147483647 w 101"/>
                <a:gd name="T39" fmla="*/ 2147483647 h 94"/>
                <a:gd name="T40" fmla="*/ 2147483647 w 101"/>
                <a:gd name="T41" fmla="*/ 0 h 94"/>
                <a:gd name="T42" fmla="*/ 2147483647 w 101"/>
                <a:gd name="T43" fmla="*/ 0 h 94"/>
                <a:gd name="T44" fmla="*/ 2147483647 w 101"/>
                <a:gd name="T45" fmla="*/ 2147483647 h 94"/>
                <a:gd name="T46" fmla="*/ 2147483647 w 101"/>
                <a:gd name="T47" fmla="*/ 2147483647 h 94"/>
                <a:gd name="T48" fmla="*/ 2147483647 w 101"/>
                <a:gd name="T49" fmla="*/ 2147483647 h 94"/>
                <a:gd name="T50" fmla="*/ 2147483647 w 101"/>
                <a:gd name="T51" fmla="*/ 2147483647 h 94"/>
                <a:gd name="T52" fmla="*/ 2147483647 w 101"/>
                <a:gd name="T53" fmla="*/ 2147483647 h 94"/>
                <a:gd name="T54" fmla="*/ 2147483647 w 101"/>
                <a:gd name="T55" fmla="*/ 2147483647 h 94"/>
                <a:gd name="T56" fmla="*/ 2147483647 w 101"/>
                <a:gd name="T57" fmla="*/ 2147483647 h 94"/>
                <a:gd name="T58" fmla="*/ 2147483647 w 101"/>
                <a:gd name="T59" fmla="*/ 2147483647 h 94"/>
                <a:gd name="T60" fmla="*/ 2147483647 w 101"/>
                <a:gd name="T61" fmla="*/ 2147483647 h 94"/>
                <a:gd name="T62" fmla="*/ 0 w 101"/>
                <a:gd name="T63" fmla="*/ 2147483647 h 94"/>
                <a:gd name="T64" fmla="*/ 2147483647 w 101"/>
                <a:gd name="T65" fmla="*/ 2147483647 h 94"/>
                <a:gd name="T66" fmla="*/ 2147483647 w 101"/>
                <a:gd name="T67" fmla="*/ 2147483647 h 94"/>
                <a:gd name="T68" fmla="*/ 2147483647 w 101"/>
                <a:gd name="T69" fmla="*/ 2147483647 h 94"/>
                <a:gd name="T70" fmla="*/ 2147483647 w 101"/>
                <a:gd name="T71" fmla="*/ 2147483647 h 94"/>
                <a:gd name="T72" fmla="*/ 2147483647 w 101"/>
                <a:gd name="T73" fmla="*/ 2147483647 h 94"/>
                <a:gd name="T74" fmla="*/ 2147483647 w 101"/>
                <a:gd name="T75" fmla="*/ 2147483647 h 94"/>
                <a:gd name="T76" fmla="*/ 2147483647 w 101"/>
                <a:gd name="T77" fmla="*/ 2147483647 h 94"/>
                <a:gd name="T78" fmla="*/ 2147483647 w 101"/>
                <a:gd name="T79" fmla="*/ 2147483647 h 94"/>
                <a:gd name="T80" fmla="*/ 2147483647 w 101"/>
                <a:gd name="T81" fmla="*/ 2147483647 h 94"/>
                <a:gd name="T82" fmla="*/ 2147483647 w 101"/>
                <a:gd name="T83" fmla="*/ 2147483647 h 94"/>
                <a:gd name="T84" fmla="*/ 2147483647 w 101"/>
                <a:gd name="T85" fmla="*/ 2147483647 h 94"/>
                <a:gd name="T86" fmla="*/ 2147483647 w 101"/>
                <a:gd name="T87" fmla="*/ 2147483647 h 94"/>
                <a:gd name="T88" fmla="*/ 2147483647 w 101"/>
                <a:gd name="T89" fmla="*/ 2147483647 h 94"/>
                <a:gd name="T90" fmla="*/ 2147483647 w 101"/>
                <a:gd name="T91" fmla="*/ 2147483647 h 94"/>
                <a:gd name="T92" fmla="*/ 2147483647 w 101"/>
                <a:gd name="T93" fmla="*/ 2147483647 h 94"/>
                <a:gd name="T94" fmla="*/ 2147483647 w 101"/>
                <a:gd name="T95" fmla="*/ 2147483647 h 94"/>
                <a:gd name="T96" fmla="*/ 2147483647 w 101"/>
                <a:gd name="T97" fmla="*/ 2147483647 h 94"/>
                <a:gd name="T98" fmla="*/ 2147483647 w 101"/>
                <a:gd name="T99" fmla="*/ 2147483647 h 94"/>
                <a:gd name="T100" fmla="*/ 2147483647 w 101"/>
                <a:gd name="T101" fmla="*/ 2147483647 h 94"/>
                <a:gd name="T102" fmla="*/ 2147483647 w 101"/>
                <a:gd name="T103" fmla="*/ 2147483647 h 94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01"/>
                <a:gd name="T157" fmla="*/ 0 h 94"/>
                <a:gd name="T158" fmla="*/ 101 w 101"/>
                <a:gd name="T159" fmla="*/ 94 h 94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01" h="94">
                  <a:moveTo>
                    <a:pt x="95" y="63"/>
                  </a:moveTo>
                  <a:lnTo>
                    <a:pt x="101" y="57"/>
                  </a:lnTo>
                  <a:lnTo>
                    <a:pt x="98" y="54"/>
                  </a:lnTo>
                  <a:lnTo>
                    <a:pt x="95" y="57"/>
                  </a:lnTo>
                  <a:lnTo>
                    <a:pt x="89" y="63"/>
                  </a:lnTo>
                  <a:lnTo>
                    <a:pt x="86" y="63"/>
                  </a:lnTo>
                  <a:lnTo>
                    <a:pt x="84" y="63"/>
                  </a:lnTo>
                  <a:lnTo>
                    <a:pt x="86" y="60"/>
                  </a:lnTo>
                  <a:lnTo>
                    <a:pt x="89" y="57"/>
                  </a:lnTo>
                  <a:lnTo>
                    <a:pt x="89" y="54"/>
                  </a:lnTo>
                  <a:lnTo>
                    <a:pt x="92" y="51"/>
                  </a:lnTo>
                  <a:lnTo>
                    <a:pt x="89" y="51"/>
                  </a:lnTo>
                  <a:lnTo>
                    <a:pt x="95" y="46"/>
                  </a:lnTo>
                  <a:lnTo>
                    <a:pt x="98" y="43"/>
                  </a:lnTo>
                  <a:lnTo>
                    <a:pt x="92" y="40"/>
                  </a:lnTo>
                  <a:lnTo>
                    <a:pt x="92" y="34"/>
                  </a:lnTo>
                  <a:lnTo>
                    <a:pt x="89" y="37"/>
                  </a:lnTo>
                  <a:lnTo>
                    <a:pt x="89" y="40"/>
                  </a:lnTo>
                  <a:lnTo>
                    <a:pt x="86" y="40"/>
                  </a:lnTo>
                  <a:lnTo>
                    <a:pt x="81" y="37"/>
                  </a:lnTo>
                  <a:lnTo>
                    <a:pt x="78" y="40"/>
                  </a:lnTo>
                  <a:lnTo>
                    <a:pt x="75" y="46"/>
                  </a:lnTo>
                  <a:lnTo>
                    <a:pt x="72" y="43"/>
                  </a:lnTo>
                  <a:lnTo>
                    <a:pt x="75" y="37"/>
                  </a:lnTo>
                  <a:lnTo>
                    <a:pt x="72" y="40"/>
                  </a:lnTo>
                  <a:lnTo>
                    <a:pt x="66" y="37"/>
                  </a:lnTo>
                  <a:lnTo>
                    <a:pt x="69" y="34"/>
                  </a:lnTo>
                  <a:lnTo>
                    <a:pt x="72" y="31"/>
                  </a:lnTo>
                  <a:lnTo>
                    <a:pt x="69" y="28"/>
                  </a:lnTo>
                  <a:lnTo>
                    <a:pt x="63" y="25"/>
                  </a:lnTo>
                  <a:lnTo>
                    <a:pt x="58" y="31"/>
                  </a:lnTo>
                  <a:lnTo>
                    <a:pt x="55" y="34"/>
                  </a:lnTo>
                  <a:lnTo>
                    <a:pt x="52" y="37"/>
                  </a:lnTo>
                  <a:lnTo>
                    <a:pt x="52" y="34"/>
                  </a:lnTo>
                  <a:lnTo>
                    <a:pt x="55" y="28"/>
                  </a:lnTo>
                  <a:lnTo>
                    <a:pt x="58" y="25"/>
                  </a:lnTo>
                  <a:lnTo>
                    <a:pt x="66" y="17"/>
                  </a:lnTo>
                  <a:lnTo>
                    <a:pt x="75" y="11"/>
                  </a:lnTo>
                  <a:lnTo>
                    <a:pt x="78" y="5"/>
                  </a:lnTo>
                  <a:lnTo>
                    <a:pt x="81" y="5"/>
                  </a:lnTo>
                  <a:lnTo>
                    <a:pt x="84" y="3"/>
                  </a:lnTo>
                  <a:lnTo>
                    <a:pt x="84" y="0"/>
                  </a:lnTo>
                  <a:lnTo>
                    <a:pt x="81" y="0"/>
                  </a:lnTo>
                  <a:lnTo>
                    <a:pt x="69" y="3"/>
                  </a:lnTo>
                  <a:lnTo>
                    <a:pt x="63" y="8"/>
                  </a:lnTo>
                  <a:lnTo>
                    <a:pt x="58" y="14"/>
                  </a:lnTo>
                  <a:lnTo>
                    <a:pt x="52" y="17"/>
                  </a:lnTo>
                  <a:lnTo>
                    <a:pt x="46" y="23"/>
                  </a:lnTo>
                  <a:lnTo>
                    <a:pt x="35" y="37"/>
                  </a:lnTo>
                  <a:lnTo>
                    <a:pt x="32" y="40"/>
                  </a:lnTo>
                  <a:lnTo>
                    <a:pt x="29" y="43"/>
                  </a:lnTo>
                  <a:lnTo>
                    <a:pt x="29" y="46"/>
                  </a:lnTo>
                  <a:lnTo>
                    <a:pt x="29" y="48"/>
                  </a:lnTo>
                  <a:lnTo>
                    <a:pt x="26" y="48"/>
                  </a:lnTo>
                  <a:lnTo>
                    <a:pt x="23" y="48"/>
                  </a:lnTo>
                  <a:lnTo>
                    <a:pt x="18" y="51"/>
                  </a:lnTo>
                  <a:lnTo>
                    <a:pt x="15" y="54"/>
                  </a:lnTo>
                  <a:lnTo>
                    <a:pt x="12" y="54"/>
                  </a:lnTo>
                  <a:lnTo>
                    <a:pt x="6" y="57"/>
                  </a:lnTo>
                  <a:lnTo>
                    <a:pt x="9" y="60"/>
                  </a:lnTo>
                  <a:lnTo>
                    <a:pt x="15" y="60"/>
                  </a:lnTo>
                  <a:lnTo>
                    <a:pt x="3" y="69"/>
                  </a:lnTo>
                  <a:lnTo>
                    <a:pt x="0" y="74"/>
                  </a:lnTo>
                  <a:lnTo>
                    <a:pt x="9" y="74"/>
                  </a:lnTo>
                  <a:lnTo>
                    <a:pt x="15" y="74"/>
                  </a:lnTo>
                  <a:lnTo>
                    <a:pt x="20" y="74"/>
                  </a:lnTo>
                  <a:lnTo>
                    <a:pt x="32" y="77"/>
                  </a:lnTo>
                  <a:lnTo>
                    <a:pt x="41" y="77"/>
                  </a:lnTo>
                  <a:lnTo>
                    <a:pt x="49" y="74"/>
                  </a:lnTo>
                  <a:lnTo>
                    <a:pt x="52" y="71"/>
                  </a:lnTo>
                  <a:lnTo>
                    <a:pt x="49" y="77"/>
                  </a:lnTo>
                  <a:lnTo>
                    <a:pt x="46" y="80"/>
                  </a:lnTo>
                  <a:lnTo>
                    <a:pt x="55" y="77"/>
                  </a:lnTo>
                  <a:lnTo>
                    <a:pt x="58" y="74"/>
                  </a:lnTo>
                  <a:lnTo>
                    <a:pt x="63" y="74"/>
                  </a:lnTo>
                  <a:lnTo>
                    <a:pt x="61" y="80"/>
                  </a:lnTo>
                  <a:lnTo>
                    <a:pt x="55" y="83"/>
                  </a:lnTo>
                  <a:lnTo>
                    <a:pt x="49" y="86"/>
                  </a:lnTo>
                  <a:lnTo>
                    <a:pt x="46" y="89"/>
                  </a:lnTo>
                  <a:lnTo>
                    <a:pt x="49" y="89"/>
                  </a:lnTo>
                  <a:lnTo>
                    <a:pt x="55" y="89"/>
                  </a:lnTo>
                  <a:lnTo>
                    <a:pt x="63" y="83"/>
                  </a:lnTo>
                  <a:lnTo>
                    <a:pt x="63" y="80"/>
                  </a:lnTo>
                  <a:lnTo>
                    <a:pt x="66" y="80"/>
                  </a:lnTo>
                  <a:lnTo>
                    <a:pt x="72" y="80"/>
                  </a:lnTo>
                  <a:lnTo>
                    <a:pt x="75" y="77"/>
                  </a:lnTo>
                  <a:lnTo>
                    <a:pt x="75" y="74"/>
                  </a:lnTo>
                  <a:lnTo>
                    <a:pt x="84" y="69"/>
                  </a:lnTo>
                  <a:lnTo>
                    <a:pt x="81" y="71"/>
                  </a:lnTo>
                  <a:lnTo>
                    <a:pt x="81" y="80"/>
                  </a:lnTo>
                  <a:lnTo>
                    <a:pt x="72" y="89"/>
                  </a:lnTo>
                  <a:lnTo>
                    <a:pt x="75" y="89"/>
                  </a:lnTo>
                  <a:lnTo>
                    <a:pt x="81" y="86"/>
                  </a:lnTo>
                  <a:lnTo>
                    <a:pt x="81" y="89"/>
                  </a:lnTo>
                  <a:lnTo>
                    <a:pt x="81" y="94"/>
                  </a:lnTo>
                  <a:lnTo>
                    <a:pt x="84" y="92"/>
                  </a:lnTo>
                  <a:lnTo>
                    <a:pt x="86" y="94"/>
                  </a:lnTo>
                  <a:lnTo>
                    <a:pt x="89" y="92"/>
                  </a:lnTo>
                  <a:lnTo>
                    <a:pt x="95" y="83"/>
                  </a:lnTo>
                  <a:lnTo>
                    <a:pt x="101" y="74"/>
                  </a:lnTo>
                  <a:lnTo>
                    <a:pt x="98" y="74"/>
                  </a:lnTo>
                  <a:lnTo>
                    <a:pt x="92" y="77"/>
                  </a:lnTo>
                  <a:lnTo>
                    <a:pt x="92" y="74"/>
                  </a:lnTo>
                  <a:lnTo>
                    <a:pt x="95" y="69"/>
                  </a:lnTo>
                  <a:lnTo>
                    <a:pt x="101" y="66"/>
                  </a:lnTo>
                  <a:lnTo>
                    <a:pt x="92" y="66"/>
                  </a:lnTo>
                  <a:lnTo>
                    <a:pt x="86" y="77"/>
                  </a:lnTo>
                  <a:lnTo>
                    <a:pt x="86" y="74"/>
                  </a:lnTo>
                  <a:lnTo>
                    <a:pt x="86" y="69"/>
                  </a:lnTo>
                  <a:lnTo>
                    <a:pt x="95" y="6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34" name="Freeform 637"/>
            <p:cNvSpPr>
              <a:spLocks/>
            </p:cNvSpPr>
            <p:nvPr/>
          </p:nvSpPr>
          <p:spPr bwMode="auto">
            <a:xfrm>
              <a:off x="2979738" y="2413000"/>
              <a:ext cx="1587" cy="4763"/>
            </a:xfrm>
            <a:custGeom>
              <a:avLst/>
              <a:gdLst>
                <a:gd name="T0" fmla="*/ 0 w 1"/>
                <a:gd name="T1" fmla="*/ 2147483647 h 3"/>
                <a:gd name="T2" fmla="*/ 0 w 1"/>
                <a:gd name="T3" fmla="*/ 0 h 3"/>
                <a:gd name="T4" fmla="*/ 0 w 1"/>
                <a:gd name="T5" fmla="*/ 2147483647 h 3"/>
                <a:gd name="T6" fmla="*/ 0 w 1"/>
                <a:gd name="T7" fmla="*/ 2147483647 h 3"/>
                <a:gd name="T8" fmla="*/ 0 w 1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3"/>
                <a:gd name="T17" fmla="*/ 1 w 1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3">
                  <a:moveTo>
                    <a:pt x="0" y="3"/>
                  </a:move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35" name="Freeform 638"/>
            <p:cNvSpPr>
              <a:spLocks/>
            </p:cNvSpPr>
            <p:nvPr/>
          </p:nvSpPr>
          <p:spPr bwMode="auto">
            <a:xfrm>
              <a:off x="2938463" y="2068513"/>
              <a:ext cx="4762" cy="17462"/>
            </a:xfrm>
            <a:custGeom>
              <a:avLst/>
              <a:gdLst>
                <a:gd name="T0" fmla="*/ 0 w 3"/>
                <a:gd name="T1" fmla="*/ 2147483647 h 11"/>
                <a:gd name="T2" fmla="*/ 2147483647 w 3"/>
                <a:gd name="T3" fmla="*/ 2147483647 h 11"/>
                <a:gd name="T4" fmla="*/ 2147483647 w 3"/>
                <a:gd name="T5" fmla="*/ 2147483647 h 11"/>
                <a:gd name="T6" fmla="*/ 2147483647 w 3"/>
                <a:gd name="T7" fmla="*/ 0 h 11"/>
                <a:gd name="T8" fmla="*/ 0 w 3"/>
                <a:gd name="T9" fmla="*/ 0 h 11"/>
                <a:gd name="T10" fmla="*/ 0 w 3"/>
                <a:gd name="T11" fmla="*/ 2147483647 h 11"/>
                <a:gd name="T12" fmla="*/ 0 w 3"/>
                <a:gd name="T13" fmla="*/ 2147483647 h 11"/>
                <a:gd name="T14" fmla="*/ 0 w 3"/>
                <a:gd name="T15" fmla="*/ 2147483647 h 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"/>
                <a:gd name="T25" fmla="*/ 0 h 11"/>
                <a:gd name="T26" fmla="*/ 3 w 3"/>
                <a:gd name="T27" fmla="*/ 11 h 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" h="11">
                  <a:moveTo>
                    <a:pt x="0" y="11"/>
                  </a:moveTo>
                  <a:lnTo>
                    <a:pt x="3" y="8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36" name="Freeform 639"/>
            <p:cNvSpPr>
              <a:spLocks noEditPoints="1"/>
            </p:cNvSpPr>
            <p:nvPr/>
          </p:nvSpPr>
          <p:spPr bwMode="auto">
            <a:xfrm>
              <a:off x="2570163" y="1804988"/>
              <a:ext cx="482600" cy="322262"/>
            </a:xfrm>
            <a:custGeom>
              <a:avLst/>
              <a:gdLst>
                <a:gd name="T0" fmla="*/ 2147483647 w 301"/>
                <a:gd name="T1" fmla="*/ 2147483647 h 201"/>
                <a:gd name="T2" fmla="*/ 2147483647 w 301"/>
                <a:gd name="T3" fmla="*/ 2147483647 h 201"/>
                <a:gd name="T4" fmla="*/ 2147483647 w 301"/>
                <a:gd name="T5" fmla="*/ 2147483647 h 201"/>
                <a:gd name="T6" fmla="*/ 2147483647 w 301"/>
                <a:gd name="T7" fmla="*/ 2147483647 h 201"/>
                <a:gd name="T8" fmla="*/ 2147483647 w 301"/>
                <a:gd name="T9" fmla="*/ 2147483647 h 201"/>
                <a:gd name="T10" fmla="*/ 2147483647 w 301"/>
                <a:gd name="T11" fmla="*/ 2147483647 h 201"/>
                <a:gd name="T12" fmla="*/ 2147483647 w 301"/>
                <a:gd name="T13" fmla="*/ 2147483647 h 201"/>
                <a:gd name="T14" fmla="*/ 2147483647 w 301"/>
                <a:gd name="T15" fmla="*/ 2147483647 h 201"/>
                <a:gd name="T16" fmla="*/ 2147483647 w 301"/>
                <a:gd name="T17" fmla="*/ 2147483647 h 201"/>
                <a:gd name="T18" fmla="*/ 2147483647 w 301"/>
                <a:gd name="T19" fmla="*/ 2147483647 h 201"/>
                <a:gd name="T20" fmla="*/ 2147483647 w 301"/>
                <a:gd name="T21" fmla="*/ 0 h 201"/>
                <a:gd name="T22" fmla="*/ 2147483647 w 301"/>
                <a:gd name="T23" fmla="*/ 2147483647 h 201"/>
                <a:gd name="T24" fmla="*/ 2147483647 w 301"/>
                <a:gd name="T25" fmla="*/ 2147483647 h 201"/>
                <a:gd name="T26" fmla="*/ 2147483647 w 301"/>
                <a:gd name="T27" fmla="*/ 2147483647 h 201"/>
                <a:gd name="T28" fmla="*/ 2147483647 w 301"/>
                <a:gd name="T29" fmla="*/ 2147483647 h 201"/>
                <a:gd name="T30" fmla="*/ 2147483647 w 301"/>
                <a:gd name="T31" fmla="*/ 2147483647 h 201"/>
                <a:gd name="T32" fmla="*/ 2147483647 w 301"/>
                <a:gd name="T33" fmla="*/ 2147483647 h 201"/>
                <a:gd name="T34" fmla="*/ 2147483647 w 301"/>
                <a:gd name="T35" fmla="*/ 2147483647 h 201"/>
                <a:gd name="T36" fmla="*/ 2147483647 w 301"/>
                <a:gd name="T37" fmla="*/ 2147483647 h 201"/>
                <a:gd name="T38" fmla="*/ 2147483647 w 301"/>
                <a:gd name="T39" fmla="*/ 2147483647 h 201"/>
                <a:gd name="T40" fmla="*/ 2147483647 w 301"/>
                <a:gd name="T41" fmla="*/ 0 h 201"/>
                <a:gd name="T42" fmla="*/ 2147483647 w 301"/>
                <a:gd name="T43" fmla="*/ 2147483647 h 201"/>
                <a:gd name="T44" fmla="*/ 2147483647 w 301"/>
                <a:gd name="T45" fmla="*/ 2147483647 h 201"/>
                <a:gd name="T46" fmla="*/ 2147483647 w 301"/>
                <a:gd name="T47" fmla="*/ 2147483647 h 201"/>
                <a:gd name="T48" fmla="*/ 2147483647 w 301"/>
                <a:gd name="T49" fmla="*/ 2147483647 h 201"/>
                <a:gd name="T50" fmla="*/ 2147483647 w 301"/>
                <a:gd name="T51" fmla="*/ 2147483647 h 201"/>
                <a:gd name="T52" fmla="*/ 2147483647 w 301"/>
                <a:gd name="T53" fmla="*/ 2147483647 h 201"/>
                <a:gd name="T54" fmla="*/ 2147483647 w 301"/>
                <a:gd name="T55" fmla="*/ 2147483647 h 201"/>
                <a:gd name="T56" fmla="*/ 2147483647 w 301"/>
                <a:gd name="T57" fmla="*/ 2147483647 h 201"/>
                <a:gd name="T58" fmla="*/ 2147483647 w 301"/>
                <a:gd name="T59" fmla="*/ 2147483647 h 201"/>
                <a:gd name="T60" fmla="*/ 2147483647 w 301"/>
                <a:gd name="T61" fmla="*/ 2147483647 h 201"/>
                <a:gd name="T62" fmla="*/ 2147483647 w 301"/>
                <a:gd name="T63" fmla="*/ 2147483647 h 201"/>
                <a:gd name="T64" fmla="*/ 2147483647 w 301"/>
                <a:gd name="T65" fmla="*/ 2147483647 h 201"/>
                <a:gd name="T66" fmla="*/ 2147483647 w 301"/>
                <a:gd name="T67" fmla="*/ 2147483647 h 201"/>
                <a:gd name="T68" fmla="*/ 2147483647 w 301"/>
                <a:gd name="T69" fmla="*/ 2147483647 h 201"/>
                <a:gd name="T70" fmla="*/ 2147483647 w 301"/>
                <a:gd name="T71" fmla="*/ 2147483647 h 201"/>
                <a:gd name="T72" fmla="*/ 2147483647 w 301"/>
                <a:gd name="T73" fmla="*/ 2147483647 h 201"/>
                <a:gd name="T74" fmla="*/ 2147483647 w 301"/>
                <a:gd name="T75" fmla="*/ 2147483647 h 201"/>
                <a:gd name="T76" fmla="*/ 2147483647 w 301"/>
                <a:gd name="T77" fmla="*/ 2147483647 h 201"/>
                <a:gd name="T78" fmla="*/ 2147483647 w 301"/>
                <a:gd name="T79" fmla="*/ 2147483647 h 201"/>
                <a:gd name="T80" fmla="*/ 2147483647 w 301"/>
                <a:gd name="T81" fmla="*/ 2147483647 h 201"/>
                <a:gd name="T82" fmla="*/ 2147483647 w 301"/>
                <a:gd name="T83" fmla="*/ 2147483647 h 201"/>
                <a:gd name="T84" fmla="*/ 2147483647 w 301"/>
                <a:gd name="T85" fmla="*/ 2147483647 h 201"/>
                <a:gd name="T86" fmla="*/ 2147483647 w 301"/>
                <a:gd name="T87" fmla="*/ 2147483647 h 201"/>
                <a:gd name="T88" fmla="*/ 2147483647 w 301"/>
                <a:gd name="T89" fmla="*/ 2147483647 h 201"/>
                <a:gd name="T90" fmla="*/ 2147483647 w 301"/>
                <a:gd name="T91" fmla="*/ 2147483647 h 201"/>
                <a:gd name="T92" fmla="*/ 2147483647 w 301"/>
                <a:gd name="T93" fmla="*/ 2147483647 h 201"/>
                <a:gd name="T94" fmla="*/ 2147483647 w 301"/>
                <a:gd name="T95" fmla="*/ 2147483647 h 201"/>
                <a:gd name="T96" fmla="*/ 2147483647 w 301"/>
                <a:gd name="T97" fmla="*/ 2147483647 h 201"/>
                <a:gd name="T98" fmla="*/ 2147483647 w 301"/>
                <a:gd name="T99" fmla="*/ 2147483647 h 201"/>
                <a:gd name="T100" fmla="*/ 2147483647 w 301"/>
                <a:gd name="T101" fmla="*/ 2147483647 h 201"/>
                <a:gd name="T102" fmla="*/ 2147483647 w 301"/>
                <a:gd name="T103" fmla="*/ 2147483647 h 201"/>
                <a:gd name="T104" fmla="*/ 2147483647 w 301"/>
                <a:gd name="T105" fmla="*/ 2147483647 h 201"/>
                <a:gd name="T106" fmla="*/ 2147483647 w 301"/>
                <a:gd name="T107" fmla="*/ 2147483647 h 201"/>
                <a:gd name="T108" fmla="*/ 2147483647 w 301"/>
                <a:gd name="T109" fmla="*/ 2147483647 h 201"/>
                <a:gd name="T110" fmla="*/ 2147483647 w 301"/>
                <a:gd name="T111" fmla="*/ 2147483647 h 201"/>
                <a:gd name="T112" fmla="*/ 2147483647 w 301"/>
                <a:gd name="T113" fmla="*/ 2147483647 h 201"/>
                <a:gd name="T114" fmla="*/ 2147483647 w 301"/>
                <a:gd name="T115" fmla="*/ 2147483647 h 201"/>
                <a:gd name="T116" fmla="*/ 2147483647 w 301"/>
                <a:gd name="T117" fmla="*/ 2147483647 h 201"/>
                <a:gd name="T118" fmla="*/ 2147483647 w 301"/>
                <a:gd name="T119" fmla="*/ 2147483647 h 201"/>
                <a:gd name="T120" fmla="*/ 2147483647 w 301"/>
                <a:gd name="T121" fmla="*/ 2147483647 h 20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1"/>
                <a:gd name="T184" fmla="*/ 0 h 201"/>
                <a:gd name="T185" fmla="*/ 301 w 301"/>
                <a:gd name="T186" fmla="*/ 201 h 201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1" h="201">
                  <a:moveTo>
                    <a:pt x="301" y="115"/>
                  </a:moveTo>
                  <a:lnTo>
                    <a:pt x="301" y="115"/>
                  </a:lnTo>
                  <a:lnTo>
                    <a:pt x="293" y="112"/>
                  </a:lnTo>
                  <a:lnTo>
                    <a:pt x="287" y="112"/>
                  </a:lnTo>
                  <a:lnTo>
                    <a:pt x="290" y="106"/>
                  </a:lnTo>
                  <a:lnTo>
                    <a:pt x="281" y="112"/>
                  </a:lnTo>
                  <a:lnTo>
                    <a:pt x="287" y="103"/>
                  </a:lnTo>
                  <a:lnTo>
                    <a:pt x="278" y="103"/>
                  </a:lnTo>
                  <a:lnTo>
                    <a:pt x="273" y="109"/>
                  </a:lnTo>
                  <a:lnTo>
                    <a:pt x="275" y="103"/>
                  </a:lnTo>
                  <a:lnTo>
                    <a:pt x="278" y="101"/>
                  </a:lnTo>
                  <a:lnTo>
                    <a:pt x="275" y="101"/>
                  </a:lnTo>
                  <a:lnTo>
                    <a:pt x="273" y="95"/>
                  </a:lnTo>
                  <a:lnTo>
                    <a:pt x="267" y="95"/>
                  </a:lnTo>
                  <a:lnTo>
                    <a:pt x="258" y="95"/>
                  </a:lnTo>
                  <a:lnTo>
                    <a:pt x="258" y="89"/>
                  </a:lnTo>
                  <a:lnTo>
                    <a:pt x="252" y="92"/>
                  </a:lnTo>
                  <a:lnTo>
                    <a:pt x="255" y="89"/>
                  </a:lnTo>
                  <a:lnTo>
                    <a:pt x="250" y="92"/>
                  </a:lnTo>
                  <a:lnTo>
                    <a:pt x="252" y="86"/>
                  </a:lnTo>
                  <a:lnTo>
                    <a:pt x="247" y="86"/>
                  </a:lnTo>
                  <a:lnTo>
                    <a:pt x="238" y="86"/>
                  </a:lnTo>
                  <a:lnTo>
                    <a:pt x="238" y="80"/>
                  </a:lnTo>
                  <a:lnTo>
                    <a:pt x="244" y="78"/>
                  </a:lnTo>
                  <a:lnTo>
                    <a:pt x="241" y="75"/>
                  </a:lnTo>
                  <a:lnTo>
                    <a:pt x="247" y="75"/>
                  </a:lnTo>
                  <a:lnTo>
                    <a:pt x="258" y="75"/>
                  </a:lnTo>
                  <a:lnTo>
                    <a:pt x="261" y="72"/>
                  </a:lnTo>
                  <a:lnTo>
                    <a:pt x="252" y="69"/>
                  </a:lnTo>
                  <a:lnTo>
                    <a:pt x="250" y="66"/>
                  </a:lnTo>
                  <a:lnTo>
                    <a:pt x="258" y="66"/>
                  </a:lnTo>
                  <a:lnTo>
                    <a:pt x="261" y="60"/>
                  </a:lnTo>
                  <a:lnTo>
                    <a:pt x="255" y="57"/>
                  </a:lnTo>
                  <a:lnTo>
                    <a:pt x="250" y="60"/>
                  </a:lnTo>
                  <a:lnTo>
                    <a:pt x="244" y="60"/>
                  </a:lnTo>
                  <a:lnTo>
                    <a:pt x="238" y="60"/>
                  </a:lnTo>
                  <a:lnTo>
                    <a:pt x="229" y="63"/>
                  </a:lnTo>
                  <a:lnTo>
                    <a:pt x="229" y="60"/>
                  </a:lnTo>
                  <a:lnTo>
                    <a:pt x="238" y="57"/>
                  </a:lnTo>
                  <a:lnTo>
                    <a:pt x="244" y="55"/>
                  </a:lnTo>
                  <a:lnTo>
                    <a:pt x="252" y="55"/>
                  </a:lnTo>
                  <a:lnTo>
                    <a:pt x="252" y="49"/>
                  </a:lnTo>
                  <a:lnTo>
                    <a:pt x="247" y="49"/>
                  </a:lnTo>
                  <a:lnTo>
                    <a:pt x="238" y="49"/>
                  </a:lnTo>
                  <a:lnTo>
                    <a:pt x="235" y="49"/>
                  </a:lnTo>
                  <a:lnTo>
                    <a:pt x="227" y="52"/>
                  </a:lnTo>
                  <a:lnTo>
                    <a:pt x="218" y="57"/>
                  </a:lnTo>
                  <a:lnTo>
                    <a:pt x="212" y="57"/>
                  </a:lnTo>
                  <a:lnTo>
                    <a:pt x="218" y="52"/>
                  </a:lnTo>
                  <a:lnTo>
                    <a:pt x="229" y="46"/>
                  </a:lnTo>
                  <a:lnTo>
                    <a:pt x="232" y="43"/>
                  </a:lnTo>
                  <a:lnTo>
                    <a:pt x="227" y="43"/>
                  </a:lnTo>
                  <a:lnTo>
                    <a:pt x="218" y="49"/>
                  </a:lnTo>
                  <a:lnTo>
                    <a:pt x="212" y="46"/>
                  </a:lnTo>
                  <a:lnTo>
                    <a:pt x="218" y="43"/>
                  </a:lnTo>
                  <a:lnTo>
                    <a:pt x="221" y="43"/>
                  </a:lnTo>
                  <a:lnTo>
                    <a:pt x="229" y="37"/>
                  </a:lnTo>
                  <a:lnTo>
                    <a:pt x="224" y="35"/>
                  </a:lnTo>
                  <a:lnTo>
                    <a:pt x="212" y="35"/>
                  </a:lnTo>
                  <a:lnTo>
                    <a:pt x="204" y="37"/>
                  </a:lnTo>
                  <a:lnTo>
                    <a:pt x="198" y="43"/>
                  </a:lnTo>
                  <a:lnTo>
                    <a:pt x="195" y="43"/>
                  </a:lnTo>
                  <a:lnTo>
                    <a:pt x="192" y="43"/>
                  </a:lnTo>
                  <a:lnTo>
                    <a:pt x="201" y="37"/>
                  </a:lnTo>
                  <a:lnTo>
                    <a:pt x="204" y="32"/>
                  </a:lnTo>
                  <a:lnTo>
                    <a:pt x="195" y="35"/>
                  </a:lnTo>
                  <a:lnTo>
                    <a:pt x="189" y="35"/>
                  </a:lnTo>
                  <a:lnTo>
                    <a:pt x="186" y="35"/>
                  </a:lnTo>
                  <a:lnTo>
                    <a:pt x="192" y="32"/>
                  </a:lnTo>
                  <a:lnTo>
                    <a:pt x="201" y="32"/>
                  </a:lnTo>
                  <a:lnTo>
                    <a:pt x="195" y="26"/>
                  </a:lnTo>
                  <a:lnTo>
                    <a:pt x="189" y="29"/>
                  </a:lnTo>
                  <a:lnTo>
                    <a:pt x="184" y="32"/>
                  </a:lnTo>
                  <a:lnTo>
                    <a:pt x="181" y="32"/>
                  </a:lnTo>
                  <a:lnTo>
                    <a:pt x="178" y="29"/>
                  </a:lnTo>
                  <a:lnTo>
                    <a:pt x="184" y="26"/>
                  </a:lnTo>
                  <a:lnTo>
                    <a:pt x="192" y="23"/>
                  </a:lnTo>
                  <a:lnTo>
                    <a:pt x="189" y="20"/>
                  </a:lnTo>
                  <a:lnTo>
                    <a:pt x="181" y="20"/>
                  </a:lnTo>
                  <a:lnTo>
                    <a:pt x="184" y="17"/>
                  </a:lnTo>
                  <a:lnTo>
                    <a:pt x="189" y="14"/>
                  </a:lnTo>
                  <a:lnTo>
                    <a:pt x="186" y="6"/>
                  </a:lnTo>
                  <a:lnTo>
                    <a:pt x="184" y="6"/>
                  </a:lnTo>
                  <a:lnTo>
                    <a:pt x="178" y="3"/>
                  </a:lnTo>
                  <a:lnTo>
                    <a:pt x="163" y="3"/>
                  </a:lnTo>
                  <a:lnTo>
                    <a:pt x="155" y="0"/>
                  </a:lnTo>
                  <a:lnTo>
                    <a:pt x="149" y="0"/>
                  </a:lnTo>
                  <a:lnTo>
                    <a:pt x="146" y="0"/>
                  </a:lnTo>
                  <a:lnTo>
                    <a:pt x="140" y="6"/>
                  </a:lnTo>
                  <a:lnTo>
                    <a:pt x="140" y="9"/>
                  </a:lnTo>
                  <a:lnTo>
                    <a:pt x="143" y="9"/>
                  </a:lnTo>
                  <a:lnTo>
                    <a:pt x="146" y="17"/>
                  </a:lnTo>
                  <a:lnTo>
                    <a:pt x="155" y="17"/>
                  </a:lnTo>
                  <a:lnTo>
                    <a:pt x="166" y="14"/>
                  </a:lnTo>
                  <a:lnTo>
                    <a:pt x="175" y="14"/>
                  </a:lnTo>
                  <a:lnTo>
                    <a:pt x="175" y="17"/>
                  </a:lnTo>
                  <a:lnTo>
                    <a:pt x="166" y="20"/>
                  </a:lnTo>
                  <a:lnTo>
                    <a:pt x="161" y="20"/>
                  </a:lnTo>
                  <a:lnTo>
                    <a:pt x="155" y="23"/>
                  </a:lnTo>
                  <a:lnTo>
                    <a:pt x="163" y="26"/>
                  </a:lnTo>
                  <a:lnTo>
                    <a:pt x="166" y="29"/>
                  </a:lnTo>
                  <a:lnTo>
                    <a:pt x="163" y="29"/>
                  </a:lnTo>
                  <a:lnTo>
                    <a:pt x="155" y="26"/>
                  </a:lnTo>
                  <a:lnTo>
                    <a:pt x="149" y="23"/>
                  </a:lnTo>
                  <a:lnTo>
                    <a:pt x="146" y="26"/>
                  </a:lnTo>
                  <a:lnTo>
                    <a:pt x="152" y="32"/>
                  </a:lnTo>
                  <a:lnTo>
                    <a:pt x="149" y="32"/>
                  </a:lnTo>
                  <a:lnTo>
                    <a:pt x="143" y="26"/>
                  </a:lnTo>
                  <a:lnTo>
                    <a:pt x="140" y="23"/>
                  </a:lnTo>
                  <a:lnTo>
                    <a:pt x="138" y="23"/>
                  </a:lnTo>
                  <a:lnTo>
                    <a:pt x="132" y="26"/>
                  </a:lnTo>
                  <a:lnTo>
                    <a:pt x="126" y="29"/>
                  </a:lnTo>
                  <a:lnTo>
                    <a:pt x="120" y="26"/>
                  </a:lnTo>
                  <a:lnTo>
                    <a:pt x="129" y="23"/>
                  </a:lnTo>
                  <a:lnTo>
                    <a:pt x="138" y="17"/>
                  </a:lnTo>
                  <a:lnTo>
                    <a:pt x="140" y="14"/>
                  </a:lnTo>
                  <a:lnTo>
                    <a:pt x="135" y="9"/>
                  </a:lnTo>
                  <a:lnTo>
                    <a:pt x="138" y="3"/>
                  </a:lnTo>
                  <a:lnTo>
                    <a:pt x="132" y="0"/>
                  </a:lnTo>
                  <a:lnTo>
                    <a:pt x="120" y="3"/>
                  </a:lnTo>
                  <a:lnTo>
                    <a:pt x="112" y="3"/>
                  </a:lnTo>
                  <a:lnTo>
                    <a:pt x="106" y="6"/>
                  </a:lnTo>
                  <a:lnTo>
                    <a:pt x="97" y="9"/>
                  </a:lnTo>
                  <a:lnTo>
                    <a:pt x="92" y="9"/>
                  </a:lnTo>
                  <a:lnTo>
                    <a:pt x="92" y="12"/>
                  </a:lnTo>
                  <a:lnTo>
                    <a:pt x="97" y="12"/>
                  </a:lnTo>
                  <a:lnTo>
                    <a:pt x="89" y="14"/>
                  </a:lnTo>
                  <a:lnTo>
                    <a:pt x="83" y="12"/>
                  </a:lnTo>
                  <a:lnTo>
                    <a:pt x="80" y="14"/>
                  </a:lnTo>
                  <a:lnTo>
                    <a:pt x="83" y="14"/>
                  </a:lnTo>
                  <a:lnTo>
                    <a:pt x="86" y="14"/>
                  </a:lnTo>
                  <a:lnTo>
                    <a:pt x="95" y="17"/>
                  </a:lnTo>
                  <a:lnTo>
                    <a:pt x="92" y="20"/>
                  </a:lnTo>
                  <a:lnTo>
                    <a:pt x="74" y="17"/>
                  </a:lnTo>
                  <a:lnTo>
                    <a:pt x="72" y="20"/>
                  </a:lnTo>
                  <a:lnTo>
                    <a:pt x="77" y="20"/>
                  </a:lnTo>
                  <a:lnTo>
                    <a:pt x="83" y="26"/>
                  </a:lnTo>
                  <a:lnTo>
                    <a:pt x="77" y="26"/>
                  </a:lnTo>
                  <a:lnTo>
                    <a:pt x="69" y="26"/>
                  </a:lnTo>
                  <a:lnTo>
                    <a:pt x="63" y="26"/>
                  </a:lnTo>
                  <a:lnTo>
                    <a:pt x="60" y="29"/>
                  </a:lnTo>
                  <a:lnTo>
                    <a:pt x="63" y="35"/>
                  </a:lnTo>
                  <a:lnTo>
                    <a:pt x="69" y="40"/>
                  </a:lnTo>
                  <a:lnTo>
                    <a:pt x="60" y="43"/>
                  </a:lnTo>
                  <a:lnTo>
                    <a:pt x="57" y="43"/>
                  </a:lnTo>
                  <a:lnTo>
                    <a:pt x="60" y="40"/>
                  </a:lnTo>
                  <a:lnTo>
                    <a:pt x="60" y="37"/>
                  </a:lnTo>
                  <a:lnTo>
                    <a:pt x="54" y="32"/>
                  </a:lnTo>
                  <a:lnTo>
                    <a:pt x="57" y="23"/>
                  </a:lnTo>
                  <a:lnTo>
                    <a:pt x="63" y="20"/>
                  </a:lnTo>
                  <a:lnTo>
                    <a:pt x="60" y="17"/>
                  </a:lnTo>
                  <a:lnTo>
                    <a:pt x="72" y="12"/>
                  </a:lnTo>
                  <a:lnTo>
                    <a:pt x="80" y="9"/>
                  </a:lnTo>
                  <a:lnTo>
                    <a:pt x="89" y="6"/>
                  </a:lnTo>
                  <a:lnTo>
                    <a:pt x="97" y="3"/>
                  </a:lnTo>
                  <a:lnTo>
                    <a:pt x="97" y="0"/>
                  </a:lnTo>
                  <a:lnTo>
                    <a:pt x="83" y="0"/>
                  </a:lnTo>
                  <a:lnTo>
                    <a:pt x="74" y="0"/>
                  </a:lnTo>
                  <a:lnTo>
                    <a:pt x="60" y="3"/>
                  </a:lnTo>
                  <a:lnTo>
                    <a:pt x="37" y="12"/>
                  </a:lnTo>
                  <a:lnTo>
                    <a:pt x="31" y="14"/>
                  </a:lnTo>
                  <a:lnTo>
                    <a:pt x="29" y="17"/>
                  </a:lnTo>
                  <a:lnTo>
                    <a:pt x="26" y="17"/>
                  </a:lnTo>
                  <a:lnTo>
                    <a:pt x="23" y="20"/>
                  </a:lnTo>
                  <a:lnTo>
                    <a:pt x="17" y="23"/>
                  </a:lnTo>
                  <a:lnTo>
                    <a:pt x="8" y="32"/>
                  </a:lnTo>
                  <a:lnTo>
                    <a:pt x="3" y="37"/>
                  </a:lnTo>
                  <a:lnTo>
                    <a:pt x="3" y="40"/>
                  </a:lnTo>
                  <a:lnTo>
                    <a:pt x="14" y="43"/>
                  </a:lnTo>
                  <a:lnTo>
                    <a:pt x="26" y="43"/>
                  </a:lnTo>
                  <a:lnTo>
                    <a:pt x="29" y="46"/>
                  </a:lnTo>
                  <a:lnTo>
                    <a:pt x="3" y="46"/>
                  </a:lnTo>
                  <a:lnTo>
                    <a:pt x="0" y="46"/>
                  </a:lnTo>
                  <a:lnTo>
                    <a:pt x="0" y="49"/>
                  </a:lnTo>
                  <a:lnTo>
                    <a:pt x="0" y="52"/>
                  </a:lnTo>
                  <a:lnTo>
                    <a:pt x="6" y="55"/>
                  </a:lnTo>
                  <a:lnTo>
                    <a:pt x="8" y="55"/>
                  </a:lnTo>
                  <a:lnTo>
                    <a:pt x="14" y="57"/>
                  </a:lnTo>
                  <a:lnTo>
                    <a:pt x="20" y="55"/>
                  </a:lnTo>
                  <a:lnTo>
                    <a:pt x="26" y="55"/>
                  </a:lnTo>
                  <a:lnTo>
                    <a:pt x="29" y="60"/>
                  </a:lnTo>
                  <a:lnTo>
                    <a:pt x="31" y="60"/>
                  </a:lnTo>
                  <a:lnTo>
                    <a:pt x="37" y="63"/>
                  </a:lnTo>
                  <a:lnTo>
                    <a:pt x="46" y="60"/>
                  </a:lnTo>
                  <a:lnTo>
                    <a:pt x="57" y="63"/>
                  </a:lnTo>
                  <a:lnTo>
                    <a:pt x="63" y="60"/>
                  </a:lnTo>
                  <a:lnTo>
                    <a:pt x="69" y="63"/>
                  </a:lnTo>
                  <a:lnTo>
                    <a:pt x="74" y="66"/>
                  </a:lnTo>
                  <a:lnTo>
                    <a:pt x="83" y="63"/>
                  </a:lnTo>
                  <a:lnTo>
                    <a:pt x="92" y="69"/>
                  </a:lnTo>
                  <a:lnTo>
                    <a:pt x="100" y="69"/>
                  </a:lnTo>
                  <a:lnTo>
                    <a:pt x="103" y="69"/>
                  </a:lnTo>
                  <a:lnTo>
                    <a:pt x="106" y="66"/>
                  </a:lnTo>
                  <a:lnTo>
                    <a:pt x="97" y="66"/>
                  </a:lnTo>
                  <a:lnTo>
                    <a:pt x="89" y="63"/>
                  </a:lnTo>
                  <a:lnTo>
                    <a:pt x="95" y="60"/>
                  </a:lnTo>
                  <a:lnTo>
                    <a:pt x="106" y="63"/>
                  </a:lnTo>
                  <a:lnTo>
                    <a:pt x="109" y="63"/>
                  </a:lnTo>
                  <a:lnTo>
                    <a:pt x="118" y="63"/>
                  </a:lnTo>
                  <a:lnTo>
                    <a:pt x="118" y="60"/>
                  </a:lnTo>
                  <a:lnTo>
                    <a:pt x="118" y="57"/>
                  </a:lnTo>
                  <a:lnTo>
                    <a:pt x="118" y="52"/>
                  </a:lnTo>
                  <a:lnTo>
                    <a:pt x="123" y="49"/>
                  </a:lnTo>
                  <a:lnTo>
                    <a:pt x="123" y="55"/>
                  </a:lnTo>
                  <a:lnTo>
                    <a:pt x="129" y="57"/>
                  </a:lnTo>
                  <a:lnTo>
                    <a:pt x="132" y="57"/>
                  </a:lnTo>
                  <a:lnTo>
                    <a:pt x="135" y="57"/>
                  </a:lnTo>
                  <a:lnTo>
                    <a:pt x="129" y="63"/>
                  </a:lnTo>
                  <a:lnTo>
                    <a:pt x="135" y="66"/>
                  </a:lnTo>
                  <a:lnTo>
                    <a:pt x="135" y="63"/>
                  </a:lnTo>
                  <a:lnTo>
                    <a:pt x="138" y="63"/>
                  </a:lnTo>
                  <a:lnTo>
                    <a:pt x="135" y="69"/>
                  </a:lnTo>
                  <a:lnTo>
                    <a:pt x="138" y="66"/>
                  </a:lnTo>
                  <a:lnTo>
                    <a:pt x="140" y="69"/>
                  </a:lnTo>
                  <a:lnTo>
                    <a:pt x="143" y="72"/>
                  </a:lnTo>
                  <a:lnTo>
                    <a:pt x="146" y="75"/>
                  </a:lnTo>
                  <a:lnTo>
                    <a:pt x="140" y="78"/>
                  </a:lnTo>
                  <a:lnTo>
                    <a:pt x="135" y="78"/>
                  </a:lnTo>
                  <a:lnTo>
                    <a:pt x="129" y="80"/>
                  </a:lnTo>
                  <a:lnTo>
                    <a:pt x="129" y="83"/>
                  </a:lnTo>
                  <a:lnTo>
                    <a:pt x="140" y="80"/>
                  </a:lnTo>
                  <a:lnTo>
                    <a:pt x="146" y="80"/>
                  </a:lnTo>
                  <a:lnTo>
                    <a:pt x="152" y="80"/>
                  </a:lnTo>
                  <a:lnTo>
                    <a:pt x="152" y="83"/>
                  </a:lnTo>
                  <a:lnTo>
                    <a:pt x="149" y="83"/>
                  </a:lnTo>
                  <a:lnTo>
                    <a:pt x="143" y="86"/>
                  </a:lnTo>
                  <a:lnTo>
                    <a:pt x="140" y="86"/>
                  </a:lnTo>
                  <a:lnTo>
                    <a:pt x="143" y="89"/>
                  </a:lnTo>
                  <a:lnTo>
                    <a:pt x="146" y="89"/>
                  </a:lnTo>
                  <a:lnTo>
                    <a:pt x="152" y="86"/>
                  </a:lnTo>
                  <a:lnTo>
                    <a:pt x="155" y="86"/>
                  </a:lnTo>
                  <a:lnTo>
                    <a:pt x="155" y="92"/>
                  </a:lnTo>
                  <a:lnTo>
                    <a:pt x="158" y="89"/>
                  </a:lnTo>
                  <a:lnTo>
                    <a:pt x="158" y="86"/>
                  </a:lnTo>
                  <a:lnTo>
                    <a:pt x="161" y="89"/>
                  </a:lnTo>
                  <a:lnTo>
                    <a:pt x="163" y="92"/>
                  </a:lnTo>
                  <a:lnTo>
                    <a:pt x="166" y="92"/>
                  </a:lnTo>
                  <a:lnTo>
                    <a:pt x="166" y="95"/>
                  </a:lnTo>
                  <a:lnTo>
                    <a:pt x="166" y="98"/>
                  </a:lnTo>
                  <a:lnTo>
                    <a:pt x="169" y="106"/>
                  </a:lnTo>
                  <a:lnTo>
                    <a:pt x="166" y="109"/>
                  </a:lnTo>
                  <a:lnTo>
                    <a:pt x="161" y="109"/>
                  </a:lnTo>
                  <a:lnTo>
                    <a:pt x="155" y="112"/>
                  </a:lnTo>
                  <a:lnTo>
                    <a:pt x="152" y="115"/>
                  </a:lnTo>
                  <a:lnTo>
                    <a:pt x="152" y="118"/>
                  </a:lnTo>
                  <a:lnTo>
                    <a:pt x="149" y="118"/>
                  </a:lnTo>
                  <a:lnTo>
                    <a:pt x="143" y="121"/>
                  </a:lnTo>
                  <a:lnTo>
                    <a:pt x="135" y="124"/>
                  </a:lnTo>
                  <a:lnTo>
                    <a:pt x="129" y="124"/>
                  </a:lnTo>
                  <a:lnTo>
                    <a:pt x="126" y="129"/>
                  </a:lnTo>
                  <a:lnTo>
                    <a:pt x="126" y="132"/>
                  </a:lnTo>
                  <a:lnTo>
                    <a:pt x="129" y="132"/>
                  </a:lnTo>
                  <a:lnTo>
                    <a:pt x="132" y="135"/>
                  </a:lnTo>
                  <a:lnTo>
                    <a:pt x="129" y="135"/>
                  </a:lnTo>
                  <a:lnTo>
                    <a:pt x="123" y="138"/>
                  </a:lnTo>
                  <a:lnTo>
                    <a:pt x="112" y="138"/>
                  </a:lnTo>
                  <a:lnTo>
                    <a:pt x="100" y="141"/>
                  </a:lnTo>
                  <a:lnTo>
                    <a:pt x="95" y="138"/>
                  </a:lnTo>
                  <a:lnTo>
                    <a:pt x="92" y="138"/>
                  </a:lnTo>
                  <a:lnTo>
                    <a:pt x="86" y="138"/>
                  </a:lnTo>
                  <a:lnTo>
                    <a:pt x="83" y="138"/>
                  </a:lnTo>
                  <a:lnTo>
                    <a:pt x="77" y="138"/>
                  </a:lnTo>
                  <a:lnTo>
                    <a:pt x="72" y="144"/>
                  </a:lnTo>
                  <a:lnTo>
                    <a:pt x="63" y="146"/>
                  </a:lnTo>
                  <a:lnTo>
                    <a:pt x="60" y="152"/>
                  </a:lnTo>
                  <a:lnTo>
                    <a:pt x="60" y="155"/>
                  </a:lnTo>
                  <a:lnTo>
                    <a:pt x="66" y="158"/>
                  </a:lnTo>
                  <a:lnTo>
                    <a:pt x="69" y="158"/>
                  </a:lnTo>
                  <a:lnTo>
                    <a:pt x="72" y="158"/>
                  </a:lnTo>
                  <a:lnTo>
                    <a:pt x="74" y="158"/>
                  </a:lnTo>
                  <a:lnTo>
                    <a:pt x="77" y="158"/>
                  </a:lnTo>
                  <a:lnTo>
                    <a:pt x="80" y="158"/>
                  </a:lnTo>
                  <a:lnTo>
                    <a:pt x="83" y="158"/>
                  </a:lnTo>
                  <a:lnTo>
                    <a:pt x="86" y="155"/>
                  </a:lnTo>
                  <a:lnTo>
                    <a:pt x="89" y="152"/>
                  </a:lnTo>
                  <a:lnTo>
                    <a:pt x="100" y="155"/>
                  </a:lnTo>
                  <a:lnTo>
                    <a:pt x="106" y="155"/>
                  </a:lnTo>
                  <a:lnTo>
                    <a:pt x="109" y="152"/>
                  </a:lnTo>
                  <a:lnTo>
                    <a:pt x="112" y="152"/>
                  </a:lnTo>
                  <a:lnTo>
                    <a:pt x="109" y="158"/>
                  </a:lnTo>
                  <a:lnTo>
                    <a:pt x="115" y="155"/>
                  </a:lnTo>
                  <a:lnTo>
                    <a:pt x="120" y="155"/>
                  </a:lnTo>
                  <a:lnTo>
                    <a:pt x="120" y="161"/>
                  </a:lnTo>
                  <a:lnTo>
                    <a:pt x="123" y="164"/>
                  </a:lnTo>
                  <a:lnTo>
                    <a:pt x="120" y="169"/>
                  </a:lnTo>
                  <a:lnTo>
                    <a:pt x="129" y="169"/>
                  </a:lnTo>
                  <a:lnTo>
                    <a:pt x="132" y="167"/>
                  </a:lnTo>
                  <a:lnTo>
                    <a:pt x="135" y="167"/>
                  </a:lnTo>
                  <a:lnTo>
                    <a:pt x="138" y="169"/>
                  </a:lnTo>
                  <a:lnTo>
                    <a:pt x="135" y="169"/>
                  </a:lnTo>
                  <a:lnTo>
                    <a:pt x="132" y="172"/>
                  </a:lnTo>
                  <a:lnTo>
                    <a:pt x="126" y="172"/>
                  </a:lnTo>
                  <a:lnTo>
                    <a:pt x="132" y="178"/>
                  </a:lnTo>
                  <a:lnTo>
                    <a:pt x="135" y="178"/>
                  </a:lnTo>
                  <a:lnTo>
                    <a:pt x="138" y="181"/>
                  </a:lnTo>
                  <a:lnTo>
                    <a:pt x="135" y="181"/>
                  </a:lnTo>
                  <a:lnTo>
                    <a:pt x="132" y="184"/>
                  </a:lnTo>
                  <a:lnTo>
                    <a:pt x="138" y="190"/>
                  </a:lnTo>
                  <a:lnTo>
                    <a:pt x="140" y="184"/>
                  </a:lnTo>
                  <a:lnTo>
                    <a:pt x="146" y="184"/>
                  </a:lnTo>
                  <a:lnTo>
                    <a:pt x="149" y="184"/>
                  </a:lnTo>
                  <a:lnTo>
                    <a:pt x="152" y="184"/>
                  </a:lnTo>
                  <a:lnTo>
                    <a:pt x="149" y="187"/>
                  </a:lnTo>
                  <a:lnTo>
                    <a:pt x="149" y="190"/>
                  </a:lnTo>
                  <a:lnTo>
                    <a:pt x="152" y="190"/>
                  </a:lnTo>
                  <a:lnTo>
                    <a:pt x="169" y="195"/>
                  </a:lnTo>
                  <a:lnTo>
                    <a:pt x="181" y="198"/>
                  </a:lnTo>
                  <a:lnTo>
                    <a:pt x="195" y="201"/>
                  </a:lnTo>
                  <a:lnTo>
                    <a:pt x="192" y="201"/>
                  </a:lnTo>
                  <a:lnTo>
                    <a:pt x="192" y="198"/>
                  </a:lnTo>
                  <a:lnTo>
                    <a:pt x="195" y="195"/>
                  </a:lnTo>
                  <a:lnTo>
                    <a:pt x="192" y="192"/>
                  </a:lnTo>
                  <a:lnTo>
                    <a:pt x="189" y="190"/>
                  </a:lnTo>
                  <a:lnTo>
                    <a:pt x="189" y="187"/>
                  </a:lnTo>
                  <a:lnTo>
                    <a:pt x="189" y="184"/>
                  </a:lnTo>
                  <a:lnTo>
                    <a:pt x="186" y="184"/>
                  </a:lnTo>
                  <a:lnTo>
                    <a:pt x="184" y="181"/>
                  </a:lnTo>
                  <a:lnTo>
                    <a:pt x="178" y="178"/>
                  </a:lnTo>
                  <a:lnTo>
                    <a:pt x="172" y="169"/>
                  </a:lnTo>
                  <a:lnTo>
                    <a:pt x="172" y="167"/>
                  </a:lnTo>
                  <a:lnTo>
                    <a:pt x="175" y="167"/>
                  </a:lnTo>
                  <a:lnTo>
                    <a:pt x="181" y="172"/>
                  </a:lnTo>
                  <a:lnTo>
                    <a:pt x="184" y="175"/>
                  </a:lnTo>
                  <a:lnTo>
                    <a:pt x="184" y="172"/>
                  </a:lnTo>
                  <a:lnTo>
                    <a:pt x="184" y="169"/>
                  </a:lnTo>
                  <a:lnTo>
                    <a:pt x="186" y="172"/>
                  </a:lnTo>
                  <a:lnTo>
                    <a:pt x="189" y="175"/>
                  </a:lnTo>
                  <a:lnTo>
                    <a:pt x="192" y="175"/>
                  </a:lnTo>
                  <a:lnTo>
                    <a:pt x="195" y="178"/>
                  </a:lnTo>
                  <a:lnTo>
                    <a:pt x="198" y="178"/>
                  </a:lnTo>
                  <a:lnTo>
                    <a:pt x="198" y="181"/>
                  </a:lnTo>
                  <a:lnTo>
                    <a:pt x="201" y="181"/>
                  </a:lnTo>
                  <a:lnTo>
                    <a:pt x="204" y="181"/>
                  </a:lnTo>
                  <a:lnTo>
                    <a:pt x="209" y="187"/>
                  </a:lnTo>
                  <a:lnTo>
                    <a:pt x="212" y="190"/>
                  </a:lnTo>
                  <a:lnTo>
                    <a:pt x="218" y="190"/>
                  </a:lnTo>
                  <a:lnTo>
                    <a:pt x="215" y="187"/>
                  </a:lnTo>
                  <a:lnTo>
                    <a:pt x="218" y="184"/>
                  </a:lnTo>
                  <a:lnTo>
                    <a:pt x="221" y="181"/>
                  </a:lnTo>
                  <a:lnTo>
                    <a:pt x="218" y="172"/>
                  </a:lnTo>
                  <a:lnTo>
                    <a:pt x="218" y="169"/>
                  </a:lnTo>
                  <a:lnTo>
                    <a:pt x="221" y="169"/>
                  </a:lnTo>
                  <a:lnTo>
                    <a:pt x="224" y="172"/>
                  </a:lnTo>
                  <a:lnTo>
                    <a:pt x="224" y="178"/>
                  </a:lnTo>
                  <a:lnTo>
                    <a:pt x="227" y="178"/>
                  </a:lnTo>
                  <a:lnTo>
                    <a:pt x="227" y="175"/>
                  </a:lnTo>
                  <a:lnTo>
                    <a:pt x="227" y="169"/>
                  </a:lnTo>
                  <a:lnTo>
                    <a:pt x="227" y="164"/>
                  </a:lnTo>
                  <a:lnTo>
                    <a:pt x="227" y="158"/>
                  </a:lnTo>
                  <a:lnTo>
                    <a:pt x="224" y="155"/>
                  </a:lnTo>
                  <a:lnTo>
                    <a:pt x="221" y="149"/>
                  </a:lnTo>
                  <a:lnTo>
                    <a:pt x="215" y="144"/>
                  </a:lnTo>
                  <a:lnTo>
                    <a:pt x="215" y="141"/>
                  </a:lnTo>
                  <a:lnTo>
                    <a:pt x="215" y="135"/>
                  </a:lnTo>
                  <a:lnTo>
                    <a:pt x="209" y="132"/>
                  </a:lnTo>
                  <a:lnTo>
                    <a:pt x="215" y="129"/>
                  </a:lnTo>
                  <a:lnTo>
                    <a:pt x="218" y="126"/>
                  </a:lnTo>
                  <a:lnTo>
                    <a:pt x="218" y="121"/>
                  </a:lnTo>
                  <a:lnTo>
                    <a:pt x="221" y="124"/>
                  </a:lnTo>
                  <a:lnTo>
                    <a:pt x="227" y="118"/>
                  </a:lnTo>
                  <a:lnTo>
                    <a:pt x="229" y="121"/>
                  </a:lnTo>
                  <a:lnTo>
                    <a:pt x="232" y="124"/>
                  </a:lnTo>
                  <a:lnTo>
                    <a:pt x="235" y="124"/>
                  </a:lnTo>
                  <a:lnTo>
                    <a:pt x="235" y="126"/>
                  </a:lnTo>
                  <a:lnTo>
                    <a:pt x="235" y="129"/>
                  </a:lnTo>
                  <a:lnTo>
                    <a:pt x="235" y="132"/>
                  </a:lnTo>
                  <a:lnTo>
                    <a:pt x="238" y="132"/>
                  </a:lnTo>
                  <a:lnTo>
                    <a:pt x="247" y="126"/>
                  </a:lnTo>
                  <a:lnTo>
                    <a:pt x="252" y="124"/>
                  </a:lnTo>
                  <a:lnTo>
                    <a:pt x="258" y="124"/>
                  </a:lnTo>
                  <a:lnTo>
                    <a:pt x="255" y="126"/>
                  </a:lnTo>
                  <a:lnTo>
                    <a:pt x="244" y="132"/>
                  </a:lnTo>
                  <a:lnTo>
                    <a:pt x="238" y="135"/>
                  </a:lnTo>
                  <a:lnTo>
                    <a:pt x="241" y="144"/>
                  </a:lnTo>
                  <a:lnTo>
                    <a:pt x="244" y="144"/>
                  </a:lnTo>
                  <a:lnTo>
                    <a:pt x="247" y="141"/>
                  </a:lnTo>
                  <a:lnTo>
                    <a:pt x="250" y="144"/>
                  </a:lnTo>
                  <a:lnTo>
                    <a:pt x="255" y="146"/>
                  </a:lnTo>
                  <a:lnTo>
                    <a:pt x="258" y="144"/>
                  </a:lnTo>
                  <a:lnTo>
                    <a:pt x="261" y="141"/>
                  </a:lnTo>
                  <a:lnTo>
                    <a:pt x="264" y="135"/>
                  </a:lnTo>
                  <a:lnTo>
                    <a:pt x="267" y="132"/>
                  </a:lnTo>
                  <a:lnTo>
                    <a:pt x="270" y="135"/>
                  </a:lnTo>
                  <a:lnTo>
                    <a:pt x="273" y="135"/>
                  </a:lnTo>
                  <a:lnTo>
                    <a:pt x="281" y="132"/>
                  </a:lnTo>
                  <a:lnTo>
                    <a:pt x="287" y="124"/>
                  </a:lnTo>
                  <a:lnTo>
                    <a:pt x="290" y="124"/>
                  </a:lnTo>
                  <a:lnTo>
                    <a:pt x="295" y="124"/>
                  </a:lnTo>
                  <a:lnTo>
                    <a:pt x="298" y="121"/>
                  </a:lnTo>
                  <a:lnTo>
                    <a:pt x="290" y="118"/>
                  </a:lnTo>
                  <a:lnTo>
                    <a:pt x="298" y="118"/>
                  </a:lnTo>
                  <a:lnTo>
                    <a:pt x="301" y="115"/>
                  </a:lnTo>
                  <a:close/>
                  <a:moveTo>
                    <a:pt x="46" y="43"/>
                  </a:moveTo>
                  <a:lnTo>
                    <a:pt x="46" y="43"/>
                  </a:lnTo>
                  <a:lnTo>
                    <a:pt x="49" y="43"/>
                  </a:lnTo>
                  <a:lnTo>
                    <a:pt x="46" y="43"/>
                  </a:lnTo>
                  <a:close/>
                  <a:moveTo>
                    <a:pt x="192" y="126"/>
                  </a:moveTo>
                  <a:lnTo>
                    <a:pt x="181" y="126"/>
                  </a:lnTo>
                  <a:lnTo>
                    <a:pt x="166" y="129"/>
                  </a:lnTo>
                  <a:lnTo>
                    <a:pt x="172" y="121"/>
                  </a:lnTo>
                  <a:lnTo>
                    <a:pt x="169" y="118"/>
                  </a:lnTo>
                  <a:lnTo>
                    <a:pt x="158" y="118"/>
                  </a:lnTo>
                  <a:lnTo>
                    <a:pt x="172" y="118"/>
                  </a:lnTo>
                  <a:lnTo>
                    <a:pt x="175" y="118"/>
                  </a:lnTo>
                  <a:lnTo>
                    <a:pt x="178" y="115"/>
                  </a:lnTo>
                  <a:lnTo>
                    <a:pt x="181" y="112"/>
                  </a:lnTo>
                  <a:lnTo>
                    <a:pt x="195" y="118"/>
                  </a:lnTo>
                  <a:lnTo>
                    <a:pt x="192" y="12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37" name="Freeform 640"/>
            <p:cNvSpPr>
              <a:spLocks/>
            </p:cNvSpPr>
            <p:nvPr/>
          </p:nvSpPr>
          <p:spPr bwMode="auto">
            <a:xfrm>
              <a:off x="2957513" y="2546350"/>
              <a:ext cx="4762" cy="9525"/>
            </a:xfrm>
            <a:custGeom>
              <a:avLst/>
              <a:gdLst>
                <a:gd name="T0" fmla="*/ 0 w 3"/>
                <a:gd name="T1" fmla="*/ 2147483647 h 6"/>
                <a:gd name="T2" fmla="*/ 2147483647 w 3"/>
                <a:gd name="T3" fmla="*/ 2147483647 h 6"/>
                <a:gd name="T4" fmla="*/ 2147483647 w 3"/>
                <a:gd name="T5" fmla="*/ 0 h 6"/>
                <a:gd name="T6" fmla="*/ 0 w 3"/>
                <a:gd name="T7" fmla="*/ 2147483647 h 6"/>
                <a:gd name="T8" fmla="*/ 0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0" y="6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38" name="Freeform 641"/>
            <p:cNvSpPr>
              <a:spLocks/>
            </p:cNvSpPr>
            <p:nvPr/>
          </p:nvSpPr>
          <p:spPr bwMode="auto">
            <a:xfrm>
              <a:off x="2882900" y="2122488"/>
              <a:ext cx="19050" cy="19050"/>
            </a:xfrm>
            <a:custGeom>
              <a:avLst/>
              <a:gdLst>
                <a:gd name="T0" fmla="*/ 2147483647 w 12"/>
                <a:gd name="T1" fmla="*/ 2147483647 h 12"/>
                <a:gd name="T2" fmla="*/ 0 w 12"/>
                <a:gd name="T3" fmla="*/ 2147483647 h 12"/>
                <a:gd name="T4" fmla="*/ 2147483647 w 12"/>
                <a:gd name="T5" fmla="*/ 2147483647 h 12"/>
                <a:gd name="T6" fmla="*/ 2147483647 w 12"/>
                <a:gd name="T7" fmla="*/ 2147483647 h 12"/>
                <a:gd name="T8" fmla="*/ 2147483647 w 12"/>
                <a:gd name="T9" fmla="*/ 2147483647 h 12"/>
                <a:gd name="T10" fmla="*/ 2147483647 w 12"/>
                <a:gd name="T11" fmla="*/ 2147483647 h 12"/>
                <a:gd name="T12" fmla="*/ 2147483647 w 12"/>
                <a:gd name="T13" fmla="*/ 0 h 12"/>
                <a:gd name="T14" fmla="*/ 2147483647 w 12"/>
                <a:gd name="T15" fmla="*/ 2147483647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"/>
                <a:gd name="T25" fmla="*/ 0 h 12"/>
                <a:gd name="T26" fmla="*/ 12 w 12"/>
                <a:gd name="T27" fmla="*/ 12 h 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" h="12">
                  <a:moveTo>
                    <a:pt x="6" y="6"/>
                  </a:moveTo>
                  <a:lnTo>
                    <a:pt x="0" y="9"/>
                  </a:lnTo>
                  <a:lnTo>
                    <a:pt x="3" y="12"/>
                  </a:lnTo>
                  <a:lnTo>
                    <a:pt x="9" y="12"/>
                  </a:lnTo>
                  <a:lnTo>
                    <a:pt x="12" y="9"/>
                  </a:lnTo>
                  <a:lnTo>
                    <a:pt x="12" y="3"/>
                  </a:lnTo>
                  <a:lnTo>
                    <a:pt x="9" y="0"/>
                  </a:ln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39" name="Freeform 642"/>
            <p:cNvSpPr>
              <a:spLocks/>
            </p:cNvSpPr>
            <p:nvPr/>
          </p:nvSpPr>
          <p:spPr bwMode="auto">
            <a:xfrm>
              <a:off x="2928938" y="2039938"/>
              <a:ext cx="9525" cy="19050"/>
            </a:xfrm>
            <a:custGeom>
              <a:avLst/>
              <a:gdLst>
                <a:gd name="T0" fmla="*/ 2147483647 w 5"/>
                <a:gd name="T1" fmla="*/ 2147483647 h 12"/>
                <a:gd name="T2" fmla="*/ 2147483647 w 5"/>
                <a:gd name="T3" fmla="*/ 2147483647 h 12"/>
                <a:gd name="T4" fmla="*/ 2147483647 w 5"/>
                <a:gd name="T5" fmla="*/ 2147483647 h 12"/>
                <a:gd name="T6" fmla="*/ 0 w 5"/>
                <a:gd name="T7" fmla="*/ 0 h 12"/>
                <a:gd name="T8" fmla="*/ 2147483647 w 5"/>
                <a:gd name="T9" fmla="*/ 2147483647 h 12"/>
                <a:gd name="T10" fmla="*/ 2147483647 w 5"/>
                <a:gd name="T11" fmla="*/ 2147483647 h 12"/>
                <a:gd name="T12" fmla="*/ 2147483647 w 5"/>
                <a:gd name="T13" fmla="*/ 2147483647 h 12"/>
                <a:gd name="T14" fmla="*/ 2147483647 w 5"/>
                <a:gd name="T15" fmla="*/ 2147483647 h 12"/>
                <a:gd name="T16" fmla="*/ 2147483647 w 5"/>
                <a:gd name="T17" fmla="*/ 2147483647 h 1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"/>
                <a:gd name="T28" fmla="*/ 0 h 12"/>
                <a:gd name="T29" fmla="*/ 5 w 5"/>
                <a:gd name="T30" fmla="*/ 12 h 1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" h="12">
                  <a:moveTo>
                    <a:pt x="5" y="6"/>
                  </a:moveTo>
                  <a:lnTo>
                    <a:pt x="5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3" y="6"/>
                  </a:lnTo>
                  <a:lnTo>
                    <a:pt x="3" y="9"/>
                  </a:lnTo>
                  <a:lnTo>
                    <a:pt x="3" y="12"/>
                  </a:lnTo>
                  <a:lnTo>
                    <a:pt x="5" y="9"/>
                  </a:lnTo>
                  <a:lnTo>
                    <a:pt x="5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40" name="Freeform 643"/>
            <p:cNvSpPr>
              <a:spLocks/>
            </p:cNvSpPr>
            <p:nvPr/>
          </p:nvSpPr>
          <p:spPr bwMode="auto">
            <a:xfrm>
              <a:off x="2957513" y="2546350"/>
              <a:ext cx="4762" cy="1588"/>
            </a:xfrm>
            <a:custGeom>
              <a:avLst/>
              <a:gdLst>
                <a:gd name="T0" fmla="*/ 2147483647 w 3"/>
                <a:gd name="T1" fmla="*/ 0 h 1"/>
                <a:gd name="T2" fmla="*/ 0 w 3"/>
                <a:gd name="T3" fmla="*/ 0 h 1"/>
                <a:gd name="T4" fmla="*/ 2147483647 w 3"/>
                <a:gd name="T5" fmla="*/ 0 h 1"/>
                <a:gd name="T6" fmla="*/ 2147483647 w 3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1"/>
                <a:gd name="T14" fmla="*/ 3 w 3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1">
                  <a:moveTo>
                    <a:pt x="3" y="0"/>
                  </a:move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41" name="Freeform 644"/>
            <p:cNvSpPr>
              <a:spLocks/>
            </p:cNvSpPr>
            <p:nvPr/>
          </p:nvSpPr>
          <p:spPr bwMode="auto">
            <a:xfrm>
              <a:off x="2713038" y="1947863"/>
              <a:ext cx="9525" cy="4762"/>
            </a:xfrm>
            <a:custGeom>
              <a:avLst/>
              <a:gdLst>
                <a:gd name="T0" fmla="*/ 0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0 h 3"/>
                <a:gd name="T6" fmla="*/ 0 w 6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3"/>
                <a:gd name="T14" fmla="*/ 6 w 6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3">
                  <a:moveTo>
                    <a:pt x="0" y="3"/>
                  </a:moveTo>
                  <a:lnTo>
                    <a:pt x="3" y="3"/>
                  </a:lnTo>
                  <a:lnTo>
                    <a:pt x="6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42" name="Freeform 645"/>
            <p:cNvSpPr>
              <a:spLocks/>
            </p:cNvSpPr>
            <p:nvPr/>
          </p:nvSpPr>
          <p:spPr bwMode="auto">
            <a:xfrm>
              <a:off x="2725738" y="1938338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2147483647 w 6"/>
                <a:gd name="T5" fmla="*/ 0 h 6"/>
                <a:gd name="T6" fmla="*/ 0 w 6"/>
                <a:gd name="T7" fmla="*/ 2147483647 h 6"/>
                <a:gd name="T8" fmla="*/ 2147483647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3" y="6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43" name="Freeform 646"/>
            <p:cNvSpPr>
              <a:spLocks/>
            </p:cNvSpPr>
            <p:nvPr/>
          </p:nvSpPr>
          <p:spPr bwMode="auto">
            <a:xfrm>
              <a:off x="2800350" y="1952625"/>
              <a:ext cx="28575" cy="14288"/>
            </a:xfrm>
            <a:custGeom>
              <a:avLst/>
              <a:gdLst>
                <a:gd name="T0" fmla="*/ 2147483647 w 18"/>
                <a:gd name="T1" fmla="*/ 2147483647 h 9"/>
                <a:gd name="T2" fmla="*/ 2147483647 w 18"/>
                <a:gd name="T3" fmla="*/ 2147483647 h 9"/>
                <a:gd name="T4" fmla="*/ 2147483647 w 18"/>
                <a:gd name="T5" fmla="*/ 2147483647 h 9"/>
                <a:gd name="T6" fmla="*/ 2147483647 w 18"/>
                <a:gd name="T7" fmla="*/ 2147483647 h 9"/>
                <a:gd name="T8" fmla="*/ 2147483647 w 18"/>
                <a:gd name="T9" fmla="*/ 0 h 9"/>
                <a:gd name="T10" fmla="*/ 2147483647 w 18"/>
                <a:gd name="T11" fmla="*/ 0 h 9"/>
                <a:gd name="T12" fmla="*/ 0 w 18"/>
                <a:gd name="T13" fmla="*/ 2147483647 h 9"/>
                <a:gd name="T14" fmla="*/ 2147483647 w 18"/>
                <a:gd name="T15" fmla="*/ 2147483647 h 9"/>
                <a:gd name="T16" fmla="*/ 2147483647 w 18"/>
                <a:gd name="T17" fmla="*/ 2147483647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8"/>
                <a:gd name="T28" fmla="*/ 0 h 9"/>
                <a:gd name="T29" fmla="*/ 18 w 18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8" h="9">
                  <a:moveTo>
                    <a:pt x="12" y="9"/>
                  </a:moveTo>
                  <a:lnTo>
                    <a:pt x="18" y="6"/>
                  </a:lnTo>
                  <a:lnTo>
                    <a:pt x="18" y="3"/>
                  </a:lnTo>
                  <a:lnTo>
                    <a:pt x="15" y="3"/>
                  </a:lnTo>
                  <a:lnTo>
                    <a:pt x="9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9"/>
                  </a:lnTo>
                  <a:lnTo>
                    <a:pt x="12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44" name="Freeform 647"/>
            <p:cNvSpPr>
              <a:spLocks/>
            </p:cNvSpPr>
            <p:nvPr/>
          </p:nvSpPr>
          <p:spPr bwMode="auto">
            <a:xfrm>
              <a:off x="2800350" y="2160588"/>
              <a:ext cx="19050" cy="19050"/>
            </a:xfrm>
            <a:custGeom>
              <a:avLst/>
              <a:gdLst>
                <a:gd name="T0" fmla="*/ 0 w 12"/>
                <a:gd name="T1" fmla="*/ 2147483647 h 12"/>
                <a:gd name="T2" fmla="*/ 0 w 12"/>
                <a:gd name="T3" fmla="*/ 2147483647 h 12"/>
                <a:gd name="T4" fmla="*/ 2147483647 w 12"/>
                <a:gd name="T5" fmla="*/ 2147483647 h 12"/>
                <a:gd name="T6" fmla="*/ 2147483647 w 12"/>
                <a:gd name="T7" fmla="*/ 2147483647 h 12"/>
                <a:gd name="T8" fmla="*/ 2147483647 w 12"/>
                <a:gd name="T9" fmla="*/ 0 h 12"/>
                <a:gd name="T10" fmla="*/ 2147483647 w 12"/>
                <a:gd name="T11" fmla="*/ 2147483647 h 12"/>
                <a:gd name="T12" fmla="*/ 2147483647 w 12"/>
                <a:gd name="T13" fmla="*/ 2147483647 h 12"/>
                <a:gd name="T14" fmla="*/ 0 w 12"/>
                <a:gd name="T15" fmla="*/ 2147483647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"/>
                <a:gd name="T25" fmla="*/ 0 h 12"/>
                <a:gd name="T26" fmla="*/ 12 w 12"/>
                <a:gd name="T27" fmla="*/ 12 h 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" h="12">
                  <a:moveTo>
                    <a:pt x="0" y="6"/>
                  </a:moveTo>
                  <a:lnTo>
                    <a:pt x="0" y="12"/>
                  </a:lnTo>
                  <a:lnTo>
                    <a:pt x="9" y="6"/>
                  </a:lnTo>
                  <a:lnTo>
                    <a:pt x="12" y="3"/>
                  </a:lnTo>
                  <a:lnTo>
                    <a:pt x="9" y="0"/>
                  </a:lnTo>
                  <a:lnTo>
                    <a:pt x="9" y="3"/>
                  </a:lnTo>
                  <a:lnTo>
                    <a:pt x="3" y="3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45" name="Freeform 648"/>
            <p:cNvSpPr>
              <a:spLocks/>
            </p:cNvSpPr>
            <p:nvPr/>
          </p:nvSpPr>
          <p:spPr bwMode="auto">
            <a:xfrm>
              <a:off x="2771775" y="1920875"/>
              <a:ext cx="15875" cy="4763"/>
            </a:xfrm>
            <a:custGeom>
              <a:avLst/>
              <a:gdLst>
                <a:gd name="T0" fmla="*/ 2147483647 w 9"/>
                <a:gd name="T1" fmla="*/ 2147483647 h 3"/>
                <a:gd name="T2" fmla="*/ 2147483647 w 9"/>
                <a:gd name="T3" fmla="*/ 0 h 3"/>
                <a:gd name="T4" fmla="*/ 2147483647 w 9"/>
                <a:gd name="T5" fmla="*/ 0 h 3"/>
                <a:gd name="T6" fmla="*/ 0 w 9"/>
                <a:gd name="T7" fmla="*/ 2147483647 h 3"/>
                <a:gd name="T8" fmla="*/ 2147483647 w 9"/>
                <a:gd name="T9" fmla="*/ 2147483647 h 3"/>
                <a:gd name="T10" fmla="*/ 2147483647 w 9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3"/>
                <a:gd name="T20" fmla="*/ 9 w 9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3">
                  <a:moveTo>
                    <a:pt x="6" y="3"/>
                  </a:moveTo>
                  <a:lnTo>
                    <a:pt x="9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46" name="Freeform 649"/>
            <p:cNvSpPr>
              <a:spLocks/>
            </p:cNvSpPr>
            <p:nvPr/>
          </p:nvSpPr>
          <p:spPr bwMode="auto">
            <a:xfrm>
              <a:off x="2740025" y="1947863"/>
              <a:ext cx="60325" cy="31750"/>
            </a:xfrm>
            <a:custGeom>
              <a:avLst/>
              <a:gdLst>
                <a:gd name="T0" fmla="*/ 0 w 37"/>
                <a:gd name="T1" fmla="*/ 2147483647 h 20"/>
                <a:gd name="T2" fmla="*/ 0 w 37"/>
                <a:gd name="T3" fmla="*/ 2147483647 h 20"/>
                <a:gd name="T4" fmla="*/ 0 w 37"/>
                <a:gd name="T5" fmla="*/ 2147483647 h 20"/>
                <a:gd name="T6" fmla="*/ 0 w 37"/>
                <a:gd name="T7" fmla="*/ 2147483647 h 20"/>
                <a:gd name="T8" fmla="*/ 2147483647 w 37"/>
                <a:gd name="T9" fmla="*/ 2147483647 h 20"/>
                <a:gd name="T10" fmla="*/ 2147483647 w 37"/>
                <a:gd name="T11" fmla="*/ 2147483647 h 20"/>
                <a:gd name="T12" fmla="*/ 2147483647 w 37"/>
                <a:gd name="T13" fmla="*/ 2147483647 h 20"/>
                <a:gd name="T14" fmla="*/ 2147483647 w 37"/>
                <a:gd name="T15" fmla="*/ 2147483647 h 20"/>
                <a:gd name="T16" fmla="*/ 2147483647 w 37"/>
                <a:gd name="T17" fmla="*/ 2147483647 h 20"/>
                <a:gd name="T18" fmla="*/ 2147483647 w 37"/>
                <a:gd name="T19" fmla="*/ 2147483647 h 20"/>
                <a:gd name="T20" fmla="*/ 2147483647 w 37"/>
                <a:gd name="T21" fmla="*/ 2147483647 h 20"/>
                <a:gd name="T22" fmla="*/ 2147483647 w 37"/>
                <a:gd name="T23" fmla="*/ 2147483647 h 20"/>
                <a:gd name="T24" fmla="*/ 2147483647 w 37"/>
                <a:gd name="T25" fmla="*/ 2147483647 h 20"/>
                <a:gd name="T26" fmla="*/ 2147483647 w 37"/>
                <a:gd name="T27" fmla="*/ 2147483647 h 20"/>
                <a:gd name="T28" fmla="*/ 2147483647 w 37"/>
                <a:gd name="T29" fmla="*/ 0 h 20"/>
                <a:gd name="T30" fmla="*/ 2147483647 w 37"/>
                <a:gd name="T31" fmla="*/ 0 h 20"/>
                <a:gd name="T32" fmla="*/ 2147483647 w 37"/>
                <a:gd name="T33" fmla="*/ 0 h 20"/>
                <a:gd name="T34" fmla="*/ 2147483647 w 37"/>
                <a:gd name="T35" fmla="*/ 0 h 20"/>
                <a:gd name="T36" fmla="*/ 2147483647 w 37"/>
                <a:gd name="T37" fmla="*/ 0 h 20"/>
                <a:gd name="T38" fmla="*/ 2147483647 w 37"/>
                <a:gd name="T39" fmla="*/ 0 h 20"/>
                <a:gd name="T40" fmla="*/ 2147483647 w 37"/>
                <a:gd name="T41" fmla="*/ 0 h 20"/>
                <a:gd name="T42" fmla="*/ 2147483647 w 37"/>
                <a:gd name="T43" fmla="*/ 2147483647 h 20"/>
                <a:gd name="T44" fmla="*/ 2147483647 w 37"/>
                <a:gd name="T45" fmla="*/ 2147483647 h 20"/>
                <a:gd name="T46" fmla="*/ 2147483647 w 37"/>
                <a:gd name="T47" fmla="*/ 2147483647 h 20"/>
                <a:gd name="T48" fmla="*/ 2147483647 w 37"/>
                <a:gd name="T49" fmla="*/ 2147483647 h 20"/>
                <a:gd name="T50" fmla="*/ 0 w 37"/>
                <a:gd name="T51" fmla="*/ 2147483647 h 20"/>
                <a:gd name="T52" fmla="*/ 0 w 37"/>
                <a:gd name="T53" fmla="*/ 2147483647 h 2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37"/>
                <a:gd name="T82" fmla="*/ 0 h 20"/>
                <a:gd name="T83" fmla="*/ 37 w 37"/>
                <a:gd name="T84" fmla="*/ 20 h 20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37" h="20">
                  <a:moveTo>
                    <a:pt x="0" y="12"/>
                  </a:moveTo>
                  <a:lnTo>
                    <a:pt x="0" y="12"/>
                  </a:lnTo>
                  <a:lnTo>
                    <a:pt x="0" y="17"/>
                  </a:lnTo>
                  <a:lnTo>
                    <a:pt x="9" y="20"/>
                  </a:lnTo>
                  <a:lnTo>
                    <a:pt x="14" y="20"/>
                  </a:lnTo>
                  <a:lnTo>
                    <a:pt x="20" y="17"/>
                  </a:lnTo>
                  <a:lnTo>
                    <a:pt x="29" y="14"/>
                  </a:lnTo>
                  <a:lnTo>
                    <a:pt x="32" y="6"/>
                  </a:lnTo>
                  <a:lnTo>
                    <a:pt x="37" y="3"/>
                  </a:lnTo>
                  <a:lnTo>
                    <a:pt x="32" y="0"/>
                  </a:lnTo>
                  <a:lnTo>
                    <a:pt x="2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14" y="3"/>
                  </a:lnTo>
                  <a:lnTo>
                    <a:pt x="9" y="6"/>
                  </a:lnTo>
                  <a:lnTo>
                    <a:pt x="6" y="9"/>
                  </a:ln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47" name="Freeform 650"/>
            <p:cNvSpPr>
              <a:spLocks/>
            </p:cNvSpPr>
            <p:nvPr/>
          </p:nvSpPr>
          <p:spPr bwMode="auto">
            <a:xfrm>
              <a:off x="2662238" y="2073275"/>
              <a:ext cx="14287" cy="12700"/>
            </a:xfrm>
            <a:custGeom>
              <a:avLst/>
              <a:gdLst>
                <a:gd name="T0" fmla="*/ 2147483647 w 9"/>
                <a:gd name="T1" fmla="*/ 2147483647 h 8"/>
                <a:gd name="T2" fmla="*/ 2147483647 w 9"/>
                <a:gd name="T3" fmla="*/ 2147483647 h 8"/>
                <a:gd name="T4" fmla="*/ 2147483647 w 9"/>
                <a:gd name="T5" fmla="*/ 2147483647 h 8"/>
                <a:gd name="T6" fmla="*/ 2147483647 w 9"/>
                <a:gd name="T7" fmla="*/ 0 h 8"/>
                <a:gd name="T8" fmla="*/ 0 w 9"/>
                <a:gd name="T9" fmla="*/ 2147483647 h 8"/>
                <a:gd name="T10" fmla="*/ 0 w 9"/>
                <a:gd name="T11" fmla="*/ 2147483647 h 8"/>
                <a:gd name="T12" fmla="*/ 2147483647 w 9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8"/>
                <a:gd name="T23" fmla="*/ 9 w 9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8">
                  <a:moveTo>
                    <a:pt x="6" y="8"/>
                  </a:moveTo>
                  <a:lnTo>
                    <a:pt x="9" y="8"/>
                  </a:lnTo>
                  <a:lnTo>
                    <a:pt x="9" y="5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6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48" name="Freeform 651"/>
            <p:cNvSpPr>
              <a:spLocks/>
            </p:cNvSpPr>
            <p:nvPr/>
          </p:nvSpPr>
          <p:spPr bwMode="auto">
            <a:xfrm>
              <a:off x="2725738" y="1911350"/>
              <a:ext cx="41275" cy="22225"/>
            </a:xfrm>
            <a:custGeom>
              <a:avLst/>
              <a:gdLst>
                <a:gd name="T0" fmla="*/ 2147483647 w 26"/>
                <a:gd name="T1" fmla="*/ 2147483647 h 14"/>
                <a:gd name="T2" fmla="*/ 2147483647 w 26"/>
                <a:gd name="T3" fmla="*/ 2147483647 h 14"/>
                <a:gd name="T4" fmla="*/ 2147483647 w 26"/>
                <a:gd name="T5" fmla="*/ 2147483647 h 14"/>
                <a:gd name="T6" fmla="*/ 2147483647 w 26"/>
                <a:gd name="T7" fmla="*/ 2147483647 h 14"/>
                <a:gd name="T8" fmla="*/ 2147483647 w 26"/>
                <a:gd name="T9" fmla="*/ 2147483647 h 14"/>
                <a:gd name="T10" fmla="*/ 2147483647 w 26"/>
                <a:gd name="T11" fmla="*/ 2147483647 h 14"/>
                <a:gd name="T12" fmla="*/ 0 w 26"/>
                <a:gd name="T13" fmla="*/ 2147483647 h 14"/>
                <a:gd name="T14" fmla="*/ 0 w 26"/>
                <a:gd name="T15" fmla="*/ 2147483647 h 14"/>
                <a:gd name="T16" fmla="*/ 2147483647 w 26"/>
                <a:gd name="T17" fmla="*/ 2147483647 h 14"/>
                <a:gd name="T18" fmla="*/ 2147483647 w 26"/>
                <a:gd name="T19" fmla="*/ 2147483647 h 14"/>
                <a:gd name="T20" fmla="*/ 2147483647 w 26"/>
                <a:gd name="T21" fmla="*/ 2147483647 h 14"/>
                <a:gd name="T22" fmla="*/ 2147483647 w 26"/>
                <a:gd name="T23" fmla="*/ 2147483647 h 14"/>
                <a:gd name="T24" fmla="*/ 2147483647 w 26"/>
                <a:gd name="T25" fmla="*/ 2147483647 h 14"/>
                <a:gd name="T26" fmla="*/ 2147483647 w 26"/>
                <a:gd name="T27" fmla="*/ 2147483647 h 14"/>
                <a:gd name="T28" fmla="*/ 2147483647 w 26"/>
                <a:gd name="T29" fmla="*/ 2147483647 h 14"/>
                <a:gd name="T30" fmla="*/ 2147483647 w 26"/>
                <a:gd name="T31" fmla="*/ 2147483647 h 14"/>
                <a:gd name="T32" fmla="*/ 2147483647 w 26"/>
                <a:gd name="T33" fmla="*/ 2147483647 h 14"/>
                <a:gd name="T34" fmla="*/ 2147483647 w 26"/>
                <a:gd name="T35" fmla="*/ 0 h 14"/>
                <a:gd name="T36" fmla="*/ 2147483647 w 26"/>
                <a:gd name="T37" fmla="*/ 0 h 14"/>
                <a:gd name="T38" fmla="*/ 2147483647 w 26"/>
                <a:gd name="T39" fmla="*/ 2147483647 h 1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6"/>
                <a:gd name="T61" fmla="*/ 0 h 14"/>
                <a:gd name="T62" fmla="*/ 26 w 26"/>
                <a:gd name="T63" fmla="*/ 14 h 1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6" h="14">
                  <a:moveTo>
                    <a:pt x="18" y="3"/>
                  </a:moveTo>
                  <a:lnTo>
                    <a:pt x="15" y="3"/>
                  </a:lnTo>
                  <a:lnTo>
                    <a:pt x="12" y="9"/>
                  </a:lnTo>
                  <a:lnTo>
                    <a:pt x="6" y="9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9" y="14"/>
                  </a:lnTo>
                  <a:lnTo>
                    <a:pt x="12" y="12"/>
                  </a:lnTo>
                  <a:lnTo>
                    <a:pt x="18" y="9"/>
                  </a:lnTo>
                  <a:lnTo>
                    <a:pt x="21" y="6"/>
                  </a:lnTo>
                  <a:lnTo>
                    <a:pt x="21" y="3"/>
                  </a:lnTo>
                  <a:lnTo>
                    <a:pt x="26" y="3"/>
                  </a:lnTo>
                  <a:lnTo>
                    <a:pt x="26" y="0"/>
                  </a:lnTo>
                  <a:lnTo>
                    <a:pt x="21" y="0"/>
                  </a:lnTo>
                  <a:lnTo>
                    <a:pt x="18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49" name="Freeform 652"/>
            <p:cNvSpPr>
              <a:spLocks/>
            </p:cNvSpPr>
            <p:nvPr/>
          </p:nvSpPr>
          <p:spPr bwMode="auto">
            <a:xfrm>
              <a:off x="2657475" y="2063750"/>
              <a:ext cx="14288" cy="4763"/>
            </a:xfrm>
            <a:custGeom>
              <a:avLst/>
              <a:gdLst>
                <a:gd name="T0" fmla="*/ 2147483647 w 9"/>
                <a:gd name="T1" fmla="*/ 0 h 3"/>
                <a:gd name="T2" fmla="*/ 0 w 9"/>
                <a:gd name="T3" fmla="*/ 0 h 3"/>
                <a:gd name="T4" fmla="*/ 2147483647 w 9"/>
                <a:gd name="T5" fmla="*/ 2147483647 h 3"/>
                <a:gd name="T6" fmla="*/ 2147483647 w 9"/>
                <a:gd name="T7" fmla="*/ 2147483647 h 3"/>
                <a:gd name="T8" fmla="*/ 2147483647 w 9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3"/>
                <a:gd name="T17" fmla="*/ 9 w 9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3">
                  <a:moveTo>
                    <a:pt x="6" y="0"/>
                  </a:moveTo>
                  <a:lnTo>
                    <a:pt x="0" y="0"/>
                  </a:lnTo>
                  <a:lnTo>
                    <a:pt x="3" y="3"/>
                  </a:lnTo>
                  <a:lnTo>
                    <a:pt x="9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50" name="Freeform 653"/>
            <p:cNvSpPr>
              <a:spLocks/>
            </p:cNvSpPr>
            <p:nvPr/>
          </p:nvSpPr>
          <p:spPr bwMode="auto">
            <a:xfrm>
              <a:off x="2592388" y="1897063"/>
              <a:ext cx="14287" cy="9525"/>
            </a:xfrm>
            <a:custGeom>
              <a:avLst/>
              <a:gdLst>
                <a:gd name="T0" fmla="*/ 0 w 9"/>
                <a:gd name="T1" fmla="*/ 2147483647 h 6"/>
                <a:gd name="T2" fmla="*/ 2147483647 w 9"/>
                <a:gd name="T3" fmla="*/ 2147483647 h 6"/>
                <a:gd name="T4" fmla="*/ 2147483647 w 9"/>
                <a:gd name="T5" fmla="*/ 2147483647 h 6"/>
                <a:gd name="T6" fmla="*/ 2147483647 w 9"/>
                <a:gd name="T7" fmla="*/ 2147483647 h 6"/>
                <a:gd name="T8" fmla="*/ 2147483647 w 9"/>
                <a:gd name="T9" fmla="*/ 2147483647 h 6"/>
                <a:gd name="T10" fmla="*/ 2147483647 w 9"/>
                <a:gd name="T11" fmla="*/ 0 h 6"/>
                <a:gd name="T12" fmla="*/ 0 w 9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6"/>
                <a:gd name="T23" fmla="*/ 9 w 9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6">
                  <a:moveTo>
                    <a:pt x="0" y="3"/>
                  </a:moveTo>
                  <a:lnTo>
                    <a:pt x="3" y="6"/>
                  </a:lnTo>
                  <a:lnTo>
                    <a:pt x="6" y="6"/>
                  </a:lnTo>
                  <a:lnTo>
                    <a:pt x="9" y="3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51" name="Freeform 654"/>
            <p:cNvSpPr>
              <a:spLocks/>
            </p:cNvSpPr>
            <p:nvPr/>
          </p:nvSpPr>
          <p:spPr bwMode="auto">
            <a:xfrm>
              <a:off x="2611438" y="1685925"/>
              <a:ext cx="74612" cy="36513"/>
            </a:xfrm>
            <a:custGeom>
              <a:avLst/>
              <a:gdLst>
                <a:gd name="T0" fmla="*/ 2147483647 w 46"/>
                <a:gd name="T1" fmla="*/ 2147483647 h 23"/>
                <a:gd name="T2" fmla="*/ 2147483647 w 46"/>
                <a:gd name="T3" fmla="*/ 2147483647 h 23"/>
                <a:gd name="T4" fmla="*/ 2147483647 w 46"/>
                <a:gd name="T5" fmla="*/ 2147483647 h 23"/>
                <a:gd name="T6" fmla="*/ 2147483647 w 46"/>
                <a:gd name="T7" fmla="*/ 2147483647 h 23"/>
                <a:gd name="T8" fmla="*/ 2147483647 w 46"/>
                <a:gd name="T9" fmla="*/ 2147483647 h 23"/>
                <a:gd name="T10" fmla="*/ 2147483647 w 46"/>
                <a:gd name="T11" fmla="*/ 2147483647 h 23"/>
                <a:gd name="T12" fmla="*/ 2147483647 w 46"/>
                <a:gd name="T13" fmla="*/ 2147483647 h 23"/>
                <a:gd name="T14" fmla="*/ 2147483647 w 46"/>
                <a:gd name="T15" fmla="*/ 2147483647 h 23"/>
                <a:gd name="T16" fmla="*/ 2147483647 w 46"/>
                <a:gd name="T17" fmla="*/ 2147483647 h 23"/>
                <a:gd name="T18" fmla="*/ 2147483647 w 46"/>
                <a:gd name="T19" fmla="*/ 2147483647 h 23"/>
                <a:gd name="T20" fmla="*/ 2147483647 w 46"/>
                <a:gd name="T21" fmla="*/ 2147483647 h 23"/>
                <a:gd name="T22" fmla="*/ 2147483647 w 46"/>
                <a:gd name="T23" fmla="*/ 2147483647 h 23"/>
                <a:gd name="T24" fmla="*/ 2147483647 w 46"/>
                <a:gd name="T25" fmla="*/ 2147483647 h 23"/>
                <a:gd name="T26" fmla="*/ 2147483647 w 46"/>
                <a:gd name="T27" fmla="*/ 2147483647 h 23"/>
                <a:gd name="T28" fmla="*/ 2147483647 w 46"/>
                <a:gd name="T29" fmla="*/ 2147483647 h 23"/>
                <a:gd name="T30" fmla="*/ 2147483647 w 46"/>
                <a:gd name="T31" fmla="*/ 2147483647 h 23"/>
                <a:gd name="T32" fmla="*/ 2147483647 w 46"/>
                <a:gd name="T33" fmla="*/ 2147483647 h 23"/>
                <a:gd name="T34" fmla="*/ 2147483647 w 46"/>
                <a:gd name="T35" fmla="*/ 2147483647 h 23"/>
                <a:gd name="T36" fmla="*/ 2147483647 w 46"/>
                <a:gd name="T37" fmla="*/ 2147483647 h 23"/>
                <a:gd name="T38" fmla="*/ 2147483647 w 46"/>
                <a:gd name="T39" fmla="*/ 2147483647 h 23"/>
                <a:gd name="T40" fmla="*/ 2147483647 w 46"/>
                <a:gd name="T41" fmla="*/ 2147483647 h 23"/>
                <a:gd name="T42" fmla="*/ 2147483647 w 46"/>
                <a:gd name="T43" fmla="*/ 2147483647 h 23"/>
                <a:gd name="T44" fmla="*/ 2147483647 w 46"/>
                <a:gd name="T45" fmla="*/ 2147483647 h 23"/>
                <a:gd name="T46" fmla="*/ 2147483647 w 46"/>
                <a:gd name="T47" fmla="*/ 2147483647 h 23"/>
                <a:gd name="T48" fmla="*/ 2147483647 w 46"/>
                <a:gd name="T49" fmla="*/ 2147483647 h 23"/>
                <a:gd name="T50" fmla="*/ 2147483647 w 46"/>
                <a:gd name="T51" fmla="*/ 2147483647 h 23"/>
                <a:gd name="T52" fmla="*/ 2147483647 w 46"/>
                <a:gd name="T53" fmla="*/ 2147483647 h 23"/>
                <a:gd name="T54" fmla="*/ 2147483647 w 46"/>
                <a:gd name="T55" fmla="*/ 2147483647 h 23"/>
                <a:gd name="T56" fmla="*/ 2147483647 w 46"/>
                <a:gd name="T57" fmla="*/ 2147483647 h 23"/>
                <a:gd name="T58" fmla="*/ 2147483647 w 46"/>
                <a:gd name="T59" fmla="*/ 2147483647 h 23"/>
                <a:gd name="T60" fmla="*/ 2147483647 w 46"/>
                <a:gd name="T61" fmla="*/ 2147483647 h 23"/>
                <a:gd name="T62" fmla="*/ 2147483647 w 46"/>
                <a:gd name="T63" fmla="*/ 2147483647 h 23"/>
                <a:gd name="T64" fmla="*/ 2147483647 w 46"/>
                <a:gd name="T65" fmla="*/ 0 h 23"/>
                <a:gd name="T66" fmla="*/ 2147483647 w 46"/>
                <a:gd name="T67" fmla="*/ 0 h 23"/>
                <a:gd name="T68" fmla="*/ 2147483647 w 46"/>
                <a:gd name="T69" fmla="*/ 2147483647 h 23"/>
                <a:gd name="T70" fmla="*/ 2147483647 w 46"/>
                <a:gd name="T71" fmla="*/ 2147483647 h 23"/>
                <a:gd name="T72" fmla="*/ 2147483647 w 46"/>
                <a:gd name="T73" fmla="*/ 2147483647 h 23"/>
                <a:gd name="T74" fmla="*/ 0 w 46"/>
                <a:gd name="T75" fmla="*/ 2147483647 h 23"/>
                <a:gd name="T76" fmla="*/ 0 w 46"/>
                <a:gd name="T77" fmla="*/ 2147483647 h 23"/>
                <a:gd name="T78" fmla="*/ 0 w 46"/>
                <a:gd name="T79" fmla="*/ 2147483647 h 23"/>
                <a:gd name="T80" fmla="*/ 2147483647 w 46"/>
                <a:gd name="T81" fmla="*/ 2147483647 h 23"/>
                <a:gd name="T82" fmla="*/ 2147483647 w 46"/>
                <a:gd name="T83" fmla="*/ 2147483647 h 23"/>
                <a:gd name="T84" fmla="*/ 2147483647 w 46"/>
                <a:gd name="T85" fmla="*/ 2147483647 h 2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46"/>
                <a:gd name="T130" fmla="*/ 0 h 23"/>
                <a:gd name="T131" fmla="*/ 46 w 46"/>
                <a:gd name="T132" fmla="*/ 23 h 2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46" h="23">
                  <a:moveTo>
                    <a:pt x="3" y="18"/>
                  </a:moveTo>
                  <a:lnTo>
                    <a:pt x="3" y="18"/>
                  </a:lnTo>
                  <a:lnTo>
                    <a:pt x="8" y="15"/>
                  </a:lnTo>
                  <a:lnTo>
                    <a:pt x="8" y="18"/>
                  </a:lnTo>
                  <a:lnTo>
                    <a:pt x="8" y="21"/>
                  </a:lnTo>
                  <a:lnTo>
                    <a:pt x="14" y="23"/>
                  </a:lnTo>
                  <a:lnTo>
                    <a:pt x="23" y="23"/>
                  </a:lnTo>
                  <a:lnTo>
                    <a:pt x="34" y="23"/>
                  </a:lnTo>
                  <a:lnTo>
                    <a:pt x="40" y="23"/>
                  </a:lnTo>
                  <a:lnTo>
                    <a:pt x="46" y="18"/>
                  </a:lnTo>
                  <a:lnTo>
                    <a:pt x="37" y="15"/>
                  </a:lnTo>
                  <a:lnTo>
                    <a:pt x="28" y="18"/>
                  </a:lnTo>
                  <a:lnTo>
                    <a:pt x="28" y="15"/>
                  </a:lnTo>
                  <a:lnTo>
                    <a:pt x="31" y="15"/>
                  </a:lnTo>
                  <a:lnTo>
                    <a:pt x="34" y="12"/>
                  </a:lnTo>
                  <a:lnTo>
                    <a:pt x="37" y="9"/>
                  </a:lnTo>
                  <a:lnTo>
                    <a:pt x="40" y="6"/>
                  </a:lnTo>
                  <a:lnTo>
                    <a:pt x="37" y="6"/>
                  </a:lnTo>
                  <a:lnTo>
                    <a:pt x="28" y="6"/>
                  </a:lnTo>
                  <a:lnTo>
                    <a:pt x="23" y="3"/>
                  </a:lnTo>
                  <a:lnTo>
                    <a:pt x="14" y="3"/>
                  </a:lnTo>
                  <a:lnTo>
                    <a:pt x="11" y="0"/>
                  </a:lnTo>
                  <a:lnTo>
                    <a:pt x="8" y="0"/>
                  </a:lnTo>
                  <a:lnTo>
                    <a:pt x="8" y="3"/>
                  </a:lnTo>
                  <a:lnTo>
                    <a:pt x="3" y="6"/>
                  </a:lnTo>
                  <a:lnTo>
                    <a:pt x="0" y="9"/>
                  </a:lnTo>
                  <a:lnTo>
                    <a:pt x="0" y="15"/>
                  </a:lnTo>
                  <a:lnTo>
                    <a:pt x="3" y="1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52" name="Freeform 655"/>
            <p:cNvSpPr>
              <a:spLocks/>
            </p:cNvSpPr>
            <p:nvPr/>
          </p:nvSpPr>
          <p:spPr bwMode="auto">
            <a:xfrm>
              <a:off x="2649538" y="3844925"/>
              <a:ext cx="104775" cy="123825"/>
            </a:xfrm>
            <a:custGeom>
              <a:avLst/>
              <a:gdLst>
                <a:gd name="T0" fmla="*/ 2147483647 w 66"/>
                <a:gd name="T1" fmla="*/ 2147483647 h 77"/>
                <a:gd name="T2" fmla="*/ 2147483647 w 66"/>
                <a:gd name="T3" fmla="*/ 2147483647 h 77"/>
                <a:gd name="T4" fmla="*/ 2147483647 w 66"/>
                <a:gd name="T5" fmla="*/ 2147483647 h 77"/>
                <a:gd name="T6" fmla="*/ 2147483647 w 66"/>
                <a:gd name="T7" fmla="*/ 2147483647 h 77"/>
                <a:gd name="T8" fmla="*/ 2147483647 w 66"/>
                <a:gd name="T9" fmla="*/ 2147483647 h 77"/>
                <a:gd name="T10" fmla="*/ 2147483647 w 66"/>
                <a:gd name="T11" fmla="*/ 2147483647 h 77"/>
                <a:gd name="T12" fmla="*/ 2147483647 w 66"/>
                <a:gd name="T13" fmla="*/ 2147483647 h 77"/>
                <a:gd name="T14" fmla="*/ 2147483647 w 66"/>
                <a:gd name="T15" fmla="*/ 2147483647 h 77"/>
                <a:gd name="T16" fmla="*/ 2147483647 w 66"/>
                <a:gd name="T17" fmla="*/ 2147483647 h 77"/>
                <a:gd name="T18" fmla="*/ 2147483647 w 66"/>
                <a:gd name="T19" fmla="*/ 2147483647 h 77"/>
                <a:gd name="T20" fmla="*/ 2147483647 w 66"/>
                <a:gd name="T21" fmla="*/ 2147483647 h 77"/>
                <a:gd name="T22" fmla="*/ 2147483647 w 66"/>
                <a:gd name="T23" fmla="*/ 2147483647 h 77"/>
                <a:gd name="T24" fmla="*/ 2147483647 w 66"/>
                <a:gd name="T25" fmla="*/ 2147483647 h 77"/>
                <a:gd name="T26" fmla="*/ 2147483647 w 66"/>
                <a:gd name="T27" fmla="*/ 2147483647 h 77"/>
                <a:gd name="T28" fmla="*/ 2147483647 w 66"/>
                <a:gd name="T29" fmla="*/ 2147483647 h 77"/>
                <a:gd name="T30" fmla="*/ 2147483647 w 66"/>
                <a:gd name="T31" fmla="*/ 2147483647 h 77"/>
                <a:gd name="T32" fmla="*/ 2147483647 w 66"/>
                <a:gd name="T33" fmla="*/ 2147483647 h 77"/>
                <a:gd name="T34" fmla="*/ 2147483647 w 66"/>
                <a:gd name="T35" fmla="*/ 2147483647 h 77"/>
                <a:gd name="T36" fmla="*/ 2147483647 w 66"/>
                <a:gd name="T37" fmla="*/ 2147483647 h 77"/>
                <a:gd name="T38" fmla="*/ 2147483647 w 66"/>
                <a:gd name="T39" fmla="*/ 2147483647 h 77"/>
                <a:gd name="T40" fmla="*/ 2147483647 w 66"/>
                <a:gd name="T41" fmla="*/ 2147483647 h 77"/>
                <a:gd name="T42" fmla="*/ 2147483647 w 66"/>
                <a:gd name="T43" fmla="*/ 2147483647 h 77"/>
                <a:gd name="T44" fmla="*/ 2147483647 w 66"/>
                <a:gd name="T45" fmla="*/ 2147483647 h 77"/>
                <a:gd name="T46" fmla="*/ 2147483647 w 66"/>
                <a:gd name="T47" fmla="*/ 2147483647 h 77"/>
                <a:gd name="T48" fmla="*/ 2147483647 w 66"/>
                <a:gd name="T49" fmla="*/ 0 h 77"/>
                <a:gd name="T50" fmla="*/ 2147483647 w 66"/>
                <a:gd name="T51" fmla="*/ 0 h 77"/>
                <a:gd name="T52" fmla="*/ 2147483647 w 66"/>
                <a:gd name="T53" fmla="*/ 0 h 77"/>
                <a:gd name="T54" fmla="*/ 2147483647 w 66"/>
                <a:gd name="T55" fmla="*/ 0 h 77"/>
                <a:gd name="T56" fmla="*/ 2147483647 w 66"/>
                <a:gd name="T57" fmla="*/ 0 h 77"/>
                <a:gd name="T58" fmla="*/ 2147483647 w 66"/>
                <a:gd name="T59" fmla="*/ 2147483647 h 77"/>
                <a:gd name="T60" fmla="*/ 2147483647 w 66"/>
                <a:gd name="T61" fmla="*/ 2147483647 h 77"/>
                <a:gd name="T62" fmla="*/ 2147483647 w 66"/>
                <a:gd name="T63" fmla="*/ 0 h 77"/>
                <a:gd name="T64" fmla="*/ 2147483647 w 66"/>
                <a:gd name="T65" fmla="*/ 0 h 77"/>
                <a:gd name="T66" fmla="*/ 2147483647 w 66"/>
                <a:gd name="T67" fmla="*/ 0 h 77"/>
                <a:gd name="T68" fmla="*/ 2147483647 w 66"/>
                <a:gd name="T69" fmla="*/ 2147483647 h 77"/>
                <a:gd name="T70" fmla="*/ 2147483647 w 66"/>
                <a:gd name="T71" fmla="*/ 2147483647 h 77"/>
                <a:gd name="T72" fmla="*/ 2147483647 w 66"/>
                <a:gd name="T73" fmla="*/ 2147483647 h 77"/>
                <a:gd name="T74" fmla="*/ 2147483647 w 66"/>
                <a:gd name="T75" fmla="*/ 2147483647 h 77"/>
                <a:gd name="T76" fmla="*/ 0 w 66"/>
                <a:gd name="T77" fmla="*/ 2147483647 h 77"/>
                <a:gd name="T78" fmla="*/ 2147483647 w 66"/>
                <a:gd name="T79" fmla="*/ 2147483647 h 77"/>
                <a:gd name="T80" fmla="*/ 2147483647 w 66"/>
                <a:gd name="T81" fmla="*/ 2147483647 h 77"/>
                <a:gd name="T82" fmla="*/ 2147483647 w 66"/>
                <a:gd name="T83" fmla="*/ 2147483647 h 77"/>
                <a:gd name="T84" fmla="*/ 2147483647 w 66"/>
                <a:gd name="T85" fmla="*/ 2147483647 h 77"/>
                <a:gd name="T86" fmla="*/ 2147483647 w 66"/>
                <a:gd name="T87" fmla="*/ 2147483647 h 77"/>
                <a:gd name="T88" fmla="*/ 2147483647 w 66"/>
                <a:gd name="T89" fmla="*/ 2147483647 h 77"/>
                <a:gd name="T90" fmla="*/ 2147483647 w 66"/>
                <a:gd name="T91" fmla="*/ 2147483647 h 77"/>
                <a:gd name="T92" fmla="*/ 2147483647 w 66"/>
                <a:gd name="T93" fmla="*/ 2147483647 h 77"/>
                <a:gd name="T94" fmla="*/ 2147483647 w 66"/>
                <a:gd name="T95" fmla="*/ 2147483647 h 77"/>
                <a:gd name="T96" fmla="*/ 2147483647 w 66"/>
                <a:gd name="T97" fmla="*/ 2147483647 h 77"/>
                <a:gd name="T98" fmla="*/ 2147483647 w 66"/>
                <a:gd name="T99" fmla="*/ 2147483647 h 77"/>
                <a:gd name="T100" fmla="*/ 2147483647 w 66"/>
                <a:gd name="T101" fmla="*/ 2147483647 h 77"/>
                <a:gd name="T102" fmla="*/ 2147483647 w 66"/>
                <a:gd name="T103" fmla="*/ 2147483647 h 77"/>
                <a:gd name="T104" fmla="*/ 2147483647 w 66"/>
                <a:gd name="T105" fmla="*/ 2147483647 h 77"/>
                <a:gd name="T106" fmla="*/ 2147483647 w 66"/>
                <a:gd name="T107" fmla="*/ 2147483647 h 77"/>
                <a:gd name="T108" fmla="*/ 2147483647 w 66"/>
                <a:gd name="T109" fmla="*/ 2147483647 h 77"/>
                <a:gd name="T110" fmla="*/ 2147483647 w 66"/>
                <a:gd name="T111" fmla="*/ 2147483647 h 77"/>
                <a:gd name="T112" fmla="*/ 2147483647 w 66"/>
                <a:gd name="T113" fmla="*/ 2147483647 h 77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66"/>
                <a:gd name="T172" fmla="*/ 0 h 77"/>
                <a:gd name="T173" fmla="*/ 66 w 66"/>
                <a:gd name="T174" fmla="*/ 77 h 77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66" h="77">
                  <a:moveTo>
                    <a:pt x="43" y="66"/>
                  </a:moveTo>
                  <a:lnTo>
                    <a:pt x="43" y="66"/>
                  </a:lnTo>
                  <a:lnTo>
                    <a:pt x="46" y="66"/>
                  </a:lnTo>
                  <a:lnTo>
                    <a:pt x="57" y="69"/>
                  </a:lnTo>
                  <a:lnTo>
                    <a:pt x="63" y="57"/>
                  </a:lnTo>
                  <a:lnTo>
                    <a:pt x="66" y="52"/>
                  </a:lnTo>
                  <a:lnTo>
                    <a:pt x="66" y="49"/>
                  </a:lnTo>
                  <a:lnTo>
                    <a:pt x="63" y="43"/>
                  </a:lnTo>
                  <a:lnTo>
                    <a:pt x="60" y="34"/>
                  </a:lnTo>
                  <a:lnTo>
                    <a:pt x="57" y="29"/>
                  </a:lnTo>
                  <a:lnTo>
                    <a:pt x="57" y="26"/>
                  </a:lnTo>
                  <a:lnTo>
                    <a:pt x="60" y="17"/>
                  </a:lnTo>
                  <a:lnTo>
                    <a:pt x="63" y="11"/>
                  </a:lnTo>
                  <a:lnTo>
                    <a:pt x="66" y="3"/>
                  </a:lnTo>
                  <a:lnTo>
                    <a:pt x="54" y="0"/>
                  </a:lnTo>
                  <a:lnTo>
                    <a:pt x="46" y="0"/>
                  </a:lnTo>
                  <a:lnTo>
                    <a:pt x="37" y="0"/>
                  </a:lnTo>
                  <a:lnTo>
                    <a:pt x="34" y="6"/>
                  </a:lnTo>
                  <a:lnTo>
                    <a:pt x="25" y="0"/>
                  </a:lnTo>
                  <a:lnTo>
                    <a:pt x="20" y="0"/>
                  </a:lnTo>
                  <a:lnTo>
                    <a:pt x="14" y="14"/>
                  </a:lnTo>
                  <a:lnTo>
                    <a:pt x="11" y="17"/>
                  </a:lnTo>
                  <a:lnTo>
                    <a:pt x="2" y="23"/>
                  </a:lnTo>
                  <a:lnTo>
                    <a:pt x="5" y="32"/>
                  </a:lnTo>
                  <a:lnTo>
                    <a:pt x="0" y="46"/>
                  </a:lnTo>
                  <a:lnTo>
                    <a:pt x="5" y="49"/>
                  </a:lnTo>
                  <a:lnTo>
                    <a:pt x="14" y="52"/>
                  </a:lnTo>
                  <a:lnTo>
                    <a:pt x="11" y="60"/>
                  </a:lnTo>
                  <a:lnTo>
                    <a:pt x="14" y="66"/>
                  </a:lnTo>
                  <a:lnTo>
                    <a:pt x="17" y="72"/>
                  </a:lnTo>
                  <a:lnTo>
                    <a:pt x="20" y="77"/>
                  </a:lnTo>
                  <a:lnTo>
                    <a:pt x="28" y="77"/>
                  </a:lnTo>
                  <a:lnTo>
                    <a:pt x="31" y="77"/>
                  </a:lnTo>
                  <a:lnTo>
                    <a:pt x="31" y="69"/>
                  </a:lnTo>
                  <a:lnTo>
                    <a:pt x="43" y="6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53" name="Freeform 656"/>
            <p:cNvSpPr>
              <a:spLocks/>
            </p:cNvSpPr>
            <p:nvPr/>
          </p:nvSpPr>
          <p:spPr bwMode="auto">
            <a:xfrm>
              <a:off x="2368550" y="2376488"/>
              <a:ext cx="26988" cy="19050"/>
            </a:xfrm>
            <a:custGeom>
              <a:avLst/>
              <a:gdLst>
                <a:gd name="T0" fmla="*/ 2147483647 w 17"/>
                <a:gd name="T1" fmla="*/ 2147483647 h 12"/>
                <a:gd name="T2" fmla="*/ 0 w 17"/>
                <a:gd name="T3" fmla="*/ 2147483647 h 12"/>
                <a:gd name="T4" fmla="*/ 2147483647 w 17"/>
                <a:gd name="T5" fmla="*/ 2147483647 h 12"/>
                <a:gd name="T6" fmla="*/ 2147483647 w 17"/>
                <a:gd name="T7" fmla="*/ 2147483647 h 12"/>
                <a:gd name="T8" fmla="*/ 2147483647 w 17"/>
                <a:gd name="T9" fmla="*/ 2147483647 h 12"/>
                <a:gd name="T10" fmla="*/ 2147483647 w 17"/>
                <a:gd name="T11" fmla="*/ 2147483647 h 12"/>
                <a:gd name="T12" fmla="*/ 2147483647 w 17"/>
                <a:gd name="T13" fmla="*/ 2147483647 h 12"/>
                <a:gd name="T14" fmla="*/ 2147483647 w 17"/>
                <a:gd name="T15" fmla="*/ 2147483647 h 12"/>
                <a:gd name="T16" fmla="*/ 2147483647 w 17"/>
                <a:gd name="T17" fmla="*/ 0 h 12"/>
                <a:gd name="T18" fmla="*/ 2147483647 w 1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7"/>
                <a:gd name="T31" fmla="*/ 0 h 12"/>
                <a:gd name="T32" fmla="*/ 17 w 1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7" h="12">
                  <a:moveTo>
                    <a:pt x="2" y="3"/>
                  </a:moveTo>
                  <a:lnTo>
                    <a:pt x="0" y="6"/>
                  </a:lnTo>
                  <a:lnTo>
                    <a:pt x="2" y="9"/>
                  </a:lnTo>
                  <a:lnTo>
                    <a:pt x="8" y="9"/>
                  </a:lnTo>
                  <a:lnTo>
                    <a:pt x="8" y="12"/>
                  </a:lnTo>
                  <a:lnTo>
                    <a:pt x="14" y="12"/>
                  </a:lnTo>
                  <a:lnTo>
                    <a:pt x="17" y="9"/>
                  </a:lnTo>
                  <a:lnTo>
                    <a:pt x="14" y="3"/>
                  </a:lnTo>
                  <a:lnTo>
                    <a:pt x="8" y="0"/>
                  </a:lnTo>
                  <a:lnTo>
                    <a:pt x="2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54" name="Freeform 657"/>
            <p:cNvSpPr>
              <a:spLocks/>
            </p:cNvSpPr>
            <p:nvPr/>
          </p:nvSpPr>
          <p:spPr bwMode="auto">
            <a:xfrm>
              <a:off x="2560638" y="3767138"/>
              <a:ext cx="115887" cy="220662"/>
            </a:xfrm>
            <a:custGeom>
              <a:avLst/>
              <a:gdLst>
                <a:gd name="T0" fmla="*/ 2147483647 w 72"/>
                <a:gd name="T1" fmla="*/ 2147483647 h 138"/>
                <a:gd name="T2" fmla="*/ 2147483647 w 72"/>
                <a:gd name="T3" fmla="*/ 2147483647 h 138"/>
                <a:gd name="T4" fmla="*/ 2147483647 w 72"/>
                <a:gd name="T5" fmla="*/ 2147483647 h 138"/>
                <a:gd name="T6" fmla="*/ 2147483647 w 72"/>
                <a:gd name="T7" fmla="*/ 2147483647 h 138"/>
                <a:gd name="T8" fmla="*/ 2147483647 w 72"/>
                <a:gd name="T9" fmla="*/ 2147483647 h 138"/>
                <a:gd name="T10" fmla="*/ 2147483647 w 72"/>
                <a:gd name="T11" fmla="*/ 2147483647 h 138"/>
                <a:gd name="T12" fmla="*/ 2147483647 w 72"/>
                <a:gd name="T13" fmla="*/ 2147483647 h 138"/>
                <a:gd name="T14" fmla="*/ 2147483647 w 72"/>
                <a:gd name="T15" fmla="*/ 2147483647 h 138"/>
                <a:gd name="T16" fmla="*/ 2147483647 w 72"/>
                <a:gd name="T17" fmla="*/ 2147483647 h 138"/>
                <a:gd name="T18" fmla="*/ 2147483647 w 72"/>
                <a:gd name="T19" fmla="*/ 2147483647 h 138"/>
                <a:gd name="T20" fmla="*/ 2147483647 w 72"/>
                <a:gd name="T21" fmla="*/ 2147483647 h 138"/>
                <a:gd name="T22" fmla="*/ 2147483647 w 72"/>
                <a:gd name="T23" fmla="*/ 2147483647 h 138"/>
                <a:gd name="T24" fmla="*/ 2147483647 w 72"/>
                <a:gd name="T25" fmla="*/ 2147483647 h 138"/>
                <a:gd name="T26" fmla="*/ 2147483647 w 72"/>
                <a:gd name="T27" fmla="*/ 2147483647 h 138"/>
                <a:gd name="T28" fmla="*/ 2147483647 w 72"/>
                <a:gd name="T29" fmla="*/ 2147483647 h 138"/>
                <a:gd name="T30" fmla="*/ 2147483647 w 72"/>
                <a:gd name="T31" fmla="*/ 2147483647 h 138"/>
                <a:gd name="T32" fmla="*/ 2147483647 w 72"/>
                <a:gd name="T33" fmla="*/ 2147483647 h 138"/>
                <a:gd name="T34" fmla="*/ 2147483647 w 72"/>
                <a:gd name="T35" fmla="*/ 2147483647 h 138"/>
                <a:gd name="T36" fmla="*/ 2147483647 w 72"/>
                <a:gd name="T37" fmla="*/ 2147483647 h 138"/>
                <a:gd name="T38" fmla="*/ 2147483647 w 72"/>
                <a:gd name="T39" fmla="*/ 2147483647 h 138"/>
                <a:gd name="T40" fmla="*/ 2147483647 w 72"/>
                <a:gd name="T41" fmla="*/ 2147483647 h 138"/>
                <a:gd name="T42" fmla="*/ 2147483647 w 72"/>
                <a:gd name="T43" fmla="*/ 0 h 138"/>
                <a:gd name="T44" fmla="*/ 2147483647 w 72"/>
                <a:gd name="T45" fmla="*/ 2147483647 h 138"/>
                <a:gd name="T46" fmla="*/ 2147483647 w 72"/>
                <a:gd name="T47" fmla="*/ 2147483647 h 138"/>
                <a:gd name="T48" fmla="*/ 2147483647 w 72"/>
                <a:gd name="T49" fmla="*/ 2147483647 h 138"/>
                <a:gd name="T50" fmla="*/ 0 w 72"/>
                <a:gd name="T51" fmla="*/ 2147483647 h 138"/>
                <a:gd name="T52" fmla="*/ 2147483647 w 72"/>
                <a:gd name="T53" fmla="*/ 2147483647 h 138"/>
                <a:gd name="T54" fmla="*/ 2147483647 w 72"/>
                <a:gd name="T55" fmla="*/ 2147483647 h 138"/>
                <a:gd name="T56" fmla="*/ 2147483647 w 72"/>
                <a:gd name="T57" fmla="*/ 2147483647 h 138"/>
                <a:gd name="T58" fmla="*/ 2147483647 w 72"/>
                <a:gd name="T59" fmla="*/ 2147483647 h 138"/>
                <a:gd name="T60" fmla="*/ 2147483647 w 72"/>
                <a:gd name="T61" fmla="*/ 2147483647 h 138"/>
                <a:gd name="T62" fmla="*/ 2147483647 w 72"/>
                <a:gd name="T63" fmla="*/ 2147483647 h 138"/>
                <a:gd name="T64" fmla="*/ 2147483647 w 72"/>
                <a:gd name="T65" fmla="*/ 2147483647 h 138"/>
                <a:gd name="T66" fmla="*/ 2147483647 w 72"/>
                <a:gd name="T67" fmla="*/ 2147483647 h 138"/>
                <a:gd name="T68" fmla="*/ 2147483647 w 72"/>
                <a:gd name="T69" fmla="*/ 2147483647 h 138"/>
                <a:gd name="T70" fmla="*/ 2147483647 w 72"/>
                <a:gd name="T71" fmla="*/ 2147483647 h 138"/>
                <a:gd name="T72" fmla="*/ 2147483647 w 72"/>
                <a:gd name="T73" fmla="*/ 2147483647 h 13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72"/>
                <a:gd name="T112" fmla="*/ 0 h 138"/>
                <a:gd name="T113" fmla="*/ 72 w 72"/>
                <a:gd name="T114" fmla="*/ 138 h 138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72" h="138">
                  <a:moveTo>
                    <a:pt x="26" y="132"/>
                  </a:moveTo>
                  <a:lnTo>
                    <a:pt x="35" y="138"/>
                  </a:lnTo>
                  <a:lnTo>
                    <a:pt x="43" y="132"/>
                  </a:lnTo>
                  <a:lnTo>
                    <a:pt x="49" y="132"/>
                  </a:lnTo>
                  <a:lnTo>
                    <a:pt x="55" y="135"/>
                  </a:lnTo>
                  <a:lnTo>
                    <a:pt x="57" y="129"/>
                  </a:lnTo>
                  <a:lnTo>
                    <a:pt x="60" y="129"/>
                  </a:lnTo>
                  <a:lnTo>
                    <a:pt x="69" y="124"/>
                  </a:lnTo>
                  <a:lnTo>
                    <a:pt x="69" y="121"/>
                  </a:lnTo>
                  <a:lnTo>
                    <a:pt x="66" y="115"/>
                  </a:lnTo>
                  <a:lnTo>
                    <a:pt x="63" y="109"/>
                  </a:lnTo>
                  <a:lnTo>
                    <a:pt x="66" y="101"/>
                  </a:lnTo>
                  <a:lnTo>
                    <a:pt x="57" y="101"/>
                  </a:lnTo>
                  <a:lnTo>
                    <a:pt x="52" y="95"/>
                  </a:lnTo>
                  <a:lnTo>
                    <a:pt x="57" y="81"/>
                  </a:lnTo>
                  <a:lnTo>
                    <a:pt x="52" y="69"/>
                  </a:lnTo>
                  <a:lnTo>
                    <a:pt x="63" y="63"/>
                  </a:lnTo>
                  <a:lnTo>
                    <a:pt x="66" y="60"/>
                  </a:lnTo>
                  <a:lnTo>
                    <a:pt x="72" y="49"/>
                  </a:lnTo>
                  <a:lnTo>
                    <a:pt x="69" y="49"/>
                  </a:lnTo>
                  <a:lnTo>
                    <a:pt x="66" y="43"/>
                  </a:lnTo>
                  <a:lnTo>
                    <a:pt x="60" y="40"/>
                  </a:lnTo>
                  <a:lnTo>
                    <a:pt x="52" y="32"/>
                  </a:lnTo>
                  <a:lnTo>
                    <a:pt x="46" y="40"/>
                  </a:lnTo>
                  <a:lnTo>
                    <a:pt x="46" y="29"/>
                  </a:lnTo>
                  <a:lnTo>
                    <a:pt x="46" y="26"/>
                  </a:lnTo>
                  <a:lnTo>
                    <a:pt x="46" y="20"/>
                  </a:lnTo>
                  <a:lnTo>
                    <a:pt x="32" y="3"/>
                  </a:lnTo>
                  <a:lnTo>
                    <a:pt x="29" y="0"/>
                  </a:lnTo>
                  <a:lnTo>
                    <a:pt x="17" y="12"/>
                  </a:lnTo>
                  <a:lnTo>
                    <a:pt x="12" y="20"/>
                  </a:lnTo>
                  <a:lnTo>
                    <a:pt x="20" y="26"/>
                  </a:lnTo>
                  <a:lnTo>
                    <a:pt x="9" y="35"/>
                  </a:lnTo>
                  <a:lnTo>
                    <a:pt x="3" y="37"/>
                  </a:lnTo>
                  <a:lnTo>
                    <a:pt x="6" y="40"/>
                  </a:lnTo>
                  <a:lnTo>
                    <a:pt x="0" y="49"/>
                  </a:lnTo>
                  <a:lnTo>
                    <a:pt x="3" y="58"/>
                  </a:lnTo>
                  <a:lnTo>
                    <a:pt x="12" y="63"/>
                  </a:lnTo>
                  <a:lnTo>
                    <a:pt x="23" y="63"/>
                  </a:lnTo>
                  <a:lnTo>
                    <a:pt x="20" y="72"/>
                  </a:lnTo>
                  <a:lnTo>
                    <a:pt x="26" y="81"/>
                  </a:lnTo>
                  <a:lnTo>
                    <a:pt x="29" y="92"/>
                  </a:lnTo>
                  <a:lnTo>
                    <a:pt x="26" y="89"/>
                  </a:lnTo>
                  <a:lnTo>
                    <a:pt x="23" y="89"/>
                  </a:lnTo>
                  <a:lnTo>
                    <a:pt x="20" y="92"/>
                  </a:lnTo>
                  <a:lnTo>
                    <a:pt x="20" y="95"/>
                  </a:lnTo>
                  <a:lnTo>
                    <a:pt x="23" y="103"/>
                  </a:lnTo>
                  <a:lnTo>
                    <a:pt x="20" y="118"/>
                  </a:lnTo>
                  <a:lnTo>
                    <a:pt x="26" y="124"/>
                  </a:lnTo>
                  <a:lnTo>
                    <a:pt x="26" y="126"/>
                  </a:lnTo>
                  <a:lnTo>
                    <a:pt x="26" y="13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55" name="Freeform 658"/>
            <p:cNvSpPr>
              <a:spLocks/>
            </p:cNvSpPr>
            <p:nvPr/>
          </p:nvSpPr>
          <p:spPr bwMode="auto">
            <a:xfrm>
              <a:off x="2233613" y="3665538"/>
              <a:ext cx="363537" cy="344487"/>
            </a:xfrm>
            <a:custGeom>
              <a:avLst/>
              <a:gdLst>
                <a:gd name="T0" fmla="*/ 2147483647 w 227"/>
                <a:gd name="T1" fmla="*/ 2147483647 h 215"/>
                <a:gd name="T2" fmla="*/ 2147483647 w 227"/>
                <a:gd name="T3" fmla="*/ 2147483647 h 215"/>
                <a:gd name="T4" fmla="*/ 2147483647 w 227"/>
                <a:gd name="T5" fmla="*/ 2147483647 h 215"/>
                <a:gd name="T6" fmla="*/ 2147483647 w 227"/>
                <a:gd name="T7" fmla="*/ 2147483647 h 215"/>
                <a:gd name="T8" fmla="*/ 2147483647 w 227"/>
                <a:gd name="T9" fmla="*/ 2147483647 h 215"/>
                <a:gd name="T10" fmla="*/ 2147483647 w 227"/>
                <a:gd name="T11" fmla="*/ 2147483647 h 215"/>
                <a:gd name="T12" fmla="*/ 2147483647 w 227"/>
                <a:gd name="T13" fmla="*/ 2147483647 h 215"/>
                <a:gd name="T14" fmla="*/ 2147483647 w 227"/>
                <a:gd name="T15" fmla="*/ 2147483647 h 215"/>
                <a:gd name="T16" fmla="*/ 2147483647 w 227"/>
                <a:gd name="T17" fmla="*/ 2147483647 h 215"/>
                <a:gd name="T18" fmla="*/ 2147483647 w 227"/>
                <a:gd name="T19" fmla="*/ 2147483647 h 215"/>
                <a:gd name="T20" fmla="*/ 2147483647 w 227"/>
                <a:gd name="T21" fmla="*/ 2147483647 h 215"/>
                <a:gd name="T22" fmla="*/ 2147483647 w 227"/>
                <a:gd name="T23" fmla="*/ 2147483647 h 215"/>
                <a:gd name="T24" fmla="*/ 2147483647 w 227"/>
                <a:gd name="T25" fmla="*/ 2147483647 h 215"/>
                <a:gd name="T26" fmla="*/ 2147483647 w 227"/>
                <a:gd name="T27" fmla="*/ 2147483647 h 215"/>
                <a:gd name="T28" fmla="*/ 2147483647 w 227"/>
                <a:gd name="T29" fmla="*/ 2147483647 h 215"/>
                <a:gd name="T30" fmla="*/ 2147483647 w 227"/>
                <a:gd name="T31" fmla="*/ 2147483647 h 215"/>
                <a:gd name="T32" fmla="*/ 2147483647 w 227"/>
                <a:gd name="T33" fmla="*/ 2147483647 h 215"/>
                <a:gd name="T34" fmla="*/ 2147483647 w 227"/>
                <a:gd name="T35" fmla="*/ 2147483647 h 215"/>
                <a:gd name="T36" fmla="*/ 2147483647 w 227"/>
                <a:gd name="T37" fmla="*/ 2147483647 h 215"/>
                <a:gd name="T38" fmla="*/ 2147483647 w 227"/>
                <a:gd name="T39" fmla="*/ 2147483647 h 215"/>
                <a:gd name="T40" fmla="*/ 2147483647 w 227"/>
                <a:gd name="T41" fmla="*/ 2147483647 h 215"/>
                <a:gd name="T42" fmla="*/ 2147483647 w 227"/>
                <a:gd name="T43" fmla="*/ 2147483647 h 215"/>
                <a:gd name="T44" fmla="*/ 2147483647 w 227"/>
                <a:gd name="T45" fmla="*/ 2147483647 h 215"/>
                <a:gd name="T46" fmla="*/ 2147483647 w 227"/>
                <a:gd name="T47" fmla="*/ 2147483647 h 215"/>
                <a:gd name="T48" fmla="*/ 2147483647 w 227"/>
                <a:gd name="T49" fmla="*/ 2147483647 h 215"/>
                <a:gd name="T50" fmla="*/ 2147483647 w 227"/>
                <a:gd name="T51" fmla="*/ 2147483647 h 215"/>
                <a:gd name="T52" fmla="*/ 0 w 227"/>
                <a:gd name="T53" fmla="*/ 2147483647 h 215"/>
                <a:gd name="T54" fmla="*/ 2147483647 w 227"/>
                <a:gd name="T55" fmla="*/ 2147483647 h 215"/>
                <a:gd name="T56" fmla="*/ 2147483647 w 227"/>
                <a:gd name="T57" fmla="*/ 2147483647 h 215"/>
                <a:gd name="T58" fmla="*/ 2147483647 w 227"/>
                <a:gd name="T59" fmla="*/ 2147483647 h 215"/>
                <a:gd name="T60" fmla="*/ 2147483647 w 227"/>
                <a:gd name="T61" fmla="*/ 2147483647 h 215"/>
                <a:gd name="T62" fmla="*/ 2147483647 w 227"/>
                <a:gd name="T63" fmla="*/ 2147483647 h 215"/>
                <a:gd name="T64" fmla="*/ 2147483647 w 227"/>
                <a:gd name="T65" fmla="*/ 2147483647 h 215"/>
                <a:gd name="T66" fmla="*/ 2147483647 w 227"/>
                <a:gd name="T67" fmla="*/ 2147483647 h 215"/>
                <a:gd name="T68" fmla="*/ 2147483647 w 227"/>
                <a:gd name="T69" fmla="*/ 2147483647 h 215"/>
                <a:gd name="T70" fmla="*/ 2147483647 w 227"/>
                <a:gd name="T71" fmla="*/ 2147483647 h 215"/>
                <a:gd name="T72" fmla="*/ 2147483647 w 227"/>
                <a:gd name="T73" fmla="*/ 2147483647 h 215"/>
                <a:gd name="T74" fmla="*/ 2147483647 w 227"/>
                <a:gd name="T75" fmla="*/ 2147483647 h 215"/>
                <a:gd name="T76" fmla="*/ 2147483647 w 227"/>
                <a:gd name="T77" fmla="*/ 2147483647 h 215"/>
                <a:gd name="T78" fmla="*/ 2147483647 w 227"/>
                <a:gd name="T79" fmla="*/ 2147483647 h 215"/>
                <a:gd name="T80" fmla="*/ 2147483647 w 227"/>
                <a:gd name="T81" fmla="*/ 2147483647 h 215"/>
                <a:gd name="T82" fmla="*/ 2147483647 w 227"/>
                <a:gd name="T83" fmla="*/ 2147483647 h 215"/>
                <a:gd name="T84" fmla="*/ 2147483647 w 227"/>
                <a:gd name="T85" fmla="*/ 2147483647 h 215"/>
                <a:gd name="T86" fmla="*/ 2147483647 w 227"/>
                <a:gd name="T87" fmla="*/ 2147483647 h 215"/>
                <a:gd name="T88" fmla="*/ 2147483647 w 227"/>
                <a:gd name="T89" fmla="*/ 2147483647 h 215"/>
                <a:gd name="T90" fmla="*/ 2147483647 w 227"/>
                <a:gd name="T91" fmla="*/ 2147483647 h 215"/>
                <a:gd name="T92" fmla="*/ 2147483647 w 227"/>
                <a:gd name="T93" fmla="*/ 2147483647 h 215"/>
                <a:gd name="T94" fmla="*/ 2147483647 w 227"/>
                <a:gd name="T95" fmla="*/ 2147483647 h 215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27"/>
                <a:gd name="T145" fmla="*/ 0 h 215"/>
                <a:gd name="T146" fmla="*/ 227 w 227"/>
                <a:gd name="T147" fmla="*/ 215 h 215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27" h="215">
                  <a:moveTo>
                    <a:pt x="152" y="175"/>
                  </a:moveTo>
                  <a:lnTo>
                    <a:pt x="152" y="175"/>
                  </a:lnTo>
                  <a:lnTo>
                    <a:pt x="152" y="172"/>
                  </a:lnTo>
                  <a:lnTo>
                    <a:pt x="150" y="172"/>
                  </a:lnTo>
                  <a:lnTo>
                    <a:pt x="150" y="169"/>
                  </a:lnTo>
                  <a:lnTo>
                    <a:pt x="150" y="161"/>
                  </a:lnTo>
                  <a:lnTo>
                    <a:pt x="138" y="146"/>
                  </a:lnTo>
                  <a:lnTo>
                    <a:pt x="155" y="144"/>
                  </a:lnTo>
                  <a:lnTo>
                    <a:pt x="155" y="146"/>
                  </a:lnTo>
                  <a:lnTo>
                    <a:pt x="155" y="152"/>
                  </a:lnTo>
                  <a:lnTo>
                    <a:pt x="164" y="149"/>
                  </a:lnTo>
                  <a:lnTo>
                    <a:pt x="173" y="155"/>
                  </a:lnTo>
                  <a:lnTo>
                    <a:pt x="175" y="149"/>
                  </a:lnTo>
                  <a:lnTo>
                    <a:pt x="187" y="146"/>
                  </a:lnTo>
                  <a:lnTo>
                    <a:pt x="195" y="141"/>
                  </a:lnTo>
                  <a:lnTo>
                    <a:pt x="204" y="138"/>
                  </a:lnTo>
                  <a:lnTo>
                    <a:pt x="210" y="135"/>
                  </a:lnTo>
                  <a:lnTo>
                    <a:pt x="213" y="129"/>
                  </a:lnTo>
                  <a:lnTo>
                    <a:pt x="207" y="121"/>
                  </a:lnTo>
                  <a:lnTo>
                    <a:pt x="198" y="112"/>
                  </a:lnTo>
                  <a:lnTo>
                    <a:pt x="204" y="103"/>
                  </a:lnTo>
                  <a:lnTo>
                    <a:pt x="201" y="98"/>
                  </a:lnTo>
                  <a:lnTo>
                    <a:pt x="204" y="98"/>
                  </a:lnTo>
                  <a:lnTo>
                    <a:pt x="210" y="95"/>
                  </a:lnTo>
                  <a:lnTo>
                    <a:pt x="218" y="89"/>
                  </a:lnTo>
                  <a:lnTo>
                    <a:pt x="213" y="83"/>
                  </a:lnTo>
                  <a:lnTo>
                    <a:pt x="218" y="75"/>
                  </a:lnTo>
                  <a:lnTo>
                    <a:pt x="227" y="63"/>
                  </a:lnTo>
                  <a:lnTo>
                    <a:pt x="224" y="60"/>
                  </a:lnTo>
                  <a:lnTo>
                    <a:pt x="213" y="60"/>
                  </a:lnTo>
                  <a:lnTo>
                    <a:pt x="204" y="63"/>
                  </a:lnTo>
                  <a:lnTo>
                    <a:pt x="201" y="60"/>
                  </a:lnTo>
                  <a:lnTo>
                    <a:pt x="207" y="55"/>
                  </a:lnTo>
                  <a:lnTo>
                    <a:pt x="213" y="46"/>
                  </a:lnTo>
                  <a:lnTo>
                    <a:pt x="210" y="43"/>
                  </a:lnTo>
                  <a:lnTo>
                    <a:pt x="204" y="40"/>
                  </a:lnTo>
                  <a:lnTo>
                    <a:pt x="201" y="34"/>
                  </a:lnTo>
                  <a:lnTo>
                    <a:pt x="198" y="40"/>
                  </a:lnTo>
                  <a:lnTo>
                    <a:pt x="193" y="34"/>
                  </a:lnTo>
                  <a:lnTo>
                    <a:pt x="187" y="34"/>
                  </a:lnTo>
                  <a:lnTo>
                    <a:pt x="184" y="29"/>
                  </a:lnTo>
                  <a:lnTo>
                    <a:pt x="181" y="26"/>
                  </a:lnTo>
                  <a:lnTo>
                    <a:pt x="187" y="23"/>
                  </a:lnTo>
                  <a:lnTo>
                    <a:pt x="193" y="23"/>
                  </a:lnTo>
                  <a:lnTo>
                    <a:pt x="195" y="20"/>
                  </a:lnTo>
                  <a:lnTo>
                    <a:pt x="178" y="17"/>
                  </a:lnTo>
                  <a:lnTo>
                    <a:pt x="158" y="20"/>
                  </a:lnTo>
                  <a:lnTo>
                    <a:pt x="152" y="26"/>
                  </a:lnTo>
                  <a:lnTo>
                    <a:pt x="147" y="32"/>
                  </a:lnTo>
                  <a:lnTo>
                    <a:pt x="135" y="29"/>
                  </a:lnTo>
                  <a:lnTo>
                    <a:pt x="124" y="23"/>
                  </a:lnTo>
                  <a:lnTo>
                    <a:pt x="115" y="20"/>
                  </a:lnTo>
                  <a:lnTo>
                    <a:pt x="98" y="23"/>
                  </a:lnTo>
                  <a:lnTo>
                    <a:pt x="86" y="20"/>
                  </a:lnTo>
                  <a:lnTo>
                    <a:pt x="89" y="14"/>
                  </a:lnTo>
                  <a:lnTo>
                    <a:pt x="95" y="17"/>
                  </a:lnTo>
                  <a:lnTo>
                    <a:pt x="95" y="14"/>
                  </a:lnTo>
                  <a:lnTo>
                    <a:pt x="92" y="11"/>
                  </a:lnTo>
                  <a:lnTo>
                    <a:pt x="86" y="11"/>
                  </a:lnTo>
                  <a:lnTo>
                    <a:pt x="78" y="6"/>
                  </a:lnTo>
                  <a:lnTo>
                    <a:pt x="69" y="3"/>
                  </a:lnTo>
                  <a:lnTo>
                    <a:pt x="58" y="6"/>
                  </a:lnTo>
                  <a:lnTo>
                    <a:pt x="52" y="6"/>
                  </a:lnTo>
                  <a:lnTo>
                    <a:pt x="40" y="11"/>
                  </a:lnTo>
                  <a:lnTo>
                    <a:pt x="35" y="14"/>
                  </a:lnTo>
                  <a:lnTo>
                    <a:pt x="32" y="20"/>
                  </a:lnTo>
                  <a:lnTo>
                    <a:pt x="38" y="37"/>
                  </a:lnTo>
                  <a:lnTo>
                    <a:pt x="38" y="46"/>
                  </a:lnTo>
                  <a:lnTo>
                    <a:pt x="35" y="49"/>
                  </a:lnTo>
                  <a:lnTo>
                    <a:pt x="26" y="49"/>
                  </a:lnTo>
                  <a:lnTo>
                    <a:pt x="23" y="40"/>
                  </a:lnTo>
                  <a:lnTo>
                    <a:pt x="23" y="37"/>
                  </a:lnTo>
                  <a:lnTo>
                    <a:pt x="20" y="34"/>
                  </a:lnTo>
                  <a:lnTo>
                    <a:pt x="29" y="26"/>
                  </a:lnTo>
                  <a:lnTo>
                    <a:pt x="29" y="11"/>
                  </a:lnTo>
                  <a:lnTo>
                    <a:pt x="26" y="6"/>
                  </a:lnTo>
                  <a:lnTo>
                    <a:pt x="35" y="0"/>
                  </a:lnTo>
                  <a:lnTo>
                    <a:pt x="38" y="0"/>
                  </a:lnTo>
                  <a:lnTo>
                    <a:pt x="23" y="6"/>
                  </a:lnTo>
                  <a:lnTo>
                    <a:pt x="20" y="14"/>
                  </a:lnTo>
                  <a:lnTo>
                    <a:pt x="12" y="26"/>
                  </a:lnTo>
                  <a:lnTo>
                    <a:pt x="6" y="40"/>
                  </a:lnTo>
                  <a:lnTo>
                    <a:pt x="0" y="49"/>
                  </a:lnTo>
                  <a:lnTo>
                    <a:pt x="3" y="46"/>
                  </a:lnTo>
                  <a:lnTo>
                    <a:pt x="9" y="52"/>
                  </a:lnTo>
                  <a:lnTo>
                    <a:pt x="9" y="55"/>
                  </a:lnTo>
                  <a:lnTo>
                    <a:pt x="12" y="60"/>
                  </a:lnTo>
                  <a:lnTo>
                    <a:pt x="15" y="69"/>
                  </a:lnTo>
                  <a:lnTo>
                    <a:pt x="12" y="72"/>
                  </a:lnTo>
                  <a:lnTo>
                    <a:pt x="9" y="75"/>
                  </a:lnTo>
                  <a:lnTo>
                    <a:pt x="9" y="80"/>
                  </a:lnTo>
                  <a:lnTo>
                    <a:pt x="12" y="83"/>
                  </a:lnTo>
                  <a:lnTo>
                    <a:pt x="18" y="89"/>
                  </a:lnTo>
                  <a:lnTo>
                    <a:pt x="23" y="89"/>
                  </a:lnTo>
                  <a:lnTo>
                    <a:pt x="32" y="92"/>
                  </a:lnTo>
                  <a:lnTo>
                    <a:pt x="35" y="92"/>
                  </a:lnTo>
                  <a:lnTo>
                    <a:pt x="38" y="92"/>
                  </a:lnTo>
                  <a:lnTo>
                    <a:pt x="52" y="95"/>
                  </a:lnTo>
                  <a:lnTo>
                    <a:pt x="58" y="98"/>
                  </a:lnTo>
                  <a:lnTo>
                    <a:pt x="61" y="100"/>
                  </a:lnTo>
                  <a:lnTo>
                    <a:pt x="61" y="103"/>
                  </a:lnTo>
                  <a:lnTo>
                    <a:pt x="66" y="106"/>
                  </a:lnTo>
                  <a:lnTo>
                    <a:pt x="75" y="109"/>
                  </a:lnTo>
                  <a:lnTo>
                    <a:pt x="81" y="109"/>
                  </a:lnTo>
                  <a:lnTo>
                    <a:pt x="92" y="106"/>
                  </a:lnTo>
                  <a:lnTo>
                    <a:pt x="95" y="106"/>
                  </a:lnTo>
                  <a:lnTo>
                    <a:pt x="98" y="109"/>
                  </a:lnTo>
                  <a:lnTo>
                    <a:pt x="98" y="115"/>
                  </a:lnTo>
                  <a:lnTo>
                    <a:pt x="92" y="126"/>
                  </a:lnTo>
                  <a:lnTo>
                    <a:pt x="92" y="138"/>
                  </a:lnTo>
                  <a:lnTo>
                    <a:pt x="92" y="144"/>
                  </a:lnTo>
                  <a:lnTo>
                    <a:pt x="95" y="149"/>
                  </a:lnTo>
                  <a:lnTo>
                    <a:pt x="95" y="155"/>
                  </a:lnTo>
                  <a:lnTo>
                    <a:pt x="95" y="164"/>
                  </a:lnTo>
                  <a:lnTo>
                    <a:pt x="95" y="166"/>
                  </a:lnTo>
                  <a:lnTo>
                    <a:pt x="89" y="175"/>
                  </a:lnTo>
                  <a:lnTo>
                    <a:pt x="101" y="184"/>
                  </a:lnTo>
                  <a:lnTo>
                    <a:pt x="101" y="204"/>
                  </a:lnTo>
                  <a:lnTo>
                    <a:pt x="106" y="210"/>
                  </a:lnTo>
                  <a:lnTo>
                    <a:pt x="115" y="215"/>
                  </a:lnTo>
                  <a:lnTo>
                    <a:pt x="124" y="207"/>
                  </a:lnTo>
                  <a:lnTo>
                    <a:pt x="127" y="204"/>
                  </a:lnTo>
                  <a:lnTo>
                    <a:pt x="127" y="207"/>
                  </a:lnTo>
                  <a:lnTo>
                    <a:pt x="127" y="212"/>
                  </a:lnTo>
                  <a:lnTo>
                    <a:pt x="135" y="204"/>
                  </a:lnTo>
                  <a:lnTo>
                    <a:pt x="144" y="198"/>
                  </a:lnTo>
                  <a:lnTo>
                    <a:pt x="147" y="198"/>
                  </a:lnTo>
                  <a:lnTo>
                    <a:pt x="147" y="201"/>
                  </a:lnTo>
                  <a:lnTo>
                    <a:pt x="150" y="189"/>
                  </a:lnTo>
                  <a:lnTo>
                    <a:pt x="161" y="187"/>
                  </a:lnTo>
                  <a:lnTo>
                    <a:pt x="161" y="184"/>
                  </a:lnTo>
                  <a:lnTo>
                    <a:pt x="152" y="178"/>
                  </a:lnTo>
                  <a:lnTo>
                    <a:pt x="152" y="17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56" name="Freeform 659"/>
            <p:cNvSpPr>
              <a:spLocks/>
            </p:cNvSpPr>
            <p:nvPr/>
          </p:nvSpPr>
          <p:spPr bwMode="auto">
            <a:xfrm>
              <a:off x="2063750" y="3643313"/>
              <a:ext cx="327025" cy="514350"/>
            </a:xfrm>
            <a:custGeom>
              <a:avLst/>
              <a:gdLst>
                <a:gd name="T0" fmla="*/ 2147483647 w 204"/>
                <a:gd name="T1" fmla="*/ 2147483647 h 321"/>
                <a:gd name="T2" fmla="*/ 2147483647 w 204"/>
                <a:gd name="T3" fmla="*/ 2147483647 h 321"/>
                <a:gd name="T4" fmla="*/ 2147483647 w 204"/>
                <a:gd name="T5" fmla="*/ 2147483647 h 321"/>
                <a:gd name="T6" fmla="*/ 2147483647 w 204"/>
                <a:gd name="T7" fmla="*/ 2147483647 h 321"/>
                <a:gd name="T8" fmla="*/ 2147483647 w 204"/>
                <a:gd name="T9" fmla="*/ 2147483647 h 321"/>
                <a:gd name="T10" fmla="*/ 2147483647 w 204"/>
                <a:gd name="T11" fmla="*/ 2147483647 h 321"/>
                <a:gd name="T12" fmla="*/ 2147483647 w 204"/>
                <a:gd name="T13" fmla="*/ 2147483647 h 321"/>
                <a:gd name="T14" fmla="*/ 2147483647 w 204"/>
                <a:gd name="T15" fmla="*/ 2147483647 h 321"/>
                <a:gd name="T16" fmla="*/ 2147483647 w 204"/>
                <a:gd name="T17" fmla="*/ 2147483647 h 321"/>
                <a:gd name="T18" fmla="*/ 2147483647 w 204"/>
                <a:gd name="T19" fmla="*/ 2147483647 h 321"/>
                <a:gd name="T20" fmla="*/ 2147483647 w 204"/>
                <a:gd name="T21" fmla="*/ 2147483647 h 321"/>
                <a:gd name="T22" fmla="*/ 2147483647 w 204"/>
                <a:gd name="T23" fmla="*/ 2147483647 h 321"/>
                <a:gd name="T24" fmla="*/ 2147483647 w 204"/>
                <a:gd name="T25" fmla="*/ 2147483647 h 321"/>
                <a:gd name="T26" fmla="*/ 2147483647 w 204"/>
                <a:gd name="T27" fmla="*/ 2147483647 h 321"/>
                <a:gd name="T28" fmla="*/ 2147483647 w 204"/>
                <a:gd name="T29" fmla="*/ 2147483647 h 321"/>
                <a:gd name="T30" fmla="*/ 2147483647 w 204"/>
                <a:gd name="T31" fmla="*/ 2147483647 h 321"/>
                <a:gd name="T32" fmla="*/ 2147483647 w 204"/>
                <a:gd name="T33" fmla="*/ 2147483647 h 321"/>
                <a:gd name="T34" fmla="*/ 2147483647 w 204"/>
                <a:gd name="T35" fmla="*/ 2147483647 h 321"/>
                <a:gd name="T36" fmla="*/ 2147483647 w 204"/>
                <a:gd name="T37" fmla="*/ 2147483647 h 321"/>
                <a:gd name="T38" fmla="*/ 2147483647 w 204"/>
                <a:gd name="T39" fmla="*/ 2147483647 h 321"/>
                <a:gd name="T40" fmla="*/ 2147483647 w 204"/>
                <a:gd name="T41" fmla="*/ 2147483647 h 321"/>
                <a:gd name="T42" fmla="*/ 2147483647 w 204"/>
                <a:gd name="T43" fmla="*/ 2147483647 h 321"/>
                <a:gd name="T44" fmla="*/ 2147483647 w 204"/>
                <a:gd name="T45" fmla="*/ 2147483647 h 321"/>
                <a:gd name="T46" fmla="*/ 2147483647 w 204"/>
                <a:gd name="T47" fmla="*/ 2147483647 h 321"/>
                <a:gd name="T48" fmla="*/ 2147483647 w 204"/>
                <a:gd name="T49" fmla="*/ 2147483647 h 321"/>
                <a:gd name="T50" fmla="*/ 2147483647 w 204"/>
                <a:gd name="T51" fmla="*/ 2147483647 h 321"/>
                <a:gd name="T52" fmla="*/ 2147483647 w 204"/>
                <a:gd name="T53" fmla="*/ 2147483647 h 321"/>
                <a:gd name="T54" fmla="*/ 2147483647 w 204"/>
                <a:gd name="T55" fmla="*/ 2147483647 h 321"/>
                <a:gd name="T56" fmla="*/ 2147483647 w 204"/>
                <a:gd name="T57" fmla="*/ 2147483647 h 321"/>
                <a:gd name="T58" fmla="*/ 2147483647 w 204"/>
                <a:gd name="T59" fmla="*/ 2147483647 h 321"/>
                <a:gd name="T60" fmla="*/ 2147483647 w 204"/>
                <a:gd name="T61" fmla="*/ 2147483647 h 321"/>
                <a:gd name="T62" fmla="*/ 2147483647 w 204"/>
                <a:gd name="T63" fmla="*/ 2147483647 h 321"/>
                <a:gd name="T64" fmla="*/ 2147483647 w 204"/>
                <a:gd name="T65" fmla="*/ 2147483647 h 321"/>
                <a:gd name="T66" fmla="*/ 2147483647 w 204"/>
                <a:gd name="T67" fmla="*/ 2147483647 h 321"/>
                <a:gd name="T68" fmla="*/ 2147483647 w 204"/>
                <a:gd name="T69" fmla="*/ 2147483647 h 321"/>
                <a:gd name="T70" fmla="*/ 2147483647 w 204"/>
                <a:gd name="T71" fmla="*/ 2147483647 h 321"/>
                <a:gd name="T72" fmla="*/ 2147483647 w 204"/>
                <a:gd name="T73" fmla="*/ 2147483647 h 321"/>
                <a:gd name="T74" fmla="*/ 2147483647 w 204"/>
                <a:gd name="T75" fmla="*/ 2147483647 h 321"/>
                <a:gd name="T76" fmla="*/ 0 w 204"/>
                <a:gd name="T77" fmla="*/ 2147483647 h 321"/>
                <a:gd name="T78" fmla="*/ 2147483647 w 204"/>
                <a:gd name="T79" fmla="*/ 2147483647 h 321"/>
                <a:gd name="T80" fmla="*/ 2147483647 w 204"/>
                <a:gd name="T81" fmla="*/ 2147483647 h 321"/>
                <a:gd name="T82" fmla="*/ 2147483647 w 204"/>
                <a:gd name="T83" fmla="*/ 2147483647 h 321"/>
                <a:gd name="T84" fmla="*/ 2147483647 w 204"/>
                <a:gd name="T85" fmla="*/ 2147483647 h 321"/>
                <a:gd name="T86" fmla="*/ 2147483647 w 204"/>
                <a:gd name="T87" fmla="*/ 2147483647 h 321"/>
                <a:gd name="T88" fmla="*/ 2147483647 w 204"/>
                <a:gd name="T89" fmla="*/ 2147483647 h 321"/>
                <a:gd name="T90" fmla="*/ 2147483647 w 204"/>
                <a:gd name="T91" fmla="*/ 2147483647 h 321"/>
                <a:gd name="T92" fmla="*/ 2147483647 w 204"/>
                <a:gd name="T93" fmla="*/ 2147483647 h 321"/>
                <a:gd name="T94" fmla="*/ 2147483647 w 204"/>
                <a:gd name="T95" fmla="*/ 2147483647 h 321"/>
                <a:gd name="T96" fmla="*/ 2147483647 w 204"/>
                <a:gd name="T97" fmla="*/ 2147483647 h 321"/>
                <a:gd name="T98" fmla="*/ 2147483647 w 204"/>
                <a:gd name="T99" fmla="*/ 2147483647 h 321"/>
                <a:gd name="T100" fmla="*/ 2147483647 w 204"/>
                <a:gd name="T101" fmla="*/ 2147483647 h 321"/>
                <a:gd name="T102" fmla="*/ 2147483647 w 204"/>
                <a:gd name="T103" fmla="*/ 2147483647 h 321"/>
                <a:gd name="T104" fmla="*/ 2147483647 w 204"/>
                <a:gd name="T105" fmla="*/ 2147483647 h 321"/>
                <a:gd name="T106" fmla="*/ 2147483647 w 204"/>
                <a:gd name="T107" fmla="*/ 2147483647 h 321"/>
                <a:gd name="T108" fmla="*/ 2147483647 w 204"/>
                <a:gd name="T109" fmla="*/ 2147483647 h 321"/>
                <a:gd name="T110" fmla="*/ 2147483647 w 204"/>
                <a:gd name="T111" fmla="*/ 2147483647 h 32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04"/>
                <a:gd name="T169" fmla="*/ 0 h 321"/>
                <a:gd name="T170" fmla="*/ 204 w 204"/>
                <a:gd name="T171" fmla="*/ 321 h 32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04" h="321">
                  <a:moveTo>
                    <a:pt x="158" y="209"/>
                  </a:moveTo>
                  <a:lnTo>
                    <a:pt x="167" y="206"/>
                  </a:lnTo>
                  <a:lnTo>
                    <a:pt x="187" y="206"/>
                  </a:lnTo>
                  <a:lnTo>
                    <a:pt x="190" y="201"/>
                  </a:lnTo>
                  <a:lnTo>
                    <a:pt x="190" y="203"/>
                  </a:lnTo>
                  <a:lnTo>
                    <a:pt x="192" y="203"/>
                  </a:lnTo>
                  <a:lnTo>
                    <a:pt x="198" y="201"/>
                  </a:lnTo>
                  <a:lnTo>
                    <a:pt x="204" y="201"/>
                  </a:lnTo>
                  <a:lnTo>
                    <a:pt x="204" y="198"/>
                  </a:lnTo>
                  <a:lnTo>
                    <a:pt x="190" y="189"/>
                  </a:lnTo>
                  <a:lnTo>
                    <a:pt x="198" y="178"/>
                  </a:lnTo>
                  <a:lnTo>
                    <a:pt x="198" y="169"/>
                  </a:lnTo>
                  <a:lnTo>
                    <a:pt x="195" y="160"/>
                  </a:lnTo>
                  <a:lnTo>
                    <a:pt x="195" y="155"/>
                  </a:lnTo>
                  <a:lnTo>
                    <a:pt x="192" y="152"/>
                  </a:lnTo>
                  <a:lnTo>
                    <a:pt x="195" y="140"/>
                  </a:lnTo>
                  <a:lnTo>
                    <a:pt x="201" y="126"/>
                  </a:lnTo>
                  <a:lnTo>
                    <a:pt x="201" y="123"/>
                  </a:lnTo>
                  <a:lnTo>
                    <a:pt x="198" y="123"/>
                  </a:lnTo>
                  <a:lnTo>
                    <a:pt x="187" y="126"/>
                  </a:lnTo>
                  <a:lnTo>
                    <a:pt x="181" y="126"/>
                  </a:lnTo>
                  <a:lnTo>
                    <a:pt x="169" y="123"/>
                  </a:lnTo>
                  <a:lnTo>
                    <a:pt x="164" y="120"/>
                  </a:lnTo>
                  <a:lnTo>
                    <a:pt x="161" y="117"/>
                  </a:lnTo>
                  <a:lnTo>
                    <a:pt x="161" y="114"/>
                  </a:lnTo>
                  <a:lnTo>
                    <a:pt x="155" y="112"/>
                  </a:lnTo>
                  <a:lnTo>
                    <a:pt x="144" y="109"/>
                  </a:lnTo>
                  <a:lnTo>
                    <a:pt x="141" y="109"/>
                  </a:lnTo>
                  <a:lnTo>
                    <a:pt x="138" y="109"/>
                  </a:lnTo>
                  <a:lnTo>
                    <a:pt x="129" y="109"/>
                  </a:lnTo>
                  <a:lnTo>
                    <a:pt x="124" y="106"/>
                  </a:lnTo>
                  <a:lnTo>
                    <a:pt x="115" y="100"/>
                  </a:lnTo>
                  <a:lnTo>
                    <a:pt x="112" y="97"/>
                  </a:lnTo>
                  <a:lnTo>
                    <a:pt x="109" y="94"/>
                  </a:lnTo>
                  <a:lnTo>
                    <a:pt x="112" y="89"/>
                  </a:lnTo>
                  <a:lnTo>
                    <a:pt x="115" y="83"/>
                  </a:lnTo>
                  <a:lnTo>
                    <a:pt x="118" y="83"/>
                  </a:lnTo>
                  <a:lnTo>
                    <a:pt x="115" y="77"/>
                  </a:lnTo>
                  <a:lnTo>
                    <a:pt x="112" y="66"/>
                  </a:lnTo>
                  <a:lnTo>
                    <a:pt x="109" y="63"/>
                  </a:lnTo>
                  <a:lnTo>
                    <a:pt x="103" y="69"/>
                  </a:lnTo>
                  <a:lnTo>
                    <a:pt x="101" y="66"/>
                  </a:lnTo>
                  <a:lnTo>
                    <a:pt x="109" y="51"/>
                  </a:lnTo>
                  <a:lnTo>
                    <a:pt x="115" y="37"/>
                  </a:lnTo>
                  <a:lnTo>
                    <a:pt x="124" y="25"/>
                  </a:lnTo>
                  <a:lnTo>
                    <a:pt x="126" y="17"/>
                  </a:lnTo>
                  <a:lnTo>
                    <a:pt x="146" y="8"/>
                  </a:lnTo>
                  <a:lnTo>
                    <a:pt x="146" y="5"/>
                  </a:lnTo>
                  <a:lnTo>
                    <a:pt x="135" y="0"/>
                  </a:lnTo>
                  <a:lnTo>
                    <a:pt x="126" y="11"/>
                  </a:lnTo>
                  <a:lnTo>
                    <a:pt x="112" y="20"/>
                  </a:lnTo>
                  <a:lnTo>
                    <a:pt x="103" y="23"/>
                  </a:lnTo>
                  <a:lnTo>
                    <a:pt x="98" y="23"/>
                  </a:lnTo>
                  <a:lnTo>
                    <a:pt x="95" y="20"/>
                  </a:lnTo>
                  <a:lnTo>
                    <a:pt x="92" y="23"/>
                  </a:lnTo>
                  <a:lnTo>
                    <a:pt x="86" y="28"/>
                  </a:lnTo>
                  <a:lnTo>
                    <a:pt x="83" y="28"/>
                  </a:lnTo>
                  <a:lnTo>
                    <a:pt x="80" y="28"/>
                  </a:lnTo>
                  <a:lnTo>
                    <a:pt x="78" y="28"/>
                  </a:lnTo>
                  <a:lnTo>
                    <a:pt x="72" y="34"/>
                  </a:lnTo>
                  <a:lnTo>
                    <a:pt x="66" y="37"/>
                  </a:lnTo>
                  <a:lnTo>
                    <a:pt x="66" y="43"/>
                  </a:lnTo>
                  <a:lnTo>
                    <a:pt x="66" y="48"/>
                  </a:lnTo>
                  <a:lnTo>
                    <a:pt x="63" y="54"/>
                  </a:lnTo>
                  <a:lnTo>
                    <a:pt x="66" y="60"/>
                  </a:lnTo>
                  <a:lnTo>
                    <a:pt x="60" y="60"/>
                  </a:lnTo>
                  <a:lnTo>
                    <a:pt x="55" y="66"/>
                  </a:lnTo>
                  <a:lnTo>
                    <a:pt x="49" y="71"/>
                  </a:lnTo>
                  <a:lnTo>
                    <a:pt x="43" y="77"/>
                  </a:lnTo>
                  <a:lnTo>
                    <a:pt x="43" y="83"/>
                  </a:lnTo>
                  <a:lnTo>
                    <a:pt x="40" y="77"/>
                  </a:lnTo>
                  <a:lnTo>
                    <a:pt x="37" y="74"/>
                  </a:lnTo>
                  <a:lnTo>
                    <a:pt x="35" y="80"/>
                  </a:lnTo>
                  <a:lnTo>
                    <a:pt x="37" y="86"/>
                  </a:lnTo>
                  <a:lnTo>
                    <a:pt x="35" y="94"/>
                  </a:lnTo>
                  <a:lnTo>
                    <a:pt x="32" y="94"/>
                  </a:lnTo>
                  <a:lnTo>
                    <a:pt x="29" y="94"/>
                  </a:lnTo>
                  <a:lnTo>
                    <a:pt x="26" y="103"/>
                  </a:lnTo>
                  <a:lnTo>
                    <a:pt x="29" y="112"/>
                  </a:lnTo>
                  <a:lnTo>
                    <a:pt x="32" y="114"/>
                  </a:lnTo>
                  <a:lnTo>
                    <a:pt x="32" y="120"/>
                  </a:lnTo>
                  <a:lnTo>
                    <a:pt x="32" y="123"/>
                  </a:lnTo>
                  <a:lnTo>
                    <a:pt x="32" y="129"/>
                  </a:lnTo>
                  <a:lnTo>
                    <a:pt x="32" y="132"/>
                  </a:lnTo>
                  <a:lnTo>
                    <a:pt x="29" y="137"/>
                  </a:lnTo>
                  <a:lnTo>
                    <a:pt x="32" y="149"/>
                  </a:lnTo>
                  <a:lnTo>
                    <a:pt x="32" y="155"/>
                  </a:lnTo>
                  <a:lnTo>
                    <a:pt x="29" y="160"/>
                  </a:lnTo>
                  <a:lnTo>
                    <a:pt x="26" y="160"/>
                  </a:lnTo>
                  <a:lnTo>
                    <a:pt x="23" y="163"/>
                  </a:lnTo>
                  <a:lnTo>
                    <a:pt x="23" y="166"/>
                  </a:lnTo>
                  <a:lnTo>
                    <a:pt x="23" y="169"/>
                  </a:lnTo>
                  <a:lnTo>
                    <a:pt x="26" y="172"/>
                  </a:lnTo>
                  <a:lnTo>
                    <a:pt x="29" y="172"/>
                  </a:lnTo>
                  <a:lnTo>
                    <a:pt x="29" y="178"/>
                  </a:lnTo>
                  <a:lnTo>
                    <a:pt x="26" y="180"/>
                  </a:lnTo>
                  <a:lnTo>
                    <a:pt x="23" y="186"/>
                  </a:lnTo>
                  <a:lnTo>
                    <a:pt x="20" y="192"/>
                  </a:lnTo>
                  <a:lnTo>
                    <a:pt x="14" y="192"/>
                  </a:lnTo>
                  <a:lnTo>
                    <a:pt x="12" y="192"/>
                  </a:lnTo>
                  <a:lnTo>
                    <a:pt x="9" y="195"/>
                  </a:lnTo>
                  <a:lnTo>
                    <a:pt x="9" y="203"/>
                  </a:lnTo>
                  <a:lnTo>
                    <a:pt x="6" y="206"/>
                  </a:lnTo>
                  <a:lnTo>
                    <a:pt x="3" y="206"/>
                  </a:lnTo>
                  <a:lnTo>
                    <a:pt x="0" y="209"/>
                  </a:lnTo>
                  <a:lnTo>
                    <a:pt x="14" y="221"/>
                  </a:lnTo>
                  <a:lnTo>
                    <a:pt x="26" y="226"/>
                  </a:lnTo>
                  <a:lnTo>
                    <a:pt x="29" y="226"/>
                  </a:lnTo>
                  <a:lnTo>
                    <a:pt x="29" y="232"/>
                  </a:lnTo>
                  <a:lnTo>
                    <a:pt x="37" y="235"/>
                  </a:lnTo>
                  <a:lnTo>
                    <a:pt x="46" y="235"/>
                  </a:lnTo>
                  <a:lnTo>
                    <a:pt x="46" y="232"/>
                  </a:lnTo>
                  <a:lnTo>
                    <a:pt x="49" y="232"/>
                  </a:lnTo>
                  <a:lnTo>
                    <a:pt x="52" y="232"/>
                  </a:lnTo>
                  <a:lnTo>
                    <a:pt x="60" y="241"/>
                  </a:lnTo>
                  <a:lnTo>
                    <a:pt x="63" y="244"/>
                  </a:lnTo>
                  <a:lnTo>
                    <a:pt x="72" y="244"/>
                  </a:lnTo>
                  <a:lnTo>
                    <a:pt x="80" y="249"/>
                  </a:lnTo>
                  <a:lnTo>
                    <a:pt x="83" y="261"/>
                  </a:lnTo>
                  <a:lnTo>
                    <a:pt x="95" y="267"/>
                  </a:lnTo>
                  <a:lnTo>
                    <a:pt x="101" y="275"/>
                  </a:lnTo>
                  <a:lnTo>
                    <a:pt x="109" y="281"/>
                  </a:lnTo>
                  <a:lnTo>
                    <a:pt x="106" y="287"/>
                  </a:lnTo>
                  <a:lnTo>
                    <a:pt x="109" y="287"/>
                  </a:lnTo>
                  <a:lnTo>
                    <a:pt x="121" y="290"/>
                  </a:lnTo>
                  <a:lnTo>
                    <a:pt x="126" y="287"/>
                  </a:lnTo>
                  <a:lnTo>
                    <a:pt x="129" y="284"/>
                  </a:lnTo>
                  <a:lnTo>
                    <a:pt x="138" y="287"/>
                  </a:lnTo>
                  <a:lnTo>
                    <a:pt x="141" y="284"/>
                  </a:lnTo>
                  <a:lnTo>
                    <a:pt x="144" y="284"/>
                  </a:lnTo>
                  <a:lnTo>
                    <a:pt x="155" y="292"/>
                  </a:lnTo>
                  <a:lnTo>
                    <a:pt x="155" y="295"/>
                  </a:lnTo>
                  <a:lnTo>
                    <a:pt x="155" y="298"/>
                  </a:lnTo>
                  <a:lnTo>
                    <a:pt x="152" y="307"/>
                  </a:lnTo>
                  <a:lnTo>
                    <a:pt x="146" y="315"/>
                  </a:lnTo>
                  <a:lnTo>
                    <a:pt x="155" y="318"/>
                  </a:lnTo>
                  <a:lnTo>
                    <a:pt x="158" y="321"/>
                  </a:lnTo>
                  <a:lnTo>
                    <a:pt x="161" y="287"/>
                  </a:lnTo>
                  <a:lnTo>
                    <a:pt x="164" y="272"/>
                  </a:lnTo>
                  <a:lnTo>
                    <a:pt x="164" y="264"/>
                  </a:lnTo>
                  <a:lnTo>
                    <a:pt x="161" y="258"/>
                  </a:lnTo>
                  <a:lnTo>
                    <a:pt x="152" y="247"/>
                  </a:lnTo>
                  <a:lnTo>
                    <a:pt x="152" y="232"/>
                  </a:lnTo>
                  <a:lnTo>
                    <a:pt x="164" y="229"/>
                  </a:lnTo>
                  <a:lnTo>
                    <a:pt x="169" y="229"/>
                  </a:lnTo>
                  <a:lnTo>
                    <a:pt x="167" y="224"/>
                  </a:lnTo>
                  <a:lnTo>
                    <a:pt x="155" y="221"/>
                  </a:lnTo>
                  <a:lnTo>
                    <a:pt x="158" y="20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57" name="Freeform 660"/>
            <p:cNvSpPr>
              <a:spLocks/>
            </p:cNvSpPr>
            <p:nvPr/>
          </p:nvSpPr>
          <p:spPr bwMode="auto">
            <a:xfrm>
              <a:off x="2009775" y="3987800"/>
              <a:ext cx="155575" cy="201613"/>
            </a:xfrm>
            <a:custGeom>
              <a:avLst/>
              <a:gdLst>
                <a:gd name="T0" fmla="*/ 2147483647 w 97"/>
                <a:gd name="T1" fmla="*/ 2147483647 h 126"/>
                <a:gd name="T2" fmla="*/ 2147483647 w 97"/>
                <a:gd name="T3" fmla="*/ 2147483647 h 126"/>
                <a:gd name="T4" fmla="*/ 2147483647 w 97"/>
                <a:gd name="T5" fmla="*/ 2147483647 h 126"/>
                <a:gd name="T6" fmla="*/ 2147483647 w 97"/>
                <a:gd name="T7" fmla="*/ 2147483647 h 126"/>
                <a:gd name="T8" fmla="*/ 2147483647 w 97"/>
                <a:gd name="T9" fmla="*/ 2147483647 h 126"/>
                <a:gd name="T10" fmla="*/ 2147483647 w 97"/>
                <a:gd name="T11" fmla="*/ 2147483647 h 126"/>
                <a:gd name="T12" fmla="*/ 2147483647 w 97"/>
                <a:gd name="T13" fmla="*/ 2147483647 h 126"/>
                <a:gd name="T14" fmla="*/ 2147483647 w 97"/>
                <a:gd name="T15" fmla="*/ 2147483647 h 126"/>
                <a:gd name="T16" fmla="*/ 2147483647 w 97"/>
                <a:gd name="T17" fmla="*/ 2147483647 h 126"/>
                <a:gd name="T18" fmla="*/ 2147483647 w 97"/>
                <a:gd name="T19" fmla="*/ 2147483647 h 126"/>
                <a:gd name="T20" fmla="*/ 2147483647 w 97"/>
                <a:gd name="T21" fmla="*/ 2147483647 h 126"/>
                <a:gd name="T22" fmla="*/ 2147483647 w 97"/>
                <a:gd name="T23" fmla="*/ 2147483647 h 126"/>
                <a:gd name="T24" fmla="*/ 2147483647 w 97"/>
                <a:gd name="T25" fmla="*/ 2147483647 h 126"/>
                <a:gd name="T26" fmla="*/ 2147483647 w 97"/>
                <a:gd name="T27" fmla="*/ 2147483647 h 126"/>
                <a:gd name="T28" fmla="*/ 2147483647 w 97"/>
                <a:gd name="T29" fmla="*/ 2147483647 h 126"/>
                <a:gd name="T30" fmla="*/ 2147483647 w 97"/>
                <a:gd name="T31" fmla="*/ 2147483647 h 126"/>
                <a:gd name="T32" fmla="*/ 2147483647 w 97"/>
                <a:gd name="T33" fmla="*/ 2147483647 h 126"/>
                <a:gd name="T34" fmla="*/ 2147483647 w 97"/>
                <a:gd name="T35" fmla="*/ 2147483647 h 126"/>
                <a:gd name="T36" fmla="*/ 2147483647 w 97"/>
                <a:gd name="T37" fmla="*/ 2147483647 h 126"/>
                <a:gd name="T38" fmla="*/ 2147483647 w 97"/>
                <a:gd name="T39" fmla="*/ 2147483647 h 126"/>
                <a:gd name="T40" fmla="*/ 2147483647 w 97"/>
                <a:gd name="T41" fmla="*/ 2147483647 h 126"/>
                <a:gd name="T42" fmla="*/ 2147483647 w 97"/>
                <a:gd name="T43" fmla="*/ 2147483647 h 126"/>
                <a:gd name="T44" fmla="*/ 2147483647 w 97"/>
                <a:gd name="T45" fmla="*/ 0 h 126"/>
                <a:gd name="T46" fmla="*/ 2147483647 w 97"/>
                <a:gd name="T47" fmla="*/ 2147483647 h 126"/>
                <a:gd name="T48" fmla="*/ 2147483647 w 97"/>
                <a:gd name="T49" fmla="*/ 2147483647 h 126"/>
                <a:gd name="T50" fmla="*/ 2147483647 w 97"/>
                <a:gd name="T51" fmla="*/ 2147483647 h 126"/>
                <a:gd name="T52" fmla="*/ 2147483647 w 97"/>
                <a:gd name="T53" fmla="*/ 2147483647 h 126"/>
                <a:gd name="T54" fmla="*/ 2147483647 w 97"/>
                <a:gd name="T55" fmla="*/ 2147483647 h 126"/>
                <a:gd name="T56" fmla="*/ 2147483647 w 97"/>
                <a:gd name="T57" fmla="*/ 2147483647 h 126"/>
                <a:gd name="T58" fmla="*/ 2147483647 w 97"/>
                <a:gd name="T59" fmla="*/ 2147483647 h 126"/>
                <a:gd name="T60" fmla="*/ 2147483647 w 97"/>
                <a:gd name="T61" fmla="*/ 2147483647 h 126"/>
                <a:gd name="T62" fmla="*/ 2147483647 w 97"/>
                <a:gd name="T63" fmla="*/ 2147483647 h 126"/>
                <a:gd name="T64" fmla="*/ 2147483647 w 97"/>
                <a:gd name="T65" fmla="*/ 2147483647 h 126"/>
                <a:gd name="T66" fmla="*/ 0 w 97"/>
                <a:gd name="T67" fmla="*/ 2147483647 h 126"/>
                <a:gd name="T68" fmla="*/ 2147483647 w 97"/>
                <a:gd name="T69" fmla="*/ 2147483647 h 126"/>
                <a:gd name="T70" fmla="*/ 2147483647 w 97"/>
                <a:gd name="T71" fmla="*/ 2147483647 h 126"/>
                <a:gd name="T72" fmla="*/ 2147483647 w 97"/>
                <a:gd name="T73" fmla="*/ 2147483647 h 126"/>
                <a:gd name="T74" fmla="*/ 2147483647 w 97"/>
                <a:gd name="T75" fmla="*/ 2147483647 h 126"/>
                <a:gd name="T76" fmla="*/ 2147483647 w 97"/>
                <a:gd name="T77" fmla="*/ 2147483647 h 126"/>
                <a:gd name="T78" fmla="*/ 2147483647 w 97"/>
                <a:gd name="T79" fmla="*/ 2147483647 h 126"/>
                <a:gd name="T80" fmla="*/ 2147483647 w 97"/>
                <a:gd name="T81" fmla="*/ 2147483647 h 126"/>
                <a:gd name="T82" fmla="*/ 2147483647 w 97"/>
                <a:gd name="T83" fmla="*/ 2147483647 h 126"/>
                <a:gd name="T84" fmla="*/ 2147483647 w 97"/>
                <a:gd name="T85" fmla="*/ 2147483647 h 126"/>
                <a:gd name="T86" fmla="*/ 2147483647 w 97"/>
                <a:gd name="T87" fmla="*/ 2147483647 h 126"/>
                <a:gd name="T88" fmla="*/ 2147483647 w 97"/>
                <a:gd name="T89" fmla="*/ 2147483647 h 126"/>
                <a:gd name="T90" fmla="*/ 2147483647 w 97"/>
                <a:gd name="T91" fmla="*/ 2147483647 h 126"/>
                <a:gd name="T92" fmla="*/ 2147483647 w 97"/>
                <a:gd name="T93" fmla="*/ 2147483647 h 126"/>
                <a:gd name="T94" fmla="*/ 2147483647 w 97"/>
                <a:gd name="T95" fmla="*/ 2147483647 h 126"/>
                <a:gd name="T96" fmla="*/ 2147483647 w 97"/>
                <a:gd name="T97" fmla="*/ 2147483647 h 126"/>
                <a:gd name="T98" fmla="*/ 2147483647 w 97"/>
                <a:gd name="T99" fmla="*/ 2147483647 h 126"/>
                <a:gd name="T100" fmla="*/ 2147483647 w 97"/>
                <a:gd name="T101" fmla="*/ 2147483647 h 126"/>
                <a:gd name="T102" fmla="*/ 2147483647 w 97"/>
                <a:gd name="T103" fmla="*/ 2147483647 h 12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97"/>
                <a:gd name="T157" fmla="*/ 0 h 126"/>
                <a:gd name="T158" fmla="*/ 97 w 97"/>
                <a:gd name="T159" fmla="*/ 126 h 12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97" h="126">
                  <a:moveTo>
                    <a:pt x="31" y="123"/>
                  </a:moveTo>
                  <a:lnTo>
                    <a:pt x="34" y="126"/>
                  </a:lnTo>
                  <a:lnTo>
                    <a:pt x="37" y="115"/>
                  </a:lnTo>
                  <a:lnTo>
                    <a:pt x="40" y="115"/>
                  </a:lnTo>
                  <a:lnTo>
                    <a:pt x="43" y="103"/>
                  </a:lnTo>
                  <a:lnTo>
                    <a:pt x="51" y="92"/>
                  </a:lnTo>
                  <a:lnTo>
                    <a:pt x="60" y="83"/>
                  </a:lnTo>
                  <a:lnTo>
                    <a:pt x="71" y="77"/>
                  </a:lnTo>
                  <a:lnTo>
                    <a:pt x="77" y="75"/>
                  </a:lnTo>
                  <a:lnTo>
                    <a:pt x="83" y="72"/>
                  </a:lnTo>
                  <a:lnTo>
                    <a:pt x="89" y="60"/>
                  </a:lnTo>
                  <a:lnTo>
                    <a:pt x="94" y="52"/>
                  </a:lnTo>
                  <a:lnTo>
                    <a:pt x="97" y="46"/>
                  </a:lnTo>
                  <a:lnTo>
                    <a:pt x="97" y="40"/>
                  </a:lnTo>
                  <a:lnTo>
                    <a:pt x="91" y="29"/>
                  </a:lnTo>
                  <a:lnTo>
                    <a:pt x="83" y="20"/>
                  </a:lnTo>
                  <a:lnTo>
                    <a:pt x="83" y="23"/>
                  </a:lnTo>
                  <a:lnTo>
                    <a:pt x="80" y="23"/>
                  </a:lnTo>
                  <a:lnTo>
                    <a:pt x="71" y="23"/>
                  </a:lnTo>
                  <a:lnTo>
                    <a:pt x="63" y="20"/>
                  </a:lnTo>
                  <a:lnTo>
                    <a:pt x="60" y="20"/>
                  </a:lnTo>
                  <a:lnTo>
                    <a:pt x="60" y="14"/>
                  </a:lnTo>
                  <a:lnTo>
                    <a:pt x="46" y="6"/>
                  </a:lnTo>
                  <a:lnTo>
                    <a:pt x="37" y="0"/>
                  </a:lnTo>
                  <a:lnTo>
                    <a:pt x="37" y="3"/>
                  </a:lnTo>
                  <a:lnTo>
                    <a:pt x="31" y="6"/>
                  </a:lnTo>
                  <a:lnTo>
                    <a:pt x="25" y="6"/>
                  </a:lnTo>
                  <a:lnTo>
                    <a:pt x="20" y="9"/>
                  </a:lnTo>
                  <a:lnTo>
                    <a:pt x="17" y="11"/>
                  </a:lnTo>
                  <a:lnTo>
                    <a:pt x="17" y="14"/>
                  </a:lnTo>
                  <a:lnTo>
                    <a:pt x="17" y="23"/>
                  </a:lnTo>
                  <a:lnTo>
                    <a:pt x="14" y="26"/>
                  </a:lnTo>
                  <a:lnTo>
                    <a:pt x="11" y="32"/>
                  </a:lnTo>
                  <a:lnTo>
                    <a:pt x="8" y="34"/>
                  </a:lnTo>
                  <a:lnTo>
                    <a:pt x="11" y="37"/>
                  </a:lnTo>
                  <a:lnTo>
                    <a:pt x="8" y="43"/>
                  </a:lnTo>
                  <a:lnTo>
                    <a:pt x="2" y="46"/>
                  </a:lnTo>
                  <a:lnTo>
                    <a:pt x="0" y="49"/>
                  </a:lnTo>
                  <a:lnTo>
                    <a:pt x="2" y="52"/>
                  </a:lnTo>
                  <a:lnTo>
                    <a:pt x="5" y="54"/>
                  </a:lnTo>
                  <a:lnTo>
                    <a:pt x="2" y="57"/>
                  </a:lnTo>
                  <a:lnTo>
                    <a:pt x="2" y="63"/>
                  </a:lnTo>
                  <a:lnTo>
                    <a:pt x="2" y="69"/>
                  </a:lnTo>
                  <a:lnTo>
                    <a:pt x="2" y="72"/>
                  </a:lnTo>
                  <a:lnTo>
                    <a:pt x="2" y="75"/>
                  </a:lnTo>
                  <a:lnTo>
                    <a:pt x="8" y="77"/>
                  </a:lnTo>
                  <a:lnTo>
                    <a:pt x="11" y="77"/>
                  </a:lnTo>
                  <a:lnTo>
                    <a:pt x="14" y="80"/>
                  </a:lnTo>
                  <a:lnTo>
                    <a:pt x="14" y="83"/>
                  </a:lnTo>
                  <a:lnTo>
                    <a:pt x="14" y="86"/>
                  </a:lnTo>
                  <a:lnTo>
                    <a:pt x="17" y="86"/>
                  </a:lnTo>
                  <a:lnTo>
                    <a:pt x="20" y="77"/>
                  </a:lnTo>
                  <a:lnTo>
                    <a:pt x="23" y="80"/>
                  </a:lnTo>
                  <a:lnTo>
                    <a:pt x="20" y="86"/>
                  </a:lnTo>
                  <a:lnTo>
                    <a:pt x="17" y="92"/>
                  </a:lnTo>
                  <a:lnTo>
                    <a:pt x="14" y="92"/>
                  </a:lnTo>
                  <a:lnTo>
                    <a:pt x="17" y="103"/>
                  </a:lnTo>
                  <a:lnTo>
                    <a:pt x="11" y="109"/>
                  </a:lnTo>
                  <a:lnTo>
                    <a:pt x="11" y="112"/>
                  </a:lnTo>
                  <a:lnTo>
                    <a:pt x="20" y="109"/>
                  </a:lnTo>
                  <a:lnTo>
                    <a:pt x="31" y="115"/>
                  </a:lnTo>
                  <a:lnTo>
                    <a:pt x="31" y="12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58" name="Freeform 661"/>
            <p:cNvSpPr>
              <a:spLocks/>
            </p:cNvSpPr>
            <p:nvPr/>
          </p:nvSpPr>
          <p:spPr bwMode="auto">
            <a:xfrm>
              <a:off x="2460625" y="2279650"/>
              <a:ext cx="46038" cy="22225"/>
            </a:xfrm>
            <a:custGeom>
              <a:avLst/>
              <a:gdLst>
                <a:gd name="T0" fmla="*/ 2147483647 w 29"/>
                <a:gd name="T1" fmla="*/ 2147483647 h 14"/>
                <a:gd name="T2" fmla="*/ 2147483647 w 29"/>
                <a:gd name="T3" fmla="*/ 2147483647 h 14"/>
                <a:gd name="T4" fmla="*/ 0 w 29"/>
                <a:gd name="T5" fmla="*/ 2147483647 h 14"/>
                <a:gd name="T6" fmla="*/ 2147483647 w 29"/>
                <a:gd name="T7" fmla="*/ 2147483647 h 14"/>
                <a:gd name="T8" fmla="*/ 2147483647 w 29"/>
                <a:gd name="T9" fmla="*/ 2147483647 h 14"/>
                <a:gd name="T10" fmla="*/ 2147483647 w 29"/>
                <a:gd name="T11" fmla="*/ 2147483647 h 14"/>
                <a:gd name="T12" fmla="*/ 2147483647 w 29"/>
                <a:gd name="T13" fmla="*/ 2147483647 h 14"/>
                <a:gd name="T14" fmla="*/ 2147483647 w 29"/>
                <a:gd name="T15" fmla="*/ 2147483647 h 14"/>
                <a:gd name="T16" fmla="*/ 2147483647 w 29"/>
                <a:gd name="T17" fmla="*/ 2147483647 h 14"/>
                <a:gd name="T18" fmla="*/ 2147483647 w 29"/>
                <a:gd name="T19" fmla="*/ 2147483647 h 14"/>
                <a:gd name="T20" fmla="*/ 2147483647 w 29"/>
                <a:gd name="T21" fmla="*/ 2147483647 h 14"/>
                <a:gd name="T22" fmla="*/ 2147483647 w 29"/>
                <a:gd name="T23" fmla="*/ 0 h 14"/>
                <a:gd name="T24" fmla="*/ 2147483647 w 29"/>
                <a:gd name="T25" fmla="*/ 0 h 14"/>
                <a:gd name="T26" fmla="*/ 2147483647 w 29"/>
                <a:gd name="T27" fmla="*/ 2147483647 h 14"/>
                <a:gd name="T28" fmla="*/ 2147483647 w 29"/>
                <a:gd name="T29" fmla="*/ 2147483647 h 1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9"/>
                <a:gd name="T46" fmla="*/ 0 h 14"/>
                <a:gd name="T47" fmla="*/ 29 w 29"/>
                <a:gd name="T48" fmla="*/ 14 h 1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9" h="14">
                  <a:moveTo>
                    <a:pt x="9" y="3"/>
                  </a:moveTo>
                  <a:lnTo>
                    <a:pt x="6" y="8"/>
                  </a:lnTo>
                  <a:lnTo>
                    <a:pt x="0" y="11"/>
                  </a:lnTo>
                  <a:lnTo>
                    <a:pt x="9" y="14"/>
                  </a:lnTo>
                  <a:lnTo>
                    <a:pt x="11" y="8"/>
                  </a:lnTo>
                  <a:lnTo>
                    <a:pt x="14" y="14"/>
                  </a:lnTo>
                  <a:lnTo>
                    <a:pt x="17" y="8"/>
                  </a:lnTo>
                  <a:lnTo>
                    <a:pt x="20" y="8"/>
                  </a:lnTo>
                  <a:lnTo>
                    <a:pt x="23" y="8"/>
                  </a:lnTo>
                  <a:lnTo>
                    <a:pt x="29" y="3"/>
                  </a:lnTo>
                  <a:lnTo>
                    <a:pt x="23" y="3"/>
                  </a:lnTo>
                  <a:lnTo>
                    <a:pt x="20" y="0"/>
                  </a:lnTo>
                  <a:lnTo>
                    <a:pt x="17" y="0"/>
                  </a:lnTo>
                  <a:lnTo>
                    <a:pt x="11" y="3"/>
                  </a:lnTo>
                  <a:lnTo>
                    <a:pt x="9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59" name="Freeform 662"/>
            <p:cNvSpPr>
              <a:spLocks/>
            </p:cNvSpPr>
            <p:nvPr/>
          </p:nvSpPr>
          <p:spPr bwMode="auto">
            <a:xfrm>
              <a:off x="2403475" y="2413000"/>
              <a:ext cx="9525" cy="4763"/>
            </a:xfrm>
            <a:custGeom>
              <a:avLst/>
              <a:gdLst>
                <a:gd name="T0" fmla="*/ 2147483647 w 6"/>
                <a:gd name="T1" fmla="*/ 2147483647 h 3"/>
                <a:gd name="T2" fmla="*/ 2147483647 w 6"/>
                <a:gd name="T3" fmla="*/ 0 h 3"/>
                <a:gd name="T4" fmla="*/ 2147483647 w 6"/>
                <a:gd name="T5" fmla="*/ 0 h 3"/>
                <a:gd name="T6" fmla="*/ 2147483647 w 6"/>
                <a:gd name="T7" fmla="*/ 0 h 3"/>
                <a:gd name="T8" fmla="*/ 0 w 6"/>
                <a:gd name="T9" fmla="*/ 2147483647 h 3"/>
                <a:gd name="T10" fmla="*/ 2147483647 w 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3" y="3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60" name="Freeform 663"/>
            <p:cNvSpPr>
              <a:spLocks/>
            </p:cNvSpPr>
            <p:nvPr/>
          </p:nvSpPr>
          <p:spPr bwMode="auto">
            <a:xfrm>
              <a:off x="2497138" y="2247900"/>
              <a:ext cx="4762" cy="7938"/>
            </a:xfrm>
            <a:custGeom>
              <a:avLst/>
              <a:gdLst>
                <a:gd name="T0" fmla="*/ 2147483647 w 3"/>
                <a:gd name="T1" fmla="*/ 0 h 5"/>
                <a:gd name="T2" fmla="*/ 0 w 3"/>
                <a:gd name="T3" fmla="*/ 0 h 5"/>
                <a:gd name="T4" fmla="*/ 0 w 3"/>
                <a:gd name="T5" fmla="*/ 2147483647 h 5"/>
                <a:gd name="T6" fmla="*/ 0 w 3"/>
                <a:gd name="T7" fmla="*/ 2147483647 h 5"/>
                <a:gd name="T8" fmla="*/ 2147483647 w 3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3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0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61" name="Freeform 664"/>
            <p:cNvSpPr>
              <a:spLocks/>
            </p:cNvSpPr>
            <p:nvPr/>
          </p:nvSpPr>
          <p:spPr bwMode="auto">
            <a:xfrm>
              <a:off x="2413000" y="2371725"/>
              <a:ext cx="4763" cy="14288"/>
            </a:xfrm>
            <a:custGeom>
              <a:avLst/>
              <a:gdLst>
                <a:gd name="T0" fmla="*/ 2147483647 w 3"/>
                <a:gd name="T1" fmla="*/ 2147483647 h 9"/>
                <a:gd name="T2" fmla="*/ 2147483647 w 3"/>
                <a:gd name="T3" fmla="*/ 2147483647 h 9"/>
                <a:gd name="T4" fmla="*/ 2147483647 w 3"/>
                <a:gd name="T5" fmla="*/ 0 h 9"/>
                <a:gd name="T6" fmla="*/ 0 w 3"/>
                <a:gd name="T7" fmla="*/ 0 h 9"/>
                <a:gd name="T8" fmla="*/ 2147483647 w 3"/>
                <a:gd name="T9" fmla="*/ 2147483647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9"/>
                <a:gd name="T17" fmla="*/ 3 w 3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9">
                  <a:moveTo>
                    <a:pt x="3" y="6"/>
                  </a:moveTo>
                  <a:lnTo>
                    <a:pt x="3" y="9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62" name="Freeform 665"/>
            <p:cNvSpPr>
              <a:spLocks/>
            </p:cNvSpPr>
            <p:nvPr/>
          </p:nvSpPr>
          <p:spPr bwMode="auto">
            <a:xfrm>
              <a:off x="2478088" y="2265363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2147483647 h 6"/>
                <a:gd name="T4" fmla="*/ 0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0 h 6"/>
                <a:gd name="T10" fmla="*/ 2147483647 w 6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6"/>
                <a:gd name="T20" fmla="*/ 6 w 6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6">
                  <a:moveTo>
                    <a:pt x="3" y="3"/>
                  </a:moveTo>
                  <a:lnTo>
                    <a:pt x="3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6" y="0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63" name="Freeform 666"/>
            <p:cNvSpPr>
              <a:spLocks/>
            </p:cNvSpPr>
            <p:nvPr/>
          </p:nvSpPr>
          <p:spPr bwMode="auto">
            <a:xfrm>
              <a:off x="1898650" y="3094038"/>
              <a:ext cx="7938" cy="4762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2147483647 h 3"/>
                <a:gd name="T4" fmla="*/ 2147483647 w 5"/>
                <a:gd name="T5" fmla="*/ 0 h 3"/>
                <a:gd name="T6" fmla="*/ 2147483647 w 5"/>
                <a:gd name="T7" fmla="*/ 0 h 3"/>
                <a:gd name="T8" fmla="*/ 0 w 5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0" y="3"/>
                  </a:moveTo>
                  <a:lnTo>
                    <a:pt x="3" y="3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64" name="Freeform 667"/>
            <p:cNvSpPr>
              <a:spLocks/>
            </p:cNvSpPr>
            <p:nvPr/>
          </p:nvSpPr>
          <p:spPr bwMode="auto">
            <a:xfrm>
              <a:off x="1814513" y="3454400"/>
              <a:ext cx="52387" cy="77788"/>
            </a:xfrm>
            <a:custGeom>
              <a:avLst/>
              <a:gdLst>
                <a:gd name="T0" fmla="*/ 2147483647 w 32"/>
                <a:gd name="T1" fmla="*/ 2147483647 h 49"/>
                <a:gd name="T2" fmla="*/ 2147483647 w 32"/>
                <a:gd name="T3" fmla="*/ 2147483647 h 49"/>
                <a:gd name="T4" fmla="*/ 2147483647 w 32"/>
                <a:gd name="T5" fmla="*/ 0 h 49"/>
                <a:gd name="T6" fmla="*/ 2147483647 w 32"/>
                <a:gd name="T7" fmla="*/ 2147483647 h 49"/>
                <a:gd name="T8" fmla="*/ 2147483647 w 32"/>
                <a:gd name="T9" fmla="*/ 2147483647 h 49"/>
                <a:gd name="T10" fmla="*/ 0 w 32"/>
                <a:gd name="T11" fmla="*/ 2147483647 h 49"/>
                <a:gd name="T12" fmla="*/ 2147483647 w 32"/>
                <a:gd name="T13" fmla="*/ 2147483647 h 49"/>
                <a:gd name="T14" fmla="*/ 2147483647 w 32"/>
                <a:gd name="T15" fmla="*/ 2147483647 h 49"/>
                <a:gd name="T16" fmla="*/ 2147483647 w 32"/>
                <a:gd name="T17" fmla="*/ 2147483647 h 49"/>
                <a:gd name="T18" fmla="*/ 2147483647 w 32"/>
                <a:gd name="T19" fmla="*/ 2147483647 h 49"/>
                <a:gd name="T20" fmla="*/ 2147483647 w 32"/>
                <a:gd name="T21" fmla="*/ 2147483647 h 49"/>
                <a:gd name="T22" fmla="*/ 2147483647 w 32"/>
                <a:gd name="T23" fmla="*/ 2147483647 h 49"/>
                <a:gd name="T24" fmla="*/ 2147483647 w 32"/>
                <a:gd name="T25" fmla="*/ 2147483647 h 49"/>
                <a:gd name="T26" fmla="*/ 2147483647 w 32"/>
                <a:gd name="T27" fmla="*/ 2147483647 h 49"/>
                <a:gd name="T28" fmla="*/ 2147483647 w 32"/>
                <a:gd name="T29" fmla="*/ 2147483647 h 49"/>
                <a:gd name="T30" fmla="*/ 2147483647 w 32"/>
                <a:gd name="T31" fmla="*/ 2147483647 h 49"/>
                <a:gd name="T32" fmla="*/ 2147483647 w 32"/>
                <a:gd name="T33" fmla="*/ 2147483647 h 49"/>
                <a:gd name="T34" fmla="*/ 2147483647 w 32"/>
                <a:gd name="T35" fmla="*/ 2147483647 h 4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2"/>
                <a:gd name="T55" fmla="*/ 0 h 49"/>
                <a:gd name="T56" fmla="*/ 32 w 32"/>
                <a:gd name="T57" fmla="*/ 49 h 4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2" h="49">
                  <a:moveTo>
                    <a:pt x="32" y="6"/>
                  </a:moveTo>
                  <a:lnTo>
                    <a:pt x="32" y="6"/>
                  </a:lnTo>
                  <a:lnTo>
                    <a:pt x="20" y="0"/>
                  </a:lnTo>
                  <a:lnTo>
                    <a:pt x="14" y="11"/>
                  </a:lnTo>
                  <a:lnTo>
                    <a:pt x="9" y="11"/>
                  </a:lnTo>
                  <a:lnTo>
                    <a:pt x="0" y="49"/>
                  </a:lnTo>
                  <a:lnTo>
                    <a:pt x="6" y="46"/>
                  </a:lnTo>
                  <a:lnTo>
                    <a:pt x="17" y="37"/>
                  </a:lnTo>
                  <a:lnTo>
                    <a:pt x="20" y="29"/>
                  </a:lnTo>
                  <a:lnTo>
                    <a:pt x="17" y="26"/>
                  </a:lnTo>
                  <a:lnTo>
                    <a:pt x="17" y="23"/>
                  </a:lnTo>
                  <a:lnTo>
                    <a:pt x="17" y="20"/>
                  </a:lnTo>
                  <a:lnTo>
                    <a:pt x="26" y="14"/>
                  </a:lnTo>
                  <a:lnTo>
                    <a:pt x="32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65" name="Freeform 668"/>
            <p:cNvSpPr>
              <a:spLocks/>
            </p:cNvSpPr>
            <p:nvPr/>
          </p:nvSpPr>
          <p:spPr bwMode="auto">
            <a:xfrm>
              <a:off x="1962150" y="3333750"/>
              <a:ext cx="9525" cy="4763"/>
            </a:xfrm>
            <a:custGeom>
              <a:avLst/>
              <a:gdLst>
                <a:gd name="T0" fmla="*/ 2147483647 w 6"/>
                <a:gd name="T1" fmla="*/ 0 h 3"/>
                <a:gd name="T2" fmla="*/ 2147483647 w 6"/>
                <a:gd name="T3" fmla="*/ 0 h 3"/>
                <a:gd name="T4" fmla="*/ 0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6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66" name="Freeform 669"/>
            <p:cNvSpPr>
              <a:spLocks/>
            </p:cNvSpPr>
            <p:nvPr/>
          </p:nvSpPr>
          <p:spPr bwMode="auto">
            <a:xfrm>
              <a:off x="1957388" y="3306763"/>
              <a:ext cx="285750" cy="109537"/>
            </a:xfrm>
            <a:custGeom>
              <a:avLst/>
              <a:gdLst>
                <a:gd name="T0" fmla="*/ 2147483647 w 178"/>
                <a:gd name="T1" fmla="*/ 2147483647 h 69"/>
                <a:gd name="T2" fmla="*/ 2147483647 w 178"/>
                <a:gd name="T3" fmla="*/ 2147483647 h 69"/>
                <a:gd name="T4" fmla="*/ 2147483647 w 178"/>
                <a:gd name="T5" fmla="*/ 2147483647 h 69"/>
                <a:gd name="T6" fmla="*/ 2147483647 w 178"/>
                <a:gd name="T7" fmla="*/ 2147483647 h 69"/>
                <a:gd name="T8" fmla="*/ 2147483647 w 178"/>
                <a:gd name="T9" fmla="*/ 2147483647 h 69"/>
                <a:gd name="T10" fmla="*/ 2147483647 w 178"/>
                <a:gd name="T11" fmla="*/ 2147483647 h 69"/>
                <a:gd name="T12" fmla="*/ 2147483647 w 178"/>
                <a:gd name="T13" fmla="*/ 2147483647 h 69"/>
                <a:gd name="T14" fmla="*/ 2147483647 w 178"/>
                <a:gd name="T15" fmla="*/ 2147483647 h 69"/>
                <a:gd name="T16" fmla="*/ 2147483647 w 178"/>
                <a:gd name="T17" fmla="*/ 2147483647 h 69"/>
                <a:gd name="T18" fmla="*/ 2147483647 w 178"/>
                <a:gd name="T19" fmla="*/ 2147483647 h 69"/>
                <a:gd name="T20" fmla="*/ 2147483647 w 178"/>
                <a:gd name="T21" fmla="*/ 2147483647 h 69"/>
                <a:gd name="T22" fmla="*/ 2147483647 w 178"/>
                <a:gd name="T23" fmla="*/ 2147483647 h 69"/>
                <a:gd name="T24" fmla="*/ 2147483647 w 178"/>
                <a:gd name="T25" fmla="*/ 2147483647 h 69"/>
                <a:gd name="T26" fmla="*/ 2147483647 w 178"/>
                <a:gd name="T27" fmla="*/ 2147483647 h 69"/>
                <a:gd name="T28" fmla="*/ 2147483647 w 178"/>
                <a:gd name="T29" fmla="*/ 2147483647 h 69"/>
                <a:gd name="T30" fmla="*/ 2147483647 w 178"/>
                <a:gd name="T31" fmla="*/ 2147483647 h 69"/>
                <a:gd name="T32" fmla="*/ 2147483647 w 178"/>
                <a:gd name="T33" fmla="*/ 2147483647 h 69"/>
                <a:gd name="T34" fmla="*/ 2147483647 w 178"/>
                <a:gd name="T35" fmla="*/ 2147483647 h 69"/>
                <a:gd name="T36" fmla="*/ 2147483647 w 178"/>
                <a:gd name="T37" fmla="*/ 2147483647 h 69"/>
                <a:gd name="T38" fmla="*/ 2147483647 w 178"/>
                <a:gd name="T39" fmla="*/ 2147483647 h 69"/>
                <a:gd name="T40" fmla="*/ 2147483647 w 178"/>
                <a:gd name="T41" fmla="*/ 2147483647 h 69"/>
                <a:gd name="T42" fmla="*/ 2147483647 w 178"/>
                <a:gd name="T43" fmla="*/ 2147483647 h 69"/>
                <a:gd name="T44" fmla="*/ 2147483647 w 178"/>
                <a:gd name="T45" fmla="*/ 2147483647 h 69"/>
                <a:gd name="T46" fmla="*/ 2147483647 w 178"/>
                <a:gd name="T47" fmla="*/ 2147483647 h 69"/>
                <a:gd name="T48" fmla="*/ 2147483647 w 178"/>
                <a:gd name="T49" fmla="*/ 2147483647 h 69"/>
                <a:gd name="T50" fmla="*/ 2147483647 w 178"/>
                <a:gd name="T51" fmla="*/ 2147483647 h 69"/>
                <a:gd name="T52" fmla="*/ 2147483647 w 178"/>
                <a:gd name="T53" fmla="*/ 2147483647 h 69"/>
                <a:gd name="T54" fmla="*/ 2147483647 w 178"/>
                <a:gd name="T55" fmla="*/ 2147483647 h 69"/>
                <a:gd name="T56" fmla="*/ 2147483647 w 178"/>
                <a:gd name="T57" fmla="*/ 2147483647 h 69"/>
                <a:gd name="T58" fmla="*/ 2147483647 w 178"/>
                <a:gd name="T59" fmla="*/ 2147483647 h 69"/>
                <a:gd name="T60" fmla="*/ 2147483647 w 178"/>
                <a:gd name="T61" fmla="*/ 2147483647 h 69"/>
                <a:gd name="T62" fmla="*/ 2147483647 w 178"/>
                <a:gd name="T63" fmla="*/ 2147483647 h 69"/>
                <a:gd name="T64" fmla="*/ 2147483647 w 178"/>
                <a:gd name="T65" fmla="*/ 2147483647 h 69"/>
                <a:gd name="T66" fmla="*/ 2147483647 w 178"/>
                <a:gd name="T67" fmla="*/ 0 h 69"/>
                <a:gd name="T68" fmla="*/ 2147483647 w 178"/>
                <a:gd name="T69" fmla="*/ 0 h 69"/>
                <a:gd name="T70" fmla="*/ 2147483647 w 178"/>
                <a:gd name="T71" fmla="*/ 0 h 69"/>
                <a:gd name="T72" fmla="*/ 2147483647 w 178"/>
                <a:gd name="T73" fmla="*/ 2147483647 h 69"/>
                <a:gd name="T74" fmla="*/ 2147483647 w 178"/>
                <a:gd name="T75" fmla="*/ 2147483647 h 69"/>
                <a:gd name="T76" fmla="*/ 2147483647 w 178"/>
                <a:gd name="T77" fmla="*/ 2147483647 h 69"/>
                <a:gd name="T78" fmla="*/ 2147483647 w 178"/>
                <a:gd name="T79" fmla="*/ 2147483647 h 69"/>
                <a:gd name="T80" fmla="*/ 2147483647 w 178"/>
                <a:gd name="T81" fmla="*/ 2147483647 h 69"/>
                <a:gd name="T82" fmla="*/ 2147483647 w 178"/>
                <a:gd name="T83" fmla="*/ 2147483647 h 69"/>
                <a:gd name="T84" fmla="*/ 0 w 178"/>
                <a:gd name="T85" fmla="*/ 2147483647 h 69"/>
                <a:gd name="T86" fmla="*/ 2147483647 w 178"/>
                <a:gd name="T87" fmla="*/ 2147483647 h 69"/>
                <a:gd name="T88" fmla="*/ 2147483647 w 178"/>
                <a:gd name="T89" fmla="*/ 2147483647 h 69"/>
                <a:gd name="T90" fmla="*/ 2147483647 w 178"/>
                <a:gd name="T91" fmla="*/ 2147483647 h 69"/>
                <a:gd name="T92" fmla="*/ 2147483647 w 178"/>
                <a:gd name="T93" fmla="*/ 2147483647 h 69"/>
                <a:gd name="T94" fmla="*/ 2147483647 w 178"/>
                <a:gd name="T95" fmla="*/ 2147483647 h 69"/>
                <a:gd name="T96" fmla="*/ 2147483647 w 178"/>
                <a:gd name="T97" fmla="*/ 2147483647 h 69"/>
                <a:gd name="T98" fmla="*/ 2147483647 w 178"/>
                <a:gd name="T99" fmla="*/ 2147483647 h 69"/>
                <a:gd name="T100" fmla="*/ 2147483647 w 178"/>
                <a:gd name="T101" fmla="*/ 2147483647 h 69"/>
                <a:gd name="T102" fmla="*/ 2147483647 w 178"/>
                <a:gd name="T103" fmla="*/ 2147483647 h 69"/>
                <a:gd name="T104" fmla="*/ 2147483647 w 178"/>
                <a:gd name="T105" fmla="*/ 2147483647 h 69"/>
                <a:gd name="T106" fmla="*/ 2147483647 w 178"/>
                <a:gd name="T107" fmla="*/ 2147483647 h 69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78"/>
                <a:gd name="T163" fmla="*/ 0 h 69"/>
                <a:gd name="T164" fmla="*/ 178 w 178"/>
                <a:gd name="T165" fmla="*/ 69 h 69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78" h="69">
                  <a:moveTo>
                    <a:pt x="66" y="20"/>
                  </a:moveTo>
                  <a:lnTo>
                    <a:pt x="66" y="20"/>
                  </a:lnTo>
                  <a:lnTo>
                    <a:pt x="69" y="23"/>
                  </a:lnTo>
                  <a:lnTo>
                    <a:pt x="72" y="23"/>
                  </a:lnTo>
                  <a:lnTo>
                    <a:pt x="75" y="23"/>
                  </a:lnTo>
                  <a:lnTo>
                    <a:pt x="75" y="20"/>
                  </a:lnTo>
                  <a:lnTo>
                    <a:pt x="75" y="23"/>
                  </a:lnTo>
                  <a:lnTo>
                    <a:pt x="78" y="29"/>
                  </a:lnTo>
                  <a:lnTo>
                    <a:pt x="80" y="29"/>
                  </a:lnTo>
                  <a:lnTo>
                    <a:pt x="89" y="32"/>
                  </a:lnTo>
                  <a:lnTo>
                    <a:pt x="98" y="32"/>
                  </a:lnTo>
                  <a:lnTo>
                    <a:pt x="103" y="34"/>
                  </a:lnTo>
                  <a:lnTo>
                    <a:pt x="106" y="37"/>
                  </a:lnTo>
                  <a:lnTo>
                    <a:pt x="106" y="43"/>
                  </a:lnTo>
                  <a:lnTo>
                    <a:pt x="109" y="46"/>
                  </a:lnTo>
                  <a:lnTo>
                    <a:pt x="112" y="49"/>
                  </a:lnTo>
                  <a:lnTo>
                    <a:pt x="115" y="52"/>
                  </a:lnTo>
                  <a:lnTo>
                    <a:pt x="121" y="49"/>
                  </a:lnTo>
                  <a:lnTo>
                    <a:pt x="123" y="52"/>
                  </a:lnTo>
                  <a:lnTo>
                    <a:pt x="126" y="55"/>
                  </a:lnTo>
                  <a:lnTo>
                    <a:pt x="123" y="60"/>
                  </a:lnTo>
                  <a:lnTo>
                    <a:pt x="118" y="63"/>
                  </a:lnTo>
                  <a:lnTo>
                    <a:pt x="118" y="66"/>
                  </a:lnTo>
                  <a:lnTo>
                    <a:pt x="126" y="66"/>
                  </a:lnTo>
                  <a:lnTo>
                    <a:pt x="138" y="63"/>
                  </a:lnTo>
                  <a:lnTo>
                    <a:pt x="146" y="63"/>
                  </a:lnTo>
                  <a:lnTo>
                    <a:pt x="149" y="66"/>
                  </a:lnTo>
                  <a:lnTo>
                    <a:pt x="152" y="69"/>
                  </a:lnTo>
                  <a:lnTo>
                    <a:pt x="155" y="69"/>
                  </a:lnTo>
                  <a:lnTo>
                    <a:pt x="164" y="69"/>
                  </a:lnTo>
                  <a:lnTo>
                    <a:pt x="169" y="66"/>
                  </a:lnTo>
                  <a:lnTo>
                    <a:pt x="175" y="66"/>
                  </a:lnTo>
                  <a:lnTo>
                    <a:pt x="178" y="63"/>
                  </a:lnTo>
                  <a:lnTo>
                    <a:pt x="178" y="60"/>
                  </a:lnTo>
                  <a:lnTo>
                    <a:pt x="178" y="57"/>
                  </a:lnTo>
                  <a:lnTo>
                    <a:pt x="169" y="57"/>
                  </a:lnTo>
                  <a:lnTo>
                    <a:pt x="164" y="55"/>
                  </a:lnTo>
                  <a:lnTo>
                    <a:pt x="167" y="52"/>
                  </a:lnTo>
                  <a:lnTo>
                    <a:pt x="164" y="49"/>
                  </a:lnTo>
                  <a:lnTo>
                    <a:pt x="161" y="49"/>
                  </a:lnTo>
                  <a:lnTo>
                    <a:pt x="152" y="52"/>
                  </a:lnTo>
                  <a:lnTo>
                    <a:pt x="149" y="49"/>
                  </a:lnTo>
                  <a:lnTo>
                    <a:pt x="152" y="46"/>
                  </a:lnTo>
                  <a:lnTo>
                    <a:pt x="152" y="43"/>
                  </a:lnTo>
                  <a:lnTo>
                    <a:pt x="152" y="40"/>
                  </a:lnTo>
                  <a:lnTo>
                    <a:pt x="144" y="40"/>
                  </a:lnTo>
                  <a:lnTo>
                    <a:pt x="144" y="37"/>
                  </a:lnTo>
                  <a:lnTo>
                    <a:pt x="141" y="37"/>
                  </a:lnTo>
                  <a:lnTo>
                    <a:pt x="135" y="37"/>
                  </a:lnTo>
                  <a:lnTo>
                    <a:pt x="135" y="32"/>
                  </a:lnTo>
                  <a:lnTo>
                    <a:pt x="132" y="32"/>
                  </a:lnTo>
                  <a:lnTo>
                    <a:pt x="129" y="32"/>
                  </a:lnTo>
                  <a:lnTo>
                    <a:pt x="126" y="29"/>
                  </a:lnTo>
                  <a:lnTo>
                    <a:pt x="126" y="26"/>
                  </a:lnTo>
                  <a:lnTo>
                    <a:pt x="121" y="23"/>
                  </a:lnTo>
                  <a:lnTo>
                    <a:pt x="115" y="23"/>
                  </a:lnTo>
                  <a:lnTo>
                    <a:pt x="109" y="17"/>
                  </a:lnTo>
                  <a:lnTo>
                    <a:pt x="106" y="17"/>
                  </a:lnTo>
                  <a:lnTo>
                    <a:pt x="103" y="17"/>
                  </a:lnTo>
                  <a:lnTo>
                    <a:pt x="98" y="17"/>
                  </a:lnTo>
                  <a:lnTo>
                    <a:pt x="95" y="17"/>
                  </a:lnTo>
                  <a:lnTo>
                    <a:pt x="89" y="9"/>
                  </a:lnTo>
                  <a:lnTo>
                    <a:pt x="86" y="6"/>
                  </a:lnTo>
                  <a:lnTo>
                    <a:pt x="80" y="6"/>
                  </a:lnTo>
                  <a:lnTo>
                    <a:pt x="78" y="3"/>
                  </a:lnTo>
                  <a:lnTo>
                    <a:pt x="72" y="0"/>
                  </a:lnTo>
                  <a:lnTo>
                    <a:pt x="66" y="3"/>
                  </a:lnTo>
                  <a:lnTo>
                    <a:pt x="57" y="0"/>
                  </a:lnTo>
                  <a:lnTo>
                    <a:pt x="52" y="0"/>
                  </a:lnTo>
                  <a:lnTo>
                    <a:pt x="46" y="0"/>
                  </a:lnTo>
                  <a:lnTo>
                    <a:pt x="40" y="3"/>
                  </a:lnTo>
                  <a:lnTo>
                    <a:pt x="34" y="3"/>
                  </a:lnTo>
                  <a:lnTo>
                    <a:pt x="32" y="3"/>
                  </a:lnTo>
                  <a:lnTo>
                    <a:pt x="29" y="6"/>
                  </a:lnTo>
                  <a:lnTo>
                    <a:pt x="17" y="9"/>
                  </a:lnTo>
                  <a:lnTo>
                    <a:pt x="14" y="14"/>
                  </a:lnTo>
                  <a:lnTo>
                    <a:pt x="12" y="17"/>
                  </a:lnTo>
                  <a:lnTo>
                    <a:pt x="9" y="20"/>
                  </a:lnTo>
                  <a:lnTo>
                    <a:pt x="9" y="23"/>
                  </a:lnTo>
                  <a:lnTo>
                    <a:pt x="6" y="23"/>
                  </a:lnTo>
                  <a:lnTo>
                    <a:pt x="3" y="23"/>
                  </a:lnTo>
                  <a:lnTo>
                    <a:pt x="0" y="26"/>
                  </a:lnTo>
                  <a:lnTo>
                    <a:pt x="3" y="26"/>
                  </a:lnTo>
                  <a:lnTo>
                    <a:pt x="9" y="29"/>
                  </a:lnTo>
                  <a:lnTo>
                    <a:pt x="12" y="26"/>
                  </a:lnTo>
                  <a:lnTo>
                    <a:pt x="17" y="20"/>
                  </a:lnTo>
                  <a:lnTo>
                    <a:pt x="26" y="20"/>
                  </a:lnTo>
                  <a:lnTo>
                    <a:pt x="29" y="20"/>
                  </a:lnTo>
                  <a:lnTo>
                    <a:pt x="32" y="17"/>
                  </a:lnTo>
                  <a:lnTo>
                    <a:pt x="32" y="11"/>
                  </a:lnTo>
                  <a:lnTo>
                    <a:pt x="37" y="11"/>
                  </a:lnTo>
                  <a:lnTo>
                    <a:pt x="43" y="11"/>
                  </a:lnTo>
                  <a:lnTo>
                    <a:pt x="52" y="9"/>
                  </a:lnTo>
                  <a:lnTo>
                    <a:pt x="55" y="11"/>
                  </a:lnTo>
                  <a:lnTo>
                    <a:pt x="57" y="14"/>
                  </a:lnTo>
                  <a:lnTo>
                    <a:pt x="55" y="14"/>
                  </a:lnTo>
                  <a:lnTo>
                    <a:pt x="49" y="14"/>
                  </a:lnTo>
                  <a:lnTo>
                    <a:pt x="46" y="17"/>
                  </a:lnTo>
                  <a:lnTo>
                    <a:pt x="49" y="20"/>
                  </a:lnTo>
                  <a:lnTo>
                    <a:pt x="55" y="23"/>
                  </a:lnTo>
                  <a:lnTo>
                    <a:pt x="60" y="20"/>
                  </a:lnTo>
                  <a:lnTo>
                    <a:pt x="66" y="2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67" name="Freeform 670"/>
            <p:cNvSpPr>
              <a:spLocks/>
            </p:cNvSpPr>
            <p:nvPr/>
          </p:nvSpPr>
          <p:spPr bwMode="auto">
            <a:xfrm>
              <a:off x="2005013" y="3348038"/>
              <a:ext cx="17462" cy="12700"/>
            </a:xfrm>
            <a:custGeom>
              <a:avLst/>
              <a:gdLst>
                <a:gd name="T0" fmla="*/ 2147483647 w 11"/>
                <a:gd name="T1" fmla="*/ 2147483647 h 8"/>
                <a:gd name="T2" fmla="*/ 2147483647 w 11"/>
                <a:gd name="T3" fmla="*/ 2147483647 h 8"/>
                <a:gd name="T4" fmla="*/ 2147483647 w 11"/>
                <a:gd name="T5" fmla="*/ 2147483647 h 8"/>
                <a:gd name="T6" fmla="*/ 2147483647 w 11"/>
                <a:gd name="T7" fmla="*/ 0 h 8"/>
                <a:gd name="T8" fmla="*/ 2147483647 w 11"/>
                <a:gd name="T9" fmla="*/ 2147483647 h 8"/>
                <a:gd name="T10" fmla="*/ 2147483647 w 11"/>
                <a:gd name="T11" fmla="*/ 2147483647 h 8"/>
                <a:gd name="T12" fmla="*/ 0 w 11"/>
                <a:gd name="T13" fmla="*/ 2147483647 h 8"/>
                <a:gd name="T14" fmla="*/ 2147483647 w 11"/>
                <a:gd name="T15" fmla="*/ 2147483647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"/>
                <a:gd name="T25" fmla="*/ 0 h 8"/>
                <a:gd name="T26" fmla="*/ 11 w 11"/>
                <a:gd name="T27" fmla="*/ 8 h 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" h="8">
                  <a:moveTo>
                    <a:pt x="5" y="8"/>
                  </a:moveTo>
                  <a:lnTo>
                    <a:pt x="11" y="8"/>
                  </a:lnTo>
                  <a:lnTo>
                    <a:pt x="8" y="3"/>
                  </a:lnTo>
                  <a:lnTo>
                    <a:pt x="3" y="0"/>
                  </a:lnTo>
                  <a:lnTo>
                    <a:pt x="3" y="3"/>
                  </a:lnTo>
                  <a:lnTo>
                    <a:pt x="3" y="6"/>
                  </a:lnTo>
                  <a:lnTo>
                    <a:pt x="0" y="8"/>
                  </a:lnTo>
                  <a:lnTo>
                    <a:pt x="5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68" name="Freeform 671"/>
            <p:cNvSpPr>
              <a:spLocks/>
            </p:cNvSpPr>
            <p:nvPr/>
          </p:nvSpPr>
          <p:spPr bwMode="auto">
            <a:xfrm>
              <a:off x="1804988" y="3532188"/>
              <a:ext cx="174625" cy="92075"/>
            </a:xfrm>
            <a:custGeom>
              <a:avLst/>
              <a:gdLst>
                <a:gd name="T0" fmla="*/ 2147483647 w 109"/>
                <a:gd name="T1" fmla="*/ 2147483647 h 57"/>
                <a:gd name="T2" fmla="*/ 2147483647 w 109"/>
                <a:gd name="T3" fmla="*/ 2147483647 h 57"/>
                <a:gd name="T4" fmla="*/ 2147483647 w 109"/>
                <a:gd name="T5" fmla="*/ 2147483647 h 57"/>
                <a:gd name="T6" fmla="*/ 2147483647 w 109"/>
                <a:gd name="T7" fmla="*/ 2147483647 h 57"/>
                <a:gd name="T8" fmla="*/ 2147483647 w 109"/>
                <a:gd name="T9" fmla="*/ 2147483647 h 57"/>
                <a:gd name="T10" fmla="*/ 2147483647 w 109"/>
                <a:gd name="T11" fmla="*/ 2147483647 h 57"/>
                <a:gd name="T12" fmla="*/ 2147483647 w 109"/>
                <a:gd name="T13" fmla="*/ 2147483647 h 57"/>
                <a:gd name="T14" fmla="*/ 2147483647 w 109"/>
                <a:gd name="T15" fmla="*/ 2147483647 h 57"/>
                <a:gd name="T16" fmla="*/ 2147483647 w 109"/>
                <a:gd name="T17" fmla="*/ 2147483647 h 57"/>
                <a:gd name="T18" fmla="*/ 2147483647 w 109"/>
                <a:gd name="T19" fmla="*/ 2147483647 h 57"/>
                <a:gd name="T20" fmla="*/ 2147483647 w 109"/>
                <a:gd name="T21" fmla="*/ 2147483647 h 57"/>
                <a:gd name="T22" fmla="*/ 2147483647 w 109"/>
                <a:gd name="T23" fmla="*/ 2147483647 h 57"/>
                <a:gd name="T24" fmla="*/ 2147483647 w 109"/>
                <a:gd name="T25" fmla="*/ 2147483647 h 57"/>
                <a:gd name="T26" fmla="*/ 2147483647 w 109"/>
                <a:gd name="T27" fmla="*/ 2147483647 h 57"/>
                <a:gd name="T28" fmla="*/ 2147483647 w 109"/>
                <a:gd name="T29" fmla="*/ 2147483647 h 57"/>
                <a:gd name="T30" fmla="*/ 2147483647 w 109"/>
                <a:gd name="T31" fmla="*/ 2147483647 h 57"/>
                <a:gd name="T32" fmla="*/ 2147483647 w 109"/>
                <a:gd name="T33" fmla="*/ 0 h 57"/>
                <a:gd name="T34" fmla="*/ 2147483647 w 109"/>
                <a:gd name="T35" fmla="*/ 0 h 57"/>
                <a:gd name="T36" fmla="*/ 2147483647 w 109"/>
                <a:gd name="T37" fmla="*/ 2147483647 h 57"/>
                <a:gd name="T38" fmla="*/ 2147483647 w 109"/>
                <a:gd name="T39" fmla="*/ 0 h 57"/>
                <a:gd name="T40" fmla="*/ 2147483647 w 109"/>
                <a:gd name="T41" fmla="*/ 0 h 57"/>
                <a:gd name="T42" fmla="*/ 2147483647 w 109"/>
                <a:gd name="T43" fmla="*/ 0 h 57"/>
                <a:gd name="T44" fmla="*/ 2147483647 w 109"/>
                <a:gd name="T45" fmla="*/ 0 h 57"/>
                <a:gd name="T46" fmla="*/ 2147483647 w 109"/>
                <a:gd name="T47" fmla="*/ 0 h 57"/>
                <a:gd name="T48" fmla="*/ 2147483647 w 109"/>
                <a:gd name="T49" fmla="*/ 2147483647 h 57"/>
                <a:gd name="T50" fmla="*/ 2147483647 w 109"/>
                <a:gd name="T51" fmla="*/ 2147483647 h 57"/>
                <a:gd name="T52" fmla="*/ 2147483647 w 109"/>
                <a:gd name="T53" fmla="*/ 2147483647 h 57"/>
                <a:gd name="T54" fmla="*/ 2147483647 w 109"/>
                <a:gd name="T55" fmla="*/ 2147483647 h 57"/>
                <a:gd name="T56" fmla="*/ 2147483647 w 109"/>
                <a:gd name="T57" fmla="*/ 2147483647 h 57"/>
                <a:gd name="T58" fmla="*/ 2147483647 w 109"/>
                <a:gd name="T59" fmla="*/ 0 h 57"/>
                <a:gd name="T60" fmla="*/ 2147483647 w 109"/>
                <a:gd name="T61" fmla="*/ 2147483647 h 57"/>
                <a:gd name="T62" fmla="*/ 2147483647 w 109"/>
                <a:gd name="T63" fmla="*/ 2147483647 h 57"/>
                <a:gd name="T64" fmla="*/ 2147483647 w 109"/>
                <a:gd name="T65" fmla="*/ 2147483647 h 57"/>
                <a:gd name="T66" fmla="*/ 0 w 109"/>
                <a:gd name="T67" fmla="*/ 2147483647 h 57"/>
                <a:gd name="T68" fmla="*/ 2147483647 w 109"/>
                <a:gd name="T69" fmla="*/ 2147483647 h 57"/>
                <a:gd name="T70" fmla="*/ 2147483647 w 109"/>
                <a:gd name="T71" fmla="*/ 2147483647 h 57"/>
                <a:gd name="T72" fmla="*/ 2147483647 w 109"/>
                <a:gd name="T73" fmla="*/ 2147483647 h 57"/>
                <a:gd name="T74" fmla="*/ 2147483647 w 109"/>
                <a:gd name="T75" fmla="*/ 2147483647 h 57"/>
                <a:gd name="T76" fmla="*/ 2147483647 w 109"/>
                <a:gd name="T77" fmla="*/ 2147483647 h 57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09"/>
                <a:gd name="T118" fmla="*/ 0 h 57"/>
                <a:gd name="T119" fmla="*/ 109 w 109"/>
                <a:gd name="T120" fmla="*/ 57 h 57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09" h="57">
                  <a:moveTo>
                    <a:pt x="29" y="57"/>
                  </a:moveTo>
                  <a:lnTo>
                    <a:pt x="29" y="57"/>
                  </a:lnTo>
                  <a:lnTo>
                    <a:pt x="41" y="48"/>
                  </a:lnTo>
                  <a:lnTo>
                    <a:pt x="49" y="40"/>
                  </a:lnTo>
                  <a:lnTo>
                    <a:pt x="61" y="37"/>
                  </a:lnTo>
                  <a:lnTo>
                    <a:pt x="66" y="31"/>
                  </a:lnTo>
                  <a:lnTo>
                    <a:pt x="75" y="17"/>
                  </a:lnTo>
                  <a:lnTo>
                    <a:pt x="84" y="26"/>
                  </a:lnTo>
                  <a:lnTo>
                    <a:pt x="98" y="20"/>
                  </a:lnTo>
                  <a:lnTo>
                    <a:pt x="109" y="17"/>
                  </a:lnTo>
                  <a:lnTo>
                    <a:pt x="107" y="11"/>
                  </a:lnTo>
                  <a:lnTo>
                    <a:pt x="98" y="14"/>
                  </a:lnTo>
                  <a:lnTo>
                    <a:pt x="95" y="8"/>
                  </a:lnTo>
                  <a:lnTo>
                    <a:pt x="92" y="3"/>
                  </a:lnTo>
                  <a:lnTo>
                    <a:pt x="86" y="0"/>
                  </a:lnTo>
                  <a:lnTo>
                    <a:pt x="86" y="3"/>
                  </a:lnTo>
                  <a:lnTo>
                    <a:pt x="84" y="0"/>
                  </a:lnTo>
                  <a:lnTo>
                    <a:pt x="75" y="0"/>
                  </a:lnTo>
                  <a:lnTo>
                    <a:pt x="63" y="0"/>
                  </a:lnTo>
                  <a:lnTo>
                    <a:pt x="55" y="3"/>
                  </a:lnTo>
                  <a:lnTo>
                    <a:pt x="55" y="8"/>
                  </a:lnTo>
                  <a:lnTo>
                    <a:pt x="49" y="3"/>
                  </a:lnTo>
                  <a:lnTo>
                    <a:pt x="43" y="3"/>
                  </a:lnTo>
                  <a:lnTo>
                    <a:pt x="35" y="3"/>
                  </a:lnTo>
                  <a:lnTo>
                    <a:pt x="26" y="0"/>
                  </a:lnTo>
                  <a:lnTo>
                    <a:pt x="23" y="3"/>
                  </a:lnTo>
                  <a:lnTo>
                    <a:pt x="23" y="5"/>
                  </a:lnTo>
                  <a:lnTo>
                    <a:pt x="3" y="20"/>
                  </a:lnTo>
                  <a:lnTo>
                    <a:pt x="0" y="28"/>
                  </a:lnTo>
                  <a:lnTo>
                    <a:pt x="12" y="40"/>
                  </a:lnTo>
                  <a:lnTo>
                    <a:pt x="26" y="37"/>
                  </a:lnTo>
                  <a:lnTo>
                    <a:pt x="32" y="46"/>
                  </a:lnTo>
                  <a:lnTo>
                    <a:pt x="26" y="54"/>
                  </a:lnTo>
                  <a:lnTo>
                    <a:pt x="29" y="5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69" name="Freeform 672"/>
            <p:cNvSpPr>
              <a:spLocks/>
            </p:cNvSpPr>
            <p:nvPr/>
          </p:nvSpPr>
          <p:spPr bwMode="auto">
            <a:xfrm>
              <a:off x="2201863" y="1938338"/>
              <a:ext cx="9525" cy="9525"/>
            </a:xfrm>
            <a:custGeom>
              <a:avLst/>
              <a:gdLst>
                <a:gd name="T0" fmla="*/ 2147483647 w 6"/>
                <a:gd name="T1" fmla="*/ 0 h 6"/>
                <a:gd name="T2" fmla="*/ 0 w 6"/>
                <a:gd name="T3" fmla="*/ 2147483647 h 6"/>
                <a:gd name="T4" fmla="*/ 0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2147483647 w 6"/>
                <a:gd name="T11" fmla="*/ 2147483647 h 6"/>
                <a:gd name="T12" fmla="*/ 2147483647 w 6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6"/>
                <a:gd name="T23" fmla="*/ 6 w 6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6">
                  <a:moveTo>
                    <a:pt x="3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6" y="6"/>
                  </a:lnTo>
                  <a:lnTo>
                    <a:pt x="6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70" name="Rectangle 673"/>
            <p:cNvSpPr>
              <a:spLocks noChangeArrowheads="1"/>
            </p:cNvSpPr>
            <p:nvPr/>
          </p:nvSpPr>
          <p:spPr bwMode="auto">
            <a:xfrm>
              <a:off x="2289175" y="1809750"/>
              <a:ext cx="4763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71" name="Freeform 674"/>
            <p:cNvSpPr>
              <a:spLocks/>
            </p:cNvSpPr>
            <p:nvPr/>
          </p:nvSpPr>
          <p:spPr bwMode="auto">
            <a:xfrm>
              <a:off x="2265363" y="1731963"/>
              <a:ext cx="19050" cy="9525"/>
            </a:xfrm>
            <a:custGeom>
              <a:avLst/>
              <a:gdLst>
                <a:gd name="T0" fmla="*/ 2147483647 w 12"/>
                <a:gd name="T1" fmla="*/ 2147483647 h 6"/>
                <a:gd name="T2" fmla="*/ 2147483647 w 12"/>
                <a:gd name="T3" fmla="*/ 2147483647 h 6"/>
                <a:gd name="T4" fmla="*/ 2147483647 w 12"/>
                <a:gd name="T5" fmla="*/ 2147483647 h 6"/>
                <a:gd name="T6" fmla="*/ 2147483647 w 12"/>
                <a:gd name="T7" fmla="*/ 2147483647 h 6"/>
                <a:gd name="T8" fmla="*/ 2147483647 w 12"/>
                <a:gd name="T9" fmla="*/ 0 h 6"/>
                <a:gd name="T10" fmla="*/ 2147483647 w 12"/>
                <a:gd name="T11" fmla="*/ 0 h 6"/>
                <a:gd name="T12" fmla="*/ 0 w 12"/>
                <a:gd name="T13" fmla="*/ 2147483647 h 6"/>
                <a:gd name="T14" fmla="*/ 2147483647 w 12"/>
                <a:gd name="T15" fmla="*/ 2147483647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"/>
                <a:gd name="T25" fmla="*/ 0 h 6"/>
                <a:gd name="T26" fmla="*/ 12 w 12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" h="6">
                  <a:moveTo>
                    <a:pt x="3" y="6"/>
                  </a:moveTo>
                  <a:lnTo>
                    <a:pt x="12" y="6"/>
                  </a:lnTo>
                  <a:lnTo>
                    <a:pt x="9" y="3"/>
                  </a:lnTo>
                  <a:lnTo>
                    <a:pt x="6" y="0"/>
                  </a:lnTo>
                  <a:lnTo>
                    <a:pt x="0" y="3"/>
                  </a:lnTo>
                  <a:lnTo>
                    <a:pt x="3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72" name="Freeform 675"/>
            <p:cNvSpPr>
              <a:spLocks/>
            </p:cNvSpPr>
            <p:nvPr/>
          </p:nvSpPr>
          <p:spPr bwMode="auto">
            <a:xfrm>
              <a:off x="2143125" y="1751013"/>
              <a:ext cx="46038" cy="17462"/>
            </a:xfrm>
            <a:custGeom>
              <a:avLst/>
              <a:gdLst>
                <a:gd name="T0" fmla="*/ 2147483647 w 29"/>
                <a:gd name="T1" fmla="*/ 2147483647 h 11"/>
                <a:gd name="T2" fmla="*/ 2147483647 w 29"/>
                <a:gd name="T3" fmla="*/ 2147483647 h 11"/>
                <a:gd name="T4" fmla="*/ 2147483647 w 29"/>
                <a:gd name="T5" fmla="*/ 0 h 11"/>
                <a:gd name="T6" fmla="*/ 2147483647 w 29"/>
                <a:gd name="T7" fmla="*/ 0 h 11"/>
                <a:gd name="T8" fmla="*/ 2147483647 w 29"/>
                <a:gd name="T9" fmla="*/ 0 h 11"/>
                <a:gd name="T10" fmla="*/ 2147483647 w 29"/>
                <a:gd name="T11" fmla="*/ 0 h 11"/>
                <a:gd name="T12" fmla="*/ 2147483647 w 29"/>
                <a:gd name="T13" fmla="*/ 2147483647 h 11"/>
                <a:gd name="T14" fmla="*/ 2147483647 w 29"/>
                <a:gd name="T15" fmla="*/ 2147483647 h 11"/>
                <a:gd name="T16" fmla="*/ 2147483647 w 29"/>
                <a:gd name="T17" fmla="*/ 2147483647 h 11"/>
                <a:gd name="T18" fmla="*/ 0 w 29"/>
                <a:gd name="T19" fmla="*/ 2147483647 h 11"/>
                <a:gd name="T20" fmla="*/ 0 w 29"/>
                <a:gd name="T21" fmla="*/ 2147483647 h 11"/>
                <a:gd name="T22" fmla="*/ 2147483647 w 29"/>
                <a:gd name="T23" fmla="*/ 2147483647 h 11"/>
                <a:gd name="T24" fmla="*/ 2147483647 w 29"/>
                <a:gd name="T25" fmla="*/ 2147483647 h 11"/>
                <a:gd name="T26" fmla="*/ 2147483647 w 29"/>
                <a:gd name="T27" fmla="*/ 2147483647 h 11"/>
                <a:gd name="T28" fmla="*/ 2147483647 w 29"/>
                <a:gd name="T29" fmla="*/ 2147483647 h 11"/>
                <a:gd name="T30" fmla="*/ 2147483647 w 29"/>
                <a:gd name="T31" fmla="*/ 2147483647 h 11"/>
                <a:gd name="T32" fmla="*/ 2147483647 w 29"/>
                <a:gd name="T33" fmla="*/ 2147483647 h 1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9"/>
                <a:gd name="T52" fmla="*/ 0 h 11"/>
                <a:gd name="T53" fmla="*/ 29 w 29"/>
                <a:gd name="T54" fmla="*/ 11 h 1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9" h="11">
                  <a:moveTo>
                    <a:pt x="17" y="8"/>
                  </a:moveTo>
                  <a:lnTo>
                    <a:pt x="17" y="8"/>
                  </a:lnTo>
                  <a:lnTo>
                    <a:pt x="29" y="0"/>
                  </a:lnTo>
                  <a:lnTo>
                    <a:pt x="26" y="0"/>
                  </a:lnTo>
                  <a:lnTo>
                    <a:pt x="23" y="0"/>
                  </a:lnTo>
                  <a:lnTo>
                    <a:pt x="14" y="2"/>
                  </a:lnTo>
                  <a:lnTo>
                    <a:pt x="6" y="5"/>
                  </a:lnTo>
                  <a:lnTo>
                    <a:pt x="0" y="8"/>
                  </a:lnTo>
                  <a:lnTo>
                    <a:pt x="3" y="8"/>
                  </a:lnTo>
                  <a:lnTo>
                    <a:pt x="6" y="11"/>
                  </a:lnTo>
                  <a:lnTo>
                    <a:pt x="11" y="8"/>
                  </a:lnTo>
                  <a:lnTo>
                    <a:pt x="17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73" name="Freeform 676"/>
            <p:cNvSpPr>
              <a:spLocks/>
            </p:cNvSpPr>
            <p:nvPr/>
          </p:nvSpPr>
          <p:spPr bwMode="auto">
            <a:xfrm>
              <a:off x="1893888" y="1787525"/>
              <a:ext cx="249237" cy="92075"/>
            </a:xfrm>
            <a:custGeom>
              <a:avLst/>
              <a:gdLst>
                <a:gd name="T0" fmla="*/ 2147483647 w 155"/>
                <a:gd name="T1" fmla="*/ 2147483647 h 57"/>
                <a:gd name="T2" fmla="*/ 2147483647 w 155"/>
                <a:gd name="T3" fmla="*/ 2147483647 h 57"/>
                <a:gd name="T4" fmla="*/ 2147483647 w 155"/>
                <a:gd name="T5" fmla="*/ 2147483647 h 57"/>
                <a:gd name="T6" fmla="*/ 2147483647 w 155"/>
                <a:gd name="T7" fmla="*/ 2147483647 h 57"/>
                <a:gd name="T8" fmla="*/ 2147483647 w 155"/>
                <a:gd name="T9" fmla="*/ 2147483647 h 57"/>
                <a:gd name="T10" fmla="*/ 2147483647 w 155"/>
                <a:gd name="T11" fmla="*/ 2147483647 h 57"/>
                <a:gd name="T12" fmla="*/ 2147483647 w 155"/>
                <a:gd name="T13" fmla="*/ 2147483647 h 57"/>
                <a:gd name="T14" fmla="*/ 2147483647 w 155"/>
                <a:gd name="T15" fmla="*/ 2147483647 h 57"/>
                <a:gd name="T16" fmla="*/ 2147483647 w 155"/>
                <a:gd name="T17" fmla="*/ 2147483647 h 57"/>
                <a:gd name="T18" fmla="*/ 2147483647 w 155"/>
                <a:gd name="T19" fmla="*/ 2147483647 h 57"/>
                <a:gd name="T20" fmla="*/ 2147483647 w 155"/>
                <a:gd name="T21" fmla="*/ 2147483647 h 57"/>
                <a:gd name="T22" fmla="*/ 2147483647 w 155"/>
                <a:gd name="T23" fmla="*/ 2147483647 h 57"/>
                <a:gd name="T24" fmla="*/ 2147483647 w 155"/>
                <a:gd name="T25" fmla="*/ 2147483647 h 57"/>
                <a:gd name="T26" fmla="*/ 2147483647 w 155"/>
                <a:gd name="T27" fmla="*/ 2147483647 h 57"/>
                <a:gd name="T28" fmla="*/ 2147483647 w 155"/>
                <a:gd name="T29" fmla="*/ 2147483647 h 57"/>
                <a:gd name="T30" fmla="*/ 2147483647 w 155"/>
                <a:gd name="T31" fmla="*/ 2147483647 h 57"/>
                <a:gd name="T32" fmla="*/ 2147483647 w 155"/>
                <a:gd name="T33" fmla="*/ 2147483647 h 57"/>
                <a:gd name="T34" fmla="*/ 2147483647 w 155"/>
                <a:gd name="T35" fmla="*/ 2147483647 h 57"/>
                <a:gd name="T36" fmla="*/ 2147483647 w 155"/>
                <a:gd name="T37" fmla="*/ 2147483647 h 57"/>
                <a:gd name="T38" fmla="*/ 2147483647 w 155"/>
                <a:gd name="T39" fmla="*/ 2147483647 h 57"/>
                <a:gd name="T40" fmla="*/ 2147483647 w 155"/>
                <a:gd name="T41" fmla="*/ 2147483647 h 57"/>
                <a:gd name="T42" fmla="*/ 2147483647 w 155"/>
                <a:gd name="T43" fmla="*/ 2147483647 h 57"/>
                <a:gd name="T44" fmla="*/ 2147483647 w 155"/>
                <a:gd name="T45" fmla="*/ 2147483647 h 57"/>
                <a:gd name="T46" fmla="*/ 2147483647 w 155"/>
                <a:gd name="T47" fmla="*/ 2147483647 h 57"/>
                <a:gd name="T48" fmla="*/ 2147483647 w 155"/>
                <a:gd name="T49" fmla="*/ 2147483647 h 57"/>
                <a:gd name="T50" fmla="*/ 2147483647 w 155"/>
                <a:gd name="T51" fmla="*/ 2147483647 h 57"/>
                <a:gd name="T52" fmla="*/ 2147483647 w 155"/>
                <a:gd name="T53" fmla="*/ 2147483647 h 57"/>
                <a:gd name="T54" fmla="*/ 2147483647 w 155"/>
                <a:gd name="T55" fmla="*/ 2147483647 h 57"/>
                <a:gd name="T56" fmla="*/ 2147483647 w 155"/>
                <a:gd name="T57" fmla="*/ 2147483647 h 57"/>
                <a:gd name="T58" fmla="*/ 2147483647 w 155"/>
                <a:gd name="T59" fmla="*/ 2147483647 h 57"/>
                <a:gd name="T60" fmla="*/ 2147483647 w 155"/>
                <a:gd name="T61" fmla="*/ 2147483647 h 57"/>
                <a:gd name="T62" fmla="*/ 2147483647 w 155"/>
                <a:gd name="T63" fmla="*/ 2147483647 h 57"/>
                <a:gd name="T64" fmla="*/ 2147483647 w 155"/>
                <a:gd name="T65" fmla="*/ 2147483647 h 57"/>
                <a:gd name="T66" fmla="*/ 2147483647 w 155"/>
                <a:gd name="T67" fmla="*/ 2147483647 h 57"/>
                <a:gd name="T68" fmla="*/ 2147483647 w 155"/>
                <a:gd name="T69" fmla="*/ 2147483647 h 57"/>
                <a:gd name="T70" fmla="*/ 2147483647 w 155"/>
                <a:gd name="T71" fmla="*/ 2147483647 h 57"/>
                <a:gd name="T72" fmla="*/ 2147483647 w 155"/>
                <a:gd name="T73" fmla="*/ 2147483647 h 57"/>
                <a:gd name="T74" fmla="*/ 2147483647 w 155"/>
                <a:gd name="T75" fmla="*/ 2147483647 h 57"/>
                <a:gd name="T76" fmla="*/ 2147483647 w 155"/>
                <a:gd name="T77" fmla="*/ 2147483647 h 57"/>
                <a:gd name="T78" fmla="*/ 2147483647 w 155"/>
                <a:gd name="T79" fmla="*/ 2147483647 h 57"/>
                <a:gd name="T80" fmla="*/ 2147483647 w 155"/>
                <a:gd name="T81" fmla="*/ 2147483647 h 57"/>
                <a:gd name="T82" fmla="*/ 2147483647 w 155"/>
                <a:gd name="T83" fmla="*/ 0 h 57"/>
                <a:gd name="T84" fmla="*/ 2147483647 w 155"/>
                <a:gd name="T85" fmla="*/ 2147483647 h 57"/>
                <a:gd name="T86" fmla="*/ 2147483647 w 155"/>
                <a:gd name="T87" fmla="*/ 2147483647 h 57"/>
                <a:gd name="T88" fmla="*/ 2147483647 w 155"/>
                <a:gd name="T89" fmla="*/ 2147483647 h 57"/>
                <a:gd name="T90" fmla="*/ 2147483647 w 155"/>
                <a:gd name="T91" fmla="*/ 2147483647 h 57"/>
                <a:gd name="T92" fmla="*/ 2147483647 w 155"/>
                <a:gd name="T93" fmla="*/ 2147483647 h 57"/>
                <a:gd name="T94" fmla="*/ 2147483647 w 155"/>
                <a:gd name="T95" fmla="*/ 2147483647 h 57"/>
                <a:gd name="T96" fmla="*/ 2147483647 w 155"/>
                <a:gd name="T97" fmla="*/ 2147483647 h 57"/>
                <a:gd name="T98" fmla="*/ 2147483647 w 155"/>
                <a:gd name="T99" fmla="*/ 2147483647 h 57"/>
                <a:gd name="T100" fmla="*/ 2147483647 w 155"/>
                <a:gd name="T101" fmla="*/ 2147483647 h 57"/>
                <a:gd name="T102" fmla="*/ 2147483647 w 155"/>
                <a:gd name="T103" fmla="*/ 2147483647 h 57"/>
                <a:gd name="T104" fmla="*/ 0 w 155"/>
                <a:gd name="T105" fmla="*/ 2147483647 h 57"/>
                <a:gd name="T106" fmla="*/ 0 w 155"/>
                <a:gd name="T107" fmla="*/ 2147483647 h 57"/>
                <a:gd name="T108" fmla="*/ 0 w 155"/>
                <a:gd name="T109" fmla="*/ 2147483647 h 57"/>
                <a:gd name="T110" fmla="*/ 2147483647 w 155"/>
                <a:gd name="T111" fmla="*/ 2147483647 h 57"/>
                <a:gd name="T112" fmla="*/ 2147483647 w 155"/>
                <a:gd name="T113" fmla="*/ 2147483647 h 57"/>
                <a:gd name="T114" fmla="*/ 2147483647 w 155"/>
                <a:gd name="T115" fmla="*/ 2147483647 h 5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55"/>
                <a:gd name="T175" fmla="*/ 0 h 57"/>
                <a:gd name="T176" fmla="*/ 155 w 155"/>
                <a:gd name="T177" fmla="*/ 57 h 5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55" h="57">
                  <a:moveTo>
                    <a:pt x="14" y="46"/>
                  </a:moveTo>
                  <a:lnTo>
                    <a:pt x="14" y="46"/>
                  </a:lnTo>
                  <a:lnTo>
                    <a:pt x="11" y="51"/>
                  </a:lnTo>
                  <a:lnTo>
                    <a:pt x="11" y="54"/>
                  </a:lnTo>
                  <a:lnTo>
                    <a:pt x="11" y="57"/>
                  </a:lnTo>
                  <a:lnTo>
                    <a:pt x="17" y="54"/>
                  </a:lnTo>
                  <a:lnTo>
                    <a:pt x="31" y="54"/>
                  </a:lnTo>
                  <a:lnTo>
                    <a:pt x="43" y="51"/>
                  </a:lnTo>
                  <a:lnTo>
                    <a:pt x="54" y="48"/>
                  </a:lnTo>
                  <a:lnTo>
                    <a:pt x="69" y="37"/>
                  </a:lnTo>
                  <a:lnTo>
                    <a:pt x="72" y="37"/>
                  </a:lnTo>
                  <a:lnTo>
                    <a:pt x="77" y="34"/>
                  </a:lnTo>
                  <a:lnTo>
                    <a:pt x="83" y="34"/>
                  </a:lnTo>
                  <a:lnTo>
                    <a:pt x="92" y="31"/>
                  </a:lnTo>
                  <a:lnTo>
                    <a:pt x="100" y="28"/>
                  </a:lnTo>
                  <a:lnTo>
                    <a:pt x="118" y="25"/>
                  </a:lnTo>
                  <a:lnTo>
                    <a:pt x="132" y="23"/>
                  </a:lnTo>
                  <a:lnTo>
                    <a:pt x="149" y="20"/>
                  </a:lnTo>
                  <a:lnTo>
                    <a:pt x="155" y="14"/>
                  </a:lnTo>
                  <a:lnTo>
                    <a:pt x="146" y="8"/>
                  </a:lnTo>
                  <a:lnTo>
                    <a:pt x="135" y="5"/>
                  </a:lnTo>
                  <a:lnTo>
                    <a:pt x="126" y="5"/>
                  </a:lnTo>
                  <a:lnTo>
                    <a:pt x="123" y="8"/>
                  </a:lnTo>
                  <a:lnTo>
                    <a:pt x="120" y="8"/>
                  </a:lnTo>
                  <a:lnTo>
                    <a:pt x="115" y="5"/>
                  </a:lnTo>
                  <a:lnTo>
                    <a:pt x="112" y="2"/>
                  </a:lnTo>
                  <a:lnTo>
                    <a:pt x="106" y="2"/>
                  </a:lnTo>
                  <a:lnTo>
                    <a:pt x="86" y="2"/>
                  </a:lnTo>
                  <a:lnTo>
                    <a:pt x="72" y="2"/>
                  </a:lnTo>
                  <a:lnTo>
                    <a:pt x="66" y="0"/>
                  </a:lnTo>
                  <a:lnTo>
                    <a:pt x="63" y="2"/>
                  </a:lnTo>
                  <a:lnTo>
                    <a:pt x="60" y="17"/>
                  </a:lnTo>
                  <a:lnTo>
                    <a:pt x="40" y="23"/>
                  </a:lnTo>
                  <a:lnTo>
                    <a:pt x="29" y="28"/>
                  </a:lnTo>
                  <a:lnTo>
                    <a:pt x="11" y="37"/>
                  </a:lnTo>
                  <a:lnTo>
                    <a:pt x="3" y="40"/>
                  </a:lnTo>
                  <a:lnTo>
                    <a:pt x="0" y="40"/>
                  </a:lnTo>
                  <a:lnTo>
                    <a:pt x="0" y="43"/>
                  </a:lnTo>
                  <a:lnTo>
                    <a:pt x="8" y="46"/>
                  </a:lnTo>
                  <a:lnTo>
                    <a:pt x="14" y="4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74" name="Freeform 677"/>
            <p:cNvSpPr>
              <a:spLocks/>
            </p:cNvSpPr>
            <p:nvPr/>
          </p:nvSpPr>
          <p:spPr bwMode="auto">
            <a:xfrm>
              <a:off x="2090738" y="1714500"/>
              <a:ext cx="179387" cy="49213"/>
            </a:xfrm>
            <a:custGeom>
              <a:avLst/>
              <a:gdLst>
                <a:gd name="T0" fmla="*/ 2147483647 w 112"/>
                <a:gd name="T1" fmla="*/ 2147483647 h 31"/>
                <a:gd name="T2" fmla="*/ 2147483647 w 112"/>
                <a:gd name="T3" fmla="*/ 2147483647 h 31"/>
                <a:gd name="T4" fmla="*/ 2147483647 w 112"/>
                <a:gd name="T5" fmla="*/ 2147483647 h 31"/>
                <a:gd name="T6" fmla="*/ 2147483647 w 112"/>
                <a:gd name="T7" fmla="*/ 2147483647 h 31"/>
                <a:gd name="T8" fmla="*/ 2147483647 w 112"/>
                <a:gd name="T9" fmla="*/ 2147483647 h 31"/>
                <a:gd name="T10" fmla="*/ 2147483647 w 112"/>
                <a:gd name="T11" fmla="*/ 2147483647 h 31"/>
                <a:gd name="T12" fmla="*/ 2147483647 w 112"/>
                <a:gd name="T13" fmla="*/ 2147483647 h 31"/>
                <a:gd name="T14" fmla="*/ 2147483647 w 112"/>
                <a:gd name="T15" fmla="*/ 2147483647 h 31"/>
                <a:gd name="T16" fmla="*/ 2147483647 w 112"/>
                <a:gd name="T17" fmla="*/ 2147483647 h 31"/>
                <a:gd name="T18" fmla="*/ 2147483647 w 112"/>
                <a:gd name="T19" fmla="*/ 2147483647 h 31"/>
                <a:gd name="T20" fmla="*/ 2147483647 w 112"/>
                <a:gd name="T21" fmla="*/ 2147483647 h 31"/>
                <a:gd name="T22" fmla="*/ 2147483647 w 112"/>
                <a:gd name="T23" fmla="*/ 2147483647 h 31"/>
                <a:gd name="T24" fmla="*/ 2147483647 w 112"/>
                <a:gd name="T25" fmla="*/ 2147483647 h 31"/>
                <a:gd name="T26" fmla="*/ 2147483647 w 112"/>
                <a:gd name="T27" fmla="*/ 2147483647 h 31"/>
                <a:gd name="T28" fmla="*/ 2147483647 w 112"/>
                <a:gd name="T29" fmla="*/ 2147483647 h 31"/>
                <a:gd name="T30" fmla="*/ 2147483647 w 112"/>
                <a:gd name="T31" fmla="*/ 2147483647 h 31"/>
                <a:gd name="T32" fmla="*/ 2147483647 w 112"/>
                <a:gd name="T33" fmla="*/ 2147483647 h 31"/>
                <a:gd name="T34" fmla="*/ 2147483647 w 112"/>
                <a:gd name="T35" fmla="*/ 2147483647 h 31"/>
                <a:gd name="T36" fmla="*/ 2147483647 w 112"/>
                <a:gd name="T37" fmla="*/ 2147483647 h 31"/>
                <a:gd name="T38" fmla="*/ 2147483647 w 112"/>
                <a:gd name="T39" fmla="*/ 2147483647 h 31"/>
                <a:gd name="T40" fmla="*/ 2147483647 w 112"/>
                <a:gd name="T41" fmla="*/ 2147483647 h 31"/>
                <a:gd name="T42" fmla="*/ 2147483647 w 112"/>
                <a:gd name="T43" fmla="*/ 2147483647 h 31"/>
                <a:gd name="T44" fmla="*/ 2147483647 w 112"/>
                <a:gd name="T45" fmla="*/ 0 h 31"/>
                <a:gd name="T46" fmla="*/ 2147483647 w 112"/>
                <a:gd name="T47" fmla="*/ 2147483647 h 31"/>
                <a:gd name="T48" fmla="*/ 2147483647 w 112"/>
                <a:gd name="T49" fmla="*/ 2147483647 h 31"/>
                <a:gd name="T50" fmla="*/ 2147483647 w 112"/>
                <a:gd name="T51" fmla="*/ 2147483647 h 31"/>
                <a:gd name="T52" fmla="*/ 2147483647 w 112"/>
                <a:gd name="T53" fmla="*/ 2147483647 h 31"/>
                <a:gd name="T54" fmla="*/ 2147483647 w 112"/>
                <a:gd name="T55" fmla="*/ 2147483647 h 31"/>
                <a:gd name="T56" fmla="*/ 2147483647 w 112"/>
                <a:gd name="T57" fmla="*/ 2147483647 h 31"/>
                <a:gd name="T58" fmla="*/ 2147483647 w 112"/>
                <a:gd name="T59" fmla="*/ 2147483647 h 31"/>
                <a:gd name="T60" fmla="*/ 2147483647 w 112"/>
                <a:gd name="T61" fmla="*/ 2147483647 h 31"/>
                <a:gd name="T62" fmla="*/ 2147483647 w 112"/>
                <a:gd name="T63" fmla="*/ 2147483647 h 31"/>
                <a:gd name="T64" fmla="*/ 0 w 112"/>
                <a:gd name="T65" fmla="*/ 2147483647 h 31"/>
                <a:gd name="T66" fmla="*/ 2147483647 w 112"/>
                <a:gd name="T67" fmla="*/ 2147483647 h 31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12"/>
                <a:gd name="T103" fmla="*/ 0 h 31"/>
                <a:gd name="T104" fmla="*/ 112 w 112"/>
                <a:gd name="T105" fmla="*/ 31 h 31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12" h="31">
                  <a:moveTo>
                    <a:pt x="12" y="25"/>
                  </a:moveTo>
                  <a:lnTo>
                    <a:pt x="12" y="25"/>
                  </a:lnTo>
                  <a:lnTo>
                    <a:pt x="12" y="28"/>
                  </a:lnTo>
                  <a:lnTo>
                    <a:pt x="12" y="31"/>
                  </a:lnTo>
                  <a:lnTo>
                    <a:pt x="20" y="25"/>
                  </a:lnTo>
                  <a:lnTo>
                    <a:pt x="26" y="23"/>
                  </a:lnTo>
                  <a:lnTo>
                    <a:pt x="26" y="28"/>
                  </a:lnTo>
                  <a:lnTo>
                    <a:pt x="32" y="25"/>
                  </a:lnTo>
                  <a:lnTo>
                    <a:pt x="38" y="20"/>
                  </a:lnTo>
                  <a:lnTo>
                    <a:pt x="43" y="20"/>
                  </a:lnTo>
                  <a:lnTo>
                    <a:pt x="43" y="23"/>
                  </a:lnTo>
                  <a:lnTo>
                    <a:pt x="49" y="23"/>
                  </a:lnTo>
                  <a:lnTo>
                    <a:pt x="58" y="20"/>
                  </a:lnTo>
                  <a:lnTo>
                    <a:pt x="61" y="17"/>
                  </a:lnTo>
                  <a:lnTo>
                    <a:pt x="69" y="14"/>
                  </a:lnTo>
                  <a:lnTo>
                    <a:pt x="69" y="17"/>
                  </a:lnTo>
                  <a:lnTo>
                    <a:pt x="63" y="20"/>
                  </a:lnTo>
                  <a:lnTo>
                    <a:pt x="66" y="23"/>
                  </a:lnTo>
                  <a:lnTo>
                    <a:pt x="72" y="20"/>
                  </a:lnTo>
                  <a:lnTo>
                    <a:pt x="78" y="20"/>
                  </a:lnTo>
                  <a:lnTo>
                    <a:pt x="86" y="20"/>
                  </a:lnTo>
                  <a:lnTo>
                    <a:pt x="92" y="17"/>
                  </a:lnTo>
                  <a:lnTo>
                    <a:pt x="92" y="14"/>
                  </a:lnTo>
                  <a:lnTo>
                    <a:pt x="95" y="11"/>
                  </a:lnTo>
                  <a:lnTo>
                    <a:pt x="98" y="11"/>
                  </a:lnTo>
                  <a:lnTo>
                    <a:pt x="101" y="8"/>
                  </a:lnTo>
                  <a:lnTo>
                    <a:pt x="107" y="8"/>
                  </a:lnTo>
                  <a:lnTo>
                    <a:pt x="112" y="5"/>
                  </a:lnTo>
                  <a:lnTo>
                    <a:pt x="112" y="3"/>
                  </a:lnTo>
                  <a:lnTo>
                    <a:pt x="107" y="3"/>
                  </a:lnTo>
                  <a:lnTo>
                    <a:pt x="104" y="0"/>
                  </a:lnTo>
                  <a:lnTo>
                    <a:pt x="101" y="3"/>
                  </a:lnTo>
                  <a:lnTo>
                    <a:pt x="101" y="5"/>
                  </a:lnTo>
                  <a:lnTo>
                    <a:pt x="92" y="5"/>
                  </a:lnTo>
                  <a:lnTo>
                    <a:pt x="75" y="5"/>
                  </a:lnTo>
                  <a:lnTo>
                    <a:pt x="66" y="8"/>
                  </a:lnTo>
                  <a:lnTo>
                    <a:pt x="55" y="11"/>
                  </a:lnTo>
                  <a:lnTo>
                    <a:pt x="49" y="14"/>
                  </a:lnTo>
                  <a:lnTo>
                    <a:pt x="43" y="17"/>
                  </a:lnTo>
                  <a:lnTo>
                    <a:pt x="26" y="20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12" y="2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75" name="Freeform 678"/>
            <p:cNvSpPr>
              <a:spLocks/>
            </p:cNvSpPr>
            <p:nvPr/>
          </p:nvSpPr>
          <p:spPr bwMode="auto">
            <a:xfrm>
              <a:off x="2105025" y="1970088"/>
              <a:ext cx="9525" cy="1587"/>
            </a:xfrm>
            <a:custGeom>
              <a:avLst/>
              <a:gdLst>
                <a:gd name="T0" fmla="*/ 2147483647 w 6"/>
                <a:gd name="T1" fmla="*/ 0 h 1"/>
                <a:gd name="T2" fmla="*/ 2147483647 w 6"/>
                <a:gd name="T3" fmla="*/ 0 h 1"/>
                <a:gd name="T4" fmla="*/ 0 w 6"/>
                <a:gd name="T5" fmla="*/ 0 h 1"/>
                <a:gd name="T6" fmla="*/ 2147483647 w 6"/>
                <a:gd name="T7" fmla="*/ 0 h 1"/>
                <a:gd name="T8" fmla="*/ 2147483647 w 6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1"/>
                <a:gd name="T17" fmla="*/ 6 w 6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1">
                  <a:moveTo>
                    <a:pt x="6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76" name="Freeform 679"/>
            <p:cNvSpPr>
              <a:spLocks/>
            </p:cNvSpPr>
            <p:nvPr/>
          </p:nvSpPr>
          <p:spPr bwMode="auto">
            <a:xfrm>
              <a:off x="2262188" y="1933575"/>
              <a:ext cx="12700" cy="9525"/>
            </a:xfrm>
            <a:custGeom>
              <a:avLst/>
              <a:gdLst>
                <a:gd name="T0" fmla="*/ 2147483647 w 8"/>
                <a:gd name="T1" fmla="*/ 2147483647 h 6"/>
                <a:gd name="T2" fmla="*/ 0 w 8"/>
                <a:gd name="T3" fmla="*/ 2147483647 h 6"/>
                <a:gd name="T4" fmla="*/ 2147483647 w 8"/>
                <a:gd name="T5" fmla="*/ 2147483647 h 6"/>
                <a:gd name="T6" fmla="*/ 2147483647 w 8"/>
                <a:gd name="T7" fmla="*/ 2147483647 h 6"/>
                <a:gd name="T8" fmla="*/ 2147483647 w 8"/>
                <a:gd name="T9" fmla="*/ 0 h 6"/>
                <a:gd name="T10" fmla="*/ 2147483647 w 8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2" y="3"/>
                  </a:moveTo>
                  <a:lnTo>
                    <a:pt x="0" y="3"/>
                  </a:lnTo>
                  <a:lnTo>
                    <a:pt x="5" y="6"/>
                  </a:lnTo>
                  <a:lnTo>
                    <a:pt x="8" y="3"/>
                  </a:lnTo>
                  <a:lnTo>
                    <a:pt x="5" y="0"/>
                  </a:lnTo>
                  <a:lnTo>
                    <a:pt x="2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77" name="Freeform 680"/>
            <p:cNvSpPr>
              <a:spLocks/>
            </p:cNvSpPr>
            <p:nvPr/>
          </p:nvSpPr>
          <p:spPr bwMode="auto">
            <a:xfrm>
              <a:off x="2293938" y="1943100"/>
              <a:ext cx="3175" cy="9525"/>
            </a:xfrm>
            <a:custGeom>
              <a:avLst/>
              <a:gdLst>
                <a:gd name="T0" fmla="*/ 0 w 2"/>
                <a:gd name="T1" fmla="*/ 2147483647 h 6"/>
                <a:gd name="T2" fmla="*/ 2147483647 w 2"/>
                <a:gd name="T3" fmla="*/ 2147483647 h 6"/>
                <a:gd name="T4" fmla="*/ 2147483647 w 2"/>
                <a:gd name="T5" fmla="*/ 0 h 6"/>
                <a:gd name="T6" fmla="*/ 0 w 2"/>
                <a:gd name="T7" fmla="*/ 2147483647 h 6"/>
                <a:gd name="T8" fmla="*/ 0 w 2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6"/>
                <a:gd name="T17" fmla="*/ 2 w 2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6">
                  <a:moveTo>
                    <a:pt x="0" y="6"/>
                  </a:moveTo>
                  <a:lnTo>
                    <a:pt x="2" y="3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78" name="Freeform 681"/>
            <p:cNvSpPr>
              <a:spLocks/>
            </p:cNvSpPr>
            <p:nvPr/>
          </p:nvSpPr>
          <p:spPr bwMode="auto">
            <a:xfrm>
              <a:off x="2058988" y="1947863"/>
              <a:ext cx="4762" cy="1587"/>
            </a:xfrm>
            <a:custGeom>
              <a:avLst/>
              <a:gdLst>
                <a:gd name="T0" fmla="*/ 0 w 3"/>
                <a:gd name="T1" fmla="*/ 0 h 1"/>
                <a:gd name="T2" fmla="*/ 2147483647 w 3"/>
                <a:gd name="T3" fmla="*/ 0 h 1"/>
                <a:gd name="T4" fmla="*/ 2147483647 w 3"/>
                <a:gd name="T5" fmla="*/ 0 h 1"/>
                <a:gd name="T6" fmla="*/ 2147483647 w 3"/>
                <a:gd name="T7" fmla="*/ 0 h 1"/>
                <a:gd name="T8" fmla="*/ 0 w 3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1"/>
                <a:gd name="T17" fmla="*/ 3 w 3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1">
                  <a:moveTo>
                    <a:pt x="0" y="0"/>
                  </a:move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79" name="Rectangle 682"/>
            <p:cNvSpPr>
              <a:spLocks noChangeArrowheads="1"/>
            </p:cNvSpPr>
            <p:nvPr/>
          </p:nvSpPr>
          <p:spPr bwMode="auto">
            <a:xfrm>
              <a:off x="2708275" y="2100263"/>
              <a:ext cx="9525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80" name="Freeform 683"/>
            <p:cNvSpPr>
              <a:spLocks/>
            </p:cNvSpPr>
            <p:nvPr/>
          </p:nvSpPr>
          <p:spPr bwMode="auto">
            <a:xfrm>
              <a:off x="2501900" y="2095500"/>
              <a:ext cx="49213" cy="22225"/>
            </a:xfrm>
            <a:custGeom>
              <a:avLst/>
              <a:gdLst>
                <a:gd name="T0" fmla="*/ 2147483647 w 31"/>
                <a:gd name="T1" fmla="*/ 2147483647 h 14"/>
                <a:gd name="T2" fmla="*/ 2147483647 w 31"/>
                <a:gd name="T3" fmla="*/ 0 h 14"/>
                <a:gd name="T4" fmla="*/ 2147483647 w 31"/>
                <a:gd name="T5" fmla="*/ 0 h 14"/>
                <a:gd name="T6" fmla="*/ 2147483647 w 31"/>
                <a:gd name="T7" fmla="*/ 0 h 14"/>
                <a:gd name="T8" fmla="*/ 2147483647 w 31"/>
                <a:gd name="T9" fmla="*/ 2147483647 h 14"/>
                <a:gd name="T10" fmla="*/ 2147483647 w 31"/>
                <a:gd name="T11" fmla="*/ 0 h 14"/>
                <a:gd name="T12" fmla="*/ 2147483647 w 31"/>
                <a:gd name="T13" fmla="*/ 0 h 14"/>
                <a:gd name="T14" fmla="*/ 2147483647 w 31"/>
                <a:gd name="T15" fmla="*/ 2147483647 h 14"/>
                <a:gd name="T16" fmla="*/ 0 w 31"/>
                <a:gd name="T17" fmla="*/ 2147483647 h 14"/>
                <a:gd name="T18" fmla="*/ 2147483647 w 31"/>
                <a:gd name="T19" fmla="*/ 2147483647 h 14"/>
                <a:gd name="T20" fmla="*/ 2147483647 w 31"/>
                <a:gd name="T21" fmla="*/ 2147483647 h 14"/>
                <a:gd name="T22" fmla="*/ 2147483647 w 31"/>
                <a:gd name="T23" fmla="*/ 2147483647 h 14"/>
                <a:gd name="T24" fmla="*/ 2147483647 w 31"/>
                <a:gd name="T25" fmla="*/ 2147483647 h 14"/>
                <a:gd name="T26" fmla="*/ 2147483647 w 31"/>
                <a:gd name="T27" fmla="*/ 2147483647 h 14"/>
                <a:gd name="T28" fmla="*/ 2147483647 w 31"/>
                <a:gd name="T29" fmla="*/ 2147483647 h 14"/>
                <a:gd name="T30" fmla="*/ 2147483647 w 31"/>
                <a:gd name="T31" fmla="*/ 2147483647 h 14"/>
                <a:gd name="T32" fmla="*/ 2147483647 w 31"/>
                <a:gd name="T33" fmla="*/ 2147483647 h 1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31"/>
                <a:gd name="T52" fmla="*/ 0 h 14"/>
                <a:gd name="T53" fmla="*/ 31 w 31"/>
                <a:gd name="T54" fmla="*/ 14 h 1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31" h="14">
                  <a:moveTo>
                    <a:pt x="31" y="3"/>
                  </a:moveTo>
                  <a:lnTo>
                    <a:pt x="31" y="0"/>
                  </a:lnTo>
                  <a:lnTo>
                    <a:pt x="28" y="0"/>
                  </a:lnTo>
                  <a:lnTo>
                    <a:pt x="23" y="0"/>
                  </a:lnTo>
                  <a:lnTo>
                    <a:pt x="20" y="3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3" y="9"/>
                  </a:lnTo>
                  <a:lnTo>
                    <a:pt x="0" y="11"/>
                  </a:lnTo>
                  <a:lnTo>
                    <a:pt x="6" y="14"/>
                  </a:lnTo>
                  <a:lnTo>
                    <a:pt x="8" y="14"/>
                  </a:lnTo>
                  <a:lnTo>
                    <a:pt x="14" y="11"/>
                  </a:lnTo>
                  <a:lnTo>
                    <a:pt x="26" y="6"/>
                  </a:lnTo>
                  <a:lnTo>
                    <a:pt x="31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81" name="Freeform 684"/>
            <p:cNvSpPr>
              <a:spLocks/>
            </p:cNvSpPr>
            <p:nvPr/>
          </p:nvSpPr>
          <p:spPr bwMode="auto">
            <a:xfrm>
              <a:off x="2579688" y="2154238"/>
              <a:ext cx="12700" cy="6350"/>
            </a:xfrm>
            <a:custGeom>
              <a:avLst/>
              <a:gdLst>
                <a:gd name="T0" fmla="*/ 2147483647 w 8"/>
                <a:gd name="T1" fmla="*/ 2147483647 h 3"/>
                <a:gd name="T2" fmla="*/ 2147483647 w 8"/>
                <a:gd name="T3" fmla="*/ 0 h 3"/>
                <a:gd name="T4" fmla="*/ 2147483647 w 8"/>
                <a:gd name="T5" fmla="*/ 0 h 3"/>
                <a:gd name="T6" fmla="*/ 0 w 8"/>
                <a:gd name="T7" fmla="*/ 2147483647 h 3"/>
                <a:gd name="T8" fmla="*/ 2147483647 w 8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3"/>
                <a:gd name="T17" fmla="*/ 8 w 8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3">
                  <a:moveTo>
                    <a:pt x="5" y="3"/>
                  </a:moveTo>
                  <a:lnTo>
                    <a:pt x="8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5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82" name="Freeform 685"/>
            <p:cNvSpPr>
              <a:spLocks/>
            </p:cNvSpPr>
            <p:nvPr/>
          </p:nvSpPr>
          <p:spPr bwMode="auto">
            <a:xfrm>
              <a:off x="2565400" y="2109788"/>
              <a:ext cx="31750" cy="22225"/>
            </a:xfrm>
            <a:custGeom>
              <a:avLst/>
              <a:gdLst>
                <a:gd name="T0" fmla="*/ 2147483647 w 20"/>
                <a:gd name="T1" fmla="*/ 2147483647 h 14"/>
                <a:gd name="T2" fmla="*/ 2147483647 w 20"/>
                <a:gd name="T3" fmla="*/ 0 h 14"/>
                <a:gd name="T4" fmla="*/ 2147483647 w 20"/>
                <a:gd name="T5" fmla="*/ 0 h 14"/>
                <a:gd name="T6" fmla="*/ 2147483647 w 20"/>
                <a:gd name="T7" fmla="*/ 2147483647 h 14"/>
                <a:gd name="T8" fmla="*/ 0 w 20"/>
                <a:gd name="T9" fmla="*/ 2147483647 h 14"/>
                <a:gd name="T10" fmla="*/ 2147483647 w 20"/>
                <a:gd name="T11" fmla="*/ 2147483647 h 14"/>
                <a:gd name="T12" fmla="*/ 2147483647 w 20"/>
                <a:gd name="T13" fmla="*/ 2147483647 h 14"/>
                <a:gd name="T14" fmla="*/ 2147483647 w 20"/>
                <a:gd name="T15" fmla="*/ 2147483647 h 14"/>
                <a:gd name="T16" fmla="*/ 2147483647 w 20"/>
                <a:gd name="T17" fmla="*/ 2147483647 h 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"/>
                <a:gd name="T28" fmla="*/ 0 h 14"/>
                <a:gd name="T29" fmla="*/ 20 w 20"/>
                <a:gd name="T30" fmla="*/ 14 h 1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" h="14">
                  <a:moveTo>
                    <a:pt x="20" y="2"/>
                  </a:moveTo>
                  <a:lnTo>
                    <a:pt x="17" y="0"/>
                  </a:lnTo>
                  <a:lnTo>
                    <a:pt x="11" y="0"/>
                  </a:lnTo>
                  <a:lnTo>
                    <a:pt x="6" y="5"/>
                  </a:lnTo>
                  <a:lnTo>
                    <a:pt x="0" y="11"/>
                  </a:lnTo>
                  <a:lnTo>
                    <a:pt x="3" y="14"/>
                  </a:lnTo>
                  <a:lnTo>
                    <a:pt x="9" y="11"/>
                  </a:lnTo>
                  <a:lnTo>
                    <a:pt x="17" y="5"/>
                  </a:lnTo>
                  <a:lnTo>
                    <a:pt x="20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83" name="Freeform 686"/>
            <p:cNvSpPr>
              <a:spLocks/>
            </p:cNvSpPr>
            <p:nvPr/>
          </p:nvSpPr>
          <p:spPr bwMode="auto">
            <a:xfrm>
              <a:off x="2090738" y="1974850"/>
              <a:ext cx="19050" cy="14288"/>
            </a:xfrm>
            <a:custGeom>
              <a:avLst/>
              <a:gdLst>
                <a:gd name="T0" fmla="*/ 2147483647 w 12"/>
                <a:gd name="T1" fmla="*/ 2147483647 h 9"/>
                <a:gd name="T2" fmla="*/ 2147483647 w 12"/>
                <a:gd name="T3" fmla="*/ 2147483647 h 9"/>
                <a:gd name="T4" fmla="*/ 2147483647 w 12"/>
                <a:gd name="T5" fmla="*/ 2147483647 h 9"/>
                <a:gd name="T6" fmla="*/ 0 w 12"/>
                <a:gd name="T7" fmla="*/ 2147483647 h 9"/>
                <a:gd name="T8" fmla="*/ 2147483647 w 12"/>
                <a:gd name="T9" fmla="*/ 2147483647 h 9"/>
                <a:gd name="T10" fmla="*/ 2147483647 w 12"/>
                <a:gd name="T11" fmla="*/ 2147483647 h 9"/>
                <a:gd name="T12" fmla="*/ 2147483647 w 12"/>
                <a:gd name="T13" fmla="*/ 2147483647 h 9"/>
                <a:gd name="T14" fmla="*/ 2147483647 w 12"/>
                <a:gd name="T15" fmla="*/ 0 h 9"/>
                <a:gd name="T16" fmla="*/ 2147483647 w 12"/>
                <a:gd name="T17" fmla="*/ 2147483647 h 9"/>
                <a:gd name="T18" fmla="*/ 2147483647 w 12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"/>
                <a:gd name="T31" fmla="*/ 0 h 9"/>
                <a:gd name="T32" fmla="*/ 12 w 12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" h="9">
                  <a:moveTo>
                    <a:pt x="6" y="3"/>
                  </a:moveTo>
                  <a:lnTo>
                    <a:pt x="3" y="3"/>
                  </a:lnTo>
                  <a:lnTo>
                    <a:pt x="3" y="6"/>
                  </a:lnTo>
                  <a:lnTo>
                    <a:pt x="0" y="9"/>
                  </a:lnTo>
                  <a:lnTo>
                    <a:pt x="6" y="9"/>
                  </a:lnTo>
                  <a:lnTo>
                    <a:pt x="9" y="6"/>
                  </a:lnTo>
                  <a:lnTo>
                    <a:pt x="12" y="6"/>
                  </a:lnTo>
                  <a:lnTo>
                    <a:pt x="9" y="0"/>
                  </a:lnTo>
                  <a:lnTo>
                    <a:pt x="9" y="3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84" name="Freeform 687"/>
            <p:cNvSpPr>
              <a:spLocks/>
            </p:cNvSpPr>
            <p:nvPr/>
          </p:nvSpPr>
          <p:spPr bwMode="auto">
            <a:xfrm>
              <a:off x="2528888" y="2182813"/>
              <a:ext cx="4762" cy="4762"/>
            </a:xfrm>
            <a:custGeom>
              <a:avLst/>
              <a:gdLst>
                <a:gd name="T0" fmla="*/ 2147483647 w 3"/>
                <a:gd name="T1" fmla="*/ 0 h 3"/>
                <a:gd name="T2" fmla="*/ 0 w 3"/>
                <a:gd name="T3" fmla="*/ 2147483647 h 3"/>
                <a:gd name="T4" fmla="*/ 0 w 3"/>
                <a:gd name="T5" fmla="*/ 2147483647 h 3"/>
                <a:gd name="T6" fmla="*/ 2147483647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3" y="0"/>
                  </a:moveTo>
                  <a:lnTo>
                    <a:pt x="0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85" name="Freeform 688"/>
            <p:cNvSpPr>
              <a:spLocks/>
            </p:cNvSpPr>
            <p:nvPr/>
          </p:nvSpPr>
          <p:spPr bwMode="auto">
            <a:xfrm>
              <a:off x="2454275" y="2008188"/>
              <a:ext cx="152400" cy="82550"/>
            </a:xfrm>
            <a:custGeom>
              <a:avLst/>
              <a:gdLst>
                <a:gd name="T0" fmla="*/ 2147483647 w 95"/>
                <a:gd name="T1" fmla="*/ 2147483647 h 52"/>
                <a:gd name="T2" fmla="*/ 2147483647 w 95"/>
                <a:gd name="T3" fmla="*/ 2147483647 h 52"/>
                <a:gd name="T4" fmla="*/ 2147483647 w 95"/>
                <a:gd name="T5" fmla="*/ 2147483647 h 52"/>
                <a:gd name="T6" fmla="*/ 2147483647 w 95"/>
                <a:gd name="T7" fmla="*/ 2147483647 h 52"/>
                <a:gd name="T8" fmla="*/ 2147483647 w 95"/>
                <a:gd name="T9" fmla="*/ 2147483647 h 52"/>
                <a:gd name="T10" fmla="*/ 2147483647 w 95"/>
                <a:gd name="T11" fmla="*/ 2147483647 h 52"/>
                <a:gd name="T12" fmla="*/ 2147483647 w 95"/>
                <a:gd name="T13" fmla="*/ 2147483647 h 52"/>
                <a:gd name="T14" fmla="*/ 2147483647 w 95"/>
                <a:gd name="T15" fmla="*/ 2147483647 h 52"/>
                <a:gd name="T16" fmla="*/ 2147483647 w 95"/>
                <a:gd name="T17" fmla="*/ 2147483647 h 52"/>
                <a:gd name="T18" fmla="*/ 2147483647 w 95"/>
                <a:gd name="T19" fmla="*/ 2147483647 h 52"/>
                <a:gd name="T20" fmla="*/ 2147483647 w 95"/>
                <a:gd name="T21" fmla="*/ 2147483647 h 52"/>
                <a:gd name="T22" fmla="*/ 2147483647 w 95"/>
                <a:gd name="T23" fmla="*/ 2147483647 h 52"/>
                <a:gd name="T24" fmla="*/ 2147483647 w 95"/>
                <a:gd name="T25" fmla="*/ 2147483647 h 52"/>
                <a:gd name="T26" fmla="*/ 2147483647 w 95"/>
                <a:gd name="T27" fmla="*/ 2147483647 h 52"/>
                <a:gd name="T28" fmla="*/ 2147483647 w 95"/>
                <a:gd name="T29" fmla="*/ 2147483647 h 52"/>
                <a:gd name="T30" fmla="*/ 2147483647 w 95"/>
                <a:gd name="T31" fmla="*/ 2147483647 h 52"/>
                <a:gd name="T32" fmla="*/ 2147483647 w 95"/>
                <a:gd name="T33" fmla="*/ 0 h 52"/>
                <a:gd name="T34" fmla="*/ 2147483647 w 95"/>
                <a:gd name="T35" fmla="*/ 2147483647 h 52"/>
                <a:gd name="T36" fmla="*/ 2147483647 w 95"/>
                <a:gd name="T37" fmla="*/ 2147483647 h 52"/>
                <a:gd name="T38" fmla="*/ 2147483647 w 95"/>
                <a:gd name="T39" fmla="*/ 2147483647 h 52"/>
                <a:gd name="T40" fmla="*/ 2147483647 w 95"/>
                <a:gd name="T41" fmla="*/ 2147483647 h 52"/>
                <a:gd name="T42" fmla="*/ 2147483647 w 95"/>
                <a:gd name="T43" fmla="*/ 2147483647 h 52"/>
                <a:gd name="T44" fmla="*/ 2147483647 w 95"/>
                <a:gd name="T45" fmla="*/ 2147483647 h 52"/>
                <a:gd name="T46" fmla="*/ 2147483647 w 95"/>
                <a:gd name="T47" fmla="*/ 2147483647 h 52"/>
                <a:gd name="T48" fmla="*/ 2147483647 w 95"/>
                <a:gd name="T49" fmla="*/ 2147483647 h 52"/>
                <a:gd name="T50" fmla="*/ 2147483647 w 95"/>
                <a:gd name="T51" fmla="*/ 2147483647 h 52"/>
                <a:gd name="T52" fmla="*/ 2147483647 w 95"/>
                <a:gd name="T53" fmla="*/ 2147483647 h 52"/>
                <a:gd name="T54" fmla="*/ 0 w 95"/>
                <a:gd name="T55" fmla="*/ 2147483647 h 52"/>
                <a:gd name="T56" fmla="*/ 2147483647 w 95"/>
                <a:gd name="T57" fmla="*/ 2147483647 h 52"/>
                <a:gd name="T58" fmla="*/ 2147483647 w 95"/>
                <a:gd name="T59" fmla="*/ 2147483647 h 52"/>
                <a:gd name="T60" fmla="*/ 2147483647 w 95"/>
                <a:gd name="T61" fmla="*/ 2147483647 h 52"/>
                <a:gd name="T62" fmla="*/ 2147483647 w 95"/>
                <a:gd name="T63" fmla="*/ 2147483647 h 52"/>
                <a:gd name="T64" fmla="*/ 2147483647 w 95"/>
                <a:gd name="T65" fmla="*/ 2147483647 h 52"/>
                <a:gd name="T66" fmla="*/ 2147483647 w 95"/>
                <a:gd name="T67" fmla="*/ 2147483647 h 52"/>
                <a:gd name="T68" fmla="*/ 2147483647 w 95"/>
                <a:gd name="T69" fmla="*/ 2147483647 h 52"/>
                <a:gd name="T70" fmla="*/ 2147483647 w 95"/>
                <a:gd name="T71" fmla="*/ 2147483647 h 52"/>
                <a:gd name="T72" fmla="*/ 2147483647 w 95"/>
                <a:gd name="T73" fmla="*/ 2147483647 h 52"/>
                <a:gd name="T74" fmla="*/ 2147483647 w 95"/>
                <a:gd name="T75" fmla="*/ 2147483647 h 52"/>
                <a:gd name="T76" fmla="*/ 2147483647 w 95"/>
                <a:gd name="T77" fmla="*/ 2147483647 h 52"/>
                <a:gd name="T78" fmla="*/ 2147483647 w 95"/>
                <a:gd name="T79" fmla="*/ 2147483647 h 52"/>
                <a:gd name="T80" fmla="*/ 2147483647 w 95"/>
                <a:gd name="T81" fmla="*/ 2147483647 h 52"/>
                <a:gd name="T82" fmla="*/ 2147483647 w 95"/>
                <a:gd name="T83" fmla="*/ 2147483647 h 52"/>
                <a:gd name="T84" fmla="*/ 2147483647 w 95"/>
                <a:gd name="T85" fmla="*/ 2147483647 h 52"/>
                <a:gd name="T86" fmla="*/ 2147483647 w 95"/>
                <a:gd name="T87" fmla="*/ 2147483647 h 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95"/>
                <a:gd name="T133" fmla="*/ 0 h 52"/>
                <a:gd name="T134" fmla="*/ 95 w 95"/>
                <a:gd name="T135" fmla="*/ 52 h 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95" h="52">
                  <a:moveTo>
                    <a:pt x="95" y="41"/>
                  </a:moveTo>
                  <a:lnTo>
                    <a:pt x="89" y="35"/>
                  </a:lnTo>
                  <a:lnTo>
                    <a:pt x="78" y="35"/>
                  </a:lnTo>
                  <a:lnTo>
                    <a:pt x="83" y="29"/>
                  </a:lnTo>
                  <a:lnTo>
                    <a:pt x="78" y="23"/>
                  </a:lnTo>
                  <a:lnTo>
                    <a:pt x="72" y="20"/>
                  </a:lnTo>
                  <a:lnTo>
                    <a:pt x="69" y="20"/>
                  </a:lnTo>
                  <a:lnTo>
                    <a:pt x="69" y="15"/>
                  </a:lnTo>
                  <a:lnTo>
                    <a:pt x="63" y="18"/>
                  </a:lnTo>
                  <a:lnTo>
                    <a:pt x="60" y="12"/>
                  </a:lnTo>
                  <a:lnTo>
                    <a:pt x="55" y="15"/>
                  </a:lnTo>
                  <a:lnTo>
                    <a:pt x="52" y="18"/>
                  </a:lnTo>
                  <a:lnTo>
                    <a:pt x="49" y="12"/>
                  </a:lnTo>
                  <a:lnTo>
                    <a:pt x="55" y="6"/>
                  </a:lnTo>
                  <a:lnTo>
                    <a:pt x="57" y="9"/>
                  </a:lnTo>
                  <a:lnTo>
                    <a:pt x="60" y="6"/>
                  </a:lnTo>
                  <a:lnTo>
                    <a:pt x="60" y="0"/>
                  </a:lnTo>
                  <a:lnTo>
                    <a:pt x="55" y="3"/>
                  </a:lnTo>
                  <a:lnTo>
                    <a:pt x="46" y="3"/>
                  </a:lnTo>
                  <a:lnTo>
                    <a:pt x="40" y="9"/>
                  </a:lnTo>
                  <a:lnTo>
                    <a:pt x="37" y="15"/>
                  </a:lnTo>
                  <a:lnTo>
                    <a:pt x="32" y="18"/>
                  </a:lnTo>
                  <a:lnTo>
                    <a:pt x="26" y="26"/>
                  </a:lnTo>
                  <a:lnTo>
                    <a:pt x="20" y="29"/>
                  </a:lnTo>
                  <a:lnTo>
                    <a:pt x="20" y="35"/>
                  </a:lnTo>
                  <a:lnTo>
                    <a:pt x="12" y="38"/>
                  </a:lnTo>
                  <a:lnTo>
                    <a:pt x="3" y="41"/>
                  </a:lnTo>
                  <a:lnTo>
                    <a:pt x="0" y="43"/>
                  </a:lnTo>
                  <a:lnTo>
                    <a:pt x="9" y="43"/>
                  </a:lnTo>
                  <a:lnTo>
                    <a:pt x="17" y="43"/>
                  </a:lnTo>
                  <a:lnTo>
                    <a:pt x="20" y="41"/>
                  </a:lnTo>
                  <a:lnTo>
                    <a:pt x="17" y="46"/>
                  </a:lnTo>
                  <a:lnTo>
                    <a:pt x="17" y="52"/>
                  </a:lnTo>
                  <a:lnTo>
                    <a:pt x="32" y="49"/>
                  </a:lnTo>
                  <a:lnTo>
                    <a:pt x="52" y="38"/>
                  </a:lnTo>
                  <a:lnTo>
                    <a:pt x="57" y="32"/>
                  </a:lnTo>
                  <a:lnTo>
                    <a:pt x="60" y="35"/>
                  </a:lnTo>
                  <a:lnTo>
                    <a:pt x="66" y="38"/>
                  </a:lnTo>
                  <a:lnTo>
                    <a:pt x="63" y="43"/>
                  </a:lnTo>
                  <a:lnTo>
                    <a:pt x="69" y="43"/>
                  </a:lnTo>
                  <a:lnTo>
                    <a:pt x="75" y="43"/>
                  </a:lnTo>
                  <a:lnTo>
                    <a:pt x="80" y="46"/>
                  </a:lnTo>
                  <a:lnTo>
                    <a:pt x="89" y="43"/>
                  </a:lnTo>
                  <a:lnTo>
                    <a:pt x="95" y="4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86" name="Freeform 689"/>
            <p:cNvSpPr>
              <a:spLocks noEditPoints="1"/>
            </p:cNvSpPr>
            <p:nvPr/>
          </p:nvSpPr>
          <p:spPr bwMode="auto">
            <a:xfrm>
              <a:off x="1212850" y="1795463"/>
              <a:ext cx="1771650" cy="930275"/>
            </a:xfrm>
            <a:custGeom>
              <a:avLst/>
              <a:gdLst>
                <a:gd name="T0" fmla="*/ 2147483647 w 1105"/>
                <a:gd name="T1" fmla="*/ 2147483647 h 580"/>
                <a:gd name="T2" fmla="*/ 2147483647 w 1105"/>
                <a:gd name="T3" fmla="*/ 2147483647 h 580"/>
                <a:gd name="T4" fmla="*/ 2147483647 w 1105"/>
                <a:gd name="T5" fmla="*/ 2147483647 h 580"/>
                <a:gd name="T6" fmla="*/ 2147483647 w 1105"/>
                <a:gd name="T7" fmla="*/ 2147483647 h 580"/>
                <a:gd name="T8" fmla="*/ 2147483647 w 1105"/>
                <a:gd name="T9" fmla="*/ 2147483647 h 580"/>
                <a:gd name="T10" fmla="*/ 2147483647 w 1105"/>
                <a:gd name="T11" fmla="*/ 2147483647 h 580"/>
                <a:gd name="T12" fmla="*/ 2147483647 w 1105"/>
                <a:gd name="T13" fmla="*/ 2147483647 h 580"/>
                <a:gd name="T14" fmla="*/ 2147483647 w 1105"/>
                <a:gd name="T15" fmla="*/ 2147483647 h 580"/>
                <a:gd name="T16" fmla="*/ 2147483647 w 1105"/>
                <a:gd name="T17" fmla="*/ 2147483647 h 580"/>
                <a:gd name="T18" fmla="*/ 2147483647 w 1105"/>
                <a:gd name="T19" fmla="*/ 2147483647 h 580"/>
                <a:gd name="T20" fmla="*/ 2147483647 w 1105"/>
                <a:gd name="T21" fmla="*/ 2147483647 h 580"/>
                <a:gd name="T22" fmla="*/ 2147483647 w 1105"/>
                <a:gd name="T23" fmla="*/ 2147483647 h 580"/>
                <a:gd name="T24" fmla="*/ 2147483647 w 1105"/>
                <a:gd name="T25" fmla="*/ 2147483647 h 580"/>
                <a:gd name="T26" fmla="*/ 2147483647 w 1105"/>
                <a:gd name="T27" fmla="*/ 2147483647 h 580"/>
                <a:gd name="T28" fmla="*/ 2147483647 w 1105"/>
                <a:gd name="T29" fmla="*/ 2147483647 h 580"/>
                <a:gd name="T30" fmla="*/ 2147483647 w 1105"/>
                <a:gd name="T31" fmla="*/ 2147483647 h 580"/>
                <a:gd name="T32" fmla="*/ 2147483647 w 1105"/>
                <a:gd name="T33" fmla="*/ 2147483647 h 580"/>
                <a:gd name="T34" fmla="*/ 2147483647 w 1105"/>
                <a:gd name="T35" fmla="*/ 2147483647 h 580"/>
                <a:gd name="T36" fmla="*/ 2147483647 w 1105"/>
                <a:gd name="T37" fmla="*/ 2147483647 h 580"/>
                <a:gd name="T38" fmla="*/ 2147483647 w 1105"/>
                <a:gd name="T39" fmla="*/ 2147483647 h 580"/>
                <a:gd name="T40" fmla="*/ 2147483647 w 1105"/>
                <a:gd name="T41" fmla="*/ 2147483647 h 580"/>
                <a:gd name="T42" fmla="*/ 2147483647 w 1105"/>
                <a:gd name="T43" fmla="*/ 2147483647 h 580"/>
                <a:gd name="T44" fmla="*/ 2147483647 w 1105"/>
                <a:gd name="T45" fmla="*/ 2147483647 h 580"/>
                <a:gd name="T46" fmla="*/ 2147483647 w 1105"/>
                <a:gd name="T47" fmla="*/ 2147483647 h 580"/>
                <a:gd name="T48" fmla="*/ 2147483647 w 1105"/>
                <a:gd name="T49" fmla="*/ 2147483647 h 580"/>
                <a:gd name="T50" fmla="*/ 2147483647 w 1105"/>
                <a:gd name="T51" fmla="*/ 2147483647 h 580"/>
                <a:gd name="T52" fmla="*/ 2147483647 w 1105"/>
                <a:gd name="T53" fmla="*/ 2147483647 h 580"/>
                <a:gd name="T54" fmla="*/ 2147483647 w 1105"/>
                <a:gd name="T55" fmla="*/ 2147483647 h 580"/>
                <a:gd name="T56" fmla="*/ 2147483647 w 1105"/>
                <a:gd name="T57" fmla="*/ 2147483647 h 580"/>
                <a:gd name="T58" fmla="*/ 2147483647 w 1105"/>
                <a:gd name="T59" fmla="*/ 2147483647 h 580"/>
                <a:gd name="T60" fmla="*/ 2147483647 w 1105"/>
                <a:gd name="T61" fmla="*/ 2147483647 h 580"/>
                <a:gd name="T62" fmla="*/ 2147483647 w 1105"/>
                <a:gd name="T63" fmla="*/ 2147483647 h 580"/>
                <a:gd name="T64" fmla="*/ 2147483647 w 1105"/>
                <a:gd name="T65" fmla="*/ 2147483647 h 580"/>
                <a:gd name="T66" fmla="*/ 2147483647 w 1105"/>
                <a:gd name="T67" fmla="*/ 2147483647 h 580"/>
                <a:gd name="T68" fmla="*/ 2147483647 w 1105"/>
                <a:gd name="T69" fmla="*/ 2147483647 h 580"/>
                <a:gd name="T70" fmla="*/ 2147483647 w 1105"/>
                <a:gd name="T71" fmla="*/ 2147483647 h 580"/>
                <a:gd name="T72" fmla="*/ 2147483647 w 1105"/>
                <a:gd name="T73" fmla="*/ 2147483647 h 580"/>
                <a:gd name="T74" fmla="*/ 2147483647 w 1105"/>
                <a:gd name="T75" fmla="*/ 2147483647 h 580"/>
                <a:gd name="T76" fmla="*/ 2147483647 w 1105"/>
                <a:gd name="T77" fmla="*/ 2147483647 h 580"/>
                <a:gd name="T78" fmla="*/ 2147483647 w 1105"/>
                <a:gd name="T79" fmla="*/ 2147483647 h 580"/>
                <a:gd name="T80" fmla="*/ 2147483647 w 1105"/>
                <a:gd name="T81" fmla="*/ 0 h 580"/>
                <a:gd name="T82" fmla="*/ 2147483647 w 1105"/>
                <a:gd name="T83" fmla="*/ 2147483647 h 580"/>
                <a:gd name="T84" fmla="*/ 2147483647 w 1105"/>
                <a:gd name="T85" fmla="*/ 2147483647 h 580"/>
                <a:gd name="T86" fmla="*/ 2147483647 w 1105"/>
                <a:gd name="T87" fmla="*/ 2147483647 h 580"/>
                <a:gd name="T88" fmla="*/ 2147483647 w 1105"/>
                <a:gd name="T89" fmla="*/ 2147483647 h 580"/>
                <a:gd name="T90" fmla="*/ 2147483647 w 1105"/>
                <a:gd name="T91" fmla="*/ 2147483647 h 580"/>
                <a:gd name="T92" fmla="*/ 2147483647 w 1105"/>
                <a:gd name="T93" fmla="*/ 2147483647 h 580"/>
                <a:gd name="T94" fmla="*/ 2147483647 w 1105"/>
                <a:gd name="T95" fmla="*/ 2147483647 h 580"/>
                <a:gd name="T96" fmla="*/ 2147483647 w 1105"/>
                <a:gd name="T97" fmla="*/ 2147483647 h 580"/>
                <a:gd name="T98" fmla="*/ 2147483647 w 1105"/>
                <a:gd name="T99" fmla="*/ 2147483647 h 580"/>
                <a:gd name="T100" fmla="*/ 2147483647 w 1105"/>
                <a:gd name="T101" fmla="*/ 2147483647 h 580"/>
                <a:gd name="T102" fmla="*/ 2147483647 w 1105"/>
                <a:gd name="T103" fmla="*/ 2147483647 h 580"/>
                <a:gd name="T104" fmla="*/ 2147483647 w 1105"/>
                <a:gd name="T105" fmla="*/ 2147483647 h 580"/>
                <a:gd name="T106" fmla="*/ 2147483647 w 1105"/>
                <a:gd name="T107" fmla="*/ 2147483647 h 580"/>
                <a:gd name="T108" fmla="*/ 2147483647 w 1105"/>
                <a:gd name="T109" fmla="*/ 2147483647 h 580"/>
                <a:gd name="T110" fmla="*/ 2147483647 w 1105"/>
                <a:gd name="T111" fmla="*/ 2147483647 h 580"/>
                <a:gd name="T112" fmla="*/ 2147483647 w 1105"/>
                <a:gd name="T113" fmla="*/ 2147483647 h 580"/>
                <a:gd name="T114" fmla="*/ 2147483647 w 1105"/>
                <a:gd name="T115" fmla="*/ 2147483647 h 580"/>
                <a:gd name="T116" fmla="*/ 2147483647 w 1105"/>
                <a:gd name="T117" fmla="*/ 2147483647 h 580"/>
                <a:gd name="T118" fmla="*/ 2147483647 w 1105"/>
                <a:gd name="T119" fmla="*/ 2147483647 h 580"/>
                <a:gd name="T120" fmla="*/ 2147483647 w 1105"/>
                <a:gd name="T121" fmla="*/ 2147483647 h 580"/>
                <a:gd name="T122" fmla="*/ 2147483647 w 1105"/>
                <a:gd name="T123" fmla="*/ 2147483647 h 58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05"/>
                <a:gd name="T187" fmla="*/ 0 h 580"/>
                <a:gd name="T188" fmla="*/ 1105 w 1105"/>
                <a:gd name="T189" fmla="*/ 580 h 58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05" h="580">
                  <a:moveTo>
                    <a:pt x="3" y="233"/>
                  </a:moveTo>
                  <a:lnTo>
                    <a:pt x="3" y="233"/>
                  </a:lnTo>
                  <a:lnTo>
                    <a:pt x="11" y="233"/>
                  </a:lnTo>
                  <a:lnTo>
                    <a:pt x="14" y="233"/>
                  </a:lnTo>
                  <a:lnTo>
                    <a:pt x="17" y="233"/>
                  </a:lnTo>
                  <a:lnTo>
                    <a:pt x="23" y="233"/>
                  </a:lnTo>
                  <a:lnTo>
                    <a:pt x="29" y="233"/>
                  </a:lnTo>
                  <a:lnTo>
                    <a:pt x="17" y="239"/>
                  </a:lnTo>
                  <a:lnTo>
                    <a:pt x="20" y="247"/>
                  </a:lnTo>
                  <a:lnTo>
                    <a:pt x="20" y="256"/>
                  </a:lnTo>
                  <a:lnTo>
                    <a:pt x="29" y="253"/>
                  </a:lnTo>
                  <a:lnTo>
                    <a:pt x="43" y="247"/>
                  </a:lnTo>
                  <a:lnTo>
                    <a:pt x="63" y="241"/>
                  </a:lnTo>
                  <a:lnTo>
                    <a:pt x="63" y="253"/>
                  </a:lnTo>
                  <a:lnTo>
                    <a:pt x="66" y="259"/>
                  </a:lnTo>
                  <a:lnTo>
                    <a:pt x="63" y="259"/>
                  </a:lnTo>
                  <a:lnTo>
                    <a:pt x="63" y="262"/>
                  </a:lnTo>
                  <a:lnTo>
                    <a:pt x="66" y="264"/>
                  </a:lnTo>
                  <a:lnTo>
                    <a:pt x="63" y="279"/>
                  </a:lnTo>
                  <a:lnTo>
                    <a:pt x="57" y="302"/>
                  </a:lnTo>
                  <a:lnTo>
                    <a:pt x="72" y="310"/>
                  </a:lnTo>
                  <a:lnTo>
                    <a:pt x="72" y="313"/>
                  </a:lnTo>
                  <a:lnTo>
                    <a:pt x="60" y="325"/>
                  </a:lnTo>
                  <a:lnTo>
                    <a:pt x="40" y="336"/>
                  </a:lnTo>
                  <a:lnTo>
                    <a:pt x="37" y="342"/>
                  </a:lnTo>
                  <a:lnTo>
                    <a:pt x="37" y="348"/>
                  </a:lnTo>
                  <a:lnTo>
                    <a:pt x="32" y="353"/>
                  </a:lnTo>
                  <a:lnTo>
                    <a:pt x="32" y="348"/>
                  </a:lnTo>
                  <a:lnTo>
                    <a:pt x="29" y="345"/>
                  </a:lnTo>
                  <a:lnTo>
                    <a:pt x="26" y="345"/>
                  </a:lnTo>
                  <a:lnTo>
                    <a:pt x="23" y="351"/>
                  </a:lnTo>
                  <a:lnTo>
                    <a:pt x="23" y="356"/>
                  </a:lnTo>
                  <a:lnTo>
                    <a:pt x="23" y="365"/>
                  </a:lnTo>
                  <a:lnTo>
                    <a:pt x="29" y="365"/>
                  </a:lnTo>
                  <a:lnTo>
                    <a:pt x="32" y="365"/>
                  </a:lnTo>
                  <a:lnTo>
                    <a:pt x="26" y="374"/>
                  </a:lnTo>
                  <a:lnTo>
                    <a:pt x="29" y="382"/>
                  </a:lnTo>
                  <a:lnTo>
                    <a:pt x="32" y="379"/>
                  </a:lnTo>
                  <a:lnTo>
                    <a:pt x="34" y="374"/>
                  </a:lnTo>
                  <a:lnTo>
                    <a:pt x="40" y="371"/>
                  </a:lnTo>
                  <a:lnTo>
                    <a:pt x="43" y="376"/>
                  </a:lnTo>
                  <a:lnTo>
                    <a:pt x="34" y="385"/>
                  </a:lnTo>
                  <a:lnTo>
                    <a:pt x="29" y="394"/>
                  </a:lnTo>
                  <a:lnTo>
                    <a:pt x="29" y="399"/>
                  </a:lnTo>
                  <a:lnTo>
                    <a:pt x="26" y="402"/>
                  </a:lnTo>
                  <a:lnTo>
                    <a:pt x="26" y="405"/>
                  </a:lnTo>
                  <a:lnTo>
                    <a:pt x="26" y="408"/>
                  </a:lnTo>
                  <a:lnTo>
                    <a:pt x="37" y="408"/>
                  </a:lnTo>
                  <a:lnTo>
                    <a:pt x="43" y="402"/>
                  </a:lnTo>
                  <a:lnTo>
                    <a:pt x="43" y="411"/>
                  </a:lnTo>
                  <a:lnTo>
                    <a:pt x="43" y="414"/>
                  </a:lnTo>
                  <a:lnTo>
                    <a:pt x="49" y="405"/>
                  </a:lnTo>
                  <a:lnTo>
                    <a:pt x="49" y="414"/>
                  </a:lnTo>
                  <a:lnTo>
                    <a:pt x="49" y="419"/>
                  </a:lnTo>
                  <a:lnTo>
                    <a:pt x="55" y="419"/>
                  </a:lnTo>
                  <a:lnTo>
                    <a:pt x="57" y="414"/>
                  </a:lnTo>
                  <a:lnTo>
                    <a:pt x="60" y="414"/>
                  </a:lnTo>
                  <a:lnTo>
                    <a:pt x="60" y="417"/>
                  </a:lnTo>
                  <a:lnTo>
                    <a:pt x="55" y="425"/>
                  </a:lnTo>
                  <a:lnTo>
                    <a:pt x="52" y="431"/>
                  </a:lnTo>
                  <a:lnTo>
                    <a:pt x="52" y="434"/>
                  </a:lnTo>
                  <a:lnTo>
                    <a:pt x="60" y="425"/>
                  </a:lnTo>
                  <a:lnTo>
                    <a:pt x="66" y="419"/>
                  </a:lnTo>
                  <a:lnTo>
                    <a:pt x="63" y="425"/>
                  </a:lnTo>
                  <a:lnTo>
                    <a:pt x="60" y="431"/>
                  </a:lnTo>
                  <a:lnTo>
                    <a:pt x="63" y="434"/>
                  </a:lnTo>
                  <a:lnTo>
                    <a:pt x="66" y="431"/>
                  </a:lnTo>
                  <a:lnTo>
                    <a:pt x="72" y="428"/>
                  </a:lnTo>
                  <a:lnTo>
                    <a:pt x="75" y="428"/>
                  </a:lnTo>
                  <a:lnTo>
                    <a:pt x="63" y="437"/>
                  </a:lnTo>
                  <a:lnTo>
                    <a:pt x="60" y="440"/>
                  </a:lnTo>
                  <a:lnTo>
                    <a:pt x="479" y="442"/>
                  </a:lnTo>
                  <a:lnTo>
                    <a:pt x="491" y="431"/>
                  </a:lnTo>
                  <a:lnTo>
                    <a:pt x="491" y="445"/>
                  </a:lnTo>
                  <a:lnTo>
                    <a:pt x="499" y="448"/>
                  </a:lnTo>
                  <a:lnTo>
                    <a:pt x="511" y="448"/>
                  </a:lnTo>
                  <a:lnTo>
                    <a:pt x="525" y="457"/>
                  </a:lnTo>
                  <a:lnTo>
                    <a:pt x="540" y="457"/>
                  </a:lnTo>
                  <a:lnTo>
                    <a:pt x="554" y="460"/>
                  </a:lnTo>
                  <a:lnTo>
                    <a:pt x="571" y="457"/>
                  </a:lnTo>
                  <a:lnTo>
                    <a:pt x="577" y="451"/>
                  </a:lnTo>
                  <a:lnTo>
                    <a:pt x="620" y="486"/>
                  </a:lnTo>
                  <a:lnTo>
                    <a:pt x="620" y="488"/>
                  </a:lnTo>
                  <a:lnTo>
                    <a:pt x="626" y="488"/>
                  </a:lnTo>
                  <a:lnTo>
                    <a:pt x="626" y="491"/>
                  </a:lnTo>
                  <a:lnTo>
                    <a:pt x="626" y="497"/>
                  </a:lnTo>
                  <a:lnTo>
                    <a:pt x="637" y="497"/>
                  </a:lnTo>
                  <a:lnTo>
                    <a:pt x="634" y="500"/>
                  </a:lnTo>
                  <a:lnTo>
                    <a:pt x="632" y="503"/>
                  </a:lnTo>
                  <a:lnTo>
                    <a:pt x="640" y="514"/>
                  </a:lnTo>
                  <a:lnTo>
                    <a:pt x="637" y="529"/>
                  </a:lnTo>
                  <a:lnTo>
                    <a:pt x="634" y="540"/>
                  </a:lnTo>
                  <a:lnTo>
                    <a:pt x="632" y="549"/>
                  </a:lnTo>
                  <a:lnTo>
                    <a:pt x="614" y="569"/>
                  </a:lnTo>
                  <a:lnTo>
                    <a:pt x="603" y="575"/>
                  </a:lnTo>
                  <a:lnTo>
                    <a:pt x="611" y="580"/>
                  </a:lnTo>
                  <a:lnTo>
                    <a:pt x="637" y="569"/>
                  </a:lnTo>
                  <a:lnTo>
                    <a:pt x="675" y="560"/>
                  </a:lnTo>
                  <a:lnTo>
                    <a:pt x="675" y="543"/>
                  </a:lnTo>
                  <a:lnTo>
                    <a:pt x="712" y="546"/>
                  </a:lnTo>
                  <a:lnTo>
                    <a:pt x="732" y="529"/>
                  </a:lnTo>
                  <a:lnTo>
                    <a:pt x="752" y="517"/>
                  </a:lnTo>
                  <a:lnTo>
                    <a:pt x="807" y="517"/>
                  </a:lnTo>
                  <a:lnTo>
                    <a:pt x="818" y="511"/>
                  </a:lnTo>
                  <a:lnTo>
                    <a:pt x="832" y="503"/>
                  </a:lnTo>
                  <a:lnTo>
                    <a:pt x="838" y="488"/>
                  </a:lnTo>
                  <a:lnTo>
                    <a:pt x="861" y="468"/>
                  </a:lnTo>
                  <a:lnTo>
                    <a:pt x="864" y="471"/>
                  </a:lnTo>
                  <a:lnTo>
                    <a:pt x="864" y="474"/>
                  </a:lnTo>
                  <a:lnTo>
                    <a:pt x="878" y="477"/>
                  </a:lnTo>
                  <a:lnTo>
                    <a:pt x="878" y="486"/>
                  </a:lnTo>
                  <a:lnTo>
                    <a:pt x="870" y="506"/>
                  </a:lnTo>
                  <a:lnTo>
                    <a:pt x="878" y="506"/>
                  </a:lnTo>
                  <a:lnTo>
                    <a:pt x="873" y="517"/>
                  </a:lnTo>
                  <a:lnTo>
                    <a:pt x="873" y="526"/>
                  </a:lnTo>
                  <a:lnTo>
                    <a:pt x="878" y="526"/>
                  </a:lnTo>
                  <a:lnTo>
                    <a:pt x="881" y="523"/>
                  </a:lnTo>
                  <a:lnTo>
                    <a:pt x="884" y="520"/>
                  </a:lnTo>
                  <a:lnTo>
                    <a:pt x="890" y="517"/>
                  </a:lnTo>
                  <a:lnTo>
                    <a:pt x="898" y="514"/>
                  </a:lnTo>
                  <a:lnTo>
                    <a:pt x="904" y="508"/>
                  </a:lnTo>
                  <a:lnTo>
                    <a:pt x="919" y="503"/>
                  </a:lnTo>
                  <a:lnTo>
                    <a:pt x="921" y="503"/>
                  </a:lnTo>
                  <a:lnTo>
                    <a:pt x="913" y="511"/>
                  </a:lnTo>
                  <a:lnTo>
                    <a:pt x="921" y="511"/>
                  </a:lnTo>
                  <a:lnTo>
                    <a:pt x="927" y="511"/>
                  </a:lnTo>
                  <a:lnTo>
                    <a:pt x="921" y="517"/>
                  </a:lnTo>
                  <a:lnTo>
                    <a:pt x="916" y="514"/>
                  </a:lnTo>
                  <a:lnTo>
                    <a:pt x="901" y="520"/>
                  </a:lnTo>
                  <a:lnTo>
                    <a:pt x="896" y="526"/>
                  </a:lnTo>
                  <a:lnTo>
                    <a:pt x="884" y="531"/>
                  </a:lnTo>
                  <a:lnTo>
                    <a:pt x="884" y="537"/>
                  </a:lnTo>
                  <a:lnTo>
                    <a:pt x="881" y="543"/>
                  </a:lnTo>
                  <a:lnTo>
                    <a:pt x="884" y="546"/>
                  </a:lnTo>
                  <a:lnTo>
                    <a:pt x="887" y="549"/>
                  </a:lnTo>
                  <a:lnTo>
                    <a:pt x="898" y="543"/>
                  </a:lnTo>
                  <a:lnTo>
                    <a:pt x="910" y="534"/>
                  </a:lnTo>
                  <a:lnTo>
                    <a:pt x="919" y="529"/>
                  </a:lnTo>
                  <a:lnTo>
                    <a:pt x="921" y="531"/>
                  </a:lnTo>
                  <a:lnTo>
                    <a:pt x="930" y="526"/>
                  </a:lnTo>
                  <a:lnTo>
                    <a:pt x="944" y="523"/>
                  </a:lnTo>
                  <a:lnTo>
                    <a:pt x="959" y="517"/>
                  </a:lnTo>
                  <a:lnTo>
                    <a:pt x="967" y="514"/>
                  </a:lnTo>
                  <a:lnTo>
                    <a:pt x="970" y="511"/>
                  </a:lnTo>
                  <a:lnTo>
                    <a:pt x="967" y="508"/>
                  </a:lnTo>
                  <a:lnTo>
                    <a:pt x="976" y="508"/>
                  </a:lnTo>
                  <a:lnTo>
                    <a:pt x="987" y="506"/>
                  </a:lnTo>
                  <a:lnTo>
                    <a:pt x="993" y="497"/>
                  </a:lnTo>
                  <a:lnTo>
                    <a:pt x="987" y="491"/>
                  </a:lnTo>
                  <a:lnTo>
                    <a:pt x="990" y="486"/>
                  </a:lnTo>
                  <a:lnTo>
                    <a:pt x="987" y="480"/>
                  </a:lnTo>
                  <a:lnTo>
                    <a:pt x="973" y="491"/>
                  </a:lnTo>
                  <a:lnTo>
                    <a:pt x="967" y="500"/>
                  </a:lnTo>
                  <a:lnTo>
                    <a:pt x="962" y="506"/>
                  </a:lnTo>
                  <a:lnTo>
                    <a:pt x="959" y="503"/>
                  </a:lnTo>
                  <a:lnTo>
                    <a:pt x="950" y="506"/>
                  </a:lnTo>
                  <a:lnTo>
                    <a:pt x="942" y="503"/>
                  </a:lnTo>
                  <a:lnTo>
                    <a:pt x="930" y="500"/>
                  </a:lnTo>
                  <a:lnTo>
                    <a:pt x="933" y="497"/>
                  </a:lnTo>
                  <a:lnTo>
                    <a:pt x="924" y="494"/>
                  </a:lnTo>
                  <a:lnTo>
                    <a:pt x="921" y="48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36" y="465"/>
                  </a:lnTo>
                  <a:lnTo>
                    <a:pt x="930" y="465"/>
                  </a:lnTo>
                  <a:lnTo>
                    <a:pt x="924" y="465"/>
                  </a:lnTo>
                  <a:lnTo>
                    <a:pt x="919" y="468"/>
                  </a:lnTo>
                  <a:lnTo>
                    <a:pt x="916" y="465"/>
                  </a:lnTo>
                  <a:lnTo>
                    <a:pt x="904" y="463"/>
                  </a:lnTo>
                  <a:lnTo>
                    <a:pt x="904" y="457"/>
                  </a:lnTo>
                  <a:lnTo>
                    <a:pt x="913" y="457"/>
                  </a:lnTo>
                  <a:lnTo>
                    <a:pt x="919" y="460"/>
                  </a:lnTo>
                  <a:lnTo>
                    <a:pt x="924" y="463"/>
                  </a:lnTo>
                  <a:lnTo>
                    <a:pt x="933" y="457"/>
                  </a:lnTo>
                  <a:lnTo>
                    <a:pt x="942" y="454"/>
                  </a:lnTo>
                  <a:lnTo>
                    <a:pt x="944" y="442"/>
                  </a:lnTo>
                  <a:lnTo>
                    <a:pt x="939" y="440"/>
                  </a:lnTo>
                  <a:lnTo>
                    <a:pt x="927" y="440"/>
                  </a:lnTo>
                  <a:lnTo>
                    <a:pt x="910" y="442"/>
                  </a:lnTo>
                  <a:lnTo>
                    <a:pt x="881" y="451"/>
                  </a:lnTo>
                  <a:lnTo>
                    <a:pt x="864" y="460"/>
                  </a:lnTo>
                  <a:lnTo>
                    <a:pt x="853" y="468"/>
                  </a:lnTo>
                  <a:lnTo>
                    <a:pt x="841" y="480"/>
                  </a:lnTo>
                  <a:lnTo>
                    <a:pt x="835" y="480"/>
                  </a:lnTo>
                  <a:lnTo>
                    <a:pt x="827" y="483"/>
                  </a:lnTo>
                  <a:lnTo>
                    <a:pt x="830" y="477"/>
                  </a:lnTo>
                  <a:lnTo>
                    <a:pt x="841" y="474"/>
                  </a:lnTo>
                  <a:lnTo>
                    <a:pt x="853" y="463"/>
                  </a:lnTo>
                  <a:lnTo>
                    <a:pt x="867" y="454"/>
                  </a:lnTo>
                  <a:lnTo>
                    <a:pt x="878" y="442"/>
                  </a:lnTo>
                  <a:lnTo>
                    <a:pt x="890" y="437"/>
                  </a:lnTo>
                  <a:lnTo>
                    <a:pt x="896" y="437"/>
                  </a:lnTo>
                  <a:lnTo>
                    <a:pt x="901" y="440"/>
                  </a:lnTo>
                  <a:lnTo>
                    <a:pt x="904" y="437"/>
                  </a:lnTo>
                  <a:lnTo>
                    <a:pt x="907" y="431"/>
                  </a:lnTo>
                  <a:lnTo>
                    <a:pt x="910" y="431"/>
                  </a:lnTo>
                  <a:lnTo>
                    <a:pt x="913" y="428"/>
                  </a:lnTo>
                  <a:lnTo>
                    <a:pt x="921" y="422"/>
                  </a:lnTo>
                  <a:lnTo>
                    <a:pt x="927" y="419"/>
                  </a:lnTo>
                  <a:lnTo>
                    <a:pt x="950" y="419"/>
                  </a:lnTo>
                  <a:lnTo>
                    <a:pt x="970" y="419"/>
                  </a:lnTo>
                  <a:lnTo>
                    <a:pt x="979" y="419"/>
                  </a:lnTo>
                  <a:lnTo>
                    <a:pt x="990" y="419"/>
                  </a:lnTo>
                  <a:lnTo>
                    <a:pt x="996" y="422"/>
                  </a:lnTo>
                  <a:lnTo>
                    <a:pt x="1005" y="422"/>
                  </a:lnTo>
                  <a:lnTo>
                    <a:pt x="1013" y="419"/>
                  </a:lnTo>
                  <a:lnTo>
                    <a:pt x="1022" y="419"/>
                  </a:lnTo>
                  <a:lnTo>
                    <a:pt x="1033" y="411"/>
                  </a:lnTo>
                  <a:lnTo>
                    <a:pt x="1039" y="405"/>
                  </a:lnTo>
                  <a:lnTo>
                    <a:pt x="1048" y="402"/>
                  </a:lnTo>
                  <a:lnTo>
                    <a:pt x="1056" y="399"/>
                  </a:lnTo>
                  <a:lnTo>
                    <a:pt x="1065" y="397"/>
                  </a:lnTo>
                  <a:lnTo>
                    <a:pt x="1074" y="397"/>
                  </a:lnTo>
                  <a:lnTo>
                    <a:pt x="1085" y="391"/>
                  </a:lnTo>
                  <a:lnTo>
                    <a:pt x="1097" y="385"/>
                  </a:lnTo>
                  <a:lnTo>
                    <a:pt x="1099" y="382"/>
                  </a:lnTo>
                  <a:lnTo>
                    <a:pt x="1099" y="379"/>
                  </a:lnTo>
                  <a:lnTo>
                    <a:pt x="1099" y="371"/>
                  </a:lnTo>
                  <a:lnTo>
                    <a:pt x="1105" y="365"/>
                  </a:lnTo>
                  <a:lnTo>
                    <a:pt x="1105" y="356"/>
                  </a:lnTo>
                  <a:lnTo>
                    <a:pt x="1097" y="353"/>
                  </a:lnTo>
                  <a:lnTo>
                    <a:pt x="1088" y="348"/>
                  </a:lnTo>
                  <a:lnTo>
                    <a:pt x="1079" y="345"/>
                  </a:lnTo>
                  <a:lnTo>
                    <a:pt x="1076" y="342"/>
                  </a:lnTo>
                  <a:lnTo>
                    <a:pt x="1088" y="342"/>
                  </a:lnTo>
                  <a:lnTo>
                    <a:pt x="1094" y="339"/>
                  </a:lnTo>
                  <a:lnTo>
                    <a:pt x="1088" y="336"/>
                  </a:lnTo>
                  <a:lnTo>
                    <a:pt x="1088" y="330"/>
                  </a:lnTo>
                  <a:lnTo>
                    <a:pt x="1079" y="333"/>
                  </a:lnTo>
                  <a:lnTo>
                    <a:pt x="1071" y="333"/>
                  </a:lnTo>
                  <a:lnTo>
                    <a:pt x="1065" y="336"/>
                  </a:lnTo>
                  <a:lnTo>
                    <a:pt x="1059" y="336"/>
                  </a:lnTo>
                  <a:lnTo>
                    <a:pt x="1062" y="333"/>
                  </a:lnTo>
                  <a:lnTo>
                    <a:pt x="1065" y="328"/>
                  </a:lnTo>
                  <a:lnTo>
                    <a:pt x="1071" y="328"/>
                  </a:lnTo>
                  <a:lnTo>
                    <a:pt x="1068" y="325"/>
                  </a:lnTo>
                  <a:lnTo>
                    <a:pt x="1062" y="325"/>
                  </a:lnTo>
                  <a:lnTo>
                    <a:pt x="1059" y="325"/>
                  </a:lnTo>
                  <a:lnTo>
                    <a:pt x="1056" y="328"/>
                  </a:lnTo>
                  <a:lnTo>
                    <a:pt x="1054" y="330"/>
                  </a:lnTo>
                  <a:lnTo>
                    <a:pt x="1054" y="328"/>
                  </a:lnTo>
                  <a:lnTo>
                    <a:pt x="1059" y="322"/>
                  </a:lnTo>
                  <a:lnTo>
                    <a:pt x="1059" y="316"/>
                  </a:lnTo>
                  <a:lnTo>
                    <a:pt x="1054" y="316"/>
                  </a:lnTo>
                  <a:lnTo>
                    <a:pt x="1051" y="313"/>
                  </a:lnTo>
                  <a:lnTo>
                    <a:pt x="1054" y="310"/>
                  </a:lnTo>
                  <a:lnTo>
                    <a:pt x="1054" y="308"/>
                  </a:lnTo>
                  <a:lnTo>
                    <a:pt x="1048" y="310"/>
                  </a:lnTo>
                  <a:lnTo>
                    <a:pt x="1048" y="308"/>
                  </a:lnTo>
                  <a:lnTo>
                    <a:pt x="1051" y="305"/>
                  </a:lnTo>
                  <a:lnTo>
                    <a:pt x="1054" y="305"/>
                  </a:lnTo>
                  <a:lnTo>
                    <a:pt x="1054" y="299"/>
                  </a:lnTo>
                  <a:lnTo>
                    <a:pt x="1056" y="296"/>
                  </a:lnTo>
                  <a:lnTo>
                    <a:pt x="1056" y="290"/>
                  </a:lnTo>
                  <a:lnTo>
                    <a:pt x="1051" y="290"/>
                  </a:lnTo>
                  <a:lnTo>
                    <a:pt x="1056" y="285"/>
                  </a:lnTo>
                  <a:lnTo>
                    <a:pt x="1056" y="279"/>
                  </a:lnTo>
                  <a:lnTo>
                    <a:pt x="1059" y="282"/>
                  </a:lnTo>
                  <a:lnTo>
                    <a:pt x="1059" y="279"/>
                  </a:lnTo>
                  <a:lnTo>
                    <a:pt x="1054" y="276"/>
                  </a:lnTo>
                  <a:lnTo>
                    <a:pt x="1054" y="267"/>
                  </a:lnTo>
                  <a:lnTo>
                    <a:pt x="1051" y="264"/>
                  </a:lnTo>
                  <a:lnTo>
                    <a:pt x="1051" y="259"/>
                  </a:lnTo>
                  <a:lnTo>
                    <a:pt x="1048" y="256"/>
                  </a:lnTo>
                  <a:lnTo>
                    <a:pt x="1048" y="250"/>
                  </a:lnTo>
                  <a:lnTo>
                    <a:pt x="1045" y="247"/>
                  </a:lnTo>
                  <a:lnTo>
                    <a:pt x="1045" y="244"/>
                  </a:lnTo>
                  <a:lnTo>
                    <a:pt x="1048" y="241"/>
                  </a:lnTo>
                  <a:lnTo>
                    <a:pt x="1042" y="239"/>
                  </a:lnTo>
                  <a:lnTo>
                    <a:pt x="1045" y="233"/>
                  </a:lnTo>
                  <a:lnTo>
                    <a:pt x="1045" y="230"/>
                  </a:lnTo>
                  <a:lnTo>
                    <a:pt x="1051" y="224"/>
                  </a:lnTo>
                  <a:lnTo>
                    <a:pt x="1048" y="224"/>
                  </a:lnTo>
                  <a:lnTo>
                    <a:pt x="1042" y="227"/>
                  </a:lnTo>
                  <a:lnTo>
                    <a:pt x="1039" y="233"/>
                  </a:lnTo>
                  <a:lnTo>
                    <a:pt x="1031" y="241"/>
                  </a:lnTo>
                  <a:lnTo>
                    <a:pt x="1025" y="244"/>
                  </a:lnTo>
                  <a:lnTo>
                    <a:pt x="1022" y="250"/>
                  </a:lnTo>
                  <a:lnTo>
                    <a:pt x="1016" y="253"/>
                  </a:lnTo>
                  <a:lnTo>
                    <a:pt x="1013" y="256"/>
                  </a:lnTo>
                  <a:lnTo>
                    <a:pt x="1010" y="259"/>
                  </a:lnTo>
                  <a:lnTo>
                    <a:pt x="1008" y="262"/>
                  </a:lnTo>
                  <a:lnTo>
                    <a:pt x="1005" y="262"/>
                  </a:lnTo>
                  <a:lnTo>
                    <a:pt x="1002" y="259"/>
                  </a:lnTo>
                  <a:lnTo>
                    <a:pt x="999" y="262"/>
                  </a:lnTo>
                  <a:lnTo>
                    <a:pt x="987" y="270"/>
                  </a:lnTo>
                  <a:lnTo>
                    <a:pt x="979" y="270"/>
                  </a:lnTo>
                  <a:lnTo>
                    <a:pt x="976" y="264"/>
                  </a:lnTo>
                  <a:lnTo>
                    <a:pt x="973" y="267"/>
                  </a:lnTo>
                  <a:lnTo>
                    <a:pt x="973" y="262"/>
                  </a:lnTo>
                  <a:lnTo>
                    <a:pt x="967" y="259"/>
                  </a:lnTo>
                  <a:lnTo>
                    <a:pt x="962" y="262"/>
                  </a:lnTo>
                  <a:lnTo>
                    <a:pt x="967" y="256"/>
                  </a:lnTo>
                  <a:lnTo>
                    <a:pt x="965" y="250"/>
                  </a:lnTo>
                  <a:lnTo>
                    <a:pt x="962" y="250"/>
                  </a:lnTo>
                  <a:lnTo>
                    <a:pt x="967" y="244"/>
                  </a:lnTo>
                  <a:lnTo>
                    <a:pt x="967" y="239"/>
                  </a:lnTo>
                  <a:lnTo>
                    <a:pt x="970" y="236"/>
                  </a:lnTo>
                  <a:lnTo>
                    <a:pt x="976" y="230"/>
                  </a:lnTo>
                  <a:lnTo>
                    <a:pt x="985" y="221"/>
                  </a:lnTo>
                  <a:lnTo>
                    <a:pt x="973" y="221"/>
                  </a:lnTo>
                  <a:lnTo>
                    <a:pt x="970" y="219"/>
                  </a:lnTo>
                  <a:lnTo>
                    <a:pt x="965" y="221"/>
                  </a:lnTo>
                  <a:lnTo>
                    <a:pt x="956" y="216"/>
                  </a:lnTo>
                  <a:lnTo>
                    <a:pt x="953" y="216"/>
                  </a:lnTo>
                  <a:lnTo>
                    <a:pt x="956" y="213"/>
                  </a:lnTo>
                  <a:lnTo>
                    <a:pt x="959" y="207"/>
                  </a:lnTo>
                  <a:lnTo>
                    <a:pt x="953" y="204"/>
                  </a:lnTo>
                  <a:lnTo>
                    <a:pt x="947" y="198"/>
                  </a:lnTo>
                  <a:lnTo>
                    <a:pt x="939" y="193"/>
                  </a:lnTo>
                  <a:lnTo>
                    <a:pt x="930" y="198"/>
                  </a:lnTo>
                  <a:lnTo>
                    <a:pt x="921" y="201"/>
                  </a:lnTo>
                  <a:lnTo>
                    <a:pt x="913" y="198"/>
                  </a:lnTo>
                  <a:lnTo>
                    <a:pt x="907" y="198"/>
                  </a:lnTo>
                  <a:lnTo>
                    <a:pt x="896" y="193"/>
                  </a:lnTo>
                  <a:lnTo>
                    <a:pt x="881" y="193"/>
                  </a:lnTo>
                  <a:lnTo>
                    <a:pt x="878" y="198"/>
                  </a:lnTo>
                  <a:lnTo>
                    <a:pt x="876" y="207"/>
                  </a:lnTo>
                  <a:lnTo>
                    <a:pt x="878" y="210"/>
                  </a:lnTo>
                  <a:lnTo>
                    <a:pt x="873" y="216"/>
                  </a:lnTo>
                  <a:lnTo>
                    <a:pt x="864" y="224"/>
                  </a:lnTo>
                  <a:lnTo>
                    <a:pt x="867" y="227"/>
                  </a:lnTo>
                  <a:lnTo>
                    <a:pt x="864" y="233"/>
                  </a:lnTo>
                  <a:lnTo>
                    <a:pt x="861" y="239"/>
                  </a:lnTo>
                  <a:lnTo>
                    <a:pt x="858" y="244"/>
                  </a:lnTo>
                  <a:lnTo>
                    <a:pt x="844" y="253"/>
                  </a:lnTo>
                  <a:lnTo>
                    <a:pt x="835" y="259"/>
                  </a:lnTo>
                  <a:lnTo>
                    <a:pt x="830" y="264"/>
                  </a:lnTo>
                  <a:lnTo>
                    <a:pt x="838" y="273"/>
                  </a:lnTo>
                  <a:lnTo>
                    <a:pt x="841" y="276"/>
                  </a:lnTo>
                  <a:lnTo>
                    <a:pt x="844" y="279"/>
                  </a:lnTo>
                  <a:lnTo>
                    <a:pt x="841" y="287"/>
                  </a:lnTo>
                  <a:lnTo>
                    <a:pt x="841" y="296"/>
                  </a:lnTo>
                  <a:lnTo>
                    <a:pt x="835" y="305"/>
                  </a:lnTo>
                  <a:lnTo>
                    <a:pt x="832" y="308"/>
                  </a:lnTo>
                  <a:lnTo>
                    <a:pt x="830" y="310"/>
                  </a:lnTo>
                  <a:lnTo>
                    <a:pt x="807" y="325"/>
                  </a:lnTo>
                  <a:lnTo>
                    <a:pt x="789" y="333"/>
                  </a:lnTo>
                  <a:lnTo>
                    <a:pt x="781" y="333"/>
                  </a:lnTo>
                  <a:lnTo>
                    <a:pt x="775" y="333"/>
                  </a:lnTo>
                  <a:lnTo>
                    <a:pt x="772" y="336"/>
                  </a:lnTo>
                  <a:lnTo>
                    <a:pt x="772" y="345"/>
                  </a:lnTo>
                  <a:lnTo>
                    <a:pt x="772" y="348"/>
                  </a:lnTo>
                  <a:lnTo>
                    <a:pt x="772" y="351"/>
                  </a:lnTo>
                  <a:lnTo>
                    <a:pt x="769" y="356"/>
                  </a:lnTo>
                  <a:lnTo>
                    <a:pt x="766" y="368"/>
                  </a:lnTo>
                  <a:lnTo>
                    <a:pt x="766" y="371"/>
                  </a:lnTo>
                  <a:lnTo>
                    <a:pt x="764" y="376"/>
                  </a:lnTo>
                  <a:lnTo>
                    <a:pt x="764" y="382"/>
                  </a:lnTo>
                  <a:lnTo>
                    <a:pt x="761" y="385"/>
                  </a:lnTo>
                  <a:lnTo>
                    <a:pt x="749" y="391"/>
                  </a:lnTo>
                  <a:lnTo>
                    <a:pt x="749" y="399"/>
                  </a:lnTo>
                  <a:lnTo>
                    <a:pt x="746" y="399"/>
                  </a:lnTo>
                  <a:lnTo>
                    <a:pt x="743" y="397"/>
                  </a:lnTo>
                  <a:lnTo>
                    <a:pt x="735" y="399"/>
                  </a:lnTo>
                  <a:lnTo>
                    <a:pt x="735" y="405"/>
                  </a:lnTo>
                  <a:lnTo>
                    <a:pt x="732" y="399"/>
                  </a:lnTo>
                  <a:lnTo>
                    <a:pt x="721" y="402"/>
                  </a:lnTo>
                  <a:lnTo>
                    <a:pt x="723" y="397"/>
                  </a:lnTo>
                  <a:lnTo>
                    <a:pt x="726" y="385"/>
                  </a:lnTo>
                  <a:lnTo>
                    <a:pt x="718" y="382"/>
                  </a:lnTo>
                  <a:lnTo>
                    <a:pt x="721" y="376"/>
                  </a:lnTo>
                  <a:lnTo>
                    <a:pt x="715" y="371"/>
                  </a:lnTo>
                  <a:lnTo>
                    <a:pt x="715" y="365"/>
                  </a:lnTo>
                  <a:lnTo>
                    <a:pt x="723" y="359"/>
                  </a:lnTo>
                  <a:lnTo>
                    <a:pt x="726" y="351"/>
                  </a:lnTo>
                  <a:lnTo>
                    <a:pt x="729" y="342"/>
                  </a:lnTo>
                  <a:lnTo>
                    <a:pt x="732" y="336"/>
                  </a:lnTo>
                  <a:lnTo>
                    <a:pt x="735" y="333"/>
                  </a:lnTo>
                  <a:lnTo>
                    <a:pt x="738" y="328"/>
                  </a:lnTo>
                  <a:lnTo>
                    <a:pt x="735" y="328"/>
                  </a:lnTo>
                  <a:lnTo>
                    <a:pt x="726" y="325"/>
                  </a:lnTo>
                  <a:lnTo>
                    <a:pt x="712" y="325"/>
                  </a:lnTo>
                  <a:lnTo>
                    <a:pt x="700" y="325"/>
                  </a:lnTo>
                  <a:lnTo>
                    <a:pt x="698" y="322"/>
                  </a:lnTo>
                  <a:lnTo>
                    <a:pt x="695" y="319"/>
                  </a:lnTo>
                  <a:lnTo>
                    <a:pt x="680" y="313"/>
                  </a:lnTo>
                  <a:lnTo>
                    <a:pt x="675" y="310"/>
                  </a:lnTo>
                  <a:lnTo>
                    <a:pt x="666" y="299"/>
                  </a:lnTo>
                  <a:lnTo>
                    <a:pt x="663" y="296"/>
                  </a:lnTo>
                  <a:lnTo>
                    <a:pt x="657" y="293"/>
                  </a:lnTo>
                  <a:lnTo>
                    <a:pt x="649" y="290"/>
                  </a:lnTo>
                  <a:lnTo>
                    <a:pt x="643" y="290"/>
                  </a:lnTo>
                  <a:lnTo>
                    <a:pt x="626" y="290"/>
                  </a:lnTo>
                  <a:lnTo>
                    <a:pt x="617" y="293"/>
                  </a:lnTo>
                  <a:lnTo>
                    <a:pt x="611" y="296"/>
                  </a:lnTo>
                  <a:lnTo>
                    <a:pt x="620" y="285"/>
                  </a:lnTo>
                  <a:lnTo>
                    <a:pt x="626" y="270"/>
                  </a:lnTo>
                  <a:lnTo>
                    <a:pt x="629" y="262"/>
                  </a:lnTo>
                  <a:lnTo>
                    <a:pt x="617" y="262"/>
                  </a:lnTo>
                  <a:lnTo>
                    <a:pt x="611" y="262"/>
                  </a:lnTo>
                  <a:lnTo>
                    <a:pt x="611" y="256"/>
                  </a:lnTo>
                  <a:lnTo>
                    <a:pt x="623" y="241"/>
                  </a:lnTo>
                  <a:lnTo>
                    <a:pt x="637" y="227"/>
                  </a:lnTo>
                  <a:lnTo>
                    <a:pt x="652" y="219"/>
                  </a:lnTo>
                  <a:lnTo>
                    <a:pt x="669" y="210"/>
                  </a:lnTo>
                  <a:lnTo>
                    <a:pt x="677" y="201"/>
                  </a:lnTo>
                  <a:lnTo>
                    <a:pt x="686" y="198"/>
                  </a:lnTo>
                  <a:lnTo>
                    <a:pt x="692" y="196"/>
                  </a:lnTo>
                  <a:lnTo>
                    <a:pt x="698" y="196"/>
                  </a:lnTo>
                  <a:lnTo>
                    <a:pt x="695" y="190"/>
                  </a:lnTo>
                  <a:lnTo>
                    <a:pt x="703" y="190"/>
                  </a:lnTo>
                  <a:lnTo>
                    <a:pt x="723" y="187"/>
                  </a:lnTo>
                  <a:lnTo>
                    <a:pt x="721" y="178"/>
                  </a:lnTo>
                  <a:lnTo>
                    <a:pt x="706" y="175"/>
                  </a:lnTo>
                  <a:lnTo>
                    <a:pt x="695" y="175"/>
                  </a:lnTo>
                  <a:lnTo>
                    <a:pt x="692" y="167"/>
                  </a:lnTo>
                  <a:lnTo>
                    <a:pt x="709" y="173"/>
                  </a:lnTo>
                  <a:lnTo>
                    <a:pt x="723" y="175"/>
                  </a:lnTo>
                  <a:lnTo>
                    <a:pt x="726" y="178"/>
                  </a:lnTo>
                  <a:lnTo>
                    <a:pt x="729" y="178"/>
                  </a:lnTo>
                  <a:lnTo>
                    <a:pt x="735" y="175"/>
                  </a:lnTo>
                  <a:lnTo>
                    <a:pt x="743" y="167"/>
                  </a:lnTo>
                  <a:lnTo>
                    <a:pt x="752" y="170"/>
                  </a:lnTo>
                  <a:lnTo>
                    <a:pt x="775" y="164"/>
                  </a:lnTo>
                  <a:lnTo>
                    <a:pt x="789" y="158"/>
                  </a:lnTo>
                  <a:lnTo>
                    <a:pt x="795" y="150"/>
                  </a:lnTo>
                  <a:lnTo>
                    <a:pt x="778" y="144"/>
                  </a:lnTo>
                  <a:lnTo>
                    <a:pt x="769" y="138"/>
                  </a:lnTo>
                  <a:lnTo>
                    <a:pt x="758" y="138"/>
                  </a:lnTo>
                  <a:lnTo>
                    <a:pt x="746" y="132"/>
                  </a:lnTo>
                  <a:lnTo>
                    <a:pt x="758" y="135"/>
                  </a:lnTo>
                  <a:lnTo>
                    <a:pt x="766" y="132"/>
                  </a:lnTo>
                  <a:lnTo>
                    <a:pt x="775" y="135"/>
                  </a:lnTo>
                  <a:lnTo>
                    <a:pt x="781" y="138"/>
                  </a:lnTo>
                  <a:lnTo>
                    <a:pt x="787" y="144"/>
                  </a:lnTo>
                  <a:lnTo>
                    <a:pt x="798" y="147"/>
                  </a:lnTo>
                  <a:lnTo>
                    <a:pt x="807" y="141"/>
                  </a:lnTo>
                  <a:lnTo>
                    <a:pt x="815" y="138"/>
                  </a:lnTo>
                  <a:lnTo>
                    <a:pt x="824" y="132"/>
                  </a:lnTo>
                  <a:lnTo>
                    <a:pt x="821" y="130"/>
                  </a:lnTo>
                  <a:lnTo>
                    <a:pt x="821" y="124"/>
                  </a:lnTo>
                  <a:lnTo>
                    <a:pt x="835" y="127"/>
                  </a:lnTo>
                  <a:lnTo>
                    <a:pt x="835" y="130"/>
                  </a:lnTo>
                  <a:lnTo>
                    <a:pt x="841" y="132"/>
                  </a:lnTo>
                  <a:lnTo>
                    <a:pt x="844" y="138"/>
                  </a:lnTo>
                  <a:lnTo>
                    <a:pt x="850" y="141"/>
                  </a:lnTo>
                  <a:lnTo>
                    <a:pt x="855" y="138"/>
                  </a:lnTo>
                  <a:lnTo>
                    <a:pt x="850" y="135"/>
                  </a:lnTo>
                  <a:lnTo>
                    <a:pt x="847" y="132"/>
                  </a:lnTo>
                  <a:lnTo>
                    <a:pt x="847" y="130"/>
                  </a:lnTo>
                  <a:lnTo>
                    <a:pt x="850" y="132"/>
                  </a:lnTo>
                  <a:lnTo>
                    <a:pt x="853" y="132"/>
                  </a:lnTo>
                  <a:lnTo>
                    <a:pt x="855" y="124"/>
                  </a:lnTo>
                  <a:lnTo>
                    <a:pt x="855" y="121"/>
                  </a:lnTo>
                  <a:lnTo>
                    <a:pt x="858" y="127"/>
                  </a:lnTo>
                  <a:lnTo>
                    <a:pt x="861" y="130"/>
                  </a:lnTo>
                  <a:lnTo>
                    <a:pt x="864" y="124"/>
                  </a:lnTo>
                  <a:lnTo>
                    <a:pt x="873" y="124"/>
                  </a:lnTo>
                  <a:lnTo>
                    <a:pt x="881" y="121"/>
                  </a:lnTo>
                  <a:lnTo>
                    <a:pt x="890" y="118"/>
                  </a:lnTo>
                  <a:lnTo>
                    <a:pt x="898" y="112"/>
                  </a:lnTo>
                  <a:lnTo>
                    <a:pt x="901" y="107"/>
                  </a:lnTo>
                  <a:lnTo>
                    <a:pt x="898" y="101"/>
                  </a:lnTo>
                  <a:lnTo>
                    <a:pt x="898" y="95"/>
                  </a:lnTo>
                  <a:lnTo>
                    <a:pt x="901" y="92"/>
                  </a:lnTo>
                  <a:lnTo>
                    <a:pt x="907" y="92"/>
                  </a:lnTo>
                  <a:lnTo>
                    <a:pt x="916" y="92"/>
                  </a:lnTo>
                  <a:lnTo>
                    <a:pt x="919" y="86"/>
                  </a:lnTo>
                  <a:lnTo>
                    <a:pt x="924" y="81"/>
                  </a:lnTo>
                  <a:lnTo>
                    <a:pt x="916" y="78"/>
                  </a:lnTo>
                  <a:lnTo>
                    <a:pt x="910" y="75"/>
                  </a:lnTo>
                  <a:lnTo>
                    <a:pt x="919" y="72"/>
                  </a:lnTo>
                  <a:lnTo>
                    <a:pt x="913" y="69"/>
                  </a:lnTo>
                  <a:lnTo>
                    <a:pt x="907" y="72"/>
                  </a:lnTo>
                  <a:lnTo>
                    <a:pt x="901" y="72"/>
                  </a:lnTo>
                  <a:lnTo>
                    <a:pt x="901" y="69"/>
                  </a:lnTo>
                  <a:lnTo>
                    <a:pt x="898" y="69"/>
                  </a:lnTo>
                  <a:lnTo>
                    <a:pt x="893" y="69"/>
                  </a:lnTo>
                  <a:lnTo>
                    <a:pt x="884" y="69"/>
                  </a:lnTo>
                  <a:lnTo>
                    <a:pt x="878" y="72"/>
                  </a:lnTo>
                  <a:lnTo>
                    <a:pt x="876" y="78"/>
                  </a:lnTo>
                  <a:lnTo>
                    <a:pt x="876" y="81"/>
                  </a:lnTo>
                  <a:lnTo>
                    <a:pt x="878" y="84"/>
                  </a:lnTo>
                  <a:lnTo>
                    <a:pt x="873" y="86"/>
                  </a:lnTo>
                  <a:lnTo>
                    <a:pt x="870" y="86"/>
                  </a:lnTo>
                  <a:lnTo>
                    <a:pt x="864" y="86"/>
                  </a:lnTo>
                  <a:lnTo>
                    <a:pt x="861" y="89"/>
                  </a:lnTo>
                  <a:lnTo>
                    <a:pt x="858" y="92"/>
                  </a:lnTo>
                  <a:lnTo>
                    <a:pt x="855" y="98"/>
                  </a:lnTo>
                  <a:lnTo>
                    <a:pt x="847" y="101"/>
                  </a:lnTo>
                  <a:lnTo>
                    <a:pt x="844" y="104"/>
                  </a:lnTo>
                  <a:lnTo>
                    <a:pt x="841" y="104"/>
                  </a:lnTo>
                  <a:lnTo>
                    <a:pt x="844" y="101"/>
                  </a:lnTo>
                  <a:lnTo>
                    <a:pt x="844" y="95"/>
                  </a:lnTo>
                  <a:lnTo>
                    <a:pt x="838" y="101"/>
                  </a:lnTo>
                  <a:lnTo>
                    <a:pt x="835" y="104"/>
                  </a:lnTo>
                  <a:lnTo>
                    <a:pt x="838" y="104"/>
                  </a:lnTo>
                  <a:lnTo>
                    <a:pt x="835" y="109"/>
                  </a:lnTo>
                  <a:lnTo>
                    <a:pt x="832" y="109"/>
                  </a:lnTo>
                  <a:lnTo>
                    <a:pt x="827" y="112"/>
                  </a:lnTo>
                  <a:lnTo>
                    <a:pt x="824" y="112"/>
                  </a:lnTo>
                  <a:lnTo>
                    <a:pt x="821" y="112"/>
                  </a:lnTo>
                  <a:lnTo>
                    <a:pt x="818" y="104"/>
                  </a:lnTo>
                  <a:lnTo>
                    <a:pt x="821" y="98"/>
                  </a:lnTo>
                  <a:lnTo>
                    <a:pt x="824" y="95"/>
                  </a:lnTo>
                  <a:lnTo>
                    <a:pt x="827" y="95"/>
                  </a:lnTo>
                  <a:lnTo>
                    <a:pt x="832" y="95"/>
                  </a:lnTo>
                  <a:lnTo>
                    <a:pt x="832" y="86"/>
                  </a:lnTo>
                  <a:lnTo>
                    <a:pt x="832" y="84"/>
                  </a:lnTo>
                  <a:lnTo>
                    <a:pt x="827" y="81"/>
                  </a:lnTo>
                  <a:lnTo>
                    <a:pt x="821" y="81"/>
                  </a:lnTo>
                  <a:lnTo>
                    <a:pt x="815" y="84"/>
                  </a:lnTo>
                  <a:lnTo>
                    <a:pt x="812" y="89"/>
                  </a:lnTo>
                  <a:lnTo>
                    <a:pt x="807" y="92"/>
                  </a:lnTo>
                  <a:lnTo>
                    <a:pt x="801" y="95"/>
                  </a:lnTo>
                  <a:lnTo>
                    <a:pt x="798" y="95"/>
                  </a:lnTo>
                  <a:lnTo>
                    <a:pt x="798" y="92"/>
                  </a:lnTo>
                  <a:lnTo>
                    <a:pt x="801" y="86"/>
                  </a:lnTo>
                  <a:lnTo>
                    <a:pt x="804" y="84"/>
                  </a:lnTo>
                  <a:lnTo>
                    <a:pt x="807" y="78"/>
                  </a:lnTo>
                  <a:lnTo>
                    <a:pt x="812" y="78"/>
                  </a:lnTo>
                  <a:lnTo>
                    <a:pt x="810" y="84"/>
                  </a:lnTo>
                  <a:lnTo>
                    <a:pt x="815" y="81"/>
                  </a:lnTo>
                  <a:lnTo>
                    <a:pt x="815" y="78"/>
                  </a:lnTo>
                  <a:lnTo>
                    <a:pt x="815" y="75"/>
                  </a:lnTo>
                  <a:lnTo>
                    <a:pt x="812" y="75"/>
                  </a:lnTo>
                  <a:lnTo>
                    <a:pt x="807" y="72"/>
                  </a:lnTo>
                  <a:lnTo>
                    <a:pt x="804" y="72"/>
                  </a:lnTo>
                  <a:lnTo>
                    <a:pt x="798" y="75"/>
                  </a:lnTo>
                  <a:lnTo>
                    <a:pt x="792" y="75"/>
                  </a:lnTo>
                  <a:lnTo>
                    <a:pt x="789" y="72"/>
                  </a:lnTo>
                  <a:lnTo>
                    <a:pt x="798" y="69"/>
                  </a:lnTo>
                  <a:lnTo>
                    <a:pt x="801" y="69"/>
                  </a:lnTo>
                  <a:lnTo>
                    <a:pt x="801" y="63"/>
                  </a:lnTo>
                  <a:lnTo>
                    <a:pt x="807" y="66"/>
                  </a:lnTo>
                  <a:lnTo>
                    <a:pt x="812" y="63"/>
                  </a:lnTo>
                  <a:lnTo>
                    <a:pt x="807" y="58"/>
                  </a:lnTo>
                  <a:lnTo>
                    <a:pt x="804" y="52"/>
                  </a:lnTo>
                  <a:lnTo>
                    <a:pt x="812" y="46"/>
                  </a:lnTo>
                  <a:lnTo>
                    <a:pt x="810" y="43"/>
                  </a:lnTo>
                  <a:lnTo>
                    <a:pt x="807" y="38"/>
                  </a:lnTo>
                  <a:lnTo>
                    <a:pt x="801" y="38"/>
                  </a:lnTo>
                  <a:lnTo>
                    <a:pt x="807" y="35"/>
                  </a:lnTo>
                  <a:lnTo>
                    <a:pt x="815" y="32"/>
                  </a:lnTo>
                  <a:lnTo>
                    <a:pt x="824" y="29"/>
                  </a:lnTo>
                  <a:lnTo>
                    <a:pt x="824" y="26"/>
                  </a:lnTo>
                  <a:lnTo>
                    <a:pt x="821" y="23"/>
                  </a:lnTo>
                  <a:lnTo>
                    <a:pt x="832" y="23"/>
                  </a:lnTo>
                  <a:lnTo>
                    <a:pt x="844" y="23"/>
                  </a:lnTo>
                  <a:lnTo>
                    <a:pt x="847" y="20"/>
                  </a:lnTo>
                  <a:lnTo>
                    <a:pt x="850" y="20"/>
                  </a:lnTo>
                  <a:lnTo>
                    <a:pt x="853" y="20"/>
                  </a:lnTo>
                  <a:lnTo>
                    <a:pt x="864" y="15"/>
                  </a:lnTo>
                  <a:lnTo>
                    <a:pt x="873" y="9"/>
                  </a:lnTo>
                  <a:lnTo>
                    <a:pt x="876" y="9"/>
                  </a:lnTo>
                  <a:lnTo>
                    <a:pt x="878" y="9"/>
                  </a:lnTo>
                  <a:lnTo>
                    <a:pt x="881" y="9"/>
                  </a:lnTo>
                  <a:lnTo>
                    <a:pt x="884" y="6"/>
                  </a:lnTo>
                  <a:lnTo>
                    <a:pt x="884" y="3"/>
                  </a:lnTo>
                  <a:lnTo>
                    <a:pt x="873" y="3"/>
                  </a:lnTo>
                  <a:lnTo>
                    <a:pt x="870" y="3"/>
                  </a:lnTo>
                  <a:lnTo>
                    <a:pt x="861" y="3"/>
                  </a:lnTo>
                  <a:lnTo>
                    <a:pt x="858" y="3"/>
                  </a:lnTo>
                  <a:lnTo>
                    <a:pt x="850" y="0"/>
                  </a:lnTo>
                  <a:lnTo>
                    <a:pt x="844" y="3"/>
                  </a:lnTo>
                  <a:lnTo>
                    <a:pt x="838" y="3"/>
                  </a:lnTo>
                  <a:lnTo>
                    <a:pt x="835" y="3"/>
                  </a:lnTo>
                  <a:lnTo>
                    <a:pt x="832" y="3"/>
                  </a:lnTo>
                  <a:lnTo>
                    <a:pt x="830" y="3"/>
                  </a:lnTo>
                  <a:lnTo>
                    <a:pt x="827" y="6"/>
                  </a:lnTo>
                  <a:lnTo>
                    <a:pt x="824" y="9"/>
                  </a:lnTo>
                  <a:lnTo>
                    <a:pt x="824" y="6"/>
                  </a:lnTo>
                  <a:lnTo>
                    <a:pt x="821" y="6"/>
                  </a:lnTo>
                  <a:lnTo>
                    <a:pt x="818" y="6"/>
                  </a:lnTo>
                  <a:lnTo>
                    <a:pt x="815" y="12"/>
                  </a:lnTo>
                  <a:lnTo>
                    <a:pt x="812" y="15"/>
                  </a:lnTo>
                  <a:lnTo>
                    <a:pt x="807" y="18"/>
                  </a:lnTo>
                  <a:lnTo>
                    <a:pt x="804" y="18"/>
                  </a:lnTo>
                  <a:lnTo>
                    <a:pt x="804" y="20"/>
                  </a:lnTo>
                  <a:lnTo>
                    <a:pt x="801" y="23"/>
                  </a:lnTo>
                  <a:lnTo>
                    <a:pt x="804" y="26"/>
                  </a:lnTo>
                  <a:lnTo>
                    <a:pt x="801" y="29"/>
                  </a:lnTo>
                  <a:lnTo>
                    <a:pt x="798" y="35"/>
                  </a:lnTo>
                  <a:lnTo>
                    <a:pt x="787" y="41"/>
                  </a:lnTo>
                  <a:lnTo>
                    <a:pt x="778" y="41"/>
                  </a:lnTo>
                  <a:lnTo>
                    <a:pt x="781" y="43"/>
                  </a:lnTo>
                  <a:lnTo>
                    <a:pt x="781" y="46"/>
                  </a:lnTo>
                  <a:lnTo>
                    <a:pt x="781" y="49"/>
                  </a:lnTo>
                  <a:lnTo>
                    <a:pt x="778" y="49"/>
                  </a:lnTo>
                  <a:lnTo>
                    <a:pt x="775" y="46"/>
                  </a:lnTo>
                  <a:lnTo>
                    <a:pt x="775" y="43"/>
                  </a:lnTo>
                  <a:lnTo>
                    <a:pt x="761" y="52"/>
                  </a:lnTo>
                  <a:lnTo>
                    <a:pt x="758" y="55"/>
                  </a:lnTo>
                  <a:lnTo>
                    <a:pt x="764" y="55"/>
                  </a:lnTo>
                  <a:lnTo>
                    <a:pt x="766" y="55"/>
                  </a:lnTo>
                  <a:lnTo>
                    <a:pt x="766" y="58"/>
                  </a:lnTo>
                  <a:lnTo>
                    <a:pt x="761" y="61"/>
                  </a:lnTo>
                  <a:lnTo>
                    <a:pt x="755" y="61"/>
                  </a:lnTo>
                  <a:lnTo>
                    <a:pt x="752" y="63"/>
                  </a:lnTo>
                  <a:lnTo>
                    <a:pt x="749" y="66"/>
                  </a:lnTo>
                  <a:lnTo>
                    <a:pt x="749" y="69"/>
                  </a:lnTo>
                  <a:lnTo>
                    <a:pt x="752" y="72"/>
                  </a:lnTo>
                  <a:lnTo>
                    <a:pt x="755" y="72"/>
                  </a:lnTo>
                  <a:lnTo>
                    <a:pt x="764" y="72"/>
                  </a:lnTo>
                  <a:lnTo>
                    <a:pt x="766" y="78"/>
                  </a:lnTo>
                  <a:lnTo>
                    <a:pt x="769" y="75"/>
                  </a:lnTo>
                  <a:lnTo>
                    <a:pt x="772" y="75"/>
                  </a:lnTo>
                  <a:lnTo>
                    <a:pt x="775" y="78"/>
                  </a:lnTo>
                  <a:lnTo>
                    <a:pt x="772" y="78"/>
                  </a:lnTo>
                  <a:lnTo>
                    <a:pt x="766" y="78"/>
                  </a:lnTo>
                  <a:lnTo>
                    <a:pt x="764" y="81"/>
                  </a:lnTo>
                  <a:lnTo>
                    <a:pt x="764" y="84"/>
                  </a:lnTo>
                  <a:lnTo>
                    <a:pt x="766" y="86"/>
                  </a:lnTo>
                  <a:lnTo>
                    <a:pt x="766" y="89"/>
                  </a:lnTo>
                  <a:lnTo>
                    <a:pt x="766" y="92"/>
                  </a:lnTo>
                  <a:lnTo>
                    <a:pt x="743" y="98"/>
                  </a:lnTo>
                  <a:lnTo>
                    <a:pt x="735" y="98"/>
                  </a:lnTo>
                  <a:lnTo>
                    <a:pt x="729" y="101"/>
                  </a:lnTo>
                  <a:lnTo>
                    <a:pt x="726" y="104"/>
                  </a:lnTo>
                  <a:lnTo>
                    <a:pt x="723" y="107"/>
                  </a:lnTo>
                  <a:lnTo>
                    <a:pt x="721" y="115"/>
                  </a:lnTo>
                  <a:lnTo>
                    <a:pt x="712" y="118"/>
                  </a:lnTo>
                  <a:lnTo>
                    <a:pt x="709" y="118"/>
                  </a:lnTo>
                  <a:lnTo>
                    <a:pt x="715" y="115"/>
                  </a:lnTo>
                  <a:lnTo>
                    <a:pt x="712" y="112"/>
                  </a:lnTo>
                  <a:lnTo>
                    <a:pt x="715" y="104"/>
                  </a:lnTo>
                  <a:lnTo>
                    <a:pt x="726" y="98"/>
                  </a:lnTo>
                  <a:lnTo>
                    <a:pt x="721" y="95"/>
                  </a:lnTo>
                  <a:lnTo>
                    <a:pt x="715" y="95"/>
                  </a:lnTo>
                  <a:lnTo>
                    <a:pt x="715" y="92"/>
                  </a:lnTo>
                  <a:lnTo>
                    <a:pt x="721" y="92"/>
                  </a:lnTo>
                  <a:lnTo>
                    <a:pt x="732" y="92"/>
                  </a:lnTo>
                  <a:lnTo>
                    <a:pt x="743" y="86"/>
                  </a:lnTo>
                  <a:lnTo>
                    <a:pt x="741" y="84"/>
                  </a:lnTo>
                  <a:lnTo>
                    <a:pt x="741" y="81"/>
                  </a:lnTo>
                  <a:lnTo>
                    <a:pt x="743" y="78"/>
                  </a:lnTo>
                  <a:lnTo>
                    <a:pt x="749" y="78"/>
                  </a:lnTo>
                  <a:lnTo>
                    <a:pt x="752" y="78"/>
                  </a:lnTo>
                  <a:lnTo>
                    <a:pt x="752" y="75"/>
                  </a:lnTo>
                  <a:lnTo>
                    <a:pt x="749" y="75"/>
                  </a:lnTo>
                  <a:lnTo>
                    <a:pt x="743" y="72"/>
                  </a:lnTo>
                  <a:lnTo>
                    <a:pt x="741" y="72"/>
                  </a:lnTo>
                  <a:lnTo>
                    <a:pt x="738" y="75"/>
                  </a:lnTo>
                  <a:lnTo>
                    <a:pt x="732" y="72"/>
                  </a:lnTo>
                  <a:lnTo>
                    <a:pt x="729" y="69"/>
                  </a:lnTo>
                  <a:lnTo>
                    <a:pt x="723" y="69"/>
                  </a:lnTo>
                  <a:lnTo>
                    <a:pt x="718" y="72"/>
                  </a:lnTo>
                  <a:lnTo>
                    <a:pt x="712" y="75"/>
                  </a:lnTo>
                  <a:lnTo>
                    <a:pt x="712" y="78"/>
                  </a:lnTo>
                  <a:lnTo>
                    <a:pt x="706" y="81"/>
                  </a:lnTo>
                  <a:lnTo>
                    <a:pt x="700" y="81"/>
                  </a:lnTo>
                  <a:lnTo>
                    <a:pt x="698" y="81"/>
                  </a:lnTo>
                  <a:lnTo>
                    <a:pt x="695" y="84"/>
                  </a:lnTo>
                  <a:lnTo>
                    <a:pt x="695" y="86"/>
                  </a:lnTo>
                  <a:lnTo>
                    <a:pt x="695" y="89"/>
                  </a:lnTo>
                  <a:lnTo>
                    <a:pt x="698" y="86"/>
                  </a:lnTo>
                  <a:lnTo>
                    <a:pt x="700" y="84"/>
                  </a:lnTo>
                  <a:lnTo>
                    <a:pt x="700" y="86"/>
                  </a:lnTo>
                  <a:lnTo>
                    <a:pt x="706" y="89"/>
                  </a:lnTo>
                  <a:lnTo>
                    <a:pt x="706" y="92"/>
                  </a:lnTo>
                  <a:lnTo>
                    <a:pt x="703" y="95"/>
                  </a:lnTo>
                  <a:lnTo>
                    <a:pt x="698" y="95"/>
                  </a:lnTo>
                  <a:lnTo>
                    <a:pt x="695" y="95"/>
                  </a:lnTo>
                  <a:lnTo>
                    <a:pt x="692" y="101"/>
                  </a:lnTo>
                  <a:lnTo>
                    <a:pt x="695" y="101"/>
                  </a:lnTo>
                  <a:lnTo>
                    <a:pt x="700" y="101"/>
                  </a:lnTo>
                  <a:lnTo>
                    <a:pt x="703" y="104"/>
                  </a:lnTo>
                  <a:lnTo>
                    <a:pt x="698" y="107"/>
                  </a:lnTo>
                  <a:lnTo>
                    <a:pt x="695" y="104"/>
                  </a:lnTo>
                  <a:lnTo>
                    <a:pt x="686" y="104"/>
                  </a:lnTo>
                  <a:lnTo>
                    <a:pt x="677" y="104"/>
                  </a:lnTo>
                  <a:lnTo>
                    <a:pt x="672" y="104"/>
                  </a:lnTo>
                  <a:lnTo>
                    <a:pt x="666" y="101"/>
                  </a:lnTo>
                  <a:lnTo>
                    <a:pt x="663" y="104"/>
                  </a:lnTo>
                  <a:lnTo>
                    <a:pt x="655" y="104"/>
                  </a:lnTo>
                  <a:lnTo>
                    <a:pt x="649" y="104"/>
                  </a:lnTo>
                  <a:lnTo>
                    <a:pt x="637" y="104"/>
                  </a:lnTo>
                  <a:lnTo>
                    <a:pt x="632" y="98"/>
                  </a:lnTo>
                  <a:lnTo>
                    <a:pt x="626" y="101"/>
                  </a:lnTo>
                  <a:lnTo>
                    <a:pt x="617" y="98"/>
                  </a:lnTo>
                  <a:lnTo>
                    <a:pt x="614" y="95"/>
                  </a:lnTo>
                  <a:lnTo>
                    <a:pt x="611" y="95"/>
                  </a:lnTo>
                  <a:lnTo>
                    <a:pt x="611" y="92"/>
                  </a:lnTo>
                  <a:lnTo>
                    <a:pt x="614" y="89"/>
                  </a:lnTo>
                  <a:lnTo>
                    <a:pt x="611" y="86"/>
                  </a:lnTo>
                  <a:lnTo>
                    <a:pt x="609" y="84"/>
                  </a:lnTo>
                  <a:lnTo>
                    <a:pt x="603" y="86"/>
                  </a:lnTo>
                  <a:lnTo>
                    <a:pt x="591" y="89"/>
                  </a:lnTo>
                  <a:lnTo>
                    <a:pt x="580" y="89"/>
                  </a:lnTo>
                  <a:lnTo>
                    <a:pt x="574" y="92"/>
                  </a:lnTo>
                  <a:lnTo>
                    <a:pt x="568" y="95"/>
                  </a:lnTo>
                  <a:lnTo>
                    <a:pt x="566" y="98"/>
                  </a:lnTo>
                  <a:lnTo>
                    <a:pt x="571" y="98"/>
                  </a:lnTo>
                  <a:lnTo>
                    <a:pt x="577" y="98"/>
                  </a:lnTo>
                  <a:lnTo>
                    <a:pt x="583" y="95"/>
                  </a:lnTo>
                  <a:lnTo>
                    <a:pt x="583" y="98"/>
                  </a:lnTo>
                  <a:lnTo>
                    <a:pt x="591" y="95"/>
                  </a:lnTo>
                  <a:lnTo>
                    <a:pt x="594" y="95"/>
                  </a:lnTo>
                  <a:lnTo>
                    <a:pt x="588" y="98"/>
                  </a:lnTo>
                  <a:lnTo>
                    <a:pt x="580" y="98"/>
                  </a:lnTo>
                  <a:lnTo>
                    <a:pt x="574" y="101"/>
                  </a:lnTo>
                  <a:lnTo>
                    <a:pt x="571" y="104"/>
                  </a:lnTo>
                  <a:lnTo>
                    <a:pt x="568" y="101"/>
                  </a:lnTo>
                  <a:lnTo>
                    <a:pt x="563" y="109"/>
                  </a:lnTo>
                  <a:lnTo>
                    <a:pt x="566" y="107"/>
                  </a:lnTo>
                  <a:lnTo>
                    <a:pt x="563" y="112"/>
                  </a:lnTo>
                  <a:lnTo>
                    <a:pt x="563" y="118"/>
                  </a:lnTo>
                  <a:lnTo>
                    <a:pt x="557" y="118"/>
                  </a:lnTo>
                  <a:lnTo>
                    <a:pt x="554" y="124"/>
                  </a:lnTo>
                  <a:lnTo>
                    <a:pt x="551" y="130"/>
                  </a:lnTo>
                  <a:lnTo>
                    <a:pt x="548" y="121"/>
                  </a:lnTo>
                  <a:lnTo>
                    <a:pt x="545" y="118"/>
                  </a:lnTo>
                  <a:lnTo>
                    <a:pt x="551" y="115"/>
                  </a:lnTo>
                  <a:lnTo>
                    <a:pt x="557" y="112"/>
                  </a:lnTo>
                  <a:lnTo>
                    <a:pt x="554" y="107"/>
                  </a:lnTo>
                  <a:lnTo>
                    <a:pt x="551" y="107"/>
                  </a:lnTo>
                  <a:lnTo>
                    <a:pt x="554" y="104"/>
                  </a:lnTo>
                  <a:lnTo>
                    <a:pt x="545" y="104"/>
                  </a:lnTo>
                  <a:lnTo>
                    <a:pt x="554" y="95"/>
                  </a:lnTo>
                  <a:lnTo>
                    <a:pt x="551" y="95"/>
                  </a:lnTo>
                  <a:lnTo>
                    <a:pt x="537" y="101"/>
                  </a:lnTo>
                  <a:lnTo>
                    <a:pt x="514" y="104"/>
                  </a:lnTo>
                  <a:lnTo>
                    <a:pt x="508" y="107"/>
                  </a:lnTo>
                  <a:lnTo>
                    <a:pt x="499" y="107"/>
                  </a:lnTo>
                  <a:lnTo>
                    <a:pt x="482" y="104"/>
                  </a:lnTo>
                  <a:lnTo>
                    <a:pt x="477" y="101"/>
                  </a:lnTo>
                  <a:lnTo>
                    <a:pt x="474" y="101"/>
                  </a:lnTo>
                  <a:lnTo>
                    <a:pt x="488" y="98"/>
                  </a:lnTo>
                  <a:lnTo>
                    <a:pt x="497" y="98"/>
                  </a:lnTo>
                  <a:lnTo>
                    <a:pt x="502" y="95"/>
                  </a:lnTo>
                  <a:lnTo>
                    <a:pt x="499" y="92"/>
                  </a:lnTo>
                  <a:lnTo>
                    <a:pt x="497" y="86"/>
                  </a:lnTo>
                  <a:lnTo>
                    <a:pt x="494" y="84"/>
                  </a:lnTo>
                  <a:lnTo>
                    <a:pt x="488" y="84"/>
                  </a:lnTo>
                  <a:lnTo>
                    <a:pt x="485" y="86"/>
                  </a:lnTo>
                  <a:lnTo>
                    <a:pt x="479" y="86"/>
                  </a:lnTo>
                  <a:lnTo>
                    <a:pt x="468" y="84"/>
                  </a:lnTo>
                  <a:lnTo>
                    <a:pt x="442" y="78"/>
                  </a:lnTo>
                  <a:lnTo>
                    <a:pt x="442" y="75"/>
                  </a:lnTo>
                  <a:lnTo>
                    <a:pt x="442" y="72"/>
                  </a:lnTo>
                  <a:lnTo>
                    <a:pt x="436" y="72"/>
                  </a:lnTo>
                  <a:lnTo>
                    <a:pt x="422" y="69"/>
                  </a:lnTo>
                  <a:lnTo>
                    <a:pt x="416" y="72"/>
                  </a:lnTo>
                  <a:lnTo>
                    <a:pt x="411" y="72"/>
                  </a:lnTo>
                  <a:lnTo>
                    <a:pt x="399" y="78"/>
                  </a:lnTo>
                  <a:lnTo>
                    <a:pt x="390" y="78"/>
                  </a:lnTo>
                  <a:lnTo>
                    <a:pt x="399" y="72"/>
                  </a:lnTo>
                  <a:lnTo>
                    <a:pt x="399" y="69"/>
                  </a:lnTo>
                  <a:lnTo>
                    <a:pt x="405" y="63"/>
                  </a:lnTo>
                  <a:lnTo>
                    <a:pt x="396" y="66"/>
                  </a:lnTo>
                  <a:lnTo>
                    <a:pt x="393" y="66"/>
                  </a:lnTo>
                  <a:lnTo>
                    <a:pt x="390" y="69"/>
                  </a:lnTo>
                  <a:lnTo>
                    <a:pt x="382" y="75"/>
                  </a:lnTo>
                  <a:lnTo>
                    <a:pt x="376" y="78"/>
                  </a:lnTo>
                  <a:lnTo>
                    <a:pt x="373" y="78"/>
                  </a:lnTo>
                  <a:lnTo>
                    <a:pt x="373" y="72"/>
                  </a:lnTo>
                  <a:lnTo>
                    <a:pt x="373" y="66"/>
                  </a:lnTo>
                  <a:lnTo>
                    <a:pt x="370" y="61"/>
                  </a:lnTo>
                  <a:lnTo>
                    <a:pt x="370" y="58"/>
                  </a:lnTo>
                  <a:lnTo>
                    <a:pt x="367" y="58"/>
                  </a:lnTo>
                  <a:lnTo>
                    <a:pt x="365" y="61"/>
                  </a:lnTo>
                  <a:lnTo>
                    <a:pt x="362" y="66"/>
                  </a:lnTo>
                  <a:lnTo>
                    <a:pt x="350" y="66"/>
                  </a:lnTo>
                  <a:lnTo>
                    <a:pt x="344" y="72"/>
                  </a:lnTo>
                  <a:lnTo>
                    <a:pt x="339" y="72"/>
                  </a:lnTo>
                  <a:lnTo>
                    <a:pt x="336" y="66"/>
                  </a:lnTo>
                  <a:lnTo>
                    <a:pt x="344" y="63"/>
                  </a:lnTo>
                  <a:lnTo>
                    <a:pt x="336" y="63"/>
                  </a:lnTo>
                  <a:lnTo>
                    <a:pt x="324" y="66"/>
                  </a:lnTo>
                  <a:lnTo>
                    <a:pt x="316" y="69"/>
                  </a:lnTo>
                  <a:lnTo>
                    <a:pt x="310" y="69"/>
                  </a:lnTo>
                  <a:lnTo>
                    <a:pt x="301" y="72"/>
                  </a:lnTo>
                  <a:lnTo>
                    <a:pt x="304" y="75"/>
                  </a:lnTo>
                  <a:lnTo>
                    <a:pt x="307" y="75"/>
                  </a:lnTo>
                  <a:lnTo>
                    <a:pt x="310" y="75"/>
                  </a:lnTo>
                  <a:lnTo>
                    <a:pt x="310" y="78"/>
                  </a:lnTo>
                  <a:lnTo>
                    <a:pt x="307" y="78"/>
                  </a:lnTo>
                  <a:lnTo>
                    <a:pt x="304" y="78"/>
                  </a:lnTo>
                  <a:lnTo>
                    <a:pt x="299" y="75"/>
                  </a:lnTo>
                  <a:lnTo>
                    <a:pt x="296" y="72"/>
                  </a:lnTo>
                  <a:lnTo>
                    <a:pt x="290" y="75"/>
                  </a:lnTo>
                  <a:lnTo>
                    <a:pt x="284" y="75"/>
                  </a:lnTo>
                  <a:lnTo>
                    <a:pt x="278" y="75"/>
                  </a:lnTo>
                  <a:lnTo>
                    <a:pt x="276" y="78"/>
                  </a:lnTo>
                  <a:lnTo>
                    <a:pt x="270" y="81"/>
                  </a:lnTo>
                  <a:lnTo>
                    <a:pt x="255" y="86"/>
                  </a:lnTo>
                  <a:lnTo>
                    <a:pt x="253" y="84"/>
                  </a:lnTo>
                  <a:lnTo>
                    <a:pt x="264" y="81"/>
                  </a:lnTo>
                  <a:lnTo>
                    <a:pt x="273" y="75"/>
                  </a:lnTo>
                  <a:lnTo>
                    <a:pt x="270" y="72"/>
                  </a:lnTo>
                  <a:lnTo>
                    <a:pt x="261" y="75"/>
                  </a:lnTo>
                  <a:lnTo>
                    <a:pt x="258" y="72"/>
                  </a:lnTo>
                  <a:lnTo>
                    <a:pt x="253" y="78"/>
                  </a:lnTo>
                  <a:lnTo>
                    <a:pt x="247" y="81"/>
                  </a:lnTo>
                  <a:lnTo>
                    <a:pt x="241" y="84"/>
                  </a:lnTo>
                  <a:lnTo>
                    <a:pt x="233" y="84"/>
                  </a:lnTo>
                  <a:lnTo>
                    <a:pt x="227" y="86"/>
                  </a:lnTo>
                  <a:lnTo>
                    <a:pt x="221" y="86"/>
                  </a:lnTo>
                  <a:lnTo>
                    <a:pt x="215" y="81"/>
                  </a:lnTo>
                  <a:lnTo>
                    <a:pt x="210" y="78"/>
                  </a:lnTo>
                  <a:lnTo>
                    <a:pt x="212" y="75"/>
                  </a:lnTo>
                  <a:lnTo>
                    <a:pt x="212" y="72"/>
                  </a:lnTo>
                  <a:lnTo>
                    <a:pt x="207" y="75"/>
                  </a:lnTo>
                  <a:lnTo>
                    <a:pt x="201" y="72"/>
                  </a:lnTo>
                  <a:lnTo>
                    <a:pt x="189" y="72"/>
                  </a:lnTo>
                  <a:lnTo>
                    <a:pt x="0" y="233"/>
                  </a:lnTo>
                  <a:lnTo>
                    <a:pt x="3" y="233"/>
                  </a:lnTo>
                  <a:close/>
                  <a:moveTo>
                    <a:pt x="600" y="92"/>
                  </a:moveTo>
                  <a:lnTo>
                    <a:pt x="606" y="89"/>
                  </a:lnTo>
                  <a:lnTo>
                    <a:pt x="609" y="92"/>
                  </a:lnTo>
                  <a:lnTo>
                    <a:pt x="597" y="95"/>
                  </a:lnTo>
                  <a:lnTo>
                    <a:pt x="600" y="92"/>
                  </a:lnTo>
                  <a:close/>
                  <a:moveTo>
                    <a:pt x="465" y="84"/>
                  </a:moveTo>
                  <a:lnTo>
                    <a:pt x="465" y="84"/>
                  </a:lnTo>
                  <a:lnTo>
                    <a:pt x="468" y="84"/>
                  </a:lnTo>
                  <a:lnTo>
                    <a:pt x="465" y="8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87" name="Rectangle 690"/>
            <p:cNvSpPr>
              <a:spLocks noChangeArrowheads="1"/>
            </p:cNvSpPr>
            <p:nvPr/>
          </p:nvSpPr>
          <p:spPr bwMode="auto">
            <a:xfrm>
              <a:off x="2000250" y="1957388"/>
              <a:ext cx="4763" cy="1587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88" name="Freeform 691"/>
            <p:cNvSpPr>
              <a:spLocks/>
            </p:cNvSpPr>
            <p:nvPr/>
          </p:nvSpPr>
          <p:spPr bwMode="auto">
            <a:xfrm>
              <a:off x="2635250" y="2081213"/>
              <a:ext cx="22225" cy="9525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2147483647 h 6"/>
                <a:gd name="T4" fmla="*/ 2147483647 w 14"/>
                <a:gd name="T5" fmla="*/ 2147483647 h 6"/>
                <a:gd name="T6" fmla="*/ 2147483647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0 h 6"/>
                <a:gd name="T12" fmla="*/ 2147483647 w 14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6"/>
                <a:gd name="T23" fmla="*/ 14 w 14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6">
                  <a:moveTo>
                    <a:pt x="6" y="0"/>
                  </a:moveTo>
                  <a:lnTo>
                    <a:pt x="0" y="3"/>
                  </a:lnTo>
                  <a:lnTo>
                    <a:pt x="3" y="6"/>
                  </a:lnTo>
                  <a:lnTo>
                    <a:pt x="9" y="6"/>
                  </a:lnTo>
                  <a:lnTo>
                    <a:pt x="14" y="3"/>
                  </a:lnTo>
                  <a:lnTo>
                    <a:pt x="11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89" name="Freeform 692"/>
            <p:cNvSpPr>
              <a:spLocks/>
            </p:cNvSpPr>
            <p:nvPr/>
          </p:nvSpPr>
          <p:spPr bwMode="auto">
            <a:xfrm>
              <a:off x="2417763" y="1930400"/>
              <a:ext cx="14287" cy="7938"/>
            </a:xfrm>
            <a:custGeom>
              <a:avLst/>
              <a:gdLst>
                <a:gd name="T0" fmla="*/ 0 w 9"/>
                <a:gd name="T1" fmla="*/ 2147483647 h 5"/>
                <a:gd name="T2" fmla="*/ 2147483647 w 9"/>
                <a:gd name="T3" fmla="*/ 2147483647 h 5"/>
                <a:gd name="T4" fmla="*/ 2147483647 w 9"/>
                <a:gd name="T5" fmla="*/ 2147483647 h 5"/>
                <a:gd name="T6" fmla="*/ 2147483647 w 9"/>
                <a:gd name="T7" fmla="*/ 0 h 5"/>
                <a:gd name="T8" fmla="*/ 2147483647 w 9"/>
                <a:gd name="T9" fmla="*/ 0 h 5"/>
                <a:gd name="T10" fmla="*/ 0 w 9"/>
                <a:gd name="T11" fmla="*/ 2147483647 h 5"/>
                <a:gd name="T12" fmla="*/ 0 w 9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5"/>
                <a:gd name="T23" fmla="*/ 9 w 9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5">
                  <a:moveTo>
                    <a:pt x="0" y="5"/>
                  </a:moveTo>
                  <a:lnTo>
                    <a:pt x="6" y="5"/>
                  </a:lnTo>
                  <a:lnTo>
                    <a:pt x="9" y="2"/>
                  </a:lnTo>
                  <a:lnTo>
                    <a:pt x="9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90" name="Freeform 693"/>
            <p:cNvSpPr>
              <a:spLocks/>
            </p:cNvSpPr>
            <p:nvPr/>
          </p:nvSpPr>
          <p:spPr bwMode="auto">
            <a:xfrm>
              <a:off x="476250" y="1865313"/>
              <a:ext cx="1036638" cy="479425"/>
            </a:xfrm>
            <a:custGeom>
              <a:avLst/>
              <a:gdLst>
                <a:gd name="T0" fmla="*/ 2147483647 w 646"/>
                <a:gd name="T1" fmla="*/ 2147483647 h 299"/>
                <a:gd name="T2" fmla="*/ 2147483647 w 646"/>
                <a:gd name="T3" fmla="*/ 2147483647 h 299"/>
                <a:gd name="T4" fmla="*/ 2147483647 w 646"/>
                <a:gd name="T5" fmla="*/ 2147483647 h 299"/>
                <a:gd name="T6" fmla="*/ 2147483647 w 646"/>
                <a:gd name="T7" fmla="*/ 2147483647 h 299"/>
                <a:gd name="T8" fmla="*/ 2147483647 w 646"/>
                <a:gd name="T9" fmla="*/ 2147483647 h 299"/>
                <a:gd name="T10" fmla="*/ 2147483647 w 646"/>
                <a:gd name="T11" fmla="*/ 2147483647 h 299"/>
                <a:gd name="T12" fmla="*/ 2147483647 w 646"/>
                <a:gd name="T13" fmla="*/ 2147483647 h 299"/>
                <a:gd name="T14" fmla="*/ 2147483647 w 646"/>
                <a:gd name="T15" fmla="*/ 2147483647 h 299"/>
                <a:gd name="T16" fmla="*/ 2147483647 w 646"/>
                <a:gd name="T17" fmla="*/ 2147483647 h 299"/>
                <a:gd name="T18" fmla="*/ 2147483647 w 646"/>
                <a:gd name="T19" fmla="*/ 2147483647 h 299"/>
                <a:gd name="T20" fmla="*/ 2147483647 w 646"/>
                <a:gd name="T21" fmla="*/ 2147483647 h 299"/>
                <a:gd name="T22" fmla="*/ 2147483647 w 646"/>
                <a:gd name="T23" fmla="*/ 2147483647 h 299"/>
                <a:gd name="T24" fmla="*/ 2147483647 w 646"/>
                <a:gd name="T25" fmla="*/ 2147483647 h 299"/>
                <a:gd name="T26" fmla="*/ 2147483647 w 646"/>
                <a:gd name="T27" fmla="*/ 2147483647 h 299"/>
                <a:gd name="T28" fmla="*/ 2147483647 w 646"/>
                <a:gd name="T29" fmla="*/ 2147483647 h 299"/>
                <a:gd name="T30" fmla="*/ 2147483647 w 646"/>
                <a:gd name="T31" fmla="*/ 2147483647 h 299"/>
                <a:gd name="T32" fmla="*/ 2147483647 w 646"/>
                <a:gd name="T33" fmla="*/ 0 h 299"/>
                <a:gd name="T34" fmla="*/ 2147483647 w 646"/>
                <a:gd name="T35" fmla="*/ 2147483647 h 299"/>
                <a:gd name="T36" fmla="*/ 2147483647 w 646"/>
                <a:gd name="T37" fmla="*/ 2147483647 h 299"/>
                <a:gd name="T38" fmla="*/ 2147483647 w 646"/>
                <a:gd name="T39" fmla="*/ 2147483647 h 299"/>
                <a:gd name="T40" fmla="*/ 2147483647 w 646"/>
                <a:gd name="T41" fmla="*/ 2147483647 h 299"/>
                <a:gd name="T42" fmla="*/ 2147483647 w 646"/>
                <a:gd name="T43" fmla="*/ 2147483647 h 299"/>
                <a:gd name="T44" fmla="*/ 2147483647 w 646"/>
                <a:gd name="T45" fmla="*/ 2147483647 h 299"/>
                <a:gd name="T46" fmla="*/ 2147483647 w 646"/>
                <a:gd name="T47" fmla="*/ 2147483647 h 299"/>
                <a:gd name="T48" fmla="*/ 2147483647 w 646"/>
                <a:gd name="T49" fmla="*/ 2147483647 h 299"/>
                <a:gd name="T50" fmla="*/ 2147483647 w 646"/>
                <a:gd name="T51" fmla="*/ 2147483647 h 299"/>
                <a:gd name="T52" fmla="*/ 2147483647 w 646"/>
                <a:gd name="T53" fmla="*/ 2147483647 h 299"/>
                <a:gd name="T54" fmla="*/ 2147483647 w 646"/>
                <a:gd name="T55" fmla="*/ 2147483647 h 299"/>
                <a:gd name="T56" fmla="*/ 2147483647 w 646"/>
                <a:gd name="T57" fmla="*/ 2147483647 h 299"/>
                <a:gd name="T58" fmla="*/ 2147483647 w 646"/>
                <a:gd name="T59" fmla="*/ 2147483647 h 299"/>
                <a:gd name="T60" fmla="*/ 2147483647 w 646"/>
                <a:gd name="T61" fmla="*/ 2147483647 h 299"/>
                <a:gd name="T62" fmla="*/ 2147483647 w 646"/>
                <a:gd name="T63" fmla="*/ 2147483647 h 299"/>
                <a:gd name="T64" fmla="*/ 2147483647 w 646"/>
                <a:gd name="T65" fmla="*/ 2147483647 h 299"/>
                <a:gd name="T66" fmla="*/ 2147483647 w 646"/>
                <a:gd name="T67" fmla="*/ 2147483647 h 299"/>
                <a:gd name="T68" fmla="*/ 2147483647 w 646"/>
                <a:gd name="T69" fmla="*/ 2147483647 h 299"/>
                <a:gd name="T70" fmla="*/ 2147483647 w 646"/>
                <a:gd name="T71" fmla="*/ 2147483647 h 299"/>
                <a:gd name="T72" fmla="*/ 2147483647 w 646"/>
                <a:gd name="T73" fmla="*/ 2147483647 h 299"/>
                <a:gd name="T74" fmla="*/ 2147483647 w 646"/>
                <a:gd name="T75" fmla="*/ 2147483647 h 299"/>
                <a:gd name="T76" fmla="*/ 2147483647 w 646"/>
                <a:gd name="T77" fmla="*/ 2147483647 h 299"/>
                <a:gd name="T78" fmla="*/ 2147483647 w 646"/>
                <a:gd name="T79" fmla="*/ 2147483647 h 299"/>
                <a:gd name="T80" fmla="*/ 2147483647 w 646"/>
                <a:gd name="T81" fmla="*/ 2147483647 h 299"/>
                <a:gd name="T82" fmla="*/ 2147483647 w 646"/>
                <a:gd name="T83" fmla="*/ 2147483647 h 299"/>
                <a:gd name="T84" fmla="*/ 2147483647 w 646"/>
                <a:gd name="T85" fmla="*/ 2147483647 h 299"/>
                <a:gd name="T86" fmla="*/ 2147483647 w 646"/>
                <a:gd name="T87" fmla="*/ 2147483647 h 299"/>
                <a:gd name="T88" fmla="*/ 2147483647 w 646"/>
                <a:gd name="T89" fmla="*/ 2147483647 h 299"/>
                <a:gd name="T90" fmla="*/ 2147483647 w 646"/>
                <a:gd name="T91" fmla="*/ 2147483647 h 299"/>
                <a:gd name="T92" fmla="*/ 2147483647 w 646"/>
                <a:gd name="T93" fmla="*/ 2147483647 h 299"/>
                <a:gd name="T94" fmla="*/ 2147483647 w 646"/>
                <a:gd name="T95" fmla="*/ 2147483647 h 299"/>
                <a:gd name="T96" fmla="*/ 2147483647 w 646"/>
                <a:gd name="T97" fmla="*/ 2147483647 h 299"/>
                <a:gd name="T98" fmla="*/ 2147483647 w 646"/>
                <a:gd name="T99" fmla="*/ 2147483647 h 299"/>
                <a:gd name="T100" fmla="*/ 2147483647 w 646"/>
                <a:gd name="T101" fmla="*/ 2147483647 h 299"/>
                <a:gd name="T102" fmla="*/ 2147483647 w 646"/>
                <a:gd name="T103" fmla="*/ 2147483647 h 299"/>
                <a:gd name="T104" fmla="*/ 2147483647 w 646"/>
                <a:gd name="T105" fmla="*/ 2147483647 h 299"/>
                <a:gd name="T106" fmla="*/ 2147483647 w 646"/>
                <a:gd name="T107" fmla="*/ 2147483647 h 299"/>
                <a:gd name="T108" fmla="*/ 2147483647 w 646"/>
                <a:gd name="T109" fmla="*/ 2147483647 h 299"/>
                <a:gd name="T110" fmla="*/ 2147483647 w 646"/>
                <a:gd name="T111" fmla="*/ 2147483647 h 299"/>
                <a:gd name="T112" fmla="*/ 2147483647 w 646"/>
                <a:gd name="T113" fmla="*/ 2147483647 h 299"/>
                <a:gd name="T114" fmla="*/ 2147483647 w 646"/>
                <a:gd name="T115" fmla="*/ 2147483647 h 299"/>
                <a:gd name="T116" fmla="*/ 2147483647 w 646"/>
                <a:gd name="T117" fmla="*/ 2147483647 h 29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46"/>
                <a:gd name="T178" fmla="*/ 0 h 299"/>
                <a:gd name="T179" fmla="*/ 646 w 646"/>
                <a:gd name="T180" fmla="*/ 299 h 29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46" h="299">
                  <a:moveTo>
                    <a:pt x="402" y="187"/>
                  </a:moveTo>
                  <a:lnTo>
                    <a:pt x="402" y="187"/>
                  </a:lnTo>
                  <a:lnTo>
                    <a:pt x="402" y="190"/>
                  </a:lnTo>
                  <a:lnTo>
                    <a:pt x="402" y="193"/>
                  </a:lnTo>
                  <a:lnTo>
                    <a:pt x="404" y="196"/>
                  </a:lnTo>
                  <a:lnTo>
                    <a:pt x="404" y="198"/>
                  </a:lnTo>
                  <a:lnTo>
                    <a:pt x="396" y="201"/>
                  </a:lnTo>
                  <a:lnTo>
                    <a:pt x="407" y="198"/>
                  </a:lnTo>
                  <a:lnTo>
                    <a:pt x="413" y="198"/>
                  </a:lnTo>
                  <a:lnTo>
                    <a:pt x="425" y="196"/>
                  </a:lnTo>
                  <a:lnTo>
                    <a:pt x="442" y="201"/>
                  </a:lnTo>
                  <a:lnTo>
                    <a:pt x="448" y="201"/>
                  </a:lnTo>
                  <a:lnTo>
                    <a:pt x="453" y="201"/>
                  </a:lnTo>
                  <a:lnTo>
                    <a:pt x="459" y="201"/>
                  </a:lnTo>
                  <a:lnTo>
                    <a:pt x="462" y="198"/>
                  </a:lnTo>
                  <a:lnTo>
                    <a:pt x="468" y="201"/>
                  </a:lnTo>
                  <a:lnTo>
                    <a:pt x="462" y="201"/>
                  </a:lnTo>
                  <a:lnTo>
                    <a:pt x="456" y="204"/>
                  </a:lnTo>
                  <a:lnTo>
                    <a:pt x="462" y="210"/>
                  </a:lnTo>
                  <a:lnTo>
                    <a:pt x="462" y="213"/>
                  </a:lnTo>
                  <a:lnTo>
                    <a:pt x="465" y="213"/>
                  </a:lnTo>
                  <a:lnTo>
                    <a:pt x="468" y="213"/>
                  </a:lnTo>
                  <a:lnTo>
                    <a:pt x="470" y="216"/>
                  </a:lnTo>
                  <a:lnTo>
                    <a:pt x="468" y="224"/>
                  </a:lnTo>
                  <a:lnTo>
                    <a:pt x="473" y="227"/>
                  </a:lnTo>
                  <a:lnTo>
                    <a:pt x="479" y="227"/>
                  </a:lnTo>
                  <a:lnTo>
                    <a:pt x="485" y="219"/>
                  </a:lnTo>
                  <a:lnTo>
                    <a:pt x="491" y="219"/>
                  </a:lnTo>
                  <a:lnTo>
                    <a:pt x="488" y="227"/>
                  </a:lnTo>
                  <a:lnTo>
                    <a:pt x="482" y="230"/>
                  </a:lnTo>
                  <a:lnTo>
                    <a:pt x="473" y="233"/>
                  </a:lnTo>
                  <a:lnTo>
                    <a:pt x="470" y="236"/>
                  </a:lnTo>
                  <a:lnTo>
                    <a:pt x="468" y="247"/>
                  </a:lnTo>
                  <a:lnTo>
                    <a:pt x="462" y="253"/>
                  </a:lnTo>
                  <a:lnTo>
                    <a:pt x="470" y="247"/>
                  </a:lnTo>
                  <a:lnTo>
                    <a:pt x="468" y="256"/>
                  </a:lnTo>
                  <a:lnTo>
                    <a:pt x="465" y="262"/>
                  </a:lnTo>
                  <a:lnTo>
                    <a:pt x="465" y="265"/>
                  </a:lnTo>
                  <a:lnTo>
                    <a:pt x="479" y="247"/>
                  </a:lnTo>
                  <a:lnTo>
                    <a:pt x="491" y="233"/>
                  </a:lnTo>
                  <a:lnTo>
                    <a:pt x="496" y="230"/>
                  </a:lnTo>
                  <a:lnTo>
                    <a:pt x="496" y="233"/>
                  </a:lnTo>
                  <a:lnTo>
                    <a:pt x="491" y="242"/>
                  </a:lnTo>
                  <a:lnTo>
                    <a:pt x="482" y="250"/>
                  </a:lnTo>
                  <a:lnTo>
                    <a:pt x="493" y="247"/>
                  </a:lnTo>
                  <a:lnTo>
                    <a:pt x="499" y="242"/>
                  </a:lnTo>
                  <a:lnTo>
                    <a:pt x="505" y="233"/>
                  </a:lnTo>
                  <a:lnTo>
                    <a:pt x="508" y="236"/>
                  </a:lnTo>
                  <a:lnTo>
                    <a:pt x="499" y="250"/>
                  </a:lnTo>
                  <a:lnTo>
                    <a:pt x="493" y="250"/>
                  </a:lnTo>
                  <a:lnTo>
                    <a:pt x="488" y="253"/>
                  </a:lnTo>
                  <a:lnTo>
                    <a:pt x="482" y="262"/>
                  </a:lnTo>
                  <a:lnTo>
                    <a:pt x="476" y="270"/>
                  </a:lnTo>
                  <a:lnTo>
                    <a:pt x="473" y="276"/>
                  </a:lnTo>
                  <a:lnTo>
                    <a:pt x="482" y="270"/>
                  </a:lnTo>
                  <a:lnTo>
                    <a:pt x="482" y="273"/>
                  </a:lnTo>
                  <a:lnTo>
                    <a:pt x="479" y="276"/>
                  </a:lnTo>
                  <a:lnTo>
                    <a:pt x="473" y="282"/>
                  </a:lnTo>
                  <a:lnTo>
                    <a:pt x="468" y="276"/>
                  </a:lnTo>
                  <a:lnTo>
                    <a:pt x="465" y="285"/>
                  </a:lnTo>
                  <a:lnTo>
                    <a:pt x="468" y="285"/>
                  </a:lnTo>
                  <a:lnTo>
                    <a:pt x="465" y="290"/>
                  </a:lnTo>
                  <a:lnTo>
                    <a:pt x="468" y="290"/>
                  </a:lnTo>
                  <a:lnTo>
                    <a:pt x="470" y="287"/>
                  </a:lnTo>
                  <a:lnTo>
                    <a:pt x="473" y="285"/>
                  </a:lnTo>
                  <a:lnTo>
                    <a:pt x="473" y="287"/>
                  </a:lnTo>
                  <a:lnTo>
                    <a:pt x="473" y="293"/>
                  </a:lnTo>
                  <a:lnTo>
                    <a:pt x="476" y="293"/>
                  </a:lnTo>
                  <a:lnTo>
                    <a:pt x="482" y="290"/>
                  </a:lnTo>
                  <a:lnTo>
                    <a:pt x="485" y="282"/>
                  </a:lnTo>
                  <a:lnTo>
                    <a:pt x="488" y="279"/>
                  </a:lnTo>
                  <a:lnTo>
                    <a:pt x="488" y="276"/>
                  </a:lnTo>
                  <a:lnTo>
                    <a:pt x="488" y="267"/>
                  </a:lnTo>
                  <a:lnTo>
                    <a:pt x="491" y="259"/>
                  </a:lnTo>
                  <a:lnTo>
                    <a:pt x="491" y="267"/>
                  </a:lnTo>
                  <a:lnTo>
                    <a:pt x="499" y="259"/>
                  </a:lnTo>
                  <a:lnTo>
                    <a:pt x="499" y="253"/>
                  </a:lnTo>
                  <a:lnTo>
                    <a:pt x="502" y="259"/>
                  </a:lnTo>
                  <a:lnTo>
                    <a:pt x="496" y="267"/>
                  </a:lnTo>
                  <a:lnTo>
                    <a:pt x="493" y="270"/>
                  </a:lnTo>
                  <a:lnTo>
                    <a:pt x="499" y="267"/>
                  </a:lnTo>
                  <a:lnTo>
                    <a:pt x="496" y="273"/>
                  </a:lnTo>
                  <a:lnTo>
                    <a:pt x="491" y="279"/>
                  </a:lnTo>
                  <a:lnTo>
                    <a:pt x="496" y="276"/>
                  </a:lnTo>
                  <a:lnTo>
                    <a:pt x="491" y="282"/>
                  </a:lnTo>
                  <a:lnTo>
                    <a:pt x="488" y="285"/>
                  </a:lnTo>
                  <a:lnTo>
                    <a:pt x="491" y="290"/>
                  </a:lnTo>
                  <a:lnTo>
                    <a:pt x="493" y="287"/>
                  </a:lnTo>
                  <a:lnTo>
                    <a:pt x="496" y="279"/>
                  </a:lnTo>
                  <a:lnTo>
                    <a:pt x="502" y="270"/>
                  </a:lnTo>
                  <a:lnTo>
                    <a:pt x="505" y="276"/>
                  </a:lnTo>
                  <a:lnTo>
                    <a:pt x="496" y="279"/>
                  </a:lnTo>
                  <a:lnTo>
                    <a:pt x="502" y="282"/>
                  </a:lnTo>
                  <a:lnTo>
                    <a:pt x="508" y="282"/>
                  </a:lnTo>
                  <a:lnTo>
                    <a:pt x="505" y="285"/>
                  </a:lnTo>
                  <a:lnTo>
                    <a:pt x="496" y="290"/>
                  </a:lnTo>
                  <a:lnTo>
                    <a:pt x="516" y="279"/>
                  </a:lnTo>
                  <a:lnTo>
                    <a:pt x="525" y="270"/>
                  </a:lnTo>
                  <a:lnTo>
                    <a:pt x="511" y="259"/>
                  </a:lnTo>
                  <a:lnTo>
                    <a:pt x="519" y="236"/>
                  </a:lnTo>
                  <a:lnTo>
                    <a:pt x="522" y="221"/>
                  </a:lnTo>
                  <a:lnTo>
                    <a:pt x="516" y="216"/>
                  </a:lnTo>
                  <a:lnTo>
                    <a:pt x="519" y="213"/>
                  </a:lnTo>
                  <a:lnTo>
                    <a:pt x="516" y="210"/>
                  </a:lnTo>
                  <a:lnTo>
                    <a:pt x="516" y="201"/>
                  </a:lnTo>
                  <a:lnTo>
                    <a:pt x="505" y="207"/>
                  </a:lnTo>
                  <a:lnTo>
                    <a:pt x="488" y="213"/>
                  </a:lnTo>
                  <a:lnTo>
                    <a:pt x="473" y="216"/>
                  </a:lnTo>
                  <a:lnTo>
                    <a:pt x="476" y="204"/>
                  </a:lnTo>
                  <a:lnTo>
                    <a:pt x="470" y="193"/>
                  </a:lnTo>
                  <a:lnTo>
                    <a:pt x="473" y="193"/>
                  </a:lnTo>
                  <a:lnTo>
                    <a:pt x="470" y="193"/>
                  </a:lnTo>
                  <a:lnTo>
                    <a:pt x="462" y="193"/>
                  </a:lnTo>
                  <a:lnTo>
                    <a:pt x="450" y="196"/>
                  </a:lnTo>
                  <a:lnTo>
                    <a:pt x="646" y="29"/>
                  </a:lnTo>
                  <a:lnTo>
                    <a:pt x="643" y="29"/>
                  </a:lnTo>
                  <a:lnTo>
                    <a:pt x="634" y="23"/>
                  </a:lnTo>
                  <a:lnTo>
                    <a:pt x="628" y="23"/>
                  </a:lnTo>
                  <a:lnTo>
                    <a:pt x="623" y="23"/>
                  </a:lnTo>
                  <a:lnTo>
                    <a:pt x="608" y="26"/>
                  </a:lnTo>
                  <a:lnTo>
                    <a:pt x="600" y="23"/>
                  </a:lnTo>
                  <a:lnTo>
                    <a:pt x="591" y="20"/>
                  </a:lnTo>
                  <a:lnTo>
                    <a:pt x="585" y="23"/>
                  </a:lnTo>
                  <a:lnTo>
                    <a:pt x="580" y="20"/>
                  </a:lnTo>
                  <a:lnTo>
                    <a:pt x="574" y="18"/>
                  </a:lnTo>
                  <a:lnTo>
                    <a:pt x="571" y="18"/>
                  </a:lnTo>
                  <a:lnTo>
                    <a:pt x="559" y="18"/>
                  </a:lnTo>
                  <a:lnTo>
                    <a:pt x="545" y="18"/>
                  </a:lnTo>
                  <a:lnTo>
                    <a:pt x="528" y="15"/>
                  </a:lnTo>
                  <a:lnTo>
                    <a:pt x="537" y="9"/>
                  </a:lnTo>
                  <a:lnTo>
                    <a:pt x="522" y="9"/>
                  </a:lnTo>
                  <a:lnTo>
                    <a:pt x="511" y="12"/>
                  </a:lnTo>
                  <a:lnTo>
                    <a:pt x="511" y="6"/>
                  </a:lnTo>
                  <a:lnTo>
                    <a:pt x="496" y="12"/>
                  </a:lnTo>
                  <a:lnTo>
                    <a:pt x="488" y="9"/>
                  </a:lnTo>
                  <a:lnTo>
                    <a:pt x="499" y="9"/>
                  </a:lnTo>
                  <a:lnTo>
                    <a:pt x="502" y="3"/>
                  </a:lnTo>
                  <a:lnTo>
                    <a:pt x="499" y="0"/>
                  </a:lnTo>
                  <a:lnTo>
                    <a:pt x="491" y="3"/>
                  </a:lnTo>
                  <a:lnTo>
                    <a:pt x="479" y="6"/>
                  </a:lnTo>
                  <a:lnTo>
                    <a:pt x="473" y="9"/>
                  </a:lnTo>
                  <a:lnTo>
                    <a:pt x="465" y="12"/>
                  </a:lnTo>
                  <a:lnTo>
                    <a:pt x="453" y="12"/>
                  </a:lnTo>
                  <a:lnTo>
                    <a:pt x="445" y="12"/>
                  </a:lnTo>
                  <a:lnTo>
                    <a:pt x="442" y="12"/>
                  </a:lnTo>
                  <a:lnTo>
                    <a:pt x="433" y="18"/>
                  </a:lnTo>
                  <a:lnTo>
                    <a:pt x="427" y="18"/>
                  </a:lnTo>
                  <a:lnTo>
                    <a:pt x="419" y="18"/>
                  </a:lnTo>
                  <a:lnTo>
                    <a:pt x="413" y="18"/>
                  </a:lnTo>
                  <a:lnTo>
                    <a:pt x="404" y="18"/>
                  </a:lnTo>
                  <a:lnTo>
                    <a:pt x="384" y="26"/>
                  </a:lnTo>
                  <a:lnTo>
                    <a:pt x="370" y="32"/>
                  </a:lnTo>
                  <a:lnTo>
                    <a:pt x="361" y="38"/>
                  </a:lnTo>
                  <a:lnTo>
                    <a:pt x="356" y="41"/>
                  </a:lnTo>
                  <a:lnTo>
                    <a:pt x="347" y="41"/>
                  </a:lnTo>
                  <a:lnTo>
                    <a:pt x="321" y="43"/>
                  </a:lnTo>
                  <a:lnTo>
                    <a:pt x="304" y="49"/>
                  </a:lnTo>
                  <a:lnTo>
                    <a:pt x="298" y="49"/>
                  </a:lnTo>
                  <a:lnTo>
                    <a:pt x="298" y="52"/>
                  </a:lnTo>
                  <a:lnTo>
                    <a:pt x="304" y="58"/>
                  </a:lnTo>
                  <a:lnTo>
                    <a:pt x="307" y="61"/>
                  </a:lnTo>
                  <a:lnTo>
                    <a:pt x="310" y="66"/>
                  </a:lnTo>
                  <a:lnTo>
                    <a:pt x="304" y="72"/>
                  </a:lnTo>
                  <a:lnTo>
                    <a:pt x="301" y="75"/>
                  </a:lnTo>
                  <a:lnTo>
                    <a:pt x="310" y="75"/>
                  </a:lnTo>
                  <a:lnTo>
                    <a:pt x="310" y="81"/>
                  </a:lnTo>
                  <a:lnTo>
                    <a:pt x="315" y="75"/>
                  </a:lnTo>
                  <a:lnTo>
                    <a:pt x="321" y="75"/>
                  </a:lnTo>
                  <a:lnTo>
                    <a:pt x="318" y="78"/>
                  </a:lnTo>
                  <a:lnTo>
                    <a:pt x="315" y="81"/>
                  </a:lnTo>
                  <a:lnTo>
                    <a:pt x="318" y="81"/>
                  </a:lnTo>
                  <a:lnTo>
                    <a:pt x="324" y="81"/>
                  </a:lnTo>
                  <a:lnTo>
                    <a:pt x="330" y="84"/>
                  </a:lnTo>
                  <a:lnTo>
                    <a:pt x="330" y="87"/>
                  </a:lnTo>
                  <a:lnTo>
                    <a:pt x="315" y="84"/>
                  </a:lnTo>
                  <a:lnTo>
                    <a:pt x="307" y="87"/>
                  </a:lnTo>
                  <a:lnTo>
                    <a:pt x="301" y="89"/>
                  </a:lnTo>
                  <a:lnTo>
                    <a:pt x="284" y="89"/>
                  </a:lnTo>
                  <a:lnTo>
                    <a:pt x="278" y="87"/>
                  </a:lnTo>
                  <a:lnTo>
                    <a:pt x="287" y="81"/>
                  </a:lnTo>
                  <a:lnTo>
                    <a:pt x="275" y="84"/>
                  </a:lnTo>
                  <a:lnTo>
                    <a:pt x="258" y="87"/>
                  </a:lnTo>
                  <a:lnTo>
                    <a:pt x="255" y="89"/>
                  </a:lnTo>
                  <a:lnTo>
                    <a:pt x="249" y="89"/>
                  </a:lnTo>
                  <a:lnTo>
                    <a:pt x="247" y="89"/>
                  </a:lnTo>
                  <a:lnTo>
                    <a:pt x="235" y="92"/>
                  </a:lnTo>
                  <a:lnTo>
                    <a:pt x="232" y="92"/>
                  </a:lnTo>
                  <a:lnTo>
                    <a:pt x="227" y="92"/>
                  </a:lnTo>
                  <a:lnTo>
                    <a:pt x="218" y="95"/>
                  </a:lnTo>
                  <a:lnTo>
                    <a:pt x="212" y="95"/>
                  </a:lnTo>
                  <a:lnTo>
                    <a:pt x="212" y="98"/>
                  </a:lnTo>
                  <a:lnTo>
                    <a:pt x="212" y="101"/>
                  </a:lnTo>
                  <a:lnTo>
                    <a:pt x="215" y="104"/>
                  </a:lnTo>
                  <a:lnTo>
                    <a:pt x="221" y="104"/>
                  </a:lnTo>
                  <a:lnTo>
                    <a:pt x="224" y="104"/>
                  </a:lnTo>
                  <a:lnTo>
                    <a:pt x="221" y="107"/>
                  </a:lnTo>
                  <a:lnTo>
                    <a:pt x="218" y="107"/>
                  </a:lnTo>
                  <a:lnTo>
                    <a:pt x="215" y="107"/>
                  </a:lnTo>
                  <a:lnTo>
                    <a:pt x="212" y="107"/>
                  </a:lnTo>
                  <a:lnTo>
                    <a:pt x="212" y="109"/>
                  </a:lnTo>
                  <a:lnTo>
                    <a:pt x="206" y="115"/>
                  </a:lnTo>
                  <a:lnTo>
                    <a:pt x="209" y="118"/>
                  </a:lnTo>
                  <a:lnTo>
                    <a:pt x="218" y="118"/>
                  </a:lnTo>
                  <a:lnTo>
                    <a:pt x="227" y="118"/>
                  </a:lnTo>
                  <a:lnTo>
                    <a:pt x="238" y="118"/>
                  </a:lnTo>
                  <a:lnTo>
                    <a:pt x="244" y="121"/>
                  </a:lnTo>
                  <a:lnTo>
                    <a:pt x="249" y="121"/>
                  </a:lnTo>
                  <a:lnTo>
                    <a:pt x="255" y="118"/>
                  </a:lnTo>
                  <a:lnTo>
                    <a:pt x="258" y="115"/>
                  </a:lnTo>
                  <a:lnTo>
                    <a:pt x="264" y="115"/>
                  </a:lnTo>
                  <a:lnTo>
                    <a:pt x="275" y="112"/>
                  </a:lnTo>
                  <a:lnTo>
                    <a:pt x="281" y="109"/>
                  </a:lnTo>
                  <a:lnTo>
                    <a:pt x="281" y="112"/>
                  </a:lnTo>
                  <a:lnTo>
                    <a:pt x="278" y="118"/>
                  </a:lnTo>
                  <a:lnTo>
                    <a:pt x="270" y="118"/>
                  </a:lnTo>
                  <a:lnTo>
                    <a:pt x="267" y="121"/>
                  </a:lnTo>
                  <a:lnTo>
                    <a:pt x="264" y="127"/>
                  </a:lnTo>
                  <a:lnTo>
                    <a:pt x="255" y="132"/>
                  </a:lnTo>
                  <a:lnTo>
                    <a:pt x="247" y="135"/>
                  </a:lnTo>
                  <a:lnTo>
                    <a:pt x="238" y="135"/>
                  </a:lnTo>
                  <a:lnTo>
                    <a:pt x="235" y="132"/>
                  </a:lnTo>
                  <a:lnTo>
                    <a:pt x="232" y="130"/>
                  </a:lnTo>
                  <a:lnTo>
                    <a:pt x="229" y="132"/>
                  </a:lnTo>
                  <a:lnTo>
                    <a:pt x="229" y="135"/>
                  </a:lnTo>
                  <a:lnTo>
                    <a:pt x="224" y="138"/>
                  </a:lnTo>
                  <a:lnTo>
                    <a:pt x="218" y="141"/>
                  </a:lnTo>
                  <a:lnTo>
                    <a:pt x="209" y="141"/>
                  </a:lnTo>
                  <a:lnTo>
                    <a:pt x="206" y="138"/>
                  </a:lnTo>
                  <a:lnTo>
                    <a:pt x="204" y="138"/>
                  </a:lnTo>
                  <a:lnTo>
                    <a:pt x="198" y="141"/>
                  </a:lnTo>
                  <a:lnTo>
                    <a:pt x="186" y="147"/>
                  </a:lnTo>
                  <a:lnTo>
                    <a:pt x="178" y="150"/>
                  </a:lnTo>
                  <a:lnTo>
                    <a:pt x="169" y="153"/>
                  </a:lnTo>
                  <a:lnTo>
                    <a:pt x="158" y="158"/>
                  </a:lnTo>
                  <a:lnTo>
                    <a:pt x="149" y="161"/>
                  </a:lnTo>
                  <a:lnTo>
                    <a:pt x="140" y="164"/>
                  </a:lnTo>
                  <a:lnTo>
                    <a:pt x="135" y="173"/>
                  </a:lnTo>
                  <a:lnTo>
                    <a:pt x="135" y="176"/>
                  </a:lnTo>
                  <a:lnTo>
                    <a:pt x="135" y="178"/>
                  </a:lnTo>
                  <a:lnTo>
                    <a:pt x="140" y="176"/>
                  </a:lnTo>
                  <a:lnTo>
                    <a:pt x="143" y="173"/>
                  </a:lnTo>
                  <a:lnTo>
                    <a:pt x="140" y="178"/>
                  </a:lnTo>
                  <a:lnTo>
                    <a:pt x="143" y="181"/>
                  </a:lnTo>
                  <a:lnTo>
                    <a:pt x="152" y="181"/>
                  </a:lnTo>
                  <a:lnTo>
                    <a:pt x="155" y="181"/>
                  </a:lnTo>
                  <a:lnTo>
                    <a:pt x="152" y="184"/>
                  </a:lnTo>
                  <a:lnTo>
                    <a:pt x="146" y="184"/>
                  </a:lnTo>
                  <a:lnTo>
                    <a:pt x="140" y="181"/>
                  </a:lnTo>
                  <a:lnTo>
                    <a:pt x="138" y="181"/>
                  </a:lnTo>
                  <a:lnTo>
                    <a:pt x="135" y="184"/>
                  </a:lnTo>
                  <a:lnTo>
                    <a:pt x="126" y="187"/>
                  </a:lnTo>
                  <a:lnTo>
                    <a:pt x="126" y="190"/>
                  </a:lnTo>
                  <a:lnTo>
                    <a:pt x="126" y="193"/>
                  </a:lnTo>
                  <a:lnTo>
                    <a:pt x="126" y="196"/>
                  </a:lnTo>
                  <a:lnTo>
                    <a:pt x="126" y="198"/>
                  </a:lnTo>
                  <a:lnTo>
                    <a:pt x="126" y="201"/>
                  </a:lnTo>
                  <a:lnTo>
                    <a:pt x="135" y="201"/>
                  </a:lnTo>
                  <a:lnTo>
                    <a:pt x="143" y="198"/>
                  </a:lnTo>
                  <a:lnTo>
                    <a:pt x="149" y="196"/>
                  </a:lnTo>
                  <a:lnTo>
                    <a:pt x="155" y="193"/>
                  </a:lnTo>
                  <a:lnTo>
                    <a:pt x="166" y="187"/>
                  </a:lnTo>
                  <a:lnTo>
                    <a:pt x="160" y="193"/>
                  </a:lnTo>
                  <a:lnTo>
                    <a:pt x="155" y="204"/>
                  </a:lnTo>
                  <a:lnTo>
                    <a:pt x="149" y="207"/>
                  </a:lnTo>
                  <a:lnTo>
                    <a:pt x="143" y="210"/>
                  </a:lnTo>
                  <a:lnTo>
                    <a:pt x="140" y="213"/>
                  </a:lnTo>
                  <a:lnTo>
                    <a:pt x="138" y="216"/>
                  </a:lnTo>
                  <a:lnTo>
                    <a:pt x="132" y="219"/>
                  </a:lnTo>
                  <a:lnTo>
                    <a:pt x="129" y="219"/>
                  </a:lnTo>
                  <a:lnTo>
                    <a:pt x="129" y="221"/>
                  </a:lnTo>
                  <a:lnTo>
                    <a:pt x="135" y="224"/>
                  </a:lnTo>
                  <a:lnTo>
                    <a:pt x="140" y="221"/>
                  </a:lnTo>
                  <a:lnTo>
                    <a:pt x="149" y="216"/>
                  </a:lnTo>
                  <a:lnTo>
                    <a:pt x="143" y="221"/>
                  </a:lnTo>
                  <a:lnTo>
                    <a:pt x="140" y="224"/>
                  </a:lnTo>
                  <a:lnTo>
                    <a:pt x="149" y="219"/>
                  </a:lnTo>
                  <a:lnTo>
                    <a:pt x="155" y="216"/>
                  </a:lnTo>
                  <a:lnTo>
                    <a:pt x="160" y="219"/>
                  </a:lnTo>
                  <a:lnTo>
                    <a:pt x="166" y="216"/>
                  </a:lnTo>
                  <a:lnTo>
                    <a:pt x="166" y="219"/>
                  </a:lnTo>
                  <a:lnTo>
                    <a:pt x="166" y="224"/>
                  </a:lnTo>
                  <a:lnTo>
                    <a:pt x="166" y="227"/>
                  </a:lnTo>
                  <a:lnTo>
                    <a:pt x="169" y="224"/>
                  </a:lnTo>
                  <a:lnTo>
                    <a:pt x="172" y="221"/>
                  </a:lnTo>
                  <a:lnTo>
                    <a:pt x="178" y="219"/>
                  </a:lnTo>
                  <a:lnTo>
                    <a:pt x="186" y="213"/>
                  </a:lnTo>
                  <a:lnTo>
                    <a:pt x="189" y="216"/>
                  </a:lnTo>
                  <a:lnTo>
                    <a:pt x="183" y="219"/>
                  </a:lnTo>
                  <a:lnTo>
                    <a:pt x="181" y="219"/>
                  </a:lnTo>
                  <a:lnTo>
                    <a:pt x="181" y="221"/>
                  </a:lnTo>
                  <a:lnTo>
                    <a:pt x="183" y="221"/>
                  </a:lnTo>
                  <a:lnTo>
                    <a:pt x="189" y="221"/>
                  </a:lnTo>
                  <a:lnTo>
                    <a:pt x="195" y="219"/>
                  </a:lnTo>
                  <a:lnTo>
                    <a:pt x="198" y="219"/>
                  </a:lnTo>
                  <a:lnTo>
                    <a:pt x="189" y="224"/>
                  </a:lnTo>
                  <a:lnTo>
                    <a:pt x="172" y="239"/>
                  </a:lnTo>
                  <a:lnTo>
                    <a:pt x="163" y="242"/>
                  </a:lnTo>
                  <a:lnTo>
                    <a:pt x="155" y="244"/>
                  </a:lnTo>
                  <a:lnTo>
                    <a:pt x="146" y="247"/>
                  </a:lnTo>
                  <a:lnTo>
                    <a:pt x="138" y="253"/>
                  </a:lnTo>
                  <a:lnTo>
                    <a:pt x="132" y="253"/>
                  </a:lnTo>
                  <a:lnTo>
                    <a:pt x="112" y="262"/>
                  </a:lnTo>
                  <a:lnTo>
                    <a:pt x="94" y="267"/>
                  </a:lnTo>
                  <a:lnTo>
                    <a:pt x="89" y="270"/>
                  </a:lnTo>
                  <a:lnTo>
                    <a:pt x="86" y="270"/>
                  </a:lnTo>
                  <a:lnTo>
                    <a:pt x="83" y="270"/>
                  </a:lnTo>
                  <a:lnTo>
                    <a:pt x="74" y="270"/>
                  </a:lnTo>
                  <a:lnTo>
                    <a:pt x="66" y="273"/>
                  </a:lnTo>
                  <a:lnTo>
                    <a:pt x="51" y="282"/>
                  </a:lnTo>
                  <a:lnTo>
                    <a:pt x="37" y="285"/>
                  </a:lnTo>
                  <a:lnTo>
                    <a:pt x="31" y="287"/>
                  </a:lnTo>
                  <a:lnTo>
                    <a:pt x="28" y="287"/>
                  </a:lnTo>
                  <a:lnTo>
                    <a:pt x="26" y="287"/>
                  </a:lnTo>
                  <a:lnTo>
                    <a:pt x="20" y="287"/>
                  </a:lnTo>
                  <a:lnTo>
                    <a:pt x="11" y="290"/>
                  </a:lnTo>
                  <a:lnTo>
                    <a:pt x="5" y="293"/>
                  </a:lnTo>
                  <a:lnTo>
                    <a:pt x="0" y="296"/>
                  </a:lnTo>
                  <a:lnTo>
                    <a:pt x="3" y="299"/>
                  </a:lnTo>
                  <a:lnTo>
                    <a:pt x="5" y="299"/>
                  </a:lnTo>
                  <a:lnTo>
                    <a:pt x="23" y="296"/>
                  </a:lnTo>
                  <a:lnTo>
                    <a:pt x="28" y="296"/>
                  </a:lnTo>
                  <a:lnTo>
                    <a:pt x="31" y="290"/>
                  </a:lnTo>
                  <a:lnTo>
                    <a:pt x="34" y="287"/>
                  </a:lnTo>
                  <a:lnTo>
                    <a:pt x="37" y="287"/>
                  </a:lnTo>
                  <a:lnTo>
                    <a:pt x="37" y="290"/>
                  </a:lnTo>
                  <a:lnTo>
                    <a:pt x="40" y="290"/>
                  </a:lnTo>
                  <a:lnTo>
                    <a:pt x="43" y="290"/>
                  </a:lnTo>
                  <a:lnTo>
                    <a:pt x="49" y="287"/>
                  </a:lnTo>
                  <a:lnTo>
                    <a:pt x="54" y="285"/>
                  </a:lnTo>
                  <a:lnTo>
                    <a:pt x="54" y="287"/>
                  </a:lnTo>
                  <a:lnTo>
                    <a:pt x="57" y="290"/>
                  </a:lnTo>
                  <a:lnTo>
                    <a:pt x="60" y="285"/>
                  </a:lnTo>
                  <a:lnTo>
                    <a:pt x="60" y="282"/>
                  </a:lnTo>
                  <a:lnTo>
                    <a:pt x="63" y="282"/>
                  </a:lnTo>
                  <a:lnTo>
                    <a:pt x="66" y="279"/>
                  </a:lnTo>
                  <a:lnTo>
                    <a:pt x="69" y="282"/>
                  </a:lnTo>
                  <a:lnTo>
                    <a:pt x="71" y="282"/>
                  </a:lnTo>
                  <a:lnTo>
                    <a:pt x="71" y="279"/>
                  </a:lnTo>
                  <a:lnTo>
                    <a:pt x="71" y="282"/>
                  </a:lnTo>
                  <a:lnTo>
                    <a:pt x="71" y="285"/>
                  </a:lnTo>
                  <a:lnTo>
                    <a:pt x="71" y="287"/>
                  </a:lnTo>
                  <a:lnTo>
                    <a:pt x="77" y="282"/>
                  </a:lnTo>
                  <a:lnTo>
                    <a:pt x="80" y="282"/>
                  </a:lnTo>
                  <a:lnTo>
                    <a:pt x="80" y="279"/>
                  </a:lnTo>
                  <a:lnTo>
                    <a:pt x="83" y="279"/>
                  </a:lnTo>
                  <a:lnTo>
                    <a:pt x="89" y="279"/>
                  </a:lnTo>
                  <a:lnTo>
                    <a:pt x="94" y="276"/>
                  </a:lnTo>
                  <a:lnTo>
                    <a:pt x="97" y="273"/>
                  </a:lnTo>
                  <a:lnTo>
                    <a:pt x="94" y="279"/>
                  </a:lnTo>
                  <a:lnTo>
                    <a:pt x="100" y="276"/>
                  </a:lnTo>
                  <a:lnTo>
                    <a:pt x="103" y="273"/>
                  </a:lnTo>
                  <a:lnTo>
                    <a:pt x="106" y="273"/>
                  </a:lnTo>
                  <a:lnTo>
                    <a:pt x="109" y="273"/>
                  </a:lnTo>
                  <a:lnTo>
                    <a:pt x="115" y="273"/>
                  </a:lnTo>
                  <a:lnTo>
                    <a:pt x="117" y="270"/>
                  </a:lnTo>
                  <a:lnTo>
                    <a:pt x="123" y="267"/>
                  </a:lnTo>
                  <a:lnTo>
                    <a:pt x="129" y="265"/>
                  </a:lnTo>
                  <a:lnTo>
                    <a:pt x="138" y="262"/>
                  </a:lnTo>
                  <a:lnTo>
                    <a:pt x="140" y="262"/>
                  </a:lnTo>
                  <a:lnTo>
                    <a:pt x="143" y="259"/>
                  </a:lnTo>
                  <a:lnTo>
                    <a:pt x="152" y="259"/>
                  </a:lnTo>
                  <a:lnTo>
                    <a:pt x="155" y="256"/>
                  </a:lnTo>
                  <a:lnTo>
                    <a:pt x="158" y="253"/>
                  </a:lnTo>
                  <a:lnTo>
                    <a:pt x="172" y="250"/>
                  </a:lnTo>
                  <a:lnTo>
                    <a:pt x="175" y="247"/>
                  </a:lnTo>
                  <a:lnTo>
                    <a:pt x="178" y="244"/>
                  </a:lnTo>
                  <a:lnTo>
                    <a:pt x="186" y="242"/>
                  </a:lnTo>
                  <a:lnTo>
                    <a:pt x="186" y="239"/>
                  </a:lnTo>
                  <a:lnTo>
                    <a:pt x="192" y="239"/>
                  </a:lnTo>
                  <a:lnTo>
                    <a:pt x="198" y="239"/>
                  </a:lnTo>
                  <a:lnTo>
                    <a:pt x="209" y="236"/>
                  </a:lnTo>
                  <a:lnTo>
                    <a:pt x="212" y="233"/>
                  </a:lnTo>
                  <a:lnTo>
                    <a:pt x="218" y="233"/>
                  </a:lnTo>
                  <a:lnTo>
                    <a:pt x="227" y="230"/>
                  </a:lnTo>
                  <a:lnTo>
                    <a:pt x="232" y="227"/>
                  </a:lnTo>
                  <a:lnTo>
                    <a:pt x="241" y="221"/>
                  </a:lnTo>
                  <a:lnTo>
                    <a:pt x="252" y="216"/>
                  </a:lnTo>
                  <a:lnTo>
                    <a:pt x="249" y="210"/>
                  </a:lnTo>
                  <a:lnTo>
                    <a:pt x="261" y="207"/>
                  </a:lnTo>
                  <a:lnTo>
                    <a:pt x="275" y="204"/>
                  </a:lnTo>
                  <a:lnTo>
                    <a:pt x="287" y="198"/>
                  </a:lnTo>
                  <a:lnTo>
                    <a:pt x="298" y="190"/>
                  </a:lnTo>
                  <a:lnTo>
                    <a:pt x="321" y="181"/>
                  </a:lnTo>
                  <a:lnTo>
                    <a:pt x="327" y="178"/>
                  </a:lnTo>
                  <a:lnTo>
                    <a:pt x="333" y="176"/>
                  </a:lnTo>
                  <a:lnTo>
                    <a:pt x="344" y="176"/>
                  </a:lnTo>
                  <a:lnTo>
                    <a:pt x="356" y="173"/>
                  </a:lnTo>
                  <a:lnTo>
                    <a:pt x="353" y="176"/>
                  </a:lnTo>
                  <a:lnTo>
                    <a:pt x="336" y="178"/>
                  </a:lnTo>
                  <a:lnTo>
                    <a:pt x="327" y="181"/>
                  </a:lnTo>
                  <a:lnTo>
                    <a:pt x="321" y="181"/>
                  </a:lnTo>
                  <a:lnTo>
                    <a:pt x="318" y="184"/>
                  </a:lnTo>
                  <a:lnTo>
                    <a:pt x="313" y="193"/>
                  </a:lnTo>
                  <a:lnTo>
                    <a:pt x="304" y="196"/>
                  </a:lnTo>
                  <a:lnTo>
                    <a:pt x="295" y="198"/>
                  </a:lnTo>
                  <a:lnTo>
                    <a:pt x="293" y="204"/>
                  </a:lnTo>
                  <a:lnTo>
                    <a:pt x="287" y="207"/>
                  </a:lnTo>
                  <a:lnTo>
                    <a:pt x="284" y="210"/>
                  </a:lnTo>
                  <a:lnTo>
                    <a:pt x="281" y="213"/>
                  </a:lnTo>
                  <a:lnTo>
                    <a:pt x="287" y="213"/>
                  </a:lnTo>
                  <a:lnTo>
                    <a:pt x="295" y="213"/>
                  </a:lnTo>
                  <a:lnTo>
                    <a:pt x="301" y="207"/>
                  </a:lnTo>
                  <a:lnTo>
                    <a:pt x="304" y="207"/>
                  </a:lnTo>
                  <a:lnTo>
                    <a:pt x="307" y="207"/>
                  </a:lnTo>
                  <a:lnTo>
                    <a:pt x="310" y="204"/>
                  </a:lnTo>
                  <a:lnTo>
                    <a:pt x="315" y="204"/>
                  </a:lnTo>
                  <a:lnTo>
                    <a:pt x="321" y="201"/>
                  </a:lnTo>
                  <a:lnTo>
                    <a:pt x="333" y="198"/>
                  </a:lnTo>
                  <a:lnTo>
                    <a:pt x="341" y="198"/>
                  </a:lnTo>
                  <a:lnTo>
                    <a:pt x="344" y="198"/>
                  </a:lnTo>
                  <a:lnTo>
                    <a:pt x="347" y="198"/>
                  </a:lnTo>
                  <a:lnTo>
                    <a:pt x="353" y="201"/>
                  </a:lnTo>
                  <a:lnTo>
                    <a:pt x="359" y="198"/>
                  </a:lnTo>
                  <a:lnTo>
                    <a:pt x="367" y="196"/>
                  </a:lnTo>
                  <a:lnTo>
                    <a:pt x="370" y="193"/>
                  </a:lnTo>
                  <a:lnTo>
                    <a:pt x="370" y="190"/>
                  </a:lnTo>
                  <a:lnTo>
                    <a:pt x="370" y="184"/>
                  </a:lnTo>
                  <a:lnTo>
                    <a:pt x="382" y="181"/>
                  </a:lnTo>
                  <a:lnTo>
                    <a:pt x="384" y="181"/>
                  </a:lnTo>
                  <a:lnTo>
                    <a:pt x="387" y="184"/>
                  </a:lnTo>
                  <a:lnTo>
                    <a:pt x="384" y="187"/>
                  </a:lnTo>
                  <a:lnTo>
                    <a:pt x="376" y="193"/>
                  </a:lnTo>
                  <a:lnTo>
                    <a:pt x="384" y="190"/>
                  </a:lnTo>
                  <a:lnTo>
                    <a:pt x="393" y="190"/>
                  </a:lnTo>
                  <a:lnTo>
                    <a:pt x="399" y="190"/>
                  </a:lnTo>
                  <a:lnTo>
                    <a:pt x="402" y="18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91" name="Freeform 694"/>
            <p:cNvSpPr>
              <a:spLocks/>
            </p:cNvSpPr>
            <p:nvPr/>
          </p:nvSpPr>
          <p:spPr bwMode="auto">
            <a:xfrm>
              <a:off x="1184275" y="2349500"/>
              <a:ext cx="50800" cy="68263"/>
            </a:xfrm>
            <a:custGeom>
              <a:avLst/>
              <a:gdLst>
                <a:gd name="T0" fmla="*/ 2147483647 w 31"/>
                <a:gd name="T1" fmla="*/ 2147483647 h 43"/>
                <a:gd name="T2" fmla="*/ 2147483647 w 31"/>
                <a:gd name="T3" fmla="*/ 2147483647 h 43"/>
                <a:gd name="T4" fmla="*/ 2147483647 w 31"/>
                <a:gd name="T5" fmla="*/ 0 h 43"/>
                <a:gd name="T6" fmla="*/ 2147483647 w 31"/>
                <a:gd name="T7" fmla="*/ 2147483647 h 43"/>
                <a:gd name="T8" fmla="*/ 2147483647 w 31"/>
                <a:gd name="T9" fmla="*/ 0 h 43"/>
                <a:gd name="T10" fmla="*/ 2147483647 w 31"/>
                <a:gd name="T11" fmla="*/ 2147483647 h 43"/>
                <a:gd name="T12" fmla="*/ 0 w 31"/>
                <a:gd name="T13" fmla="*/ 2147483647 h 43"/>
                <a:gd name="T14" fmla="*/ 0 w 31"/>
                <a:gd name="T15" fmla="*/ 2147483647 h 43"/>
                <a:gd name="T16" fmla="*/ 2147483647 w 31"/>
                <a:gd name="T17" fmla="*/ 2147483647 h 43"/>
                <a:gd name="T18" fmla="*/ 2147483647 w 31"/>
                <a:gd name="T19" fmla="*/ 2147483647 h 43"/>
                <a:gd name="T20" fmla="*/ 2147483647 w 31"/>
                <a:gd name="T21" fmla="*/ 2147483647 h 43"/>
                <a:gd name="T22" fmla="*/ 2147483647 w 31"/>
                <a:gd name="T23" fmla="*/ 2147483647 h 43"/>
                <a:gd name="T24" fmla="*/ 2147483647 w 31"/>
                <a:gd name="T25" fmla="*/ 2147483647 h 43"/>
                <a:gd name="T26" fmla="*/ 2147483647 w 31"/>
                <a:gd name="T27" fmla="*/ 2147483647 h 43"/>
                <a:gd name="T28" fmla="*/ 2147483647 w 31"/>
                <a:gd name="T29" fmla="*/ 2147483647 h 43"/>
                <a:gd name="T30" fmla="*/ 2147483647 w 31"/>
                <a:gd name="T31" fmla="*/ 2147483647 h 43"/>
                <a:gd name="T32" fmla="*/ 2147483647 w 31"/>
                <a:gd name="T33" fmla="*/ 2147483647 h 43"/>
                <a:gd name="T34" fmla="*/ 2147483647 w 31"/>
                <a:gd name="T35" fmla="*/ 2147483647 h 43"/>
                <a:gd name="T36" fmla="*/ 2147483647 w 31"/>
                <a:gd name="T37" fmla="*/ 2147483647 h 43"/>
                <a:gd name="T38" fmla="*/ 2147483647 w 31"/>
                <a:gd name="T39" fmla="*/ 2147483647 h 43"/>
                <a:gd name="T40" fmla="*/ 2147483647 w 31"/>
                <a:gd name="T41" fmla="*/ 2147483647 h 4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31"/>
                <a:gd name="T64" fmla="*/ 0 h 43"/>
                <a:gd name="T65" fmla="*/ 31 w 31"/>
                <a:gd name="T66" fmla="*/ 43 h 43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31" h="43">
                  <a:moveTo>
                    <a:pt x="17" y="11"/>
                  </a:moveTo>
                  <a:lnTo>
                    <a:pt x="26" y="6"/>
                  </a:lnTo>
                  <a:lnTo>
                    <a:pt x="31" y="0"/>
                  </a:lnTo>
                  <a:lnTo>
                    <a:pt x="20" y="3"/>
                  </a:lnTo>
                  <a:lnTo>
                    <a:pt x="14" y="0"/>
                  </a:lnTo>
                  <a:lnTo>
                    <a:pt x="6" y="6"/>
                  </a:lnTo>
                  <a:lnTo>
                    <a:pt x="0" y="17"/>
                  </a:lnTo>
                  <a:lnTo>
                    <a:pt x="0" y="26"/>
                  </a:lnTo>
                  <a:lnTo>
                    <a:pt x="3" y="37"/>
                  </a:lnTo>
                  <a:lnTo>
                    <a:pt x="6" y="43"/>
                  </a:lnTo>
                  <a:lnTo>
                    <a:pt x="8" y="37"/>
                  </a:lnTo>
                  <a:lnTo>
                    <a:pt x="6" y="31"/>
                  </a:lnTo>
                  <a:lnTo>
                    <a:pt x="6" y="29"/>
                  </a:lnTo>
                  <a:lnTo>
                    <a:pt x="8" y="29"/>
                  </a:lnTo>
                  <a:lnTo>
                    <a:pt x="8" y="26"/>
                  </a:lnTo>
                  <a:lnTo>
                    <a:pt x="6" y="23"/>
                  </a:lnTo>
                  <a:lnTo>
                    <a:pt x="11" y="23"/>
                  </a:lnTo>
                  <a:lnTo>
                    <a:pt x="11" y="20"/>
                  </a:lnTo>
                  <a:lnTo>
                    <a:pt x="6" y="20"/>
                  </a:lnTo>
                  <a:lnTo>
                    <a:pt x="11" y="17"/>
                  </a:lnTo>
                  <a:lnTo>
                    <a:pt x="17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92" name="Freeform 695"/>
            <p:cNvSpPr>
              <a:spLocks/>
            </p:cNvSpPr>
            <p:nvPr/>
          </p:nvSpPr>
          <p:spPr bwMode="auto">
            <a:xfrm>
              <a:off x="1217613" y="2297113"/>
              <a:ext cx="9525" cy="4762"/>
            </a:xfrm>
            <a:custGeom>
              <a:avLst/>
              <a:gdLst>
                <a:gd name="T0" fmla="*/ 2147483647 w 6"/>
                <a:gd name="T1" fmla="*/ 0 h 3"/>
                <a:gd name="T2" fmla="*/ 2147483647 w 6"/>
                <a:gd name="T3" fmla="*/ 0 h 3"/>
                <a:gd name="T4" fmla="*/ 0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6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6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93" name="Freeform 696"/>
            <p:cNvSpPr>
              <a:spLocks/>
            </p:cNvSpPr>
            <p:nvPr/>
          </p:nvSpPr>
          <p:spPr bwMode="auto">
            <a:xfrm>
              <a:off x="798513" y="2219325"/>
              <a:ext cx="96837" cy="55563"/>
            </a:xfrm>
            <a:custGeom>
              <a:avLst/>
              <a:gdLst>
                <a:gd name="T0" fmla="*/ 2147483647 w 60"/>
                <a:gd name="T1" fmla="*/ 2147483647 h 35"/>
                <a:gd name="T2" fmla="*/ 2147483647 w 60"/>
                <a:gd name="T3" fmla="*/ 2147483647 h 35"/>
                <a:gd name="T4" fmla="*/ 2147483647 w 60"/>
                <a:gd name="T5" fmla="*/ 2147483647 h 35"/>
                <a:gd name="T6" fmla="*/ 2147483647 w 60"/>
                <a:gd name="T7" fmla="*/ 2147483647 h 35"/>
                <a:gd name="T8" fmla="*/ 2147483647 w 60"/>
                <a:gd name="T9" fmla="*/ 2147483647 h 35"/>
                <a:gd name="T10" fmla="*/ 2147483647 w 60"/>
                <a:gd name="T11" fmla="*/ 0 h 35"/>
                <a:gd name="T12" fmla="*/ 2147483647 w 60"/>
                <a:gd name="T13" fmla="*/ 2147483647 h 35"/>
                <a:gd name="T14" fmla="*/ 2147483647 w 60"/>
                <a:gd name="T15" fmla="*/ 2147483647 h 35"/>
                <a:gd name="T16" fmla="*/ 2147483647 w 60"/>
                <a:gd name="T17" fmla="*/ 2147483647 h 35"/>
                <a:gd name="T18" fmla="*/ 2147483647 w 60"/>
                <a:gd name="T19" fmla="*/ 2147483647 h 35"/>
                <a:gd name="T20" fmla="*/ 2147483647 w 60"/>
                <a:gd name="T21" fmla="*/ 2147483647 h 35"/>
                <a:gd name="T22" fmla="*/ 2147483647 w 60"/>
                <a:gd name="T23" fmla="*/ 2147483647 h 35"/>
                <a:gd name="T24" fmla="*/ 2147483647 w 60"/>
                <a:gd name="T25" fmla="*/ 2147483647 h 35"/>
                <a:gd name="T26" fmla="*/ 2147483647 w 60"/>
                <a:gd name="T27" fmla="*/ 2147483647 h 35"/>
                <a:gd name="T28" fmla="*/ 0 w 60"/>
                <a:gd name="T29" fmla="*/ 2147483647 h 35"/>
                <a:gd name="T30" fmla="*/ 0 w 60"/>
                <a:gd name="T31" fmla="*/ 2147483647 h 35"/>
                <a:gd name="T32" fmla="*/ 2147483647 w 60"/>
                <a:gd name="T33" fmla="*/ 2147483647 h 35"/>
                <a:gd name="T34" fmla="*/ 2147483647 w 60"/>
                <a:gd name="T35" fmla="*/ 2147483647 h 35"/>
                <a:gd name="T36" fmla="*/ 2147483647 w 60"/>
                <a:gd name="T37" fmla="*/ 2147483647 h 35"/>
                <a:gd name="T38" fmla="*/ 0 w 60"/>
                <a:gd name="T39" fmla="*/ 2147483647 h 35"/>
                <a:gd name="T40" fmla="*/ 0 w 60"/>
                <a:gd name="T41" fmla="*/ 2147483647 h 35"/>
                <a:gd name="T42" fmla="*/ 2147483647 w 60"/>
                <a:gd name="T43" fmla="*/ 2147483647 h 35"/>
                <a:gd name="T44" fmla="*/ 2147483647 w 60"/>
                <a:gd name="T45" fmla="*/ 2147483647 h 35"/>
                <a:gd name="T46" fmla="*/ 2147483647 w 60"/>
                <a:gd name="T47" fmla="*/ 2147483647 h 35"/>
                <a:gd name="T48" fmla="*/ 2147483647 w 60"/>
                <a:gd name="T49" fmla="*/ 2147483647 h 35"/>
                <a:gd name="T50" fmla="*/ 2147483647 w 60"/>
                <a:gd name="T51" fmla="*/ 2147483647 h 35"/>
                <a:gd name="T52" fmla="*/ 2147483647 w 60"/>
                <a:gd name="T53" fmla="*/ 2147483647 h 35"/>
                <a:gd name="T54" fmla="*/ 2147483647 w 60"/>
                <a:gd name="T55" fmla="*/ 2147483647 h 35"/>
                <a:gd name="T56" fmla="*/ 2147483647 w 60"/>
                <a:gd name="T57" fmla="*/ 2147483647 h 35"/>
                <a:gd name="T58" fmla="*/ 2147483647 w 60"/>
                <a:gd name="T59" fmla="*/ 2147483647 h 35"/>
                <a:gd name="T60" fmla="*/ 2147483647 w 60"/>
                <a:gd name="T61" fmla="*/ 2147483647 h 35"/>
                <a:gd name="T62" fmla="*/ 2147483647 w 60"/>
                <a:gd name="T63" fmla="*/ 2147483647 h 35"/>
                <a:gd name="T64" fmla="*/ 2147483647 w 60"/>
                <a:gd name="T65" fmla="*/ 2147483647 h 35"/>
                <a:gd name="T66" fmla="*/ 2147483647 w 60"/>
                <a:gd name="T67" fmla="*/ 2147483647 h 35"/>
                <a:gd name="T68" fmla="*/ 2147483647 w 60"/>
                <a:gd name="T69" fmla="*/ 2147483647 h 35"/>
                <a:gd name="T70" fmla="*/ 2147483647 w 60"/>
                <a:gd name="T71" fmla="*/ 2147483647 h 3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60"/>
                <a:gd name="T109" fmla="*/ 0 h 35"/>
                <a:gd name="T110" fmla="*/ 60 w 60"/>
                <a:gd name="T111" fmla="*/ 35 h 35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60" h="35">
                  <a:moveTo>
                    <a:pt x="40" y="15"/>
                  </a:moveTo>
                  <a:lnTo>
                    <a:pt x="43" y="12"/>
                  </a:lnTo>
                  <a:lnTo>
                    <a:pt x="54" y="9"/>
                  </a:lnTo>
                  <a:lnTo>
                    <a:pt x="57" y="6"/>
                  </a:lnTo>
                  <a:lnTo>
                    <a:pt x="60" y="3"/>
                  </a:lnTo>
                  <a:lnTo>
                    <a:pt x="54" y="0"/>
                  </a:lnTo>
                  <a:lnTo>
                    <a:pt x="48" y="6"/>
                  </a:lnTo>
                  <a:lnTo>
                    <a:pt x="40" y="6"/>
                  </a:lnTo>
                  <a:lnTo>
                    <a:pt x="34" y="12"/>
                  </a:lnTo>
                  <a:lnTo>
                    <a:pt x="31" y="15"/>
                  </a:lnTo>
                  <a:lnTo>
                    <a:pt x="23" y="15"/>
                  </a:lnTo>
                  <a:lnTo>
                    <a:pt x="17" y="21"/>
                  </a:lnTo>
                  <a:lnTo>
                    <a:pt x="14" y="18"/>
                  </a:lnTo>
                  <a:lnTo>
                    <a:pt x="5" y="21"/>
                  </a:lnTo>
                  <a:lnTo>
                    <a:pt x="0" y="23"/>
                  </a:lnTo>
                  <a:lnTo>
                    <a:pt x="0" y="29"/>
                  </a:lnTo>
                  <a:lnTo>
                    <a:pt x="3" y="29"/>
                  </a:lnTo>
                  <a:lnTo>
                    <a:pt x="5" y="29"/>
                  </a:lnTo>
                  <a:lnTo>
                    <a:pt x="3" y="32"/>
                  </a:lnTo>
                  <a:lnTo>
                    <a:pt x="0" y="32"/>
                  </a:lnTo>
                  <a:lnTo>
                    <a:pt x="0" y="35"/>
                  </a:lnTo>
                  <a:lnTo>
                    <a:pt x="5" y="35"/>
                  </a:lnTo>
                  <a:lnTo>
                    <a:pt x="11" y="29"/>
                  </a:lnTo>
                  <a:lnTo>
                    <a:pt x="17" y="29"/>
                  </a:lnTo>
                  <a:lnTo>
                    <a:pt x="23" y="26"/>
                  </a:lnTo>
                  <a:lnTo>
                    <a:pt x="28" y="26"/>
                  </a:lnTo>
                  <a:lnTo>
                    <a:pt x="31" y="21"/>
                  </a:lnTo>
                  <a:lnTo>
                    <a:pt x="31" y="18"/>
                  </a:lnTo>
                  <a:lnTo>
                    <a:pt x="34" y="23"/>
                  </a:lnTo>
                  <a:lnTo>
                    <a:pt x="40" y="21"/>
                  </a:lnTo>
                  <a:lnTo>
                    <a:pt x="37" y="18"/>
                  </a:lnTo>
                  <a:lnTo>
                    <a:pt x="40" y="1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94" name="Freeform 697"/>
            <p:cNvSpPr>
              <a:spLocks/>
            </p:cNvSpPr>
            <p:nvPr/>
          </p:nvSpPr>
          <p:spPr bwMode="auto">
            <a:xfrm>
              <a:off x="1227138" y="2284413"/>
              <a:ext cx="12700" cy="7937"/>
            </a:xfrm>
            <a:custGeom>
              <a:avLst/>
              <a:gdLst>
                <a:gd name="T0" fmla="*/ 2147483647 w 8"/>
                <a:gd name="T1" fmla="*/ 2147483647 h 5"/>
                <a:gd name="T2" fmla="*/ 2147483647 w 8"/>
                <a:gd name="T3" fmla="*/ 0 h 5"/>
                <a:gd name="T4" fmla="*/ 0 w 8"/>
                <a:gd name="T5" fmla="*/ 2147483647 h 5"/>
                <a:gd name="T6" fmla="*/ 2147483647 w 8"/>
                <a:gd name="T7" fmla="*/ 2147483647 h 5"/>
                <a:gd name="T8" fmla="*/ 2147483647 w 8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5"/>
                <a:gd name="T17" fmla="*/ 8 w 8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5">
                  <a:moveTo>
                    <a:pt x="8" y="3"/>
                  </a:moveTo>
                  <a:lnTo>
                    <a:pt x="5" y="0"/>
                  </a:lnTo>
                  <a:lnTo>
                    <a:pt x="0" y="5"/>
                  </a:lnTo>
                  <a:lnTo>
                    <a:pt x="5" y="5"/>
                  </a:lnTo>
                  <a:lnTo>
                    <a:pt x="8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95" name="Freeform 698"/>
            <p:cNvSpPr>
              <a:spLocks/>
            </p:cNvSpPr>
            <p:nvPr/>
          </p:nvSpPr>
          <p:spPr bwMode="auto">
            <a:xfrm>
              <a:off x="1106488" y="2449513"/>
              <a:ext cx="1511300" cy="801687"/>
            </a:xfrm>
            <a:custGeom>
              <a:avLst/>
              <a:gdLst>
                <a:gd name="T0" fmla="*/ 2147483647 w 942"/>
                <a:gd name="T1" fmla="*/ 2147483647 h 500"/>
                <a:gd name="T2" fmla="*/ 2147483647 w 942"/>
                <a:gd name="T3" fmla="*/ 2147483647 h 500"/>
                <a:gd name="T4" fmla="*/ 2147483647 w 942"/>
                <a:gd name="T5" fmla="*/ 2147483647 h 500"/>
                <a:gd name="T6" fmla="*/ 2147483647 w 942"/>
                <a:gd name="T7" fmla="*/ 2147483647 h 500"/>
                <a:gd name="T8" fmla="*/ 2147483647 w 942"/>
                <a:gd name="T9" fmla="*/ 2147483647 h 500"/>
                <a:gd name="T10" fmla="*/ 2147483647 w 942"/>
                <a:gd name="T11" fmla="*/ 2147483647 h 500"/>
                <a:gd name="T12" fmla="*/ 2147483647 w 942"/>
                <a:gd name="T13" fmla="*/ 2147483647 h 500"/>
                <a:gd name="T14" fmla="*/ 2147483647 w 942"/>
                <a:gd name="T15" fmla="*/ 2147483647 h 500"/>
                <a:gd name="T16" fmla="*/ 2147483647 w 942"/>
                <a:gd name="T17" fmla="*/ 2147483647 h 500"/>
                <a:gd name="T18" fmla="*/ 2147483647 w 942"/>
                <a:gd name="T19" fmla="*/ 2147483647 h 500"/>
                <a:gd name="T20" fmla="*/ 2147483647 w 942"/>
                <a:gd name="T21" fmla="*/ 2147483647 h 500"/>
                <a:gd name="T22" fmla="*/ 2147483647 w 942"/>
                <a:gd name="T23" fmla="*/ 2147483647 h 500"/>
                <a:gd name="T24" fmla="*/ 2147483647 w 942"/>
                <a:gd name="T25" fmla="*/ 2147483647 h 500"/>
                <a:gd name="T26" fmla="*/ 2147483647 w 942"/>
                <a:gd name="T27" fmla="*/ 2147483647 h 500"/>
                <a:gd name="T28" fmla="*/ 2147483647 w 942"/>
                <a:gd name="T29" fmla="*/ 2147483647 h 500"/>
                <a:gd name="T30" fmla="*/ 2147483647 w 942"/>
                <a:gd name="T31" fmla="*/ 2147483647 h 500"/>
                <a:gd name="T32" fmla="*/ 2147483647 w 942"/>
                <a:gd name="T33" fmla="*/ 2147483647 h 500"/>
                <a:gd name="T34" fmla="*/ 2147483647 w 942"/>
                <a:gd name="T35" fmla="*/ 2147483647 h 500"/>
                <a:gd name="T36" fmla="*/ 2147483647 w 942"/>
                <a:gd name="T37" fmla="*/ 2147483647 h 500"/>
                <a:gd name="T38" fmla="*/ 2147483647 w 942"/>
                <a:gd name="T39" fmla="*/ 2147483647 h 500"/>
                <a:gd name="T40" fmla="*/ 2147483647 w 942"/>
                <a:gd name="T41" fmla="*/ 2147483647 h 500"/>
                <a:gd name="T42" fmla="*/ 2147483647 w 942"/>
                <a:gd name="T43" fmla="*/ 2147483647 h 500"/>
                <a:gd name="T44" fmla="*/ 2147483647 w 942"/>
                <a:gd name="T45" fmla="*/ 2147483647 h 500"/>
                <a:gd name="T46" fmla="*/ 2147483647 w 942"/>
                <a:gd name="T47" fmla="*/ 2147483647 h 500"/>
                <a:gd name="T48" fmla="*/ 2147483647 w 942"/>
                <a:gd name="T49" fmla="*/ 2147483647 h 500"/>
                <a:gd name="T50" fmla="*/ 2147483647 w 942"/>
                <a:gd name="T51" fmla="*/ 2147483647 h 500"/>
                <a:gd name="T52" fmla="*/ 2147483647 w 942"/>
                <a:gd name="T53" fmla="*/ 2147483647 h 500"/>
                <a:gd name="T54" fmla="*/ 2147483647 w 942"/>
                <a:gd name="T55" fmla="*/ 2147483647 h 500"/>
                <a:gd name="T56" fmla="*/ 2147483647 w 942"/>
                <a:gd name="T57" fmla="*/ 2147483647 h 500"/>
                <a:gd name="T58" fmla="*/ 2147483647 w 942"/>
                <a:gd name="T59" fmla="*/ 2147483647 h 500"/>
                <a:gd name="T60" fmla="*/ 2147483647 w 942"/>
                <a:gd name="T61" fmla="*/ 2147483647 h 500"/>
                <a:gd name="T62" fmla="*/ 2147483647 w 942"/>
                <a:gd name="T63" fmla="*/ 2147483647 h 500"/>
                <a:gd name="T64" fmla="*/ 2147483647 w 942"/>
                <a:gd name="T65" fmla="*/ 2147483647 h 500"/>
                <a:gd name="T66" fmla="*/ 2147483647 w 942"/>
                <a:gd name="T67" fmla="*/ 2147483647 h 500"/>
                <a:gd name="T68" fmla="*/ 2147483647 w 942"/>
                <a:gd name="T69" fmla="*/ 2147483647 h 500"/>
                <a:gd name="T70" fmla="*/ 2147483647 w 942"/>
                <a:gd name="T71" fmla="*/ 2147483647 h 500"/>
                <a:gd name="T72" fmla="*/ 2147483647 w 942"/>
                <a:gd name="T73" fmla="*/ 2147483647 h 500"/>
                <a:gd name="T74" fmla="*/ 2147483647 w 942"/>
                <a:gd name="T75" fmla="*/ 2147483647 h 500"/>
                <a:gd name="T76" fmla="*/ 2147483647 w 942"/>
                <a:gd name="T77" fmla="*/ 2147483647 h 500"/>
                <a:gd name="T78" fmla="*/ 2147483647 w 942"/>
                <a:gd name="T79" fmla="*/ 2147483647 h 500"/>
                <a:gd name="T80" fmla="*/ 2147483647 w 942"/>
                <a:gd name="T81" fmla="*/ 2147483647 h 500"/>
                <a:gd name="T82" fmla="*/ 2147483647 w 942"/>
                <a:gd name="T83" fmla="*/ 2147483647 h 500"/>
                <a:gd name="T84" fmla="*/ 2147483647 w 942"/>
                <a:gd name="T85" fmla="*/ 2147483647 h 500"/>
                <a:gd name="T86" fmla="*/ 2147483647 w 942"/>
                <a:gd name="T87" fmla="*/ 2147483647 h 500"/>
                <a:gd name="T88" fmla="*/ 2147483647 w 942"/>
                <a:gd name="T89" fmla="*/ 2147483647 h 500"/>
                <a:gd name="T90" fmla="*/ 2147483647 w 942"/>
                <a:gd name="T91" fmla="*/ 2147483647 h 500"/>
                <a:gd name="T92" fmla="*/ 2147483647 w 942"/>
                <a:gd name="T93" fmla="*/ 2147483647 h 500"/>
                <a:gd name="T94" fmla="*/ 2147483647 w 942"/>
                <a:gd name="T95" fmla="*/ 2147483647 h 500"/>
                <a:gd name="T96" fmla="*/ 2147483647 w 942"/>
                <a:gd name="T97" fmla="*/ 2147483647 h 500"/>
                <a:gd name="T98" fmla="*/ 2147483647 w 942"/>
                <a:gd name="T99" fmla="*/ 2147483647 h 500"/>
                <a:gd name="T100" fmla="*/ 2147483647 w 942"/>
                <a:gd name="T101" fmla="*/ 2147483647 h 500"/>
                <a:gd name="T102" fmla="*/ 2147483647 w 942"/>
                <a:gd name="T103" fmla="*/ 2147483647 h 500"/>
                <a:gd name="T104" fmla="*/ 2147483647 w 942"/>
                <a:gd name="T105" fmla="*/ 2147483647 h 500"/>
                <a:gd name="T106" fmla="*/ 2147483647 w 942"/>
                <a:gd name="T107" fmla="*/ 2147483647 h 500"/>
                <a:gd name="T108" fmla="*/ 2147483647 w 942"/>
                <a:gd name="T109" fmla="*/ 2147483647 h 500"/>
                <a:gd name="T110" fmla="*/ 2147483647 w 942"/>
                <a:gd name="T111" fmla="*/ 2147483647 h 500"/>
                <a:gd name="T112" fmla="*/ 2147483647 w 942"/>
                <a:gd name="T113" fmla="*/ 2147483647 h 500"/>
                <a:gd name="T114" fmla="*/ 2147483647 w 942"/>
                <a:gd name="T115" fmla="*/ 2147483647 h 500"/>
                <a:gd name="T116" fmla="*/ 2147483647 w 942"/>
                <a:gd name="T117" fmla="*/ 2147483647 h 500"/>
                <a:gd name="T118" fmla="*/ 2147483647 w 942"/>
                <a:gd name="T119" fmla="*/ 2147483647 h 500"/>
                <a:gd name="T120" fmla="*/ 2147483647 w 942"/>
                <a:gd name="T121" fmla="*/ 2147483647 h 50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500"/>
                <a:gd name="T185" fmla="*/ 942 w 942"/>
                <a:gd name="T186" fmla="*/ 500 h 50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500">
                  <a:moveTo>
                    <a:pt x="49" y="353"/>
                  </a:moveTo>
                  <a:lnTo>
                    <a:pt x="49" y="353"/>
                  </a:lnTo>
                  <a:lnTo>
                    <a:pt x="89" y="350"/>
                  </a:lnTo>
                  <a:lnTo>
                    <a:pt x="138" y="376"/>
                  </a:lnTo>
                  <a:lnTo>
                    <a:pt x="187" y="373"/>
                  </a:lnTo>
                  <a:lnTo>
                    <a:pt x="189" y="365"/>
                  </a:lnTo>
                  <a:lnTo>
                    <a:pt x="218" y="367"/>
                  </a:lnTo>
                  <a:lnTo>
                    <a:pt x="230" y="382"/>
                  </a:lnTo>
                  <a:lnTo>
                    <a:pt x="238" y="388"/>
                  </a:lnTo>
                  <a:lnTo>
                    <a:pt x="241" y="413"/>
                  </a:lnTo>
                  <a:lnTo>
                    <a:pt x="253" y="419"/>
                  </a:lnTo>
                  <a:lnTo>
                    <a:pt x="264" y="408"/>
                  </a:lnTo>
                  <a:lnTo>
                    <a:pt x="290" y="405"/>
                  </a:lnTo>
                  <a:lnTo>
                    <a:pt x="299" y="419"/>
                  </a:lnTo>
                  <a:lnTo>
                    <a:pt x="301" y="439"/>
                  </a:lnTo>
                  <a:lnTo>
                    <a:pt x="310" y="451"/>
                  </a:lnTo>
                  <a:lnTo>
                    <a:pt x="307" y="462"/>
                  </a:lnTo>
                  <a:lnTo>
                    <a:pt x="313" y="474"/>
                  </a:lnTo>
                  <a:lnTo>
                    <a:pt x="339" y="482"/>
                  </a:lnTo>
                  <a:lnTo>
                    <a:pt x="342" y="465"/>
                  </a:lnTo>
                  <a:lnTo>
                    <a:pt x="342" y="456"/>
                  </a:lnTo>
                  <a:lnTo>
                    <a:pt x="342" y="454"/>
                  </a:lnTo>
                  <a:lnTo>
                    <a:pt x="347" y="448"/>
                  </a:lnTo>
                  <a:lnTo>
                    <a:pt x="356" y="439"/>
                  </a:lnTo>
                  <a:lnTo>
                    <a:pt x="362" y="434"/>
                  </a:lnTo>
                  <a:lnTo>
                    <a:pt x="367" y="428"/>
                  </a:lnTo>
                  <a:lnTo>
                    <a:pt x="370" y="431"/>
                  </a:lnTo>
                  <a:lnTo>
                    <a:pt x="382" y="425"/>
                  </a:lnTo>
                  <a:lnTo>
                    <a:pt x="393" y="416"/>
                  </a:lnTo>
                  <a:lnTo>
                    <a:pt x="405" y="411"/>
                  </a:lnTo>
                  <a:lnTo>
                    <a:pt x="413" y="405"/>
                  </a:lnTo>
                  <a:lnTo>
                    <a:pt x="416" y="408"/>
                  </a:lnTo>
                  <a:lnTo>
                    <a:pt x="425" y="405"/>
                  </a:lnTo>
                  <a:lnTo>
                    <a:pt x="431" y="411"/>
                  </a:lnTo>
                  <a:lnTo>
                    <a:pt x="436" y="411"/>
                  </a:lnTo>
                  <a:lnTo>
                    <a:pt x="442" y="411"/>
                  </a:lnTo>
                  <a:lnTo>
                    <a:pt x="445" y="408"/>
                  </a:lnTo>
                  <a:lnTo>
                    <a:pt x="448" y="408"/>
                  </a:lnTo>
                  <a:lnTo>
                    <a:pt x="451" y="411"/>
                  </a:lnTo>
                  <a:lnTo>
                    <a:pt x="454" y="411"/>
                  </a:lnTo>
                  <a:lnTo>
                    <a:pt x="454" y="416"/>
                  </a:lnTo>
                  <a:lnTo>
                    <a:pt x="462" y="419"/>
                  </a:lnTo>
                  <a:lnTo>
                    <a:pt x="465" y="416"/>
                  </a:lnTo>
                  <a:lnTo>
                    <a:pt x="471" y="422"/>
                  </a:lnTo>
                  <a:lnTo>
                    <a:pt x="474" y="413"/>
                  </a:lnTo>
                  <a:lnTo>
                    <a:pt x="479" y="416"/>
                  </a:lnTo>
                  <a:lnTo>
                    <a:pt x="482" y="422"/>
                  </a:lnTo>
                  <a:lnTo>
                    <a:pt x="491" y="419"/>
                  </a:lnTo>
                  <a:lnTo>
                    <a:pt x="482" y="413"/>
                  </a:lnTo>
                  <a:lnTo>
                    <a:pt x="482" y="408"/>
                  </a:lnTo>
                  <a:lnTo>
                    <a:pt x="488" y="402"/>
                  </a:lnTo>
                  <a:lnTo>
                    <a:pt x="477" y="402"/>
                  </a:lnTo>
                  <a:lnTo>
                    <a:pt x="471" y="399"/>
                  </a:lnTo>
                  <a:lnTo>
                    <a:pt x="477" y="396"/>
                  </a:lnTo>
                  <a:lnTo>
                    <a:pt x="482" y="399"/>
                  </a:lnTo>
                  <a:lnTo>
                    <a:pt x="491" y="396"/>
                  </a:lnTo>
                  <a:lnTo>
                    <a:pt x="497" y="396"/>
                  </a:lnTo>
                  <a:lnTo>
                    <a:pt x="505" y="396"/>
                  </a:lnTo>
                  <a:lnTo>
                    <a:pt x="508" y="396"/>
                  </a:lnTo>
                  <a:lnTo>
                    <a:pt x="511" y="393"/>
                  </a:lnTo>
                  <a:lnTo>
                    <a:pt x="514" y="390"/>
                  </a:lnTo>
                  <a:lnTo>
                    <a:pt x="514" y="396"/>
                  </a:lnTo>
                  <a:lnTo>
                    <a:pt x="522" y="396"/>
                  </a:lnTo>
                  <a:lnTo>
                    <a:pt x="528" y="393"/>
                  </a:lnTo>
                  <a:lnTo>
                    <a:pt x="537" y="393"/>
                  </a:lnTo>
                  <a:lnTo>
                    <a:pt x="545" y="396"/>
                  </a:lnTo>
                  <a:lnTo>
                    <a:pt x="551" y="402"/>
                  </a:lnTo>
                  <a:lnTo>
                    <a:pt x="554" y="408"/>
                  </a:lnTo>
                  <a:lnTo>
                    <a:pt x="560" y="411"/>
                  </a:lnTo>
                  <a:lnTo>
                    <a:pt x="565" y="405"/>
                  </a:lnTo>
                  <a:lnTo>
                    <a:pt x="571" y="402"/>
                  </a:lnTo>
                  <a:lnTo>
                    <a:pt x="574" y="399"/>
                  </a:lnTo>
                  <a:lnTo>
                    <a:pt x="577" y="399"/>
                  </a:lnTo>
                  <a:lnTo>
                    <a:pt x="583" y="408"/>
                  </a:lnTo>
                  <a:lnTo>
                    <a:pt x="586" y="413"/>
                  </a:lnTo>
                  <a:lnTo>
                    <a:pt x="591" y="419"/>
                  </a:lnTo>
                  <a:lnTo>
                    <a:pt x="594" y="425"/>
                  </a:lnTo>
                  <a:lnTo>
                    <a:pt x="591" y="434"/>
                  </a:lnTo>
                  <a:lnTo>
                    <a:pt x="588" y="439"/>
                  </a:lnTo>
                  <a:lnTo>
                    <a:pt x="586" y="445"/>
                  </a:lnTo>
                  <a:lnTo>
                    <a:pt x="591" y="445"/>
                  </a:lnTo>
                  <a:lnTo>
                    <a:pt x="594" y="445"/>
                  </a:lnTo>
                  <a:lnTo>
                    <a:pt x="588" y="454"/>
                  </a:lnTo>
                  <a:lnTo>
                    <a:pt x="591" y="465"/>
                  </a:lnTo>
                  <a:lnTo>
                    <a:pt x="594" y="462"/>
                  </a:lnTo>
                  <a:lnTo>
                    <a:pt x="597" y="462"/>
                  </a:lnTo>
                  <a:lnTo>
                    <a:pt x="591" y="471"/>
                  </a:lnTo>
                  <a:lnTo>
                    <a:pt x="594" y="471"/>
                  </a:lnTo>
                  <a:lnTo>
                    <a:pt x="597" y="471"/>
                  </a:lnTo>
                  <a:lnTo>
                    <a:pt x="597" y="477"/>
                  </a:lnTo>
                  <a:lnTo>
                    <a:pt x="597" y="479"/>
                  </a:lnTo>
                  <a:lnTo>
                    <a:pt x="597" y="482"/>
                  </a:lnTo>
                  <a:lnTo>
                    <a:pt x="603" y="485"/>
                  </a:lnTo>
                  <a:lnTo>
                    <a:pt x="606" y="491"/>
                  </a:lnTo>
                  <a:lnTo>
                    <a:pt x="603" y="497"/>
                  </a:lnTo>
                  <a:lnTo>
                    <a:pt x="611" y="497"/>
                  </a:lnTo>
                  <a:lnTo>
                    <a:pt x="614" y="497"/>
                  </a:lnTo>
                  <a:lnTo>
                    <a:pt x="614" y="500"/>
                  </a:lnTo>
                  <a:lnTo>
                    <a:pt x="620" y="491"/>
                  </a:lnTo>
                  <a:lnTo>
                    <a:pt x="623" y="482"/>
                  </a:lnTo>
                  <a:lnTo>
                    <a:pt x="629" y="462"/>
                  </a:lnTo>
                  <a:lnTo>
                    <a:pt x="629" y="445"/>
                  </a:lnTo>
                  <a:lnTo>
                    <a:pt x="626" y="434"/>
                  </a:lnTo>
                  <a:lnTo>
                    <a:pt x="629" y="431"/>
                  </a:lnTo>
                  <a:lnTo>
                    <a:pt x="623" y="411"/>
                  </a:lnTo>
                  <a:lnTo>
                    <a:pt x="620" y="393"/>
                  </a:lnTo>
                  <a:lnTo>
                    <a:pt x="626" y="379"/>
                  </a:lnTo>
                  <a:lnTo>
                    <a:pt x="629" y="376"/>
                  </a:lnTo>
                  <a:lnTo>
                    <a:pt x="634" y="367"/>
                  </a:lnTo>
                  <a:lnTo>
                    <a:pt x="640" y="362"/>
                  </a:lnTo>
                  <a:lnTo>
                    <a:pt x="643" y="356"/>
                  </a:lnTo>
                  <a:lnTo>
                    <a:pt x="646" y="356"/>
                  </a:lnTo>
                  <a:lnTo>
                    <a:pt x="649" y="353"/>
                  </a:lnTo>
                  <a:lnTo>
                    <a:pt x="657" y="350"/>
                  </a:lnTo>
                  <a:lnTo>
                    <a:pt x="660" y="347"/>
                  </a:lnTo>
                  <a:lnTo>
                    <a:pt x="669" y="345"/>
                  </a:lnTo>
                  <a:lnTo>
                    <a:pt x="680" y="330"/>
                  </a:lnTo>
                  <a:lnTo>
                    <a:pt x="692" y="324"/>
                  </a:lnTo>
                  <a:lnTo>
                    <a:pt x="698" y="324"/>
                  </a:lnTo>
                  <a:lnTo>
                    <a:pt x="700" y="322"/>
                  </a:lnTo>
                  <a:lnTo>
                    <a:pt x="709" y="316"/>
                  </a:lnTo>
                  <a:lnTo>
                    <a:pt x="721" y="310"/>
                  </a:lnTo>
                  <a:lnTo>
                    <a:pt x="729" y="304"/>
                  </a:lnTo>
                  <a:lnTo>
                    <a:pt x="738" y="301"/>
                  </a:lnTo>
                  <a:lnTo>
                    <a:pt x="746" y="293"/>
                  </a:lnTo>
                  <a:lnTo>
                    <a:pt x="746" y="278"/>
                  </a:lnTo>
                  <a:lnTo>
                    <a:pt x="746" y="264"/>
                  </a:lnTo>
                  <a:lnTo>
                    <a:pt x="741" y="261"/>
                  </a:lnTo>
                  <a:lnTo>
                    <a:pt x="743" y="258"/>
                  </a:lnTo>
                  <a:lnTo>
                    <a:pt x="743" y="253"/>
                  </a:lnTo>
                  <a:lnTo>
                    <a:pt x="746" y="250"/>
                  </a:lnTo>
                  <a:lnTo>
                    <a:pt x="746" y="244"/>
                  </a:lnTo>
                  <a:lnTo>
                    <a:pt x="749" y="235"/>
                  </a:lnTo>
                  <a:lnTo>
                    <a:pt x="752" y="227"/>
                  </a:lnTo>
                  <a:lnTo>
                    <a:pt x="755" y="218"/>
                  </a:lnTo>
                  <a:lnTo>
                    <a:pt x="761" y="218"/>
                  </a:lnTo>
                  <a:lnTo>
                    <a:pt x="764" y="215"/>
                  </a:lnTo>
                  <a:lnTo>
                    <a:pt x="758" y="224"/>
                  </a:lnTo>
                  <a:lnTo>
                    <a:pt x="755" y="230"/>
                  </a:lnTo>
                  <a:lnTo>
                    <a:pt x="752" y="238"/>
                  </a:lnTo>
                  <a:lnTo>
                    <a:pt x="752" y="244"/>
                  </a:lnTo>
                  <a:lnTo>
                    <a:pt x="755" y="244"/>
                  </a:lnTo>
                  <a:lnTo>
                    <a:pt x="755" y="247"/>
                  </a:lnTo>
                  <a:lnTo>
                    <a:pt x="749" y="256"/>
                  </a:lnTo>
                  <a:lnTo>
                    <a:pt x="746" y="264"/>
                  </a:lnTo>
                  <a:lnTo>
                    <a:pt x="749" y="261"/>
                  </a:lnTo>
                  <a:lnTo>
                    <a:pt x="752" y="261"/>
                  </a:lnTo>
                  <a:lnTo>
                    <a:pt x="761" y="250"/>
                  </a:lnTo>
                  <a:lnTo>
                    <a:pt x="769" y="238"/>
                  </a:lnTo>
                  <a:lnTo>
                    <a:pt x="769" y="224"/>
                  </a:lnTo>
                  <a:lnTo>
                    <a:pt x="769" y="215"/>
                  </a:lnTo>
                  <a:lnTo>
                    <a:pt x="772" y="221"/>
                  </a:lnTo>
                  <a:lnTo>
                    <a:pt x="775" y="221"/>
                  </a:lnTo>
                  <a:lnTo>
                    <a:pt x="775" y="230"/>
                  </a:lnTo>
                  <a:lnTo>
                    <a:pt x="787" y="221"/>
                  </a:lnTo>
                  <a:lnTo>
                    <a:pt x="789" y="212"/>
                  </a:lnTo>
                  <a:lnTo>
                    <a:pt x="798" y="210"/>
                  </a:lnTo>
                  <a:lnTo>
                    <a:pt x="798" y="201"/>
                  </a:lnTo>
                  <a:lnTo>
                    <a:pt x="798" y="198"/>
                  </a:lnTo>
                  <a:lnTo>
                    <a:pt x="804" y="192"/>
                  </a:lnTo>
                  <a:lnTo>
                    <a:pt x="807" y="195"/>
                  </a:lnTo>
                  <a:lnTo>
                    <a:pt x="815" y="192"/>
                  </a:lnTo>
                  <a:lnTo>
                    <a:pt x="827" y="192"/>
                  </a:lnTo>
                  <a:lnTo>
                    <a:pt x="835" y="189"/>
                  </a:lnTo>
                  <a:lnTo>
                    <a:pt x="832" y="187"/>
                  </a:lnTo>
                  <a:lnTo>
                    <a:pt x="827" y="187"/>
                  </a:lnTo>
                  <a:lnTo>
                    <a:pt x="815" y="189"/>
                  </a:lnTo>
                  <a:lnTo>
                    <a:pt x="812" y="187"/>
                  </a:lnTo>
                  <a:lnTo>
                    <a:pt x="824" y="184"/>
                  </a:lnTo>
                  <a:lnTo>
                    <a:pt x="838" y="181"/>
                  </a:lnTo>
                  <a:lnTo>
                    <a:pt x="844" y="181"/>
                  </a:lnTo>
                  <a:lnTo>
                    <a:pt x="850" y="181"/>
                  </a:lnTo>
                  <a:lnTo>
                    <a:pt x="858" y="178"/>
                  </a:lnTo>
                  <a:lnTo>
                    <a:pt x="861" y="178"/>
                  </a:lnTo>
                  <a:lnTo>
                    <a:pt x="858" y="178"/>
                  </a:lnTo>
                  <a:lnTo>
                    <a:pt x="855" y="181"/>
                  </a:lnTo>
                  <a:lnTo>
                    <a:pt x="858" y="181"/>
                  </a:lnTo>
                  <a:lnTo>
                    <a:pt x="864" y="181"/>
                  </a:lnTo>
                  <a:lnTo>
                    <a:pt x="864" y="178"/>
                  </a:lnTo>
                  <a:lnTo>
                    <a:pt x="873" y="175"/>
                  </a:lnTo>
                  <a:lnTo>
                    <a:pt x="873" y="167"/>
                  </a:lnTo>
                  <a:lnTo>
                    <a:pt x="870" y="169"/>
                  </a:lnTo>
                  <a:lnTo>
                    <a:pt x="867" y="172"/>
                  </a:lnTo>
                  <a:lnTo>
                    <a:pt x="864" y="167"/>
                  </a:lnTo>
                  <a:lnTo>
                    <a:pt x="861" y="164"/>
                  </a:lnTo>
                  <a:lnTo>
                    <a:pt x="864" y="161"/>
                  </a:lnTo>
                  <a:lnTo>
                    <a:pt x="864" y="158"/>
                  </a:lnTo>
                  <a:lnTo>
                    <a:pt x="867" y="155"/>
                  </a:lnTo>
                  <a:lnTo>
                    <a:pt x="870" y="149"/>
                  </a:lnTo>
                  <a:lnTo>
                    <a:pt x="876" y="144"/>
                  </a:lnTo>
                  <a:lnTo>
                    <a:pt x="884" y="135"/>
                  </a:lnTo>
                  <a:lnTo>
                    <a:pt x="890" y="135"/>
                  </a:lnTo>
                  <a:lnTo>
                    <a:pt x="893" y="129"/>
                  </a:lnTo>
                  <a:lnTo>
                    <a:pt x="893" y="132"/>
                  </a:lnTo>
                  <a:lnTo>
                    <a:pt x="898" y="132"/>
                  </a:lnTo>
                  <a:lnTo>
                    <a:pt x="904" y="126"/>
                  </a:lnTo>
                  <a:lnTo>
                    <a:pt x="907" y="123"/>
                  </a:lnTo>
                  <a:lnTo>
                    <a:pt x="910" y="123"/>
                  </a:lnTo>
                  <a:lnTo>
                    <a:pt x="907" y="129"/>
                  </a:lnTo>
                  <a:lnTo>
                    <a:pt x="916" y="123"/>
                  </a:lnTo>
                  <a:lnTo>
                    <a:pt x="936" y="118"/>
                  </a:lnTo>
                  <a:lnTo>
                    <a:pt x="933" y="109"/>
                  </a:lnTo>
                  <a:lnTo>
                    <a:pt x="939" y="100"/>
                  </a:lnTo>
                  <a:lnTo>
                    <a:pt x="933" y="100"/>
                  </a:lnTo>
                  <a:lnTo>
                    <a:pt x="942" y="78"/>
                  </a:lnTo>
                  <a:lnTo>
                    <a:pt x="942" y="72"/>
                  </a:lnTo>
                  <a:lnTo>
                    <a:pt x="927" y="69"/>
                  </a:lnTo>
                  <a:lnTo>
                    <a:pt x="927" y="66"/>
                  </a:lnTo>
                  <a:lnTo>
                    <a:pt x="907" y="80"/>
                  </a:lnTo>
                  <a:lnTo>
                    <a:pt x="901" y="98"/>
                  </a:lnTo>
                  <a:lnTo>
                    <a:pt x="887" y="106"/>
                  </a:lnTo>
                  <a:lnTo>
                    <a:pt x="873" y="112"/>
                  </a:lnTo>
                  <a:lnTo>
                    <a:pt x="818" y="112"/>
                  </a:lnTo>
                  <a:lnTo>
                    <a:pt x="798" y="123"/>
                  </a:lnTo>
                  <a:lnTo>
                    <a:pt x="781" y="141"/>
                  </a:lnTo>
                  <a:lnTo>
                    <a:pt x="743" y="141"/>
                  </a:lnTo>
                  <a:lnTo>
                    <a:pt x="743" y="152"/>
                  </a:lnTo>
                  <a:lnTo>
                    <a:pt x="703" y="164"/>
                  </a:lnTo>
                  <a:lnTo>
                    <a:pt x="677" y="175"/>
                  </a:lnTo>
                  <a:lnTo>
                    <a:pt x="660" y="169"/>
                  </a:lnTo>
                  <a:lnTo>
                    <a:pt x="677" y="158"/>
                  </a:lnTo>
                  <a:lnTo>
                    <a:pt x="695" y="138"/>
                  </a:lnTo>
                  <a:lnTo>
                    <a:pt x="698" y="132"/>
                  </a:lnTo>
                  <a:lnTo>
                    <a:pt x="700" y="123"/>
                  </a:lnTo>
                  <a:lnTo>
                    <a:pt x="703" y="106"/>
                  </a:lnTo>
                  <a:lnTo>
                    <a:pt x="692" y="98"/>
                  </a:lnTo>
                  <a:lnTo>
                    <a:pt x="692" y="95"/>
                  </a:lnTo>
                  <a:lnTo>
                    <a:pt x="695" y="92"/>
                  </a:lnTo>
                  <a:lnTo>
                    <a:pt x="686" y="92"/>
                  </a:lnTo>
                  <a:lnTo>
                    <a:pt x="689" y="83"/>
                  </a:lnTo>
                  <a:lnTo>
                    <a:pt x="680" y="83"/>
                  </a:lnTo>
                  <a:lnTo>
                    <a:pt x="680" y="80"/>
                  </a:lnTo>
                  <a:lnTo>
                    <a:pt x="683" y="78"/>
                  </a:lnTo>
                  <a:lnTo>
                    <a:pt x="643" y="49"/>
                  </a:lnTo>
                  <a:lnTo>
                    <a:pt x="637" y="52"/>
                  </a:lnTo>
                  <a:lnTo>
                    <a:pt x="620" y="55"/>
                  </a:lnTo>
                  <a:lnTo>
                    <a:pt x="603" y="52"/>
                  </a:lnTo>
                  <a:lnTo>
                    <a:pt x="588" y="52"/>
                  </a:lnTo>
                  <a:lnTo>
                    <a:pt x="577" y="43"/>
                  </a:lnTo>
                  <a:lnTo>
                    <a:pt x="563" y="43"/>
                  </a:lnTo>
                  <a:lnTo>
                    <a:pt x="554" y="37"/>
                  </a:lnTo>
                  <a:lnTo>
                    <a:pt x="554" y="29"/>
                  </a:lnTo>
                  <a:lnTo>
                    <a:pt x="545" y="37"/>
                  </a:lnTo>
                  <a:lnTo>
                    <a:pt x="126" y="34"/>
                  </a:lnTo>
                  <a:lnTo>
                    <a:pt x="132" y="40"/>
                  </a:lnTo>
                  <a:lnTo>
                    <a:pt x="129" y="49"/>
                  </a:lnTo>
                  <a:lnTo>
                    <a:pt x="126" y="55"/>
                  </a:lnTo>
                  <a:lnTo>
                    <a:pt x="121" y="63"/>
                  </a:lnTo>
                  <a:lnTo>
                    <a:pt x="112" y="72"/>
                  </a:lnTo>
                  <a:lnTo>
                    <a:pt x="109" y="75"/>
                  </a:lnTo>
                  <a:lnTo>
                    <a:pt x="106" y="75"/>
                  </a:lnTo>
                  <a:lnTo>
                    <a:pt x="103" y="75"/>
                  </a:lnTo>
                  <a:lnTo>
                    <a:pt x="106" y="66"/>
                  </a:lnTo>
                  <a:lnTo>
                    <a:pt x="109" y="60"/>
                  </a:lnTo>
                  <a:lnTo>
                    <a:pt x="115" y="55"/>
                  </a:lnTo>
                  <a:lnTo>
                    <a:pt x="121" y="52"/>
                  </a:lnTo>
                  <a:lnTo>
                    <a:pt x="126" y="49"/>
                  </a:lnTo>
                  <a:lnTo>
                    <a:pt x="126" y="46"/>
                  </a:lnTo>
                  <a:lnTo>
                    <a:pt x="123" y="43"/>
                  </a:lnTo>
                  <a:lnTo>
                    <a:pt x="112" y="40"/>
                  </a:lnTo>
                  <a:lnTo>
                    <a:pt x="115" y="29"/>
                  </a:lnTo>
                  <a:lnTo>
                    <a:pt x="109" y="29"/>
                  </a:lnTo>
                  <a:lnTo>
                    <a:pt x="112" y="17"/>
                  </a:lnTo>
                  <a:lnTo>
                    <a:pt x="109" y="14"/>
                  </a:lnTo>
                  <a:lnTo>
                    <a:pt x="106" y="11"/>
                  </a:lnTo>
                  <a:lnTo>
                    <a:pt x="98" y="6"/>
                  </a:lnTo>
                  <a:lnTo>
                    <a:pt x="89" y="3"/>
                  </a:lnTo>
                  <a:lnTo>
                    <a:pt x="83" y="0"/>
                  </a:lnTo>
                  <a:lnTo>
                    <a:pt x="77" y="0"/>
                  </a:lnTo>
                  <a:lnTo>
                    <a:pt x="75" y="3"/>
                  </a:lnTo>
                  <a:lnTo>
                    <a:pt x="75" y="11"/>
                  </a:lnTo>
                  <a:lnTo>
                    <a:pt x="75" y="14"/>
                  </a:lnTo>
                  <a:lnTo>
                    <a:pt x="77" y="14"/>
                  </a:lnTo>
                  <a:lnTo>
                    <a:pt x="80" y="17"/>
                  </a:lnTo>
                  <a:lnTo>
                    <a:pt x="83" y="29"/>
                  </a:lnTo>
                  <a:lnTo>
                    <a:pt x="89" y="32"/>
                  </a:lnTo>
                  <a:lnTo>
                    <a:pt x="89" y="34"/>
                  </a:lnTo>
                  <a:lnTo>
                    <a:pt x="98" y="34"/>
                  </a:lnTo>
                  <a:lnTo>
                    <a:pt x="95" y="40"/>
                  </a:lnTo>
                  <a:lnTo>
                    <a:pt x="98" y="43"/>
                  </a:lnTo>
                  <a:lnTo>
                    <a:pt x="95" y="52"/>
                  </a:lnTo>
                  <a:lnTo>
                    <a:pt x="95" y="57"/>
                  </a:lnTo>
                  <a:lnTo>
                    <a:pt x="92" y="63"/>
                  </a:lnTo>
                  <a:lnTo>
                    <a:pt x="89" y="69"/>
                  </a:lnTo>
                  <a:lnTo>
                    <a:pt x="77" y="89"/>
                  </a:lnTo>
                  <a:lnTo>
                    <a:pt x="66" y="106"/>
                  </a:lnTo>
                  <a:lnTo>
                    <a:pt x="57" y="118"/>
                  </a:lnTo>
                  <a:lnTo>
                    <a:pt x="46" y="132"/>
                  </a:lnTo>
                  <a:lnTo>
                    <a:pt x="37" y="144"/>
                  </a:lnTo>
                  <a:lnTo>
                    <a:pt x="26" y="158"/>
                  </a:lnTo>
                  <a:lnTo>
                    <a:pt x="23" y="164"/>
                  </a:lnTo>
                  <a:lnTo>
                    <a:pt x="20" y="175"/>
                  </a:lnTo>
                  <a:lnTo>
                    <a:pt x="17" y="184"/>
                  </a:lnTo>
                  <a:lnTo>
                    <a:pt x="11" y="189"/>
                  </a:lnTo>
                  <a:lnTo>
                    <a:pt x="6" y="195"/>
                  </a:lnTo>
                  <a:lnTo>
                    <a:pt x="3" y="204"/>
                  </a:lnTo>
                  <a:lnTo>
                    <a:pt x="3" y="210"/>
                  </a:lnTo>
                  <a:lnTo>
                    <a:pt x="3" y="218"/>
                  </a:lnTo>
                  <a:lnTo>
                    <a:pt x="0" y="227"/>
                  </a:lnTo>
                  <a:lnTo>
                    <a:pt x="3" y="235"/>
                  </a:lnTo>
                  <a:lnTo>
                    <a:pt x="3" y="244"/>
                  </a:lnTo>
                  <a:lnTo>
                    <a:pt x="3" y="247"/>
                  </a:lnTo>
                  <a:lnTo>
                    <a:pt x="6" y="250"/>
                  </a:lnTo>
                  <a:lnTo>
                    <a:pt x="9" y="250"/>
                  </a:lnTo>
                  <a:lnTo>
                    <a:pt x="6" y="253"/>
                  </a:lnTo>
                  <a:lnTo>
                    <a:pt x="3" y="258"/>
                  </a:lnTo>
                  <a:lnTo>
                    <a:pt x="3" y="264"/>
                  </a:lnTo>
                  <a:lnTo>
                    <a:pt x="6" y="270"/>
                  </a:lnTo>
                  <a:lnTo>
                    <a:pt x="9" y="270"/>
                  </a:lnTo>
                  <a:lnTo>
                    <a:pt x="6" y="273"/>
                  </a:lnTo>
                  <a:lnTo>
                    <a:pt x="3" y="276"/>
                  </a:lnTo>
                  <a:lnTo>
                    <a:pt x="3" y="278"/>
                  </a:lnTo>
                  <a:lnTo>
                    <a:pt x="9" y="296"/>
                  </a:lnTo>
                  <a:lnTo>
                    <a:pt x="9" y="310"/>
                  </a:lnTo>
                  <a:lnTo>
                    <a:pt x="9" y="313"/>
                  </a:lnTo>
                  <a:lnTo>
                    <a:pt x="11" y="316"/>
                  </a:lnTo>
                  <a:lnTo>
                    <a:pt x="17" y="316"/>
                  </a:lnTo>
                  <a:lnTo>
                    <a:pt x="26" y="319"/>
                  </a:lnTo>
                  <a:lnTo>
                    <a:pt x="29" y="322"/>
                  </a:lnTo>
                  <a:lnTo>
                    <a:pt x="29" y="324"/>
                  </a:lnTo>
                  <a:lnTo>
                    <a:pt x="32" y="327"/>
                  </a:lnTo>
                  <a:lnTo>
                    <a:pt x="40" y="330"/>
                  </a:lnTo>
                  <a:lnTo>
                    <a:pt x="43" y="330"/>
                  </a:lnTo>
                  <a:lnTo>
                    <a:pt x="49" y="336"/>
                  </a:lnTo>
                  <a:lnTo>
                    <a:pt x="49" y="342"/>
                  </a:lnTo>
                  <a:lnTo>
                    <a:pt x="49" y="35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96" name="Freeform 699"/>
            <p:cNvSpPr>
              <a:spLocks/>
            </p:cNvSpPr>
            <p:nvPr/>
          </p:nvSpPr>
          <p:spPr bwMode="auto">
            <a:xfrm>
              <a:off x="1814513" y="3103563"/>
              <a:ext cx="9525" cy="7937"/>
            </a:xfrm>
            <a:custGeom>
              <a:avLst/>
              <a:gdLst>
                <a:gd name="T0" fmla="*/ 0 w 6"/>
                <a:gd name="T1" fmla="*/ 2147483647 h 5"/>
                <a:gd name="T2" fmla="*/ 0 w 6"/>
                <a:gd name="T3" fmla="*/ 2147483647 h 5"/>
                <a:gd name="T4" fmla="*/ 2147483647 w 6"/>
                <a:gd name="T5" fmla="*/ 2147483647 h 5"/>
                <a:gd name="T6" fmla="*/ 2147483647 w 6"/>
                <a:gd name="T7" fmla="*/ 2147483647 h 5"/>
                <a:gd name="T8" fmla="*/ 2147483647 w 6"/>
                <a:gd name="T9" fmla="*/ 0 h 5"/>
                <a:gd name="T10" fmla="*/ 2147483647 w 6"/>
                <a:gd name="T11" fmla="*/ 2147483647 h 5"/>
                <a:gd name="T12" fmla="*/ 0 w 6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5"/>
                <a:gd name="T23" fmla="*/ 6 w 6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5">
                  <a:moveTo>
                    <a:pt x="0" y="3"/>
                  </a:moveTo>
                  <a:lnTo>
                    <a:pt x="0" y="3"/>
                  </a:lnTo>
                  <a:lnTo>
                    <a:pt x="3" y="5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97" name="Freeform 700"/>
            <p:cNvSpPr>
              <a:spLocks/>
            </p:cNvSpPr>
            <p:nvPr/>
          </p:nvSpPr>
          <p:spPr bwMode="auto">
            <a:xfrm>
              <a:off x="1889125" y="3084513"/>
              <a:ext cx="4763" cy="9525"/>
            </a:xfrm>
            <a:custGeom>
              <a:avLst/>
              <a:gdLst>
                <a:gd name="T0" fmla="*/ 2147483647 w 3"/>
                <a:gd name="T1" fmla="*/ 2147483647 h 6"/>
                <a:gd name="T2" fmla="*/ 2147483647 w 3"/>
                <a:gd name="T3" fmla="*/ 2147483647 h 6"/>
                <a:gd name="T4" fmla="*/ 2147483647 w 3"/>
                <a:gd name="T5" fmla="*/ 0 h 6"/>
                <a:gd name="T6" fmla="*/ 0 w 3"/>
                <a:gd name="T7" fmla="*/ 2147483647 h 6"/>
                <a:gd name="T8" fmla="*/ 2147483647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3" y="6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98" name="Freeform 701"/>
            <p:cNvSpPr>
              <a:spLocks/>
            </p:cNvSpPr>
            <p:nvPr/>
          </p:nvSpPr>
          <p:spPr bwMode="auto">
            <a:xfrm>
              <a:off x="1184275" y="3146425"/>
              <a:ext cx="4763" cy="12700"/>
            </a:xfrm>
            <a:custGeom>
              <a:avLst/>
              <a:gdLst>
                <a:gd name="T0" fmla="*/ 2147483647 w 3"/>
                <a:gd name="T1" fmla="*/ 0 h 8"/>
                <a:gd name="T2" fmla="*/ 0 w 3"/>
                <a:gd name="T3" fmla="*/ 2147483647 h 8"/>
                <a:gd name="T4" fmla="*/ 0 w 3"/>
                <a:gd name="T5" fmla="*/ 2147483647 h 8"/>
                <a:gd name="T6" fmla="*/ 2147483647 w 3"/>
                <a:gd name="T7" fmla="*/ 2147483647 h 8"/>
                <a:gd name="T8" fmla="*/ 2147483647 w 3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8"/>
                <a:gd name="T17" fmla="*/ 3 w 3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8">
                  <a:moveTo>
                    <a:pt x="3" y="0"/>
                  </a:moveTo>
                  <a:lnTo>
                    <a:pt x="0" y="2"/>
                  </a:lnTo>
                  <a:lnTo>
                    <a:pt x="0" y="8"/>
                  </a:lnTo>
                  <a:lnTo>
                    <a:pt x="3" y="5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99" name="Freeform 702"/>
            <p:cNvSpPr>
              <a:spLocks/>
            </p:cNvSpPr>
            <p:nvPr/>
          </p:nvSpPr>
          <p:spPr bwMode="auto">
            <a:xfrm>
              <a:off x="1239838" y="2270125"/>
              <a:ext cx="9525" cy="14288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2147483647 h 9"/>
                <a:gd name="T8" fmla="*/ 0 w 6"/>
                <a:gd name="T9" fmla="*/ 2147483647 h 9"/>
                <a:gd name="T10" fmla="*/ 2147483647 w 6"/>
                <a:gd name="T11" fmla="*/ 214748364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9"/>
                <a:gd name="T20" fmla="*/ 6 w 6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9">
                  <a:moveTo>
                    <a:pt x="6" y="6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00" name="Rectangle 703"/>
            <p:cNvSpPr>
              <a:spLocks noChangeArrowheads="1"/>
            </p:cNvSpPr>
            <p:nvPr/>
          </p:nvSpPr>
          <p:spPr bwMode="auto">
            <a:xfrm>
              <a:off x="1263650" y="2454275"/>
              <a:ext cx="1588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01" name="Freeform 704"/>
            <p:cNvSpPr>
              <a:spLocks/>
            </p:cNvSpPr>
            <p:nvPr/>
          </p:nvSpPr>
          <p:spPr bwMode="auto">
            <a:xfrm>
              <a:off x="2265363" y="2936875"/>
              <a:ext cx="9525" cy="9525"/>
            </a:xfrm>
            <a:custGeom>
              <a:avLst/>
              <a:gdLst>
                <a:gd name="T0" fmla="*/ 0 w 6"/>
                <a:gd name="T1" fmla="*/ 2147483647 h 6"/>
                <a:gd name="T2" fmla="*/ 2147483647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2147483647 w 6"/>
                <a:gd name="T9" fmla="*/ 2147483647 h 6"/>
                <a:gd name="T10" fmla="*/ 0 w 6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6"/>
                <a:gd name="T20" fmla="*/ 6 w 6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6">
                  <a:moveTo>
                    <a:pt x="0" y="6"/>
                  </a:moveTo>
                  <a:lnTo>
                    <a:pt x="3" y="6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3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02" name="Freeform 705"/>
            <p:cNvSpPr>
              <a:spLocks/>
            </p:cNvSpPr>
            <p:nvPr/>
          </p:nvSpPr>
          <p:spPr bwMode="auto">
            <a:xfrm>
              <a:off x="730250" y="2297113"/>
              <a:ext cx="3175" cy="4762"/>
            </a:xfrm>
            <a:custGeom>
              <a:avLst/>
              <a:gdLst>
                <a:gd name="T0" fmla="*/ 2147483647 w 2"/>
                <a:gd name="T1" fmla="*/ 2147483647 h 3"/>
                <a:gd name="T2" fmla="*/ 2147483647 w 2"/>
                <a:gd name="T3" fmla="*/ 2147483647 h 3"/>
                <a:gd name="T4" fmla="*/ 2147483647 w 2"/>
                <a:gd name="T5" fmla="*/ 0 h 3"/>
                <a:gd name="T6" fmla="*/ 0 w 2"/>
                <a:gd name="T7" fmla="*/ 0 h 3"/>
                <a:gd name="T8" fmla="*/ 2147483647 w 2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3"/>
                  </a:moveTo>
                  <a:lnTo>
                    <a:pt x="2" y="3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03" name="Freeform 706"/>
            <p:cNvSpPr>
              <a:spLocks/>
            </p:cNvSpPr>
            <p:nvPr/>
          </p:nvSpPr>
          <p:spPr bwMode="auto">
            <a:xfrm>
              <a:off x="520700" y="2344738"/>
              <a:ext cx="4763" cy="1587"/>
            </a:xfrm>
            <a:custGeom>
              <a:avLst/>
              <a:gdLst>
                <a:gd name="T0" fmla="*/ 0 w 3"/>
                <a:gd name="T1" fmla="*/ 0 h 1"/>
                <a:gd name="T2" fmla="*/ 0 w 3"/>
                <a:gd name="T3" fmla="*/ 0 h 1"/>
                <a:gd name="T4" fmla="*/ 0 w 3"/>
                <a:gd name="T5" fmla="*/ 0 h 1"/>
                <a:gd name="T6" fmla="*/ 2147483647 w 3"/>
                <a:gd name="T7" fmla="*/ 0 h 1"/>
                <a:gd name="T8" fmla="*/ 0 w 3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1"/>
                <a:gd name="T17" fmla="*/ 3 w 3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1">
                  <a:moveTo>
                    <a:pt x="0" y="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04" name="Freeform 707"/>
            <p:cNvSpPr>
              <a:spLocks/>
            </p:cNvSpPr>
            <p:nvPr/>
          </p:nvSpPr>
          <p:spPr bwMode="auto">
            <a:xfrm>
              <a:off x="434975" y="2344738"/>
              <a:ext cx="17463" cy="14287"/>
            </a:xfrm>
            <a:custGeom>
              <a:avLst/>
              <a:gdLst>
                <a:gd name="T0" fmla="*/ 2147483647 w 11"/>
                <a:gd name="T1" fmla="*/ 2147483647 h 9"/>
                <a:gd name="T2" fmla="*/ 2147483647 w 11"/>
                <a:gd name="T3" fmla="*/ 0 h 9"/>
                <a:gd name="T4" fmla="*/ 2147483647 w 11"/>
                <a:gd name="T5" fmla="*/ 2147483647 h 9"/>
                <a:gd name="T6" fmla="*/ 2147483647 w 11"/>
                <a:gd name="T7" fmla="*/ 2147483647 h 9"/>
                <a:gd name="T8" fmla="*/ 0 w 11"/>
                <a:gd name="T9" fmla="*/ 2147483647 h 9"/>
                <a:gd name="T10" fmla="*/ 2147483647 w 11"/>
                <a:gd name="T11" fmla="*/ 2147483647 h 9"/>
                <a:gd name="T12" fmla="*/ 2147483647 w 11"/>
                <a:gd name="T13" fmla="*/ 2147483647 h 9"/>
                <a:gd name="T14" fmla="*/ 2147483647 w 11"/>
                <a:gd name="T15" fmla="*/ 2147483647 h 9"/>
                <a:gd name="T16" fmla="*/ 2147483647 w 11"/>
                <a:gd name="T17" fmla="*/ 2147483647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"/>
                <a:gd name="T28" fmla="*/ 0 h 9"/>
                <a:gd name="T29" fmla="*/ 11 w 11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" h="9">
                  <a:moveTo>
                    <a:pt x="9" y="6"/>
                  </a:moveTo>
                  <a:lnTo>
                    <a:pt x="11" y="0"/>
                  </a:lnTo>
                  <a:lnTo>
                    <a:pt x="6" y="3"/>
                  </a:lnTo>
                  <a:lnTo>
                    <a:pt x="3" y="3"/>
                  </a:lnTo>
                  <a:lnTo>
                    <a:pt x="0" y="6"/>
                  </a:lnTo>
                  <a:lnTo>
                    <a:pt x="6" y="6"/>
                  </a:lnTo>
                  <a:lnTo>
                    <a:pt x="9" y="9"/>
                  </a:lnTo>
                  <a:lnTo>
                    <a:pt x="9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05" name="Freeform 708"/>
            <p:cNvSpPr>
              <a:spLocks/>
            </p:cNvSpPr>
            <p:nvPr/>
          </p:nvSpPr>
          <p:spPr bwMode="auto">
            <a:xfrm>
              <a:off x="595313" y="2322513"/>
              <a:ext cx="19050" cy="7937"/>
            </a:xfrm>
            <a:custGeom>
              <a:avLst/>
              <a:gdLst>
                <a:gd name="T0" fmla="*/ 2147483647 w 12"/>
                <a:gd name="T1" fmla="*/ 0 h 5"/>
                <a:gd name="T2" fmla="*/ 0 w 12"/>
                <a:gd name="T3" fmla="*/ 2147483647 h 5"/>
                <a:gd name="T4" fmla="*/ 2147483647 w 12"/>
                <a:gd name="T5" fmla="*/ 2147483647 h 5"/>
                <a:gd name="T6" fmla="*/ 2147483647 w 12"/>
                <a:gd name="T7" fmla="*/ 2147483647 h 5"/>
                <a:gd name="T8" fmla="*/ 2147483647 w 12"/>
                <a:gd name="T9" fmla="*/ 0 h 5"/>
                <a:gd name="T10" fmla="*/ 2147483647 w 12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"/>
                <a:gd name="T19" fmla="*/ 0 h 5"/>
                <a:gd name="T20" fmla="*/ 12 w 12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" h="5">
                  <a:moveTo>
                    <a:pt x="6" y="0"/>
                  </a:moveTo>
                  <a:lnTo>
                    <a:pt x="0" y="5"/>
                  </a:lnTo>
                  <a:lnTo>
                    <a:pt x="6" y="2"/>
                  </a:lnTo>
                  <a:lnTo>
                    <a:pt x="9" y="2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06" name="Freeform 709"/>
            <p:cNvSpPr>
              <a:spLocks/>
            </p:cNvSpPr>
            <p:nvPr/>
          </p:nvSpPr>
          <p:spPr bwMode="auto">
            <a:xfrm>
              <a:off x="614363" y="2317750"/>
              <a:ext cx="9525" cy="12700"/>
            </a:xfrm>
            <a:custGeom>
              <a:avLst/>
              <a:gdLst>
                <a:gd name="T0" fmla="*/ 2147483647 w 6"/>
                <a:gd name="T1" fmla="*/ 2147483647 h 8"/>
                <a:gd name="T2" fmla="*/ 2147483647 w 6"/>
                <a:gd name="T3" fmla="*/ 0 h 8"/>
                <a:gd name="T4" fmla="*/ 2147483647 w 6"/>
                <a:gd name="T5" fmla="*/ 0 h 8"/>
                <a:gd name="T6" fmla="*/ 2147483647 w 6"/>
                <a:gd name="T7" fmla="*/ 2147483647 h 8"/>
                <a:gd name="T8" fmla="*/ 0 w 6"/>
                <a:gd name="T9" fmla="*/ 2147483647 h 8"/>
                <a:gd name="T10" fmla="*/ 2147483647 w 6"/>
                <a:gd name="T11" fmla="*/ 2147483647 h 8"/>
                <a:gd name="T12" fmla="*/ 2147483647 w 6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8"/>
                <a:gd name="T23" fmla="*/ 6 w 6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8">
                  <a:moveTo>
                    <a:pt x="3" y="3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3" y="5"/>
                  </a:lnTo>
                  <a:lnTo>
                    <a:pt x="0" y="8"/>
                  </a:lnTo>
                  <a:lnTo>
                    <a:pt x="3" y="8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07" name="Freeform 710"/>
            <p:cNvSpPr>
              <a:spLocks/>
            </p:cNvSpPr>
            <p:nvPr/>
          </p:nvSpPr>
          <p:spPr bwMode="auto">
            <a:xfrm>
              <a:off x="769938" y="2279650"/>
              <a:ext cx="23812" cy="9525"/>
            </a:xfrm>
            <a:custGeom>
              <a:avLst/>
              <a:gdLst>
                <a:gd name="T0" fmla="*/ 2147483647 w 15"/>
                <a:gd name="T1" fmla="*/ 0 h 6"/>
                <a:gd name="T2" fmla="*/ 2147483647 w 15"/>
                <a:gd name="T3" fmla="*/ 0 h 6"/>
                <a:gd name="T4" fmla="*/ 2147483647 w 15"/>
                <a:gd name="T5" fmla="*/ 0 h 6"/>
                <a:gd name="T6" fmla="*/ 2147483647 w 15"/>
                <a:gd name="T7" fmla="*/ 0 h 6"/>
                <a:gd name="T8" fmla="*/ 0 w 15"/>
                <a:gd name="T9" fmla="*/ 2147483647 h 6"/>
                <a:gd name="T10" fmla="*/ 2147483647 w 15"/>
                <a:gd name="T11" fmla="*/ 2147483647 h 6"/>
                <a:gd name="T12" fmla="*/ 2147483647 w 15"/>
                <a:gd name="T13" fmla="*/ 2147483647 h 6"/>
                <a:gd name="T14" fmla="*/ 2147483647 w 15"/>
                <a:gd name="T15" fmla="*/ 2147483647 h 6"/>
                <a:gd name="T16" fmla="*/ 2147483647 w 15"/>
                <a:gd name="T17" fmla="*/ 2147483647 h 6"/>
                <a:gd name="T18" fmla="*/ 2147483647 w 15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5"/>
                <a:gd name="T31" fmla="*/ 0 h 6"/>
                <a:gd name="T32" fmla="*/ 15 w 15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5" h="6">
                  <a:moveTo>
                    <a:pt x="15" y="0"/>
                  </a:moveTo>
                  <a:lnTo>
                    <a:pt x="12" y="0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3"/>
                  </a:lnTo>
                  <a:lnTo>
                    <a:pt x="12" y="3"/>
                  </a:lnTo>
                  <a:lnTo>
                    <a:pt x="15" y="3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08" name="Freeform 711"/>
            <p:cNvSpPr>
              <a:spLocks/>
            </p:cNvSpPr>
            <p:nvPr/>
          </p:nvSpPr>
          <p:spPr bwMode="auto">
            <a:xfrm>
              <a:off x="1962150" y="3729038"/>
              <a:ext cx="157163" cy="74612"/>
            </a:xfrm>
            <a:custGeom>
              <a:avLst/>
              <a:gdLst>
                <a:gd name="T0" fmla="*/ 2147483647 w 98"/>
                <a:gd name="T1" fmla="*/ 2147483647 h 46"/>
                <a:gd name="T2" fmla="*/ 2147483647 w 98"/>
                <a:gd name="T3" fmla="*/ 2147483647 h 46"/>
                <a:gd name="T4" fmla="*/ 2147483647 w 98"/>
                <a:gd name="T5" fmla="*/ 2147483647 h 46"/>
                <a:gd name="T6" fmla="*/ 2147483647 w 98"/>
                <a:gd name="T7" fmla="*/ 2147483647 h 46"/>
                <a:gd name="T8" fmla="*/ 2147483647 w 98"/>
                <a:gd name="T9" fmla="*/ 2147483647 h 46"/>
                <a:gd name="T10" fmla="*/ 2147483647 w 98"/>
                <a:gd name="T11" fmla="*/ 2147483647 h 46"/>
                <a:gd name="T12" fmla="*/ 2147483647 w 98"/>
                <a:gd name="T13" fmla="*/ 2147483647 h 46"/>
                <a:gd name="T14" fmla="*/ 2147483647 w 98"/>
                <a:gd name="T15" fmla="*/ 2147483647 h 46"/>
                <a:gd name="T16" fmla="*/ 2147483647 w 98"/>
                <a:gd name="T17" fmla="*/ 2147483647 h 46"/>
                <a:gd name="T18" fmla="*/ 2147483647 w 98"/>
                <a:gd name="T19" fmla="*/ 2147483647 h 46"/>
                <a:gd name="T20" fmla="*/ 2147483647 w 98"/>
                <a:gd name="T21" fmla="*/ 2147483647 h 46"/>
                <a:gd name="T22" fmla="*/ 2147483647 w 98"/>
                <a:gd name="T23" fmla="*/ 2147483647 h 46"/>
                <a:gd name="T24" fmla="*/ 2147483647 w 98"/>
                <a:gd name="T25" fmla="*/ 2147483647 h 46"/>
                <a:gd name="T26" fmla="*/ 2147483647 w 98"/>
                <a:gd name="T27" fmla="*/ 2147483647 h 46"/>
                <a:gd name="T28" fmla="*/ 2147483647 w 98"/>
                <a:gd name="T29" fmla="*/ 2147483647 h 46"/>
                <a:gd name="T30" fmla="*/ 2147483647 w 98"/>
                <a:gd name="T31" fmla="*/ 2147483647 h 46"/>
                <a:gd name="T32" fmla="*/ 2147483647 w 98"/>
                <a:gd name="T33" fmla="*/ 2147483647 h 46"/>
                <a:gd name="T34" fmla="*/ 2147483647 w 98"/>
                <a:gd name="T35" fmla="*/ 2147483647 h 46"/>
                <a:gd name="T36" fmla="*/ 2147483647 w 98"/>
                <a:gd name="T37" fmla="*/ 2147483647 h 46"/>
                <a:gd name="T38" fmla="*/ 2147483647 w 98"/>
                <a:gd name="T39" fmla="*/ 2147483647 h 46"/>
                <a:gd name="T40" fmla="*/ 2147483647 w 98"/>
                <a:gd name="T41" fmla="*/ 0 h 46"/>
                <a:gd name="T42" fmla="*/ 2147483647 w 98"/>
                <a:gd name="T43" fmla="*/ 0 h 46"/>
                <a:gd name="T44" fmla="*/ 2147483647 w 98"/>
                <a:gd name="T45" fmla="*/ 2147483647 h 46"/>
                <a:gd name="T46" fmla="*/ 2147483647 w 98"/>
                <a:gd name="T47" fmla="*/ 2147483647 h 46"/>
                <a:gd name="T48" fmla="*/ 2147483647 w 98"/>
                <a:gd name="T49" fmla="*/ 2147483647 h 46"/>
                <a:gd name="T50" fmla="*/ 2147483647 w 98"/>
                <a:gd name="T51" fmla="*/ 2147483647 h 46"/>
                <a:gd name="T52" fmla="*/ 2147483647 w 98"/>
                <a:gd name="T53" fmla="*/ 2147483647 h 46"/>
                <a:gd name="T54" fmla="*/ 2147483647 w 98"/>
                <a:gd name="T55" fmla="*/ 2147483647 h 46"/>
                <a:gd name="T56" fmla="*/ 2147483647 w 98"/>
                <a:gd name="T57" fmla="*/ 2147483647 h 46"/>
                <a:gd name="T58" fmla="*/ 2147483647 w 98"/>
                <a:gd name="T59" fmla="*/ 2147483647 h 46"/>
                <a:gd name="T60" fmla="*/ 0 w 98"/>
                <a:gd name="T61" fmla="*/ 2147483647 h 46"/>
                <a:gd name="T62" fmla="*/ 2147483647 w 98"/>
                <a:gd name="T63" fmla="*/ 2147483647 h 46"/>
                <a:gd name="T64" fmla="*/ 2147483647 w 98"/>
                <a:gd name="T65" fmla="*/ 2147483647 h 46"/>
                <a:gd name="T66" fmla="*/ 2147483647 w 98"/>
                <a:gd name="T67" fmla="*/ 2147483647 h 46"/>
                <a:gd name="T68" fmla="*/ 2147483647 w 98"/>
                <a:gd name="T69" fmla="*/ 2147483647 h 46"/>
                <a:gd name="T70" fmla="*/ 2147483647 w 98"/>
                <a:gd name="T71" fmla="*/ 2147483647 h 4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8"/>
                <a:gd name="T109" fmla="*/ 0 h 46"/>
                <a:gd name="T110" fmla="*/ 98 w 98"/>
                <a:gd name="T111" fmla="*/ 46 h 4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8" h="46">
                  <a:moveTo>
                    <a:pt x="31" y="43"/>
                  </a:moveTo>
                  <a:lnTo>
                    <a:pt x="31" y="43"/>
                  </a:lnTo>
                  <a:lnTo>
                    <a:pt x="37" y="37"/>
                  </a:lnTo>
                  <a:lnTo>
                    <a:pt x="34" y="46"/>
                  </a:lnTo>
                  <a:lnTo>
                    <a:pt x="46" y="46"/>
                  </a:lnTo>
                  <a:lnTo>
                    <a:pt x="49" y="37"/>
                  </a:lnTo>
                  <a:lnTo>
                    <a:pt x="49" y="35"/>
                  </a:lnTo>
                  <a:lnTo>
                    <a:pt x="46" y="29"/>
                  </a:lnTo>
                  <a:lnTo>
                    <a:pt x="54" y="20"/>
                  </a:lnTo>
                  <a:lnTo>
                    <a:pt x="57" y="17"/>
                  </a:lnTo>
                  <a:lnTo>
                    <a:pt x="63" y="15"/>
                  </a:lnTo>
                  <a:lnTo>
                    <a:pt x="66" y="15"/>
                  </a:lnTo>
                  <a:lnTo>
                    <a:pt x="72" y="17"/>
                  </a:lnTo>
                  <a:lnTo>
                    <a:pt x="77" y="20"/>
                  </a:lnTo>
                  <a:lnTo>
                    <a:pt x="80" y="26"/>
                  </a:lnTo>
                  <a:lnTo>
                    <a:pt x="80" y="29"/>
                  </a:lnTo>
                  <a:lnTo>
                    <a:pt x="80" y="37"/>
                  </a:lnTo>
                  <a:lnTo>
                    <a:pt x="86" y="46"/>
                  </a:lnTo>
                  <a:lnTo>
                    <a:pt x="89" y="37"/>
                  </a:lnTo>
                  <a:lnTo>
                    <a:pt x="95" y="37"/>
                  </a:lnTo>
                  <a:lnTo>
                    <a:pt x="98" y="32"/>
                  </a:lnTo>
                  <a:lnTo>
                    <a:pt x="92" y="23"/>
                  </a:lnTo>
                  <a:lnTo>
                    <a:pt x="98" y="17"/>
                  </a:lnTo>
                  <a:lnTo>
                    <a:pt x="95" y="15"/>
                  </a:lnTo>
                  <a:lnTo>
                    <a:pt x="83" y="6"/>
                  </a:lnTo>
                  <a:lnTo>
                    <a:pt x="69" y="6"/>
                  </a:lnTo>
                  <a:lnTo>
                    <a:pt x="69" y="3"/>
                  </a:lnTo>
                  <a:lnTo>
                    <a:pt x="69" y="0"/>
                  </a:lnTo>
                  <a:lnTo>
                    <a:pt x="63" y="0"/>
                  </a:lnTo>
                  <a:lnTo>
                    <a:pt x="60" y="0"/>
                  </a:lnTo>
                  <a:lnTo>
                    <a:pt x="54" y="6"/>
                  </a:lnTo>
                  <a:lnTo>
                    <a:pt x="52" y="9"/>
                  </a:lnTo>
                  <a:lnTo>
                    <a:pt x="46" y="9"/>
                  </a:lnTo>
                  <a:lnTo>
                    <a:pt x="40" y="12"/>
                  </a:lnTo>
                  <a:lnTo>
                    <a:pt x="31" y="17"/>
                  </a:lnTo>
                  <a:lnTo>
                    <a:pt x="23" y="15"/>
                  </a:lnTo>
                  <a:lnTo>
                    <a:pt x="17" y="9"/>
                  </a:lnTo>
                  <a:lnTo>
                    <a:pt x="11" y="3"/>
                  </a:lnTo>
                  <a:lnTo>
                    <a:pt x="6" y="3"/>
                  </a:lnTo>
                  <a:lnTo>
                    <a:pt x="6" y="6"/>
                  </a:lnTo>
                  <a:lnTo>
                    <a:pt x="6" y="15"/>
                  </a:lnTo>
                  <a:lnTo>
                    <a:pt x="3" y="17"/>
                  </a:lnTo>
                  <a:lnTo>
                    <a:pt x="0" y="32"/>
                  </a:lnTo>
                  <a:lnTo>
                    <a:pt x="3" y="35"/>
                  </a:lnTo>
                  <a:lnTo>
                    <a:pt x="9" y="29"/>
                  </a:lnTo>
                  <a:lnTo>
                    <a:pt x="17" y="29"/>
                  </a:lnTo>
                  <a:lnTo>
                    <a:pt x="23" y="32"/>
                  </a:lnTo>
                  <a:lnTo>
                    <a:pt x="26" y="40"/>
                  </a:lnTo>
                  <a:lnTo>
                    <a:pt x="29" y="43"/>
                  </a:lnTo>
                  <a:lnTo>
                    <a:pt x="31" y="4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09" name="Freeform 712"/>
            <p:cNvSpPr>
              <a:spLocks/>
            </p:cNvSpPr>
            <p:nvPr/>
          </p:nvSpPr>
          <p:spPr bwMode="auto">
            <a:xfrm>
              <a:off x="1847850" y="3563938"/>
              <a:ext cx="128588" cy="128587"/>
            </a:xfrm>
            <a:custGeom>
              <a:avLst/>
              <a:gdLst>
                <a:gd name="T0" fmla="*/ 2147483647 w 81"/>
                <a:gd name="T1" fmla="*/ 2147483647 h 80"/>
                <a:gd name="T2" fmla="*/ 2147483647 w 81"/>
                <a:gd name="T3" fmla="*/ 2147483647 h 80"/>
                <a:gd name="T4" fmla="*/ 2147483647 w 81"/>
                <a:gd name="T5" fmla="*/ 2147483647 h 80"/>
                <a:gd name="T6" fmla="*/ 2147483647 w 81"/>
                <a:gd name="T7" fmla="*/ 2147483647 h 80"/>
                <a:gd name="T8" fmla="*/ 2147483647 w 81"/>
                <a:gd name="T9" fmla="*/ 2147483647 h 80"/>
                <a:gd name="T10" fmla="*/ 2147483647 w 81"/>
                <a:gd name="T11" fmla="*/ 2147483647 h 80"/>
                <a:gd name="T12" fmla="*/ 2147483647 w 81"/>
                <a:gd name="T13" fmla="*/ 2147483647 h 80"/>
                <a:gd name="T14" fmla="*/ 2147483647 w 81"/>
                <a:gd name="T15" fmla="*/ 2147483647 h 80"/>
                <a:gd name="T16" fmla="*/ 2147483647 w 81"/>
                <a:gd name="T17" fmla="*/ 2147483647 h 80"/>
                <a:gd name="T18" fmla="*/ 2147483647 w 81"/>
                <a:gd name="T19" fmla="*/ 2147483647 h 80"/>
                <a:gd name="T20" fmla="*/ 2147483647 w 81"/>
                <a:gd name="T21" fmla="*/ 2147483647 h 80"/>
                <a:gd name="T22" fmla="*/ 2147483647 w 81"/>
                <a:gd name="T23" fmla="*/ 2147483647 h 80"/>
                <a:gd name="T24" fmla="*/ 2147483647 w 81"/>
                <a:gd name="T25" fmla="*/ 2147483647 h 80"/>
                <a:gd name="T26" fmla="*/ 2147483647 w 81"/>
                <a:gd name="T27" fmla="*/ 2147483647 h 80"/>
                <a:gd name="T28" fmla="*/ 2147483647 w 81"/>
                <a:gd name="T29" fmla="*/ 2147483647 h 80"/>
                <a:gd name="T30" fmla="*/ 2147483647 w 81"/>
                <a:gd name="T31" fmla="*/ 2147483647 h 80"/>
                <a:gd name="T32" fmla="*/ 2147483647 w 81"/>
                <a:gd name="T33" fmla="*/ 2147483647 h 80"/>
                <a:gd name="T34" fmla="*/ 2147483647 w 81"/>
                <a:gd name="T35" fmla="*/ 2147483647 h 80"/>
                <a:gd name="T36" fmla="*/ 2147483647 w 81"/>
                <a:gd name="T37" fmla="*/ 2147483647 h 80"/>
                <a:gd name="T38" fmla="*/ 2147483647 w 81"/>
                <a:gd name="T39" fmla="*/ 2147483647 h 80"/>
                <a:gd name="T40" fmla="*/ 2147483647 w 81"/>
                <a:gd name="T41" fmla="*/ 2147483647 h 80"/>
                <a:gd name="T42" fmla="*/ 2147483647 w 81"/>
                <a:gd name="T43" fmla="*/ 2147483647 h 80"/>
                <a:gd name="T44" fmla="*/ 2147483647 w 81"/>
                <a:gd name="T45" fmla="*/ 2147483647 h 80"/>
                <a:gd name="T46" fmla="*/ 2147483647 w 81"/>
                <a:gd name="T47" fmla="*/ 2147483647 h 80"/>
                <a:gd name="T48" fmla="*/ 2147483647 w 81"/>
                <a:gd name="T49" fmla="*/ 0 h 80"/>
                <a:gd name="T50" fmla="*/ 2147483647 w 81"/>
                <a:gd name="T51" fmla="*/ 2147483647 h 80"/>
                <a:gd name="T52" fmla="*/ 2147483647 w 81"/>
                <a:gd name="T53" fmla="*/ 2147483647 h 80"/>
                <a:gd name="T54" fmla="*/ 2147483647 w 81"/>
                <a:gd name="T55" fmla="*/ 2147483647 h 80"/>
                <a:gd name="T56" fmla="*/ 2147483647 w 81"/>
                <a:gd name="T57" fmla="*/ 2147483647 h 80"/>
                <a:gd name="T58" fmla="*/ 2147483647 w 81"/>
                <a:gd name="T59" fmla="*/ 2147483647 h 80"/>
                <a:gd name="T60" fmla="*/ 2147483647 w 81"/>
                <a:gd name="T61" fmla="*/ 2147483647 h 80"/>
                <a:gd name="T62" fmla="*/ 2147483647 w 81"/>
                <a:gd name="T63" fmla="*/ 2147483647 h 80"/>
                <a:gd name="T64" fmla="*/ 2147483647 w 81"/>
                <a:gd name="T65" fmla="*/ 2147483647 h 80"/>
                <a:gd name="T66" fmla="*/ 0 w 81"/>
                <a:gd name="T67" fmla="*/ 2147483647 h 80"/>
                <a:gd name="T68" fmla="*/ 0 w 81"/>
                <a:gd name="T69" fmla="*/ 2147483647 h 80"/>
                <a:gd name="T70" fmla="*/ 2147483647 w 81"/>
                <a:gd name="T71" fmla="*/ 2147483647 h 80"/>
                <a:gd name="T72" fmla="*/ 2147483647 w 81"/>
                <a:gd name="T73" fmla="*/ 2147483647 h 80"/>
                <a:gd name="T74" fmla="*/ 2147483647 w 81"/>
                <a:gd name="T75" fmla="*/ 2147483647 h 80"/>
                <a:gd name="T76" fmla="*/ 2147483647 w 81"/>
                <a:gd name="T77" fmla="*/ 2147483647 h 80"/>
                <a:gd name="T78" fmla="*/ 2147483647 w 81"/>
                <a:gd name="T79" fmla="*/ 2147483647 h 80"/>
                <a:gd name="T80" fmla="*/ 2147483647 w 81"/>
                <a:gd name="T81" fmla="*/ 2147483647 h 80"/>
                <a:gd name="T82" fmla="*/ 2147483647 w 81"/>
                <a:gd name="T83" fmla="*/ 2147483647 h 80"/>
                <a:gd name="T84" fmla="*/ 2147483647 w 81"/>
                <a:gd name="T85" fmla="*/ 2147483647 h 8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81"/>
                <a:gd name="T130" fmla="*/ 0 h 80"/>
                <a:gd name="T131" fmla="*/ 81 w 81"/>
                <a:gd name="T132" fmla="*/ 80 h 8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81" h="80">
                  <a:moveTo>
                    <a:pt x="35" y="69"/>
                  </a:moveTo>
                  <a:lnTo>
                    <a:pt x="29" y="66"/>
                  </a:lnTo>
                  <a:lnTo>
                    <a:pt x="29" y="57"/>
                  </a:lnTo>
                  <a:lnTo>
                    <a:pt x="37" y="63"/>
                  </a:lnTo>
                  <a:lnTo>
                    <a:pt x="46" y="72"/>
                  </a:lnTo>
                  <a:lnTo>
                    <a:pt x="43" y="74"/>
                  </a:lnTo>
                  <a:lnTo>
                    <a:pt x="52" y="72"/>
                  </a:lnTo>
                  <a:lnTo>
                    <a:pt x="58" y="80"/>
                  </a:lnTo>
                  <a:lnTo>
                    <a:pt x="66" y="77"/>
                  </a:lnTo>
                  <a:lnTo>
                    <a:pt x="66" y="74"/>
                  </a:lnTo>
                  <a:lnTo>
                    <a:pt x="66" y="69"/>
                  </a:lnTo>
                  <a:lnTo>
                    <a:pt x="66" y="57"/>
                  </a:lnTo>
                  <a:lnTo>
                    <a:pt x="72" y="46"/>
                  </a:lnTo>
                  <a:lnTo>
                    <a:pt x="72" y="37"/>
                  </a:lnTo>
                  <a:lnTo>
                    <a:pt x="75" y="23"/>
                  </a:lnTo>
                  <a:lnTo>
                    <a:pt x="81" y="11"/>
                  </a:lnTo>
                  <a:lnTo>
                    <a:pt x="81" y="6"/>
                  </a:lnTo>
                  <a:lnTo>
                    <a:pt x="81" y="0"/>
                  </a:lnTo>
                  <a:lnTo>
                    <a:pt x="75" y="3"/>
                  </a:lnTo>
                  <a:lnTo>
                    <a:pt x="58" y="8"/>
                  </a:lnTo>
                  <a:lnTo>
                    <a:pt x="49" y="3"/>
                  </a:lnTo>
                  <a:lnTo>
                    <a:pt x="43" y="14"/>
                  </a:lnTo>
                  <a:lnTo>
                    <a:pt x="35" y="20"/>
                  </a:lnTo>
                  <a:lnTo>
                    <a:pt x="26" y="23"/>
                  </a:lnTo>
                  <a:lnTo>
                    <a:pt x="17" y="31"/>
                  </a:lnTo>
                  <a:lnTo>
                    <a:pt x="6" y="40"/>
                  </a:lnTo>
                  <a:lnTo>
                    <a:pt x="0" y="43"/>
                  </a:lnTo>
                  <a:lnTo>
                    <a:pt x="3" y="46"/>
                  </a:lnTo>
                  <a:lnTo>
                    <a:pt x="9" y="51"/>
                  </a:lnTo>
                  <a:lnTo>
                    <a:pt x="15" y="54"/>
                  </a:lnTo>
                  <a:lnTo>
                    <a:pt x="17" y="60"/>
                  </a:lnTo>
                  <a:lnTo>
                    <a:pt x="26" y="72"/>
                  </a:lnTo>
                  <a:lnTo>
                    <a:pt x="35" y="6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10" name="Freeform 713"/>
            <p:cNvSpPr>
              <a:spLocks/>
            </p:cNvSpPr>
            <p:nvPr/>
          </p:nvSpPr>
          <p:spPr bwMode="auto">
            <a:xfrm>
              <a:off x="1889125" y="3683000"/>
              <a:ext cx="17463" cy="4763"/>
            </a:xfrm>
            <a:custGeom>
              <a:avLst/>
              <a:gdLst>
                <a:gd name="T0" fmla="*/ 2147483647 w 11"/>
                <a:gd name="T1" fmla="*/ 2147483647 h 3"/>
                <a:gd name="T2" fmla="*/ 2147483647 w 11"/>
                <a:gd name="T3" fmla="*/ 0 h 3"/>
                <a:gd name="T4" fmla="*/ 0 w 11"/>
                <a:gd name="T5" fmla="*/ 0 h 3"/>
                <a:gd name="T6" fmla="*/ 0 w 11"/>
                <a:gd name="T7" fmla="*/ 0 h 3"/>
                <a:gd name="T8" fmla="*/ 2147483647 w 11"/>
                <a:gd name="T9" fmla="*/ 2147483647 h 3"/>
                <a:gd name="T10" fmla="*/ 2147483647 w 11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"/>
                <a:gd name="T19" fmla="*/ 0 h 3"/>
                <a:gd name="T20" fmla="*/ 11 w 11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" h="3">
                  <a:moveTo>
                    <a:pt x="3" y="3"/>
                  </a:moveTo>
                  <a:lnTo>
                    <a:pt x="11" y="0"/>
                  </a:lnTo>
                  <a:lnTo>
                    <a:pt x="0" y="0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11" name="Freeform 714"/>
            <p:cNvSpPr>
              <a:spLocks/>
            </p:cNvSpPr>
            <p:nvPr/>
          </p:nvSpPr>
          <p:spPr bwMode="auto">
            <a:xfrm>
              <a:off x="1893888" y="3687763"/>
              <a:ext cx="77787" cy="84137"/>
            </a:xfrm>
            <a:custGeom>
              <a:avLst/>
              <a:gdLst>
                <a:gd name="T0" fmla="*/ 2147483647 w 49"/>
                <a:gd name="T1" fmla="*/ 2147483647 h 52"/>
                <a:gd name="T2" fmla="*/ 2147483647 w 49"/>
                <a:gd name="T3" fmla="*/ 2147483647 h 52"/>
                <a:gd name="T4" fmla="*/ 2147483647 w 49"/>
                <a:gd name="T5" fmla="*/ 2147483647 h 52"/>
                <a:gd name="T6" fmla="*/ 2147483647 w 49"/>
                <a:gd name="T7" fmla="*/ 2147483647 h 52"/>
                <a:gd name="T8" fmla="*/ 2147483647 w 49"/>
                <a:gd name="T9" fmla="*/ 2147483647 h 52"/>
                <a:gd name="T10" fmla="*/ 2147483647 w 49"/>
                <a:gd name="T11" fmla="*/ 2147483647 h 52"/>
                <a:gd name="T12" fmla="*/ 2147483647 w 49"/>
                <a:gd name="T13" fmla="*/ 2147483647 h 52"/>
                <a:gd name="T14" fmla="*/ 2147483647 w 49"/>
                <a:gd name="T15" fmla="*/ 2147483647 h 52"/>
                <a:gd name="T16" fmla="*/ 2147483647 w 49"/>
                <a:gd name="T17" fmla="*/ 2147483647 h 52"/>
                <a:gd name="T18" fmla="*/ 2147483647 w 49"/>
                <a:gd name="T19" fmla="*/ 2147483647 h 52"/>
                <a:gd name="T20" fmla="*/ 2147483647 w 49"/>
                <a:gd name="T21" fmla="*/ 0 h 52"/>
                <a:gd name="T22" fmla="*/ 2147483647 w 49"/>
                <a:gd name="T23" fmla="*/ 2147483647 h 52"/>
                <a:gd name="T24" fmla="*/ 0 w 49"/>
                <a:gd name="T25" fmla="*/ 2147483647 h 52"/>
                <a:gd name="T26" fmla="*/ 0 w 49"/>
                <a:gd name="T27" fmla="*/ 2147483647 h 52"/>
                <a:gd name="T28" fmla="*/ 0 w 49"/>
                <a:gd name="T29" fmla="*/ 2147483647 h 52"/>
                <a:gd name="T30" fmla="*/ 0 w 49"/>
                <a:gd name="T31" fmla="*/ 2147483647 h 52"/>
                <a:gd name="T32" fmla="*/ 0 w 49"/>
                <a:gd name="T33" fmla="*/ 2147483647 h 52"/>
                <a:gd name="T34" fmla="*/ 2147483647 w 49"/>
                <a:gd name="T35" fmla="*/ 2147483647 h 52"/>
                <a:gd name="T36" fmla="*/ 2147483647 w 49"/>
                <a:gd name="T37" fmla="*/ 2147483647 h 52"/>
                <a:gd name="T38" fmla="*/ 2147483647 w 49"/>
                <a:gd name="T39" fmla="*/ 2147483647 h 52"/>
                <a:gd name="T40" fmla="*/ 2147483647 w 49"/>
                <a:gd name="T41" fmla="*/ 2147483647 h 52"/>
                <a:gd name="T42" fmla="*/ 2147483647 w 49"/>
                <a:gd name="T43" fmla="*/ 2147483647 h 52"/>
                <a:gd name="T44" fmla="*/ 2147483647 w 49"/>
                <a:gd name="T45" fmla="*/ 2147483647 h 52"/>
                <a:gd name="T46" fmla="*/ 2147483647 w 49"/>
                <a:gd name="T47" fmla="*/ 2147483647 h 52"/>
                <a:gd name="T48" fmla="*/ 2147483647 w 49"/>
                <a:gd name="T49" fmla="*/ 2147483647 h 52"/>
                <a:gd name="T50" fmla="*/ 2147483647 w 49"/>
                <a:gd name="T51" fmla="*/ 2147483647 h 52"/>
                <a:gd name="T52" fmla="*/ 2147483647 w 49"/>
                <a:gd name="T53" fmla="*/ 2147483647 h 52"/>
                <a:gd name="T54" fmla="*/ 2147483647 w 49"/>
                <a:gd name="T55" fmla="*/ 2147483647 h 52"/>
                <a:gd name="T56" fmla="*/ 2147483647 w 49"/>
                <a:gd name="T57" fmla="*/ 2147483647 h 52"/>
                <a:gd name="T58" fmla="*/ 2147483647 w 49"/>
                <a:gd name="T59" fmla="*/ 2147483647 h 52"/>
                <a:gd name="T60" fmla="*/ 2147483647 w 49"/>
                <a:gd name="T61" fmla="*/ 2147483647 h 52"/>
                <a:gd name="T62" fmla="*/ 2147483647 w 49"/>
                <a:gd name="T63" fmla="*/ 2147483647 h 52"/>
                <a:gd name="T64" fmla="*/ 2147483647 w 49"/>
                <a:gd name="T65" fmla="*/ 2147483647 h 52"/>
                <a:gd name="T66" fmla="*/ 2147483647 w 49"/>
                <a:gd name="T67" fmla="*/ 2147483647 h 52"/>
                <a:gd name="T68" fmla="*/ 2147483647 w 49"/>
                <a:gd name="T69" fmla="*/ 2147483647 h 5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49"/>
                <a:gd name="T106" fmla="*/ 0 h 52"/>
                <a:gd name="T107" fmla="*/ 49 w 49"/>
                <a:gd name="T108" fmla="*/ 52 h 5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49" h="52">
                  <a:moveTo>
                    <a:pt x="46" y="32"/>
                  </a:moveTo>
                  <a:lnTo>
                    <a:pt x="43" y="26"/>
                  </a:lnTo>
                  <a:lnTo>
                    <a:pt x="49" y="26"/>
                  </a:lnTo>
                  <a:lnTo>
                    <a:pt x="40" y="12"/>
                  </a:lnTo>
                  <a:lnTo>
                    <a:pt x="34" y="6"/>
                  </a:lnTo>
                  <a:lnTo>
                    <a:pt x="40" y="6"/>
                  </a:lnTo>
                  <a:lnTo>
                    <a:pt x="37" y="3"/>
                  </a:lnTo>
                  <a:lnTo>
                    <a:pt x="29" y="6"/>
                  </a:lnTo>
                  <a:lnTo>
                    <a:pt x="23" y="0"/>
                  </a:lnTo>
                  <a:lnTo>
                    <a:pt x="17" y="3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20"/>
                  </a:lnTo>
                  <a:lnTo>
                    <a:pt x="8" y="26"/>
                  </a:lnTo>
                  <a:lnTo>
                    <a:pt x="8" y="20"/>
                  </a:lnTo>
                  <a:lnTo>
                    <a:pt x="11" y="15"/>
                  </a:lnTo>
                  <a:lnTo>
                    <a:pt x="14" y="15"/>
                  </a:lnTo>
                  <a:lnTo>
                    <a:pt x="17" y="20"/>
                  </a:lnTo>
                  <a:lnTo>
                    <a:pt x="20" y="26"/>
                  </a:lnTo>
                  <a:lnTo>
                    <a:pt x="23" y="29"/>
                  </a:lnTo>
                  <a:lnTo>
                    <a:pt x="31" y="35"/>
                  </a:lnTo>
                  <a:lnTo>
                    <a:pt x="34" y="46"/>
                  </a:lnTo>
                  <a:lnTo>
                    <a:pt x="37" y="52"/>
                  </a:lnTo>
                  <a:lnTo>
                    <a:pt x="40" y="46"/>
                  </a:lnTo>
                  <a:lnTo>
                    <a:pt x="43" y="49"/>
                  </a:lnTo>
                  <a:lnTo>
                    <a:pt x="43" y="43"/>
                  </a:lnTo>
                  <a:lnTo>
                    <a:pt x="46" y="41"/>
                  </a:lnTo>
                  <a:lnTo>
                    <a:pt x="46" y="3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12" name="Freeform 715"/>
            <p:cNvSpPr>
              <a:spLocks/>
            </p:cNvSpPr>
            <p:nvPr/>
          </p:nvSpPr>
          <p:spPr bwMode="auto">
            <a:xfrm>
              <a:off x="2436813" y="5335588"/>
              <a:ext cx="3175" cy="9525"/>
            </a:xfrm>
            <a:custGeom>
              <a:avLst/>
              <a:gdLst>
                <a:gd name="T0" fmla="*/ 0 w 2"/>
                <a:gd name="T1" fmla="*/ 2147483647 h 6"/>
                <a:gd name="T2" fmla="*/ 0 w 2"/>
                <a:gd name="T3" fmla="*/ 0 h 6"/>
                <a:gd name="T4" fmla="*/ 0 w 2"/>
                <a:gd name="T5" fmla="*/ 2147483647 h 6"/>
                <a:gd name="T6" fmla="*/ 2147483647 w 2"/>
                <a:gd name="T7" fmla="*/ 2147483647 h 6"/>
                <a:gd name="T8" fmla="*/ 2147483647 w 2"/>
                <a:gd name="T9" fmla="*/ 2147483647 h 6"/>
                <a:gd name="T10" fmla="*/ 0 w 2"/>
                <a:gd name="T11" fmla="*/ 2147483647 h 6"/>
                <a:gd name="T12" fmla="*/ 0 w 2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"/>
                <a:gd name="T22" fmla="*/ 0 h 6"/>
                <a:gd name="T23" fmla="*/ 2 w 2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" h="6">
                  <a:moveTo>
                    <a:pt x="0" y="3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13" name="Freeform 716"/>
            <p:cNvSpPr>
              <a:spLocks/>
            </p:cNvSpPr>
            <p:nvPr/>
          </p:nvSpPr>
          <p:spPr bwMode="auto">
            <a:xfrm>
              <a:off x="2339975" y="4581525"/>
              <a:ext cx="188913" cy="985838"/>
            </a:xfrm>
            <a:custGeom>
              <a:avLst/>
              <a:gdLst>
                <a:gd name="T0" fmla="*/ 2147483647 w 118"/>
                <a:gd name="T1" fmla="*/ 2147483647 h 615"/>
                <a:gd name="T2" fmla="*/ 2147483647 w 118"/>
                <a:gd name="T3" fmla="*/ 2147483647 h 615"/>
                <a:gd name="T4" fmla="*/ 2147483647 w 118"/>
                <a:gd name="T5" fmla="*/ 2147483647 h 615"/>
                <a:gd name="T6" fmla="*/ 2147483647 w 118"/>
                <a:gd name="T7" fmla="*/ 2147483647 h 615"/>
                <a:gd name="T8" fmla="*/ 2147483647 w 118"/>
                <a:gd name="T9" fmla="*/ 2147483647 h 615"/>
                <a:gd name="T10" fmla="*/ 2147483647 w 118"/>
                <a:gd name="T11" fmla="*/ 2147483647 h 615"/>
                <a:gd name="T12" fmla="*/ 2147483647 w 118"/>
                <a:gd name="T13" fmla="*/ 2147483647 h 615"/>
                <a:gd name="T14" fmla="*/ 2147483647 w 118"/>
                <a:gd name="T15" fmla="*/ 2147483647 h 615"/>
                <a:gd name="T16" fmla="*/ 2147483647 w 118"/>
                <a:gd name="T17" fmla="*/ 2147483647 h 615"/>
                <a:gd name="T18" fmla="*/ 2147483647 w 118"/>
                <a:gd name="T19" fmla="*/ 2147483647 h 615"/>
                <a:gd name="T20" fmla="*/ 2147483647 w 118"/>
                <a:gd name="T21" fmla="*/ 2147483647 h 615"/>
                <a:gd name="T22" fmla="*/ 2147483647 w 118"/>
                <a:gd name="T23" fmla="*/ 2147483647 h 615"/>
                <a:gd name="T24" fmla="*/ 2147483647 w 118"/>
                <a:gd name="T25" fmla="*/ 2147483647 h 615"/>
                <a:gd name="T26" fmla="*/ 2147483647 w 118"/>
                <a:gd name="T27" fmla="*/ 2147483647 h 615"/>
                <a:gd name="T28" fmla="*/ 2147483647 w 118"/>
                <a:gd name="T29" fmla="*/ 2147483647 h 615"/>
                <a:gd name="T30" fmla="*/ 2147483647 w 118"/>
                <a:gd name="T31" fmla="*/ 2147483647 h 615"/>
                <a:gd name="T32" fmla="*/ 2147483647 w 118"/>
                <a:gd name="T33" fmla="*/ 2147483647 h 615"/>
                <a:gd name="T34" fmla="*/ 2147483647 w 118"/>
                <a:gd name="T35" fmla="*/ 2147483647 h 615"/>
                <a:gd name="T36" fmla="*/ 2147483647 w 118"/>
                <a:gd name="T37" fmla="*/ 2147483647 h 615"/>
                <a:gd name="T38" fmla="*/ 2147483647 w 118"/>
                <a:gd name="T39" fmla="*/ 2147483647 h 615"/>
                <a:gd name="T40" fmla="*/ 2147483647 w 118"/>
                <a:gd name="T41" fmla="*/ 2147483647 h 615"/>
                <a:gd name="T42" fmla="*/ 2147483647 w 118"/>
                <a:gd name="T43" fmla="*/ 2147483647 h 615"/>
                <a:gd name="T44" fmla="*/ 2147483647 w 118"/>
                <a:gd name="T45" fmla="*/ 2147483647 h 615"/>
                <a:gd name="T46" fmla="*/ 2147483647 w 118"/>
                <a:gd name="T47" fmla="*/ 2147483647 h 615"/>
                <a:gd name="T48" fmla="*/ 2147483647 w 118"/>
                <a:gd name="T49" fmla="*/ 2147483647 h 615"/>
                <a:gd name="T50" fmla="*/ 2147483647 w 118"/>
                <a:gd name="T51" fmla="*/ 2147483647 h 615"/>
                <a:gd name="T52" fmla="*/ 2147483647 w 118"/>
                <a:gd name="T53" fmla="*/ 2147483647 h 615"/>
                <a:gd name="T54" fmla="*/ 2147483647 w 118"/>
                <a:gd name="T55" fmla="*/ 2147483647 h 615"/>
                <a:gd name="T56" fmla="*/ 2147483647 w 118"/>
                <a:gd name="T57" fmla="*/ 2147483647 h 615"/>
                <a:gd name="T58" fmla="*/ 2147483647 w 118"/>
                <a:gd name="T59" fmla="*/ 2147483647 h 615"/>
                <a:gd name="T60" fmla="*/ 2147483647 w 118"/>
                <a:gd name="T61" fmla="*/ 2147483647 h 615"/>
                <a:gd name="T62" fmla="*/ 2147483647 w 118"/>
                <a:gd name="T63" fmla="*/ 2147483647 h 615"/>
                <a:gd name="T64" fmla="*/ 2147483647 w 118"/>
                <a:gd name="T65" fmla="*/ 2147483647 h 615"/>
                <a:gd name="T66" fmla="*/ 2147483647 w 118"/>
                <a:gd name="T67" fmla="*/ 2147483647 h 615"/>
                <a:gd name="T68" fmla="*/ 2147483647 w 118"/>
                <a:gd name="T69" fmla="*/ 2147483647 h 615"/>
                <a:gd name="T70" fmla="*/ 2147483647 w 118"/>
                <a:gd name="T71" fmla="*/ 2147483647 h 615"/>
                <a:gd name="T72" fmla="*/ 2147483647 w 118"/>
                <a:gd name="T73" fmla="*/ 2147483647 h 615"/>
                <a:gd name="T74" fmla="*/ 2147483647 w 118"/>
                <a:gd name="T75" fmla="*/ 2147483647 h 615"/>
                <a:gd name="T76" fmla="*/ 2147483647 w 118"/>
                <a:gd name="T77" fmla="*/ 2147483647 h 615"/>
                <a:gd name="T78" fmla="*/ 2147483647 w 118"/>
                <a:gd name="T79" fmla="*/ 2147483647 h 615"/>
                <a:gd name="T80" fmla="*/ 2147483647 w 118"/>
                <a:gd name="T81" fmla="*/ 2147483647 h 615"/>
                <a:gd name="T82" fmla="*/ 2147483647 w 118"/>
                <a:gd name="T83" fmla="*/ 2147483647 h 615"/>
                <a:gd name="T84" fmla="*/ 2147483647 w 118"/>
                <a:gd name="T85" fmla="*/ 2147483647 h 615"/>
                <a:gd name="T86" fmla="*/ 2147483647 w 118"/>
                <a:gd name="T87" fmla="*/ 2147483647 h 615"/>
                <a:gd name="T88" fmla="*/ 2147483647 w 118"/>
                <a:gd name="T89" fmla="*/ 2147483647 h 615"/>
                <a:gd name="T90" fmla="*/ 2147483647 w 118"/>
                <a:gd name="T91" fmla="*/ 2147483647 h 615"/>
                <a:gd name="T92" fmla="*/ 2147483647 w 118"/>
                <a:gd name="T93" fmla="*/ 2147483647 h 615"/>
                <a:gd name="T94" fmla="*/ 2147483647 w 118"/>
                <a:gd name="T95" fmla="*/ 2147483647 h 615"/>
                <a:gd name="T96" fmla="*/ 2147483647 w 118"/>
                <a:gd name="T97" fmla="*/ 2147483647 h 615"/>
                <a:gd name="T98" fmla="*/ 2147483647 w 118"/>
                <a:gd name="T99" fmla="*/ 2147483647 h 615"/>
                <a:gd name="T100" fmla="*/ 2147483647 w 118"/>
                <a:gd name="T101" fmla="*/ 2147483647 h 615"/>
                <a:gd name="T102" fmla="*/ 2147483647 w 118"/>
                <a:gd name="T103" fmla="*/ 2147483647 h 615"/>
                <a:gd name="T104" fmla="*/ 2147483647 w 118"/>
                <a:gd name="T105" fmla="*/ 2147483647 h 615"/>
                <a:gd name="T106" fmla="*/ 2147483647 w 118"/>
                <a:gd name="T107" fmla="*/ 2147483647 h 615"/>
                <a:gd name="T108" fmla="*/ 2147483647 w 118"/>
                <a:gd name="T109" fmla="*/ 2147483647 h 615"/>
                <a:gd name="T110" fmla="*/ 2147483647 w 118"/>
                <a:gd name="T111" fmla="*/ 2147483647 h 615"/>
                <a:gd name="T112" fmla="*/ 2147483647 w 118"/>
                <a:gd name="T113" fmla="*/ 2147483647 h 615"/>
                <a:gd name="T114" fmla="*/ 2147483647 w 118"/>
                <a:gd name="T115" fmla="*/ 2147483647 h 615"/>
                <a:gd name="T116" fmla="*/ 2147483647 w 118"/>
                <a:gd name="T117" fmla="*/ 2147483647 h 615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8"/>
                <a:gd name="T178" fmla="*/ 0 h 615"/>
                <a:gd name="T179" fmla="*/ 118 w 118"/>
                <a:gd name="T180" fmla="*/ 615 h 615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8" h="615">
                  <a:moveTo>
                    <a:pt x="55" y="503"/>
                  </a:moveTo>
                  <a:lnTo>
                    <a:pt x="55" y="503"/>
                  </a:lnTo>
                  <a:lnTo>
                    <a:pt x="58" y="497"/>
                  </a:lnTo>
                  <a:lnTo>
                    <a:pt x="61" y="494"/>
                  </a:lnTo>
                  <a:lnTo>
                    <a:pt x="58" y="491"/>
                  </a:lnTo>
                  <a:lnTo>
                    <a:pt x="55" y="485"/>
                  </a:lnTo>
                  <a:lnTo>
                    <a:pt x="55" y="483"/>
                  </a:lnTo>
                  <a:lnTo>
                    <a:pt x="52" y="471"/>
                  </a:lnTo>
                  <a:lnTo>
                    <a:pt x="55" y="468"/>
                  </a:lnTo>
                  <a:lnTo>
                    <a:pt x="58" y="468"/>
                  </a:lnTo>
                  <a:lnTo>
                    <a:pt x="61" y="471"/>
                  </a:lnTo>
                  <a:lnTo>
                    <a:pt x="63" y="474"/>
                  </a:lnTo>
                  <a:lnTo>
                    <a:pt x="66" y="485"/>
                  </a:lnTo>
                  <a:lnTo>
                    <a:pt x="66" y="488"/>
                  </a:lnTo>
                  <a:lnTo>
                    <a:pt x="66" y="494"/>
                  </a:lnTo>
                  <a:lnTo>
                    <a:pt x="69" y="497"/>
                  </a:lnTo>
                  <a:lnTo>
                    <a:pt x="69" y="506"/>
                  </a:lnTo>
                  <a:lnTo>
                    <a:pt x="72" y="511"/>
                  </a:lnTo>
                  <a:lnTo>
                    <a:pt x="72" y="517"/>
                  </a:lnTo>
                  <a:lnTo>
                    <a:pt x="75" y="523"/>
                  </a:lnTo>
                  <a:lnTo>
                    <a:pt x="84" y="526"/>
                  </a:lnTo>
                  <a:lnTo>
                    <a:pt x="78" y="531"/>
                  </a:lnTo>
                  <a:lnTo>
                    <a:pt x="81" y="537"/>
                  </a:lnTo>
                  <a:lnTo>
                    <a:pt x="84" y="543"/>
                  </a:lnTo>
                  <a:lnTo>
                    <a:pt x="81" y="546"/>
                  </a:lnTo>
                  <a:lnTo>
                    <a:pt x="78" y="552"/>
                  </a:lnTo>
                  <a:lnTo>
                    <a:pt x="81" y="557"/>
                  </a:lnTo>
                  <a:lnTo>
                    <a:pt x="86" y="569"/>
                  </a:lnTo>
                  <a:lnTo>
                    <a:pt x="89" y="574"/>
                  </a:lnTo>
                  <a:lnTo>
                    <a:pt x="92" y="583"/>
                  </a:lnTo>
                  <a:lnTo>
                    <a:pt x="92" y="586"/>
                  </a:lnTo>
                  <a:lnTo>
                    <a:pt x="95" y="592"/>
                  </a:lnTo>
                  <a:lnTo>
                    <a:pt x="89" y="595"/>
                  </a:lnTo>
                  <a:lnTo>
                    <a:pt x="98" y="600"/>
                  </a:lnTo>
                  <a:lnTo>
                    <a:pt x="101" y="600"/>
                  </a:lnTo>
                  <a:lnTo>
                    <a:pt x="107" y="612"/>
                  </a:lnTo>
                  <a:lnTo>
                    <a:pt x="109" y="615"/>
                  </a:lnTo>
                  <a:lnTo>
                    <a:pt x="109" y="612"/>
                  </a:lnTo>
                  <a:lnTo>
                    <a:pt x="109" y="609"/>
                  </a:lnTo>
                  <a:lnTo>
                    <a:pt x="112" y="609"/>
                  </a:lnTo>
                  <a:lnTo>
                    <a:pt x="118" y="606"/>
                  </a:lnTo>
                  <a:lnTo>
                    <a:pt x="115" y="606"/>
                  </a:lnTo>
                  <a:lnTo>
                    <a:pt x="112" y="600"/>
                  </a:lnTo>
                  <a:lnTo>
                    <a:pt x="115" y="597"/>
                  </a:lnTo>
                  <a:lnTo>
                    <a:pt x="109" y="583"/>
                  </a:lnTo>
                  <a:lnTo>
                    <a:pt x="109" y="577"/>
                  </a:lnTo>
                  <a:lnTo>
                    <a:pt x="112" y="577"/>
                  </a:lnTo>
                  <a:lnTo>
                    <a:pt x="115" y="577"/>
                  </a:lnTo>
                  <a:lnTo>
                    <a:pt x="112" y="574"/>
                  </a:lnTo>
                  <a:lnTo>
                    <a:pt x="109" y="572"/>
                  </a:lnTo>
                  <a:lnTo>
                    <a:pt x="112" y="566"/>
                  </a:lnTo>
                  <a:lnTo>
                    <a:pt x="107" y="560"/>
                  </a:lnTo>
                  <a:lnTo>
                    <a:pt x="107" y="554"/>
                  </a:lnTo>
                  <a:lnTo>
                    <a:pt x="109" y="552"/>
                  </a:lnTo>
                  <a:lnTo>
                    <a:pt x="107" y="552"/>
                  </a:lnTo>
                  <a:lnTo>
                    <a:pt x="104" y="549"/>
                  </a:lnTo>
                  <a:lnTo>
                    <a:pt x="104" y="546"/>
                  </a:lnTo>
                  <a:lnTo>
                    <a:pt x="104" y="540"/>
                  </a:lnTo>
                  <a:lnTo>
                    <a:pt x="107" y="540"/>
                  </a:lnTo>
                  <a:lnTo>
                    <a:pt x="104" y="537"/>
                  </a:lnTo>
                  <a:lnTo>
                    <a:pt x="98" y="537"/>
                  </a:lnTo>
                  <a:lnTo>
                    <a:pt x="92" y="531"/>
                  </a:lnTo>
                  <a:lnTo>
                    <a:pt x="95" y="529"/>
                  </a:lnTo>
                  <a:lnTo>
                    <a:pt x="101" y="529"/>
                  </a:lnTo>
                  <a:lnTo>
                    <a:pt x="104" y="529"/>
                  </a:lnTo>
                  <a:lnTo>
                    <a:pt x="104" y="526"/>
                  </a:lnTo>
                  <a:lnTo>
                    <a:pt x="101" y="526"/>
                  </a:lnTo>
                  <a:lnTo>
                    <a:pt x="95" y="526"/>
                  </a:lnTo>
                  <a:lnTo>
                    <a:pt x="92" y="523"/>
                  </a:lnTo>
                  <a:lnTo>
                    <a:pt x="92" y="520"/>
                  </a:lnTo>
                  <a:lnTo>
                    <a:pt x="92" y="514"/>
                  </a:lnTo>
                  <a:lnTo>
                    <a:pt x="89" y="511"/>
                  </a:lnTo>
                  <a:lnTo>
                    <a:pt x="89" y="508"/>
                  </a:lnTo>
                  <a:lnTo>
                    <a:pt x="86" y="508"/>
                  </a:lnTo>
                  <a:lnTo>
                    <a:pt x="84" y="506"/>
                  </a:lnTo>
                  <a:lnTo>
                    <a:pt x="86" y="500"/>
                  </a:lnTo>
                  <a:lnTo>
                    <a:pt x="84" y="500"/>
                  </a:lnTo>
                  <a:lnTo>
                    <a:pt x="81" y="497"/>
                  </a:lnTo>
                  <a:lnTo>
                    <a:pt x="78" y="494"/>
                  </a:lnTo>
                  <a:lnTo>
                    <a:pt x="72" y="483"/>
                  </a:lnTo>
                  <a:lnTo>
                    <a:pt x="72" y="480"/>
                  </a:lnTo>
                  <a:lnTo>
                    <a:pt x="75" y="477"/>
                  </a:lnTo>
                  <a:lnTo>
                    <a:pt x="78" y="477"/>
                  </a:lnTo>
                  <a:lnTo>
                    <a:pt x="69" y="465"/>
                  </a:lnTo>
                  <a:lnTo>
                    <a:pt x="66" y="454"/>
                  </a:lnTo>
                  <a:lnTo>
                    <a:pt x="66" y="451"/>
                  </a:lnTo>
                  <a:lnTo>
                    <a:pt x="66" y="445"/>
                  </a:lnTo>
                  <a:lnTo>
                    <a:pt x="63" y="440"/>
                  </a:lnTo>
                  <a:lnTo>
                    <a:pt x="66" y="437"/>
                  </a:lnTo>
                  <a:lnTo>
                    <a:pt x="63" y="437"/>
                  </a:lnTo>
                  <a:lnTo>
                    <a:pt x="63" y="431"/>
                  </a:lnTo>
                  <a:lnTo>
                    <a:pt x="63" y="428"/>
                  </a:lnTo>
                  <a:lnTo>
                    <a:pt x="63" y="419"/>
                  </a:lnTo>
                  <a:lnTo>
                    <a:pt x="63" y="417"/>
                  </a:lnTo>
                  <a:lnTo>
                    <a:pt x="63" y="414"/>
                  </a:lnTo>
                  <a:lnTo>
                    <a:pt x="66" y="411"/>
                  </a:lnTo>
                  <a:lnTo>
                    <a:pt x="69" y="411"/>
                  </a:lnTo>
                  <a:lnTo>
                    <a:pt x="61" y="396"/>
                  </a:lnTo>
                  <a:lnTo>
                    <a:pt x="58" y="388"/>
                  </a:lnTo>
                  <a:lnTo>
                    <a:pt x="55" y="376"/>
                  </a:lnTo>
                  <a:lnTo>
                    <a:pt x="55" y="374"/>
                  </a:lnTo>
                  <a:lnTo>
                    <a:pt x="55" y="368"/>
                  </a:lnTo>
                  <a:lnTo>
                    <a:pt x="58" y="365"/>
                  </a:lnTo>
                  <a:lnTo>
                    <a:pt x="63" y="362"/>
                  </a:lnTo>
                  <a:lnTo>
                    <a:pt x="63" y="359"/>
                  </a:lnTo>
                  <a:lnTo>
                    <a:pt x="55" y="348"/>
                  </a:lnTo>
                  <a:lnTo>
                    <a:pt x="55" y="345"/>
                  </a:lnTo>
                  <a:lnTo>
                    <a:pt x="55" y="342"/>
                  </a:lnTo>
                  <a:lnTo>
                    <a:pt x="58" y="333"/>
                  </a:lnTo>
                  <a:lnTo>
                    <a:pt x="61" y="325"/>
                  </a:lnTo>
                  <a:lnTo>
                    <a:pt x="58" y="322"/>
                  </a:lnTo>
                  <a:lnTo>
                    <a:pt x="55" y="310"/>
                  </a:lnTo>
                  <a:lnTo>
                    <a:pt x="55" y="307"/>
                  </a:lnTo>
                  <a:lnTo>
                    <a:pt x="52" y="307"/>
                  </a:lnTo>
                  <a:lnTo>
                    <a:pt x="49" y="305"/>
                  </a:lnTo>
                  <a:lnTo>
                    <a:pt x="52" y="302"/>
                  </a:lnTo>
                  <a:lnTo>
                    <a:pt x="52" y="299"/>
                  </a:lnTo>
                  <a:lnTo>
                    <a:pt x="49" y="296"/>
                  </a:lnTo>
                  <a:lnTo>
                    <a:pt x="43" y="287"/>
                  </a:lnTo>
                  <a:lnTo>
                    <a:pt x="43" y="285"/>
                  </a:lnTo>
                  <a:lnTo>
                    <a:pt x="40" y="282"/>
                  </a:lnTo>
                  <a:lnTo>
                    <a:pt x="38" y="279"/>
                  </a:lnTo>
                  <a:lnTo>
                    <a:pt x="35" y="273"/>
                  </a:lnTo>
                  <a:lnTo>
                    <a:pt x="35" y="264"/>
                  </a:lnTo>
                  <a:lnTo>
                    <a:pt x="38" y="262"/>
                  </a:lnTo>
                  <a:lnTo>
                    <a:pt x="35" y="256"/>
                  </a:lnTo>
                  <a:lnTo>
                    <a:pt x="38" y="250"/>
                  </a:lnTo>
                  <a:lnTo>
                    <a:pt x="38" y="247"/>
                  </a:lnTo>
                  <a:lnTo>
                    <a:pt x="40" y="247"/>
                  </a:lnTo>
                  <a:lnTo>
                    <a:pt x="40" y="244"/>
                  </a:lnTo>
                  <a:lnTo>
                    <a:pt x="40" y="241"/>
                  </a:lnTo>
                  <a:lnTo>
                    <a:pt x="35" y="236"/>
                  </a:lnTo>
                  <a:lnTo>
                    <a:pt x="35" y="230"/>
                  </a:lnTo>
                  <a:lnTo>
                    <a:pt x="38" y="221"/>
                  </a:lnTo>
                  <a:lnTo>
                    <a:pt x="38" y="218"/>
                  </a:lnTo>
                  <a:lnTo>
                    <a:pt x="38" y="216"/>
                  </a:lnTo>
                  <a:lnTo>
                    <a:pt x="40" y="207"/>
                  </a:lnTo>
                  <a:lnTo>
                    <a:pt x="46" y="190"/>
                  </a:lnTo>
                  <a:lnTo>
                    <a:pt x="49" y="187"/>
                  </a:lnTo>
                  <a:lnTo>
                    <a:pt x="52" y="184"/>
                  </a:lnTo>
                  <a:lnTo>
                    <a:pt x="55" y="184"/>
                  </a:lnTo>
                  <a:lnTo>
                    <a:pt x="55" y="181"/>
                  </a:lnTo>
                  <a:lnTo>
                    <a:pt x="49" y="175"/>
                  </a:lnTo>
                  <a:lnTo>
                    <a:pt x="46" y="173"/>
                  </a:lnTo>
                  <a:lnTo>
                    <a:pt x="49" y="170"/>
                  </a:lnTo>
                  <a:lnTo>
                    <a:pt x="49" y="167"/>
                  </a:lnTo>
                  <a:lnTo>
                    <a:pt x="49" y="161"/>
                  </a:lnTo>
                  <a:lnTo>
                    <a:pt x="43" y="152"/>
                  </a:lnTo>
                  <a:lnTo>
                    <a:pt x="46" y="147"/>
                  </a:lnTo>
                  <a:lnTo>
                    <a:pt x="46" y="144"/>
                  </a:lnTo>
                  <a:lnTo>
                    <a:pt x="43" y="141"/>
                  </a:lnTo>
                  <a:lnTo>
                    <a:pt x="43" y="138"/>
                  </a:lnTo>
                  <a:lnTo>
                    <a:pt x="49" y="135"/>
                  </a:lnTo>
                  <a:lnTo>
                    <a:pt x="63" y="127"/>
                  </a:lnTo>
                  <a:lnTo>
                    <a:pt x="63" y="124"/>
                  </a:lnTo>
                  <a:lnTo>
                    <a:pt x="63" y="121"/>
                  </a:lnTo>
                  <a:lnTo>
                    <a:pt x="63" y="115"/>
                  </a:lnTo>
                  <a:lnTo>
                    <a:pt x="66" y="107"/>
                  </a:lnTo>
                  <a:lnTo>
                    <a:pt x="61" y="104"/>
                  </a:lnTo>
                  <a:lnTo>
                    <a:pt x="49" y="104"/>
                  </a:lnTo>
                  <a:lnTo>
                    <a:pt x="46" y="95"/>
                  </a:lnTo>
                  <a:lnTo>
                    <a:pt x="43" y="86"/>
                  </a:lnTo>
                  <a:lnTo>
                    <a:pt x="40" y="72"/>
                  </a:lnTo>
                  <a:lnTo>
                    <a:pt x="38" y="69"/>
                  </a:lnTo>
                  <a:lnTo>
                    <a:pt x="35" y="66"/>
                  </a:lnTo>
                  <a:lnTo>
                    <a:pt x="32" y="63"/>
                  </a:lnTo>
                  <a:lnTo>
                    <a:pt x="35" y="63"/>
                  </a:lnTo>
                  <a:lnTo>
                    <a:pt x="35" y="61"/>
                  </a:lnTo>
                  <a:lnTo>
                    <a:pt x="32" y="58"/>
                  </a:lnTo>
                  <a:lnTo>
                    <a:pt x="29" y="58"/>
                  </a:lnTo>
                  <a:lnTo>
                    <a:pt x="26" y="49"/>
                  </a:lnTo>
                  <a:lnTo>
                    <a:pt x="29" y="49"/>
                  </a:lnTo>
                  <a:lnTo>
                    <a:pt x="32" y="49"/>
                  </a:lnTo>
                  <a:lnTo>
                    <a:pt x="29" y="43"/>
                  </a:lnTo>
                  <a:lnTo>
                    <a:pt x="32" y="38"/>
                  </a:lnTo>
                  <a:lnTo>
                    <a:pt x="23" y="29"/>
                  </a:lnTo>
                  <a:lnTo>
                    <a:pt x="18" y="12"/>
                  </a:lnTo>
                  <a:lnTo>
                    <a:pt x="15" y="9"/>
                  </a:lnTo>
                  <a:lnTo>
                    <a:pt x="12" y="0"/>
                  </a:lnTo>
                  <a:lnTo>
                    <a:pt x="9" y="3"/>
                  </a:lnTo>
                  <a:lnTo>
                    <a:pt x="9" y="9"/>
                  </a:lnTo>
                  <a:lnTo>
                    <a:pt x="3" y="18"/>
                  </a:lnTo>
                  <a:lnTo>
                    <a:pt x="0" y="20"/>
                  </a:lnTo>
                  <a:lnTo>
                    <a:pt x="3" y="35"/>
                  </a:lnTo>
                  <a:lnTo>
                    <a:pt x="6" y="46"/>
                  </a:lnTo>
                  <a:lnTo>
                    <a:pt x="9" y="61"/>
                  </a:lnTo>
                  <a:lnTo>
                    <a:pt x="12" y="81"/>
                  </a:lnTo>
                  <a:lnTo>
                    <a:pt x="9" y="95"/>
                  </a:lnTo>
                  <a:lnTo>
                    <a:pt x="9" y="107"/>
                  </a:lnTo>
                  <a:lnTo>
                    <a:pt x="9" y="115"/>
                  </a:lnTo>
                  <a:lnTo>
                    <a:pt x="9" y="118"/>
                  </a:lnTo>
                  <a:lnTo>
                    <a:pt x="12" y="135"/>
                  </a:lnTo>
                  <a:lnTo>
                    <a:pt x="12" y="147"/>
                  </a:lnTo>
                  <a:lnTo>
                    <a:pt x="15" y="152"/>
                  </a:lnTo>
                  <a:lnTo>
                    <a:pt x="12" y="158"/>
                  </a:lnTo>
                  <a:lnTo>
                    <a:pt x="12" y="161"/>
                  </a:lnTo>
                  <a:lnTo>
                    <a:pt x="12" y="164"/>
                  </a:lnTo>
                  <a:lnTo>
                    <a:pt x="15" y="173"/>
                  </a:lnTo>
                  <a:lnTo>
                    <a:pt x="15" y="178"/>
                  </a:lnTo>
                  <a:lnTo>
                    <a:pt x="12" y="193"/>
                  </a:lnTo>
                  <a:lnTo>
                    <a:pt x="15" y="198"/>
                  </a:lnTo>
                  <a:lnTo>
                    <a:pt x="12" y="210"/>
                  </a:lnTo>
                  <a:lnTo>
                    <a:pt x="9" y="218"/>
                  </a:lnTo>
                  <a:lnTo>
                    <a:pt x="9" y="221"/>
                  </a:lnTo>
                  <a:lnTo>
                    <a:pt x="9" y="224"/>
                  </a:lnTo>
                  <a:lnTo>
                    <a:pt x="15" y="230"/>
                  </a:lnTo>
                  <a:lnTo>
                    <a:pt x="18" y="233"/>
                  </a:lnTo>
                  <a:lnTo>
                    <a:pt x="15" y="247"/>
                  </a:lnTo>
                  <a:lnTo>
                    <a:pt x="12" y="250"/>
                  </a:lnTo>
                  <a:lnTo>
                    <a:pt x="15" y="256"/>
                  </a:lnTo>
                  <a:lnTo>
                    <a:pt x="18" y="267"/>
                  </a:lnTo>
                  <a:lnTo>
                    <a:pt x="23" y="276"/>
                  </a:lnTo>
                  <a:lnTo>
                    <a:pt x="23" y="285"/>
                  </a:lnTo>
                  <a:lnTo>
                    <a:pt x="26" y="293"/>
                  </a:lnTo>
                  <a:lnTo>
                    <a:pt x="26" y="307"/>
                  </a:lnTo>
                  <a:lnTo>
                    <a:pt x="29" y="313"/>
                  </a:lnTo>
                  <a:lnTo>
                    <a:pt x="29" y="316"/>
                  </a:lnTo>
                  <a:lnTo>
                    <a:pt x="26" y="319"/>
                  </a:lnTo>
                  <a:lnTo>
                    <a:pt x="23" y="322"/>
                  </a:lnTo>
                  <a:lnTo>
                    <a:pt x="23" y="325"/>
                  </a:lnTo>
                  <a:lnTo>
                    <a:pt x="26" y="328"/>
                  </a:lnTo>
                  <a:lnTo>
                    <a:pt x="29" y="333"/>
                  </a:lnTo>
                  <a:lnTo>
                    <a:pt x="26" y="348"/>
                  </a:lnTo>
                  <a:lnTo>
                    <a:pt x="23" y="351"/>
                  </a:lnTo>
                  <a:lnTo>
                    <a:pt x="23" y="356"/>
                  </a:lnTo>
                  <a:lnTo>
                    <a:pt x="23" y="362"/>
                  </a:lnTo>
                  <a:lnTo>
                    <a:pt x="26" y="368"/>
                  </a:lnTo>
                  <a:lnTo>
                    <a:pt x="23" y="371"/>
                  </a:lnTo>
                  <a:lnTo>
                    <a:pt x="23" y="379"/>
                  </a:lnTo>
                  <a:lnTo>
                    <a:pt x="23" y="382"/>
                  </a:lnTo>
                  <a:lnTo>
                    <a:pt x="23" y="385"/>
                  </a:lnTo>
                  <a:lnTo>
                    <a:pt x="18" y="382"/>
                  </a:lnTo>
                  <a:lnTo>
                    <a:pt x="18" y="379"/>
                  </a:lnTo>
                  <a:lnTo>
                    <a:pt x="18" y="382"/>
                  </a:lnTo>
                  <a:lnTo>
                    <a:pt x="20" y="391"/>
                  </a:lnTo>
                  <a:lnTo>
                    <a:pt x="23" y="396"/>
                  </a:lnTo>
                  <a:lnTo>
                    <a:pt x="26" y="405"/>
                  </a:lnTo>
                  <a:lnTo>
                    <a:pt x="29" y="411"/>
                  </a:lnTo>
                  <a:lnTo>
                    <a:pt x="35" y="422"/>
                  </a:lnTo>
                  <a:lnTo>
                    <a:pt x="38" y="431"/>
                  </a:lnTo>
                  <a:lnTo>
                    <a:pt x="35" y="434"/>
                  </a:lnTo>
                  <a:lnTo>
                    <a:pt x="35" y="437"/>
                  </a:lnTo>
                  <a:lnTo>
                    <a:pt x="38" y="454"/>
                  </a:lnTo>
                  <a:lnTo>
                    <a:pt x="40" y="463"/>
                  </a:lnTo>
                  <a:lnTo>
                    <a:pt x="46" y="471"/>
                  </a:lnTo>
                  <a:lnTo>
                    <a:pt x="43" y="471"/>
                  </a:lnTo>
                  <a:lnTo>
                    <a:pt x="40" y="474"/>
                  </a:lnTo>
                  <a:lnTo>
                    <a:pt x="46" y="485"/>
                  </a:lnTo>
                  <a:lnTo>
                    <a:pt x="46" y="491"/>
                  </a:lnTo>
                  <a:lnTo>
                    <a:pt x="46" y="500"/>
                  </a:lnTo>
                  <a:lnTo>
                    <a:pt x="46" y="503"/>
                  </a:lnTo>
                  <a:lnTo>
                    <a:pt x="52" y="503"/>
                  </a:lnTo>
                  <a:lnTo>
                    <a:pt x="55" y="50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14" name="Freeform 717"/>
            <p:cNvSpPr>
              <a:spLocks/>
            </p:cNvSpPr>
            <p:nvPr/>
          </p:nvSpPr>
          <p:spPr bwMode="auto">
            <a:xfrm>
              <a:off x="2560638" y="4632325"/>
              <a:ext cx="234950" cy="263525"/>
            </a:xfrm>
            <a:custGeom>
              <a:avLst/>
              <a:gdLst>
                <a:gd name="T0" fmla="*/ 2147483647 w 146"/>
                <a:gd name="T1" fmla="*/ 2147483647 h 164"/>
                <a:gd name="T2" fmla="*/ 2147483647 w 146"/>
                <a:gd name="T3" fmla="*/ 2147483647 h 164"/>
                <a:gd name="T4" fmla="*/ 2147483647 w 146"/>
                <a:gd name="T5" fmla="*/ 2147483647 h 164"/>
                <a:gd name="T6" fmla="*/ 2147483647 w 146"/>
                <a:gd name="T7" fmla="*/ 2147483647 h 164"/>
                <a:gd name="T8" fmla="*/ 2147483647 w 146"/>
                <a:gd name="T9" fmla="*/ 2147483647 h 164"/>
                <a:gd name="T10" fmla="*/ 2147483647 w 146"/>
                <a:gd name="T11" fmla="*/ 2147483647 h 164"/>
                <a:gd name="T12" fmla="*/ 2147483647 w 146"/>
                <a:gd name="T13" fmla="*/ 2147483647 h 164"/>
                <a:gd name="T14" fmla="*/ 2147483647 w 146"/>
                <a:gd name="T15" fmla="*/ 2147483647 h 164"/>
                <a:gd name="T16" fmla="*/ 2147483647 w 146"/>
                <a:gd name="T17" fmla="*/ 0 h 164"/>
                <a:gd name="T18" fmla="*/ 2147483647 w 146"/>
                <a:gd name="T19" fmla="*/ 2147483647 h 164"/>
                <a:gd name="T20" fmla="*/ 2147483647 w 146"/>
                <a:gd name="T21" fmla="*/ 2147483647 h 164"/>
                <a:gd name="T22" fmla="*/ 2147483647 w 146"/>
                <a:gd name="T23" fmla="*/ 2147483647 h 164"/>
                <a:gd name="T24" fmla="*/ 0 w 146"/>
                <a:gd name="T25" fmla="*/ 2147483647 h 164"/>
                <a:gd name="T26" fmla="*/ 2147483647 w 146"/>
                <a:gd name="T27" fmla="*/ 2147483647 h 164"/>
                <a:gd name="T28" fmla="*/ 2147483647 w 146"/>
                <a:gd name="T29" fmla="*/ 2147483647 h 164"/>
                <a:gd name="T30" fmla="*/ 2147483647 w 146"/>
                <a:gd name="T31" fmla="*/ 2147483647 h 164"/>
                <a:gd name="T32" fmla="*/ 2147483647 w 146"/>
                <a:gd name="T33" fmla="*/ 2147483647 h 164"/>
                <a:gd name="T34" fmla="*/ 2147483647 w 146"/>
                <a:gd name="T35" fmla="*/ 2147483647 h 164"/>
                <a:gd name="T36" fmla="*/ 2147483647 w 146"/>
                <a:gd name="T37" fmla="*/ 2147483647 h 164"/>
                <a:gd name="T38" fmla="*/ 2147483647 w 146"/>
                <a:gd name="T39" fmla="*/ 2147483647 h 164"/>
                <a:gd name="T40" fmla="*/ 2147483647 w 146"/>
                <a:gd name="T41" fmla="*/ 2147483647 h 164"/>
                <a:gd name="T42" fmla="*/ 2147483647 w 146"/>
                <a:gd name="T43" fmla="*/ 2147483647 h 164"/>
                <a:gd name="T44" fmla="*/ 2147483647 w 146"/>
                <a:gd name="T45" fmla="*/ 2147483647 h 164"/>
                <a:gd name="T46" fmla="*/ 2147483647 w 146"/>
                <a:gd name="T47" fmla="*/ 2147483647 h 164"/>
                <a:gd name="T48" fmla="*/ 2147483647 w 146"/>
                <a:gd name="T49" fmla="*/ 2147483647 h 164"/>
                <a:gd name="T50" fmla="*/ 2147483647 w 146"/>
                <a:gd name="T51" fmla="*/ 2147483647 h 164"/>
                <a:gd name="T52" fmla="*/ 2147483647 w 146"/>
                <a:gd name="T53" fmla="*/ 2147483647 h 164"/>
                <a:gd name="T54" fmla="*/ 2147483647 w 146"/>
                <a:gd name="T55" fmla="*/ 2147483647 h 164"/>
                <a:gd name="T56" fmla="*/ 2147483647 w 146"/>
                <a:gd name="T57" fmla="*/ 2147483647 h 164"/>
                <a:gd name="T58" fmla="*/ 2147483647 w 146"/>
                <a:gd name="T59" fmla="*/ 2147483647 h 164"/>
                <a:gd name="T60" fmla="*/ 2147483647 w 146"/>
                <a:gd name="T61" fmla="*/ 2147483647 h 164"/>
                <a:gd name="T62" fmla="*/ 2147483647 w 146"/>
                <a:gd name="T63" fmla="*/ 2147483647 h 164"/>
                <a:gd name="T64" fmla="*/ 2147483647 w 146"/>
                <a:gd name="T65" fmla="*/ 2147483647 h 164"/>
                <a:gd name="T66" fmla="*/ 2147483647 w 146"/>
                <a:gd name="T67" fmla="*/ 2147483647 h 164"/>
                <a:gd name="T68" fmla="*/ 2147483647 w 146"/>
                <a:gd name="T69" fmla="*/ 2147483647 h 164"/>
                <a:gd name="T70" fmla="*/ 2147483647 w 146"/>
                <a:gd name="T71" fmla="*/ 2147483647 h 164"/>
                <a:gd name="T72" fmla="*/ 2147483647 w 146"/>
                <a:gd name="T73" fmla="*/ 2147483647 h 164"/>
                <a:gd name="T74" fmla="*/ 2147483647 w 146"/>
                <a:gd name="T75" fmla="*/ 2147483647 h 164"/>
                <a:gd name="T76" fmla="*/ 2147483647 w 146"/>
                <a:gd name="T77" fmla="*/ 2147483647 h 164"/>
                <a:gd name="T78" fmla="*/ 2147483647 w 146"/>
                <a:gd name="T79" fmla="*/ 2147483647 h 164"/>
                <a:gd name="T80" fmla="*/ 2147483647 w 146"/>
                <a:gd name="T81" fmla="*/ 2147483647 h 164"/>
                <a:gd name="T82" fmla="*/ 2147483647 w 146"/>
                <a:gd name="T83" fmla="*/ 2147483647 h 164"/>
                <a:gd name="T84" fmla="*/ 2147483647 w 146"/>
                <a:gd name="T85" fmla="*/ 2147483647 h 164"/>
                <a:gd name="T86" fmla="*/ 2147483647 w 146"/>
                <a:gd name="T87" fmla="*/ 2147483647 h 164"/>
                <a:gd name="T88" fmla="*/ 2147483647 w 146"/>
                <a:gd name="T89" fmla="*/ 2147483647 h 164"/>
                <a:gd name="T90" fmla="*/ 2147483647 w 146"/>
                <a:gd name="T91" fmla="*/ 2147483647 h 164"/>
                <a:gd name="T92" fmla="*/ 2147483647 w 146"/>
                <a:gd name="T93" fmla="*/ 2147483647 h 164"/>
                <a:gd name="T94" fmla="*/ 2147483647 w 146"/>
                <a:gd name="T95" fmla="*/ 2147483647 h 164"/>
                <a:gd name="T96" fmla="*/ 2147483647 w 146"/>
                <a:gd name="T97" fmla="*/ 2147483647 h 164"/>
                <a:gd name="T98" fmla="*/ 2147483647 w 146"/>
                <a:gd name="T99" fmla="*/ 2147483647 h 164"/>
                <a:gd name="T100" fmla="*/ 2147483647 w 146"/>
                <a:gd name="T101" fmla="*/ 2147483647 h 164"/>
                <a:gd name="T102" fmla="*/ 2147483647 w 146"/>
                <a:gd name="T103" fmla="*/ 2147483647 h 164"/>
                <a:gd name="T104" fmla="*/ 2147483647 w 146"/>
                <a:gd name="T105" fmla="*/ 2147483647 h 164"/>
                <a:gd name="T106" fmla="*/ 2147483647 w 146"/>
                <a:gd name="T107" fmla="*/ 2147483647 h 164"/>
                <a:gd name="T108" fmla="*/ 2147483647 w 146"/>
                <a:gd name="T109" fmla="*/ 2147483647 h 164"/>
                <a:gd name="T110" fmla="*/ 2147483647 w 146"/>
                <a:gd name="T111" fmla="*/ 2147483647 h 16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6"/>
                <a:gd name="T169" fmla="*/ 0 h 164"/>
                <a:gd name="T170" fmla="*/ 146 w 146"/>
                <a:gd name="T171" fmla="*/ 164 h 16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6" h="164">
                  <a:moveTo>
                    <a:pt x="78" y="31"/>
                  </a:moveTo>
                  <a:lnTo>
                    <a:pt x="78" y="31"/>
                  </a:lnTo>
                  <a:lnTo>
                    <a:pt x="75" y="31"/>
                  </a:lnTo>
                  <a:lnTo>
                    <a:pt x="72" y="31"/>
                  </a:lnTo>
                  <a:lnTo>
                    <a:pt x="72" y="29"/>
                  </a:lnTo>
                  <a:lnTo>
                    <a:pt x="72" y="23"/>
                  </a:lnTo>
                  <a:lnTo>
                    <a:pt x="72" y="17"/>
                  </a:lnTo>
                  <a:lnTo>
                    <a:pt x="69" y="14"/>
                  </a:lnTo>
                  <a:lnTo>
                    <a:pt x="55" y="3"/>
                  </a:lnTo>
                  <a:lnTo>
                    <a:pt x="49" y="0"/>
                  </a:lnTo>
                  <a:lnTo>
                    <a:pt x="32" y="6"/>
                  </a:lnTo>
                  <a:lnTo>
                    <a:pt x="12" y="11"/>
                  </a:lnTo>
                  <a:lnTo>
                    <a:pt x="6" y="26"/>
                  </a:lnTo>
                  <a:lnTo>
                    <a:pt x="6" y="43"/>
                  </a:lnTo>
                  <a:lnTo>
                    <a:pt x="0" y="57"/>
                  </a:lnTo>
                  <a:lnTo>
                    <a:pt x="9" y="66"/>
                  </a:lnTo>
                  <a:lnTo>
                    <a:pt x="17" y="75"/>
                  </a:lnTo>
                  <a:lnTo>
                    <a:pt x="37" y="92"/>
                  </a:lnTo>
                  <a:lnTo>
                    <a:pt x="49" y="97"/>
                  </a:lnTo>
                  <a:lnTo>
                    <a:pt x="55" y="97"/>
                  </a:lnTo>
                  <a:lnTo>
                    <a:pt x="63" y="103"/>
                  </a:lnTo>
                  <a:lnTo>
                    <a:pt x="80" y="112"/>
                  </a:lnTo>
                  <a:lnTo>
                    <a:pt x="95" y="118"/>
                  </a:lnTo>
                  <a:lnTo>
                    <a:pt x="98" y="118"/>
                  </a:lnTo>
                  <a:lnTo>
                    <a:pt x="98" y="120"/>
                  </a:lnTo>
                  <a:lnTo>
                    <a:pt x="95" y="129"/>
                  </a:lnTo>
                  <a:lnTo>
                    <a:pt x="92" y="132"/>
                  </a:lnTo>
                  <a:lnTo>
                    <a:pt x="89" y="135"/>
                  </a:lnTo>
                  <a:lnTo>
                    <a:pt x="89" y="138"/>
                  </a:lnTo>
                  <a:lnTo>
                    <a:pt x="86" y="141"/>
                  </a:lnTo>
                  <a:lnTo>
                    <a:pt x="89" y="149"/>
                  </a:lnTo>
                  <a:lnTo>
                    <a:pt x="83" y="155"/>
                  </a:lnTo>
                  <a:lnTo>
                    <a:pt x="121" y="164"/>
                  </a:lnTo>
                  <a:lnTo>
                    <a:pt x="124" y="158"/>
                  </a:lnTo>
                  <a:lnTo>
                    <a:pt x="129" y="161"/>
                  </a:lnTo>
                  <a:lnTo>
                    <a:pt x="132" y="155"/>
                  </a:lnTo>
                  <a:lnTo>
                    <a:pt x="144" y="141"/>
                  </a:lnTo>
                  <a:lnTo>
                    <a:pt x="144" y="138"/>
                  </a:lnTo>
                  <a:lnTo>
                    <a:pt x="141" y="129"/>
                  </a:lnTo>
                  <a:lnTo>
                    <a:pt x="141" y="126"/>
                  </a:lnTo>
                  <a:lnTo>
                    <a:pt x="141" y="120"/>
                  </a:lnTo>
                  <a:lnTo>
                    <a:pt x="146" y="112"/>
                  </a:lnTo>
                  <a:lnTo>
                    <a:pt x="146" y="109"/>
                  </a:lnTo>
                  <a:lnTo>
                    <a:pt x="144" y="95"/>
                  </a:lnTo>
                  <a:lnTo>
                    <a:pt x="141" y="92"/>
                  </a:lnTo>
                  <a:lnTo>
                    <a:pt x="138" y="95"/>
                  </a:lnTo>
                  <a:lnTo>
                    <a:pt x="135" y="95"/>
                  </a:lnTo>
                  <a:lnTo>
                    <a:pt x="129" y="97"/>
                  </a:lnTo>
                  <a:lnTo>
                    <a:pt x="126" y="97"/>
                  </a:lnTo>
                  <a:lnTo>
                    <a:pt x="124" y="95"/>
                  </a:lnTo>
                  <a:lnTo>
                    <a:pt x="121" y="89"/>
                  </a:lnTo>
                  <a:lnTo>
                    <a:pt x="121" y="77"/>
                  </a:lnTo>
                  <a:lnTo>
                    <a:pt x="112" y="69"/>
                  </a:lnTo>
                  <a:lnTo>
                    <a:pt x="106" y="63"/>
                  </a:lnTo>
                  <a:lnTo>
                    <a:pt x="101" y="63"/>
                  </a:lnTo>
                  <a:lnTo>
                    <a:pt x="95" y="60"/>
                  </a:lnTo>
                  <a:lnTo>
                    <a:pt x="92" y="57"/>
                  </a:lnTo>
                  <a:lnTo>
                    <a:pt x="83" y="46"/>
                  </a:lnTo>
                  <a:lnTo>
                    <a:pt x="78" y="40"/>
                  </a:lnTo>
                  <a:lnTo>
                    <a:pt x="78" y="34"/>
                  </a:lnTo>
                  <a:lnTo>
                    <a:pt x="78" y="3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15" name="Rectangle 718"/>
            <p:cNvSpPr>
              <a:spLocks noChangeArrowheads="1"/>
            </p:cNvSpPr>
            <p:nvPr/>
          </p:nvSpPr>
          <p:spPr bwMode="auto">
            <a:xfrm>
              <a:off x="2403475" y="5392738"/>
              <a:ext cx="4763" cy="3175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16" name="Freeform 719"/>
            <p:cNvSpPr>
              <a:spLocks/>
            </p:cNvSpPr>
            <p:nvPr/>
          </p:nvSpPr>
          <p:spPr bwMode="auto">
            <a:xfrm>
              <a:off x="2349500" y="4341813"/>
              <a:ext cx="331788" cy="401637"/>
            </a:xfrm>
            <a:custGeom>
              <a:avLst/>
              <a:gdLst>
                <a:gd name="T0" fmla="*/ 2147483647 w 207"/>
                <a:gd name="T1" fmla="*/ 0 h 250"/>
                <a:gd name="T2" fmla="*/ 2147483647 w 207"/>
                <a:gd name="T3" fmla="*/ 2147483647 h 250"/>
                <a:gd name="T4" fmla="*/ 2147483647 w 207"/>
                <a:gd name="T5" fmla="*/ 2147483647 h 250"/>
                <a:gd name="T6" fmla="*/ 2147483647 w 207"/>
                <a:gd name="T7" fmla="*/ 2147483647 h 250"/>
                <a:gd name="T8" fmla="*/ 2147483647 w 207"/>
                <a:gd name="T9" fmla="*/ 2147483647 h 250"/>
                <a:gd name="T10" fmla="*/ 0 w 207"/>
                <a:gd name="T11" fmla="*/ 2147483647 h 250"/>
                <a:gd name="T12" fmla="*/ 2147483647 w 207"/>
                <a:gd name="T13" fmla="*/ 2147483647 h 250"/>
                <a:gd name="T14" fmla="*/ 2147483647 w 207"/>
                <a:gd name="T15" fmla="*/ 2147483647 h 250"/>
                <a:gd name="T16" fmla="*/ 2147483647 w 207"/>
                <a:gd name="T17" fmla="*/ 2147483647 h 250"/>
                <a:gd name="T18" fmla="*/ 2147483647 w 207"/>
                <a:gd name="T19" fmla="*/ 2147483647 h 250"/>
                <a:gd name="T20" fmla="*/ 2147483647 w 207"/>
                <a:gd name="T21" fmla="*/ 2147483647 h 250"/>
                <a:gd name="T22" fmla="*/ 2147483647 w 207"/>
                <a:gd name="T23" fmla="*/ 2147483647 h 250"/>
                <a:gd name="T24" fmla="*/ 2147483647 w 207"/>
                <a:gd name="T25" fmla="*/ 2147483647 h 250"/>
                <a:gd name="T26" fmla="*/ 2147483647 w 207"/>
                <a:gd name="T27" fmla="*/ 2147483647 h 250"/>
                <a:gd name="T28" fmla="*/ 2147483647 w 207"/>
                <a:gd name="T29" fmla="*/ 2147483647 h 250"/>
                <a:gd name="T30" fmla="*/ 2147483647 w 207"/>
                <a:gd name="T31" fmla="*/ 2147483647 h 250"/>
                <a:gd name="T32" fmla="*/ 2147483647 w 207"/>
                <a:gd name="T33" fmla="*/ 2147483647 h 250"/>
                <a:gd name="T34" fmla="*/ 2147483647 w 207"/>
                <a:gd name="T35" fmla="*/ 2147483647 h 250"/>
                <a:gd name="T36" fmla="*/ 2147483647 w 207"/>
                <a:gd name="T37" fmla="*/ 2147483647 h 250"/>
                <a:gd name="T38" fmla="*/ 2147483647 w 207"/>
                <a:gd name="T39" fmla="*/ 2147483647 h 250"/>
                <a:gd name="T40" fmla="*/ 2147483647 w 207"/>
                <a:gd name="T41" fmla="*/ 2147483647 h 250"/>
                <a:gd name="T42" fmla="*/ 2147483647 w 207"/>
                <a:gd name="T43" fmla="*/ 2147483647 h 250"/>
                <a:gd name="T44" fmla="*/ 2147483647 w 207"/>
                <a:gd name="T45" fmla="*/ 2147483647 h 250"/>
                <a:gd name="T46" fmla="*/ 2147483647 w 207"/>
                <a:gd name="T47" fmla="*/ 2147483647 h 250"/>
                <a:gd name="T48" fmla="*/ 2147483647 w 207"/>
                <a:gd name="T49" fmla="*/ 2147483647 h 250"/>
                <a:gd name="T50" fmla="*/ 2147483647 w 207"/>
                <a:gd name="T51" fmla="*/ 2147483647 h 250"/>
                <a:gd name="T52" fmla="*/ 2147483647 w 207"/>
                <a:gd name="T53" fmla="*/ 2147483647 h 250"/>
                <a:gd name="T54" fmla="*/ 2147483647 w 207"/>
                <a:gd name="T55" fmla="*/ 2147483647 h 250"/>
                <a:gd name="T56" fmla="*/ 2147483647 w 207"/>
                <a:gd name="T57" fmla="*/ 2147483647 h 250"/>
                <a:gd name="T58" fmla="*/ 2147483647 w 207"/>
                <a:gd name="T59" fmla="*/ 2147483647 h 250"/>
                <a:gd name="T60" fmla="*/ 2147483647 w 207"/>
                <a:gd name="T61" fmla="*/ 2147483647 h 250"/>
                <a:gd name="T62" fmla="*/ 2147483647 w 207"/>
                <a:gd name="T63" fmla="*/ 2147483647 h 250"/>
                <a:gd name="T64" fmla="*/ 2147483647 w 207"/>
                <a:gd name="T65" fmla="*/ 2147483647 h 250"/>
                <a:gd name="T66" fmla="*/ 2147483647 w 207"/>
                <a:gd name="T67" fmla="*/ 2147483647 h 250"/>
                <a:gd name="T68" fmla="*/ 2147483647 w 207"/>
                <a:gd name="T69" fmla="*/ 2147483647 h 250"/>
                <a:gd name="T70" fmla="*/ 2147483647 w 207"/>
                <a:gd name="T71" fmla="*/ 2147483647 h 250"/>
                <a:gd name="T72" fmla="*/ 2147483647 w 207"/>
                <a:gd name="T73" fmla="*/ 2147483647 h 250"/>
                <a:gd name="T74" fmla="*/ 2147483647 w 207"/>
                <a:gd name="T75" fmla="*/ 2147483647 h 250"/>
                <a:gd name="T76" fmla="*/ 2147483647 w 207"/>
                <a:gd name="T77" fmla="*/ 2147483647 h 250"/>
                <a:gd name="T78" fmla="*/ 2147483647 w 207"/>
                <a:gd name="T79" fmla="*/ 2147483647 h 250"/>
                <a:gd name="T80" fmla="*/ 2147483647 w 207"/>
                <a:gd name="T81" fmla="*/ 2147483647 h 250"/>
                <a:gd name="T82" fmla="*/ 2147483647 w 207"/>
                <a:gd name="T83" fmla="*/ 2147483647 h 250"/>
                <a:gd name="T84" fmla="*/ 2147483647 w 207"/>
                <a:gd name="T85" fmla="*/ 2147483647 h 250"/>
                <a:gd name="T86" fmla="*/ 2147483647 w 207"/>
                <a:gd name="T87" fmla="*/ 2147483647 h 250"/>
                <a:gd name="T88" fmla="*/ 2147483647 w 207"/>
                <a:gd name="T89" fmla="*/ 2147483647 h 250"/>
                <a:gd name="T90" fmla="*/ 2147483647 w 207"/>
                <a:gd name="T91" fmla="*/ 2147483647 h 250"/>
                <a:gd name="T92" fmla="*/ 2147483647 w 207"/>
                <a:gd name="T93" fmla="*/ 2147483647 h 250"/>
                <a:gd name="T94" fmla="*/ 2147483647 w 207"/>
                <a:gd name="T95" fmla="*/ 2147483647 h 250"/>
                <a:gd name="T96" fmla="*/ 2147483647 w 207"/>
                <a:gd name="T97" fmla="*/ 2147483647 h 250"/>
                <a:gd name="T98" fmla="*/ 2147483647 w 207"/>
                <a:gd name="T99" fmla="*/ 2147483647 h 250"/>
                <a:gd name="T100" fmla="*/ 2147483647 w 207"/>
                <a:gd name="T101" fmla="*/ 2147483647 h 250"/>
                <a:gd name="T102" fmla="*/ 2147483647 w 207"/>
                <a:gd name="T103" fmla="*/ 2147483647 h 250"/>
                <a:gd name="T104" fmla="*/ 2147483647 w 207"/>
                <a:gd name="T105" fmla="*/ 2147483647 h 250"/>
                <a:gd name="T106" fmla="*/ 2147483647 w 207"/>
                <a:gd name="T107" fmla="*/ 2147483647 h 250"/>
                <a:gd name="T108" fmla="*/ 2147483647 w 207"/>
                <a:gd name="T109" fmla="*/ 2147483647 h 250"/>
                <a:gd name="T110" fmla="*/ 2147483647 w 207"/>
                <a:gd name="T111" fmla="*/ 2147483647 h 250"/>
                <a:gd name="T112" fmla="*/ 2147483647 w 207"/>
                <a:gd name="T113" fmla="*/ 2147483647 h 250"/>
                <a:gd name="T114" fmla="*/ 2147483647 w 207"/>
                <a:gd name="T115" fmla="*/ 2147483647 h 250"/>
                <a:gd name="T116" fmla="*/ 2147483647 w 207"/>
                <a:gd name="T117" fmla="*/ 2147483647 h 250"/>
                <a:gd name="T118" fmla="*/ 2147483647 w 207"/>
                <a:gd name="T119" fmla="*/ 2147483647 h 250"/>
                <a:gd name="T120" fmla="*/ 2147483647 w 207"/>
                <a:gd name="T121" fmla="*/ 2147483647 h 250"/>
                <a:gd name="T122" fmla="*/ 2147483647 w 207"/>
                <a:gd name="T123" fmla="*/ 0 h 25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07"/>
                <a:gd name="T187" fmla="*/ 0 h 250"/>
                <a:gd name="T188" fmla="*/ 207 w 207"/>
                <a:gd name="T189" fmla="*/ 250 h 25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07" h="250">
                  <a:moveTo>
                    <a:pt x="63" y="0"/>
                  </a:moveTo>
                  <a:lnTo>
                    <a:pt x="63" y="0"/>
                  </a:lnTo>
                  <a:lnTo>
                    <a:pt x="43" y="3"/>
                  </a:lnTo>
                  <a:lnTo>
                    <a:pt x="32" y="9"/>
                  </a:lnTo>
                  <a:lnTo>
                    <a:pt x="23" y="17"/>
                  </a:lnTo>
                  <a:lnTo>
                    <a:pt x="14" y="26"/>
                  </a:lnTo>
                  <a:lnTo>
                    <a:pt x="6" y="26"/>
                  </a:lnTo>
                  <a:lnTo>
                    <a:pt x="0" y="26"/>
                  </a:lnTo>
                  <a:lnTo>
                    <a:pt x="12" y="55"/>
                  </a:lnTo>
                  <a:lnTo>
                    <a:pt x="9" y="60"/>
                  </a:lnTo>
                  <a:lnTo>
                    <a:pt x="9" y="69"/>
                  </a:lnTo>
                  <a:lnTo>
                    <a:pt x="12" y="80"/>
                  </a:lnTo>
                  <a:lnTo>
                    <a:pt x="12" y="83"/>
                  </a:lnTo>
                  <a:lnTo>
                    <a:pt x="9" y="92"/>
                  </a:lnTo>
                  <a:lnTo>
                    <a:pt x="6" y="98"/>
                  </a:lnTo>
                  <a:lnTo>
                    <a:pt x="9" y="103"/>
                  </a:lnTo>
                  <a:lnTo>
                    <a:pt x="3" y="109"/>
                  </a:lnTo>
                  <a:lnTo>
                    <a:pt x="9" y="121"/>
                  </a:lnTo>
                  <a:lnTo>
                    <a:pt x="17" y="123"/>
                  </a:lnTo>
                  <a:lnTo>
                    <a:pt x="6" y="144"/>
                  </a:lnTo>
                  <a:lnTo>
                    <a:pt x="6" y="146"/>
                  </a:lnTo>
                  <a:lnTo>
                    <a:pt x="12" y="155"/>
                  </a:lnTo>
                  <a:lnTo>
                    <a:pt x="14" y="158"/>
                  </a:lnTo>
                  <a:lnTo>
                    <a:pt x="20" y="175"/>
                  </a:lnTo>
                  <a:lnTo>
                    <a:pt x="29" y="184"/>
                  </a:lnTo>
                  <a:lnTo>
                    <a:pt x="29" y="187"/>
                  </a:lnTo>
                  <a:lnTo>
                    <a:pt x="26" y="192"/>
                  </a:lnTo>
                  <a:lnTo>
                    <a:pt x="29" y="198"/>
                  </a:lnTo>
                  <a:lnTo>
                    <a:pt x="26" y="201"/>
                  </a:lnTo>
                  <a:lnTo>
                    <a:pt x="26" y="204"/>
                  </a:lnTo>
                  <a:lnTo>
                    <a:pt x="29" y="207"/>
                  </a:lnTo>
                  <a:lnTo>
                    <a:pt x="32" y="210"/>
                  </a:lnTo>
                  <a:lnTo>
                    <a:pt x="32" y="212"/>
                  </a:lnTo>
                  <a:lnTo>
                    <a:pt x="34" y="218"/>
                  </a:lnTo>
                  <a:lnTo>
                    <a:pt x="37" y="221"/>
                  </a:lnTo>
                  <a:lnTo>
                    <a:pt x="40" y="235"/>
                  </a:lnTo>
                  <a:lnTo>
                    <a:pt x="46" y="241"/>
                  </a:lnTo>
                  <a:lnTo>
                    <a:pt x="46" y="250"/>
                  </a:lnTo>
                  <a:lnTo>
                    <a:pt x="57" y="250"/>
                  </a:lnTo>
                  <a:lnTo>
                    <a:pt x="63" y="241"/>
                  </a:lnTo>
                  <a:lnTo>
                    <a:pt x="72" y="230"/>
                  </a:lnTo>
                  <a:lnTo>
                    <a:pt x="83" y="235"/>
                  </a:lnTo>
                  <a:lnTo>
                    <a:pt x="101" y="241"/>
                  </a:lnTo>
                  <a:lnTo>
                    <a:pt x="103" y="247"/>
                  </a:lnTo>
                  <a:lnTo>
                    <a:pt x="112" y="235"/>
                  </a:lnTo>
                  <a:lnTo>
                    <a:pt x="129" y="235"/>
                  </a:lnTo>
                  <a:lnTo>
                    <a:pt x="135" y="221"/>
                  </a:lnTo>
                  <a:lnTo>
                    <a:pt x="132" y="207"/>
                  </a:lnTo>
                  <a:lnTo>
                    <a:pt x="141" y="189"/>
                  </a:lnTo>
                  <a:lnTo>
                    <a:pt x="164" y="184"/>
                  </a:lnTo>
                  <a:lnTo>
                    <a:pt x="181" y="178"/>
                  </a:lnTo>
                  <a:lnTo>
                    <a:pt x="187" y="181"/>
                  </a:lnTo>
                  <a:lnTo>
                    <a:pt x="204" y="192"/>
                  </a:lnTo>
                  <a:lnTo>
                    <a:pt x="207" y="181"/>
                  </a:lnTo>
                  <a:lnTo>
                    <a:pt x="207" y="167"/>
                  </a:lnTo>
                  <a:lnTo>
                    <a:pt x="207" y="164"/>
                  </a:lnTo>
                  <a:lnTo>
                    <a:pt x="204" y="155"/>
                  </a:lnTo>
                  <a:lnTo>
                    <a:pt x="201" y="152"/>
                  </a:lnTo>
                  <a:lnTo>
                    <a:pt x="192" y="146"/>
                  </a:lnTo>
                  <a:lnTo>
                    <a:pt x="189" y="144"/>
                  </a:lnTo>
                  <a:lnTo>
                    <a:pt x="189" y="138"/>
                  </a:lnTo>
                  <a:lnTo>
                    <a:pt x="189" y="129"/>
                  </a:lnTo>
                  <a:lnTo>
                    <a:pt x="158" y="126"/>
                  </a:lnTo>
                  <a:lnTo>
                    <a:pt x="155" y="106"/>
                  </a:lnTo>
                  <a:lnTo>
                    <a:pt x="158" y="100"/>
                  </a:lnTo>
                  <a:lnTo>
                    <a:pt x="152" y="95"/>
                  </a:lnTo>
                  <a:lnTo>
                    <a:pt x="152" y="86"/>
                  </a:lnTo>
                  <a:lnTo>
                    <a:pt x="149" y="80"/>
                  </a:lnTo>
                  <a:lnTo>
                    <a:pt x="146" y="78"/>
                  </a:lnTo>
                  <a:lnTo>
                    <a:pt x="144" y="75"/>
                  </a:lnTo>
                  <a:lnTo>
                    <a:pt x="141" y="75"/>
                  </a:lnTo>
                  <a:lnTo>
                    <a:pt x="121" y="69"/>
                  </a:lnTo>
                  <a:lnTo>
                    <a:pt x="101" y="55"/>
                  </a:lnTo>
                  <a:lnTo>
                    <a:pt x="89" y="52"/>
                  </a:lnTo>
                  <a:lnTo>
                    <a:pt x="80" y="49"/>
                  </a:lnTo>
                  <a:lnTo>
                    <a:pt x="72" y="43"/>
                  </a:lnTo>
                  <a:lnTo>
                    <a:pt x="66" y="32"/>
                  </a:lnTo>
                  <a:lnTo>
                    <a:pt x="63" y="20"/>
                  </a:lnTo>
                  <a:lnTo>
                    <a:pt x="63" y="14"/>
                  </a:lnTo>
                  <a:lnTo>
                    <a:pt x="6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17" name="Freeform 720"/>
            <p:cNvSpPr>
              <a:spLocks/>
            </p:cNvSpPr>
            <p:nvPr/>
          </p:nvSpPr>
          <p:spPr bwMode="auto">
            <a:xfrm>
              <a:off x="2005013" y="4038600"/>
              <a:ext cx="363537" cy="566738"/>
            </a:xfrm>
            <a:custGeom>
              <a:avLst/>
              <a:gdLst>
                <a:gd name="T0" fmla="*/ 2147483647 w 227"/>
                <a:gd name="T1" fmla="*/ 2147483647 h 353"/>
                <a:gd name="T2" fmla="*/ 2147483647 w 227"/>
                <a:gd name="T3" fmla="*/ 2147483647 h 353"/>
                <a:gd name="T4" fmla="*/ 2147483647 w 227"/>
                <a:gd name="T5" fmla="*/ 2147483647 h 353"/>
                <a:gd name="T6" fmla="*/ 2147483647 w 227"/>
                <a:gd name="T7" fmla="*/ 2147483647 h 353"/>
                <a:gd name="T8" fmla="*/ 2147483647 w 227"/>
                <a:gd name="T9" fmla="*/ 2147483647 h 353"/>
                <a:gd name="T10" fmla="*/ 2147483647 w 227"/>
                <a:gd name="T11" fmla="*/ 2147483647 h 353"/>
                <a:gd name="T12" fmla="*/ 2147483647 w 227"/>
                <a:gd name="T13" fmla="*/ 2147483647 h 353"/>
                <a:gd name="T14" fmla="*/ 2147483647 w 227"/>
                <a:gd name="T15" fmla="*/ 2147483647 h 353"/>
                <a:gd name="T16" fmla="*/ 2147483647 w 227"/>
                <a:gd name="T17" fmla="*/ 2147483647 h 353"/>
                <a:gd name="T18" fmla="*/ 2147483647 w 227"/>
                <a:gd name="T19" fmla="*/ 2147483647 h 353"/>
                <a:gd name="T20" fmla="*/ 2147483647 w 227"/>
                <a:gd name="T21" fmla="*/ 2147483647 h 353"/>
                <a:gd name="T22" fmla="*/ 2147483647 w 227"/>
                <a:gd name="T23" fmla="*/ 2147483647 h 353"/>
                <a:gd name="T24" fmla="*/ 2147483647 w 227"/>
                <a:gd name="T25" fmla="*/ 2147483647 h 353"/>
                <a:gd name="T26" fmla="*/ 2147483647 w 227"/>
                <a:gd name="T27" fmla="*/ 2147483647 h 353"/>
                <a:gd name="T28" fmla="*/ 2147483647 w 227"/>
                <a:gd name="T29" fmla="*/ 2147483647 h 353"/>
                <a:gd name="T30" fmla="*/ 2147483647 w 227"/>
                <a:gd name="T31" fmla="*/ 2147483647 h 353"/>
                <a:gd name="T32" fmla="*/ 2147483647 w 227"/>
                <a:gd name="T33" fmla="*/ 2147483647 h 353"/>
                <a:gd name="T34" fmla="*/ 2147483647 w 227"/>
                <a:gd name="T35" fmla="*/ 2147483647 h 353"/>
                <a:gd name="T36" fmla="*/ 2147483647 w 227"/>
                <a:gd name="T37" fmla="*/ 2147483647 h 353"/>
                <a:gd name="T38" fmla="*/ 2147483647 w 227"/>
                <a:gd name="T39" fmla="*/ 2147483647 h 353"/>
                <a:gd name="T40" fmla="*/ 2147483647 w 227"/>
                <a:gd name="T41" fmla="*/ 2147483647 h 353"/>
                <a:gd name="T42" fmla="*/ 2147483647 w 227"/>
                <a:gd name="T43" fmla="*/ 2147483647 h 353"/>
                <a:gd name="T44" fmla="*/ 2147483647 w 227"/>
                <a:gd name="T45" fmla="*/ 2147483647 h 353"/>
                <a:gd name="T46" fmla="*/ 2147483647 w 227"/>
                <a:gd name="T47" fmla="*/ 2147483647 h 353"/>
                <a:gd name="T48" fmla="*/ 2147483647 w 227"/>
                <a:gd name="T49" fmla="*/ 2147483647 h 353"/>
                <a:gd name="T50" fmla="*/ 2147483647 w 227"/>
                <a:gd name="T51" fmla="*/ 2147483647 h 353"/>
                <a:gd name="T52" fmla="*/ 2147483647 w 227"/>
                <a:gd name="T53" fmla="*/ 2147483647 h 353"/>
                <a:gd name="T54" fmla="*/ 2147483647 w 227"/>
                <a:gd name="T55" fmla="*/ 2147483647 h 353"/>
                <a:gd name="T56" fmla="*/ 2147483647 w 227"/>
                <a:gd name="T57" fmla="*/ 2147483647 h 353"/>
                <a:gd name="T58" fmla="*/ 2147483647 w 227"/>
                <a:gd name="T59" fmla="*/ 2147483647 h 353"/>
                <a:gd name="T60" fmla="*/ 2147483647 w 227"/>
                <a:gd name="T61" fmla="*/ 2147483647 h 353"/>
                <a:gd name="T62" fmla="*/ 2147483647 w 227"/>
                <a:gd name="T63" fmla="*/ 2147483647 h 353"/>
                <a:gd name="T64" fmla="*/ 2147483647 w 227"/>
                <a:gd name="T65" fmla="*/ 2147483647 h 353"/>
                <a:gd name="T66" fmla="*/ 2147483647 w 227"/>
                <a:gd name="T67" fmla="*/ 2147483647 h 353"/>
                <a:gd name="T68" fmla="*/ 0 w 227"/>
                <a:gd name="T69" fmla="*/ 2147483647 h 353"/>
                <a:gd name="T70" fmla="*/ 2147483647 w 227"/>
                <a:gd name="T71" fmla="*/ 2147483647 h 353"/>
                <a:gd name="T72" fmla="*/ 2147483647 w 227"/>
                <a:gd name="T73" fmla="*/ 2147483647 h 353"/>
                <a:gd name="T74" fmla="*/ 2147483647 w 227"/>
                <a:gd name="T75" fmla="*/ 2147483647 h 353"/>
                <a:gd name="T76" fmla="*/ 2147483647 w 227"/>
                <a:gd name="T77" fmla="*/ 2147483647 h 353"/>
                <a:gd name="T78" fmla="*/ 2147483647 w 227"/>
                <a:gd name="T79" fmla="*/ 2147483647 h 353"/>
                <a:gd name="T80" fmla="*/ 2147483647 w 227"/>
                <a:gd name="T81" fmla="*/ 2147483647 h 353"/>
                <a:gd name="T82" fmla="*/ 2147483647 w 227"/>
                <a:gd name="T83" fmla="*/ 2147483647 h 353"/>
                <a:gd name="T84" fmla="*/ 2147483647 w 227"/>
                <a:gd name="T85" fmla="*/ 2147483647 h 353"/>
                <a:gd name="T86" fmla="*/ 2147483647 w 227"/>
                <a:gd name="T87" fmla="*/ 2147483647 h 353"/>
                <a:gd name="T88" fmla="*/ 2147483647 w 227"/>
                <a:gd name="T89" fmla="*/ 2147483647 h 353"/>
                <a:gd name="T90" fmla="*/ 2147483647 w 227"/>
                <a:gd name="T91" fmla="*/ 2147483647 h 353"/>
                <a:gd name="T92" fmla="*/ 2147483647 w 227"/>
                <a:gd name="T93" fmla="*/ 2147483647 h 353"/>
                <a:gd name="T94" fmla="*/ 2147483647 w 227"/>
                <a:gd name="T95" fmla="*/ 2147483647 h 353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27"/>
                <a:gd name="T145" fmla="*/ 0 h 353"/>
                <a:gd name="T146" fmla="*/ 227 w 227"/>
                <a:gd name="T147" fmla="*/ 353 h 353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27" h="353">
                  <a:moveTo>
                    <a:pt x="215" y="347"/>
                  </a:moveTo>
                  <a:lnTo>
                    <a:pt x="215" y="341"/>
                  </a:lnTo>
                  <a:lnTo>
                    <a:pt x="215" y="338"/>
                  </a:lnTo>
                  <a:lnTo>
                    <a:pt x="218" y="335"/>
                  </a:lnTo>
                  <a:lnTo>
                    <a:pt x="218" y="330"/>
                  </a:lnTo>
                  <a:lnTo>
                    <a:pt x="227" y="312"/>
                  </a:lnTo>
                  <a:lnTo>
                    <a:pt x="221" y="310"/>
                  </a:lnTo>
                  <a:lnTo>
                    <a:pt x="215" y="298"/>
                  </a:lnTo>
                  <a:lnTo>
                    <a:pt x="221" y="292"/>
                  </a:lnTo>
                  <a:lnTo>
                    <a:pt x="215" y="287"/>
                  </a:lnTo>
                  <a:lnTo>
                    <a:pt x="218" y="287"/>
                  </a:lnTo>
                  <a:lnTo>
                    <a:pt x="221" y="281"/>
                  </a:lnTo>
                  <a:lnTo>
                    <a:pt x="224" y="272"/>
                  </a:lnTo>
                  <a:lnTo>
                    <a:pt x="221" y="258"/>
                  </a:lnTo>
                  <a:lnTo>
                    <a:pt x="221" y="249"/>
                  </a:lnTo>
                  <a:lnTo>
                    <a:pt x="221" y="246"/>
                  </a:lnTo>
                  <a:lnTo>
                    <a:pt x="224" y="244"/>
                  </a:lnTo>
                  <a:lnTo>
                    <a:pt x="212" y="212"/>
                  </a:lnTo>
                  <a:lnTo>
                    <a:pt x="204" y="212"/>
                  </a:lnTo>
                  <a:lnTo>
                    <a:pt x="195" y="215"/>
                  </a:lnTo>
                  <a:lnTo>
                    <a:pt x="192" y="212"/>
                  </a:lnTo>
                  <a:lnTo>
                    <a:pt x="189" y="206"/>
                  </a:lnTo>
                  <a:lnTo>
                    <a:pt x="189" y="195"/>
                  </a:lnTo>
                  <a:lnTo>
                    <a:pt x="189" y="183"/>
                  </a:lnTo>
                  <a:lnTo>
                    <a:pt x="181" y="192"/>
                  </a:lnTo>
                  <a:lnTo>
                    <a:pt x="163" y="192"/>
                  </a:lnTo>
                  <a:lnTo>
                    <a:pt x="158" y="186"/>
                  </a:lnTo>
                  <a:lnTo>
                    <a:pt x="140" y="180"/>
                  </a:lnTo>
                  <a:lnTo>
                    <a:pt x="143" y="178"/>
                  </a:lnTo>
                  <a:lnTo>
                    <a:pt x="146" y="175"/>
                  </a:lnTo>
                  <a:lnTo>
                    <a:pt x="129" y="149"/>
                  </a:lnTo>
                  <a:lnTo>
                    <a:pt x="126" y="143"/>
                  </a:lnTo>
                  <a:lnTo>
                    <a:pt x="129" y="140"/>
                  </a:lnTo>
                  <a:lnTo>
                    <a:pt x="129" y="137"/>
                  </a:lnTo>
                  <a:lnTo>
                    <a:pt x="132" y="132"/>
                  </a:lnTo>
                  <a:lnTo>
                    <a:pt x="135" y="126"/>
                  </a:lnTo>
                  <a:lnTo>
                    <a:pt x="138" y="126"/>
                  </a:lnTo>
                  <a:lnTo>
                    <a:pt x="140" y="126"/>
                  </a:lnTo>
                  <a:lnTo>
                    <a:pt x="140" y="123"/>
                  </a:lnTo>
                  <a:lnTo>
                    <a:pt x="140" y="111"/>
                  </a:lnTo>
                  <a:lnTo>
                    <a:pt x="143" y="97"/>
                  </a:lnTo>
                  <a:lnTo>
                    <a:pt x="149" y="89"/>
                  </a:lnTo>
                  <a:lnTo>
                    <a:pt x="158" y="83"/>
                  </a:lnTo>
                  <a:lnTo>
                    <a:pt x="166" y="83"/>
                  </a:lnTo>
                  <a:lnTo>
                    <a:pt x="175" y="83"/>
                  </a:lnTo>
                  <a:lnTo>
                    <a:pt x="178" y="80"/>
                  </a:lnTo>
                  <a:lnTo>
                    <a:pt x="181" y="77"/>
                  </a:lnTo>
                  <a:lnTo>
                    <a:pt x="181" y="74"/>
                  </a:lnTo>
                  <a:lnTo>
                    <a:pt x="192" y="80"/>
                  </a:lnTo>
                  <a:lnTo>
                    <a:pt x="192" y="77"/>
                  </a:lnTo>
                  <a:lnTo>
                    <a:pt x="189" y="74"/>
                  </a:lnTo>
                  <a:lnTo>
                    <a:pt x="178" y="68"/>
                  </a:lnTo>
                  <a:lnTo>
                    <a:pt x="181" y="68"/>
                  </a:lnTo>
                  <a:lnTo>
                    <a:pt x="186" y="57"/>
                  </a:lnTo>
                  <a:lnTo>
                    <a:pt x="189" y="48"/>
                  </a:lnTo>
                  <a:lnTo>
                    <a:pt x="178" y="40"/>
                  </a:lnTo>
                  <a:lnTo>
                    <a:pt x="175" y="43"/>
                  </a:lnTo>
                  <a:lnTo>
                    <a:pt x="166" y="40"/>
                  </a:lnTo>
                  <a:lnTo>
                    <a:pt x="163" y="43"/>
                  </a:lnTo>
                  <a:lnTo>
                    <a:pt x="158" y="45"/>
                  </a:lnTo>
                  <a:lnTo>
                    <a:pt x="140" y="43"/>
                  </a:lnTo>
                  <a:lnTo>
                    <a:pt x="138" y="43"/>
                  </a:lnTo>
                  <a:lnTo>
                    <a:pt x="138" y="40"/>
                  </a:lnTo>
                  <a:lnTo>
                    <a:pt x="140" y="34"/>
                  </a:lnTo>
                  <a:lnTo>
                    <a:pt x="135" y="31"/>
                  </a:lnTo>
                  <a:lnTo>
                    <a:pt x="129" y="22"/>
                  </a:lnTo>
                  <a:lnTo>
                    <a:pt x="117" y="17"/>
                  </a:lnTo>
                  <a:lnTo>
                    <a:pt x="115" y="5"/>
                  </a:lnTo>
                  <a:lnTo>
                    <a:pt x="106" y="0"/>
                  </a:lnTo>
                  <a:lnTo>
                    <a:pt x="100" y="0"/>
                  </a:lnTo>
                  <a:lnTo>
                    <a:pt x="103" y="8"/>
                  </a:lnTo>
                  <a:lnTo>
                    <a:pt x="103" y="14"/>
                  </a:lnTo>
                  <a:lnTo>
                    <a:pt x="100" y="20"/>
                  </a:lnTo>
                  <a:lnTo>
                    <a:pt x="94" y="28"/>
                  </a:lnTo>
                  <a:lnTo>
                    <a:pt x="89" y="40"/>
                  </a:lnTo>
                  <a:lnTo>
                    <a:pt x="83" y="45"/>
                  </a:lnTo>
                  <a:lnTo>
                    <a:pt x="77" y="48"/>
                  </a:lnTo>
                  <a:lnTo>
                    <a:pt x="66" y="54"/>
                  </a:lnTo>
                  <a:lnTo>
                    <a:pt x="54" y="63"/>
                  </a:lnTo>
                  <a:lnTo>
                    <a:pt x="49" y="74"/>
                  </a:lnTo>
                  <a:lnTo>
                    <a:pt x="46" y="86"/>
                  </a:lnTo>
                  <a:lnTo>
                    <a:pt x="43" y="86"/>
                  </a:lnTo>
                  <a:lnTo>
                    <a:pt x="37" y="97"/>
                  </a:lnTo>
                  <a:lnTo>
                    <a:pt x="31" y="94"/>
                  </a:lnTo>
                  <a:lnTo>
                    <a:pt x="31" y="86"/>
                  </a:lnTo>
                  <a:lnTo>
                    <a:pt x="23" y="80"/>
                  </a:lnTo>
                  <a:lnTo>
                    <a:pt x="11" y="86"/>
                  </a:lnTo>
                  <a:lnTo>
                    <a:pt x="11" y="74"/>
                  </a:lnTo>
                  <a:lnTo>
                    <a:pt x="17" y="71"/>
                  </a:lnTo>
                  <a:lnTo>
                    <a:pt x="14" y="63"/>
                  </a:lnTo>
                  <a:lnTo>
                    <a:pt x="11" y="66"/>
                  </a:lnTo>
                  <a:lnTo>
                    <a:pt x="5" y="71"/>
                  </a:lnTo>
                  <a:lnTo>
                    <a:pt x="3" y="80"/>
                  </a:lnTo>
                  <a:lnTo>
                    <a:pt x="0" y="94"/>
                  </a:lnTo>
                  <a:lnTo>
                    <a:pt x="3" y="100"/>
                  </a:lnTo>
                  <a:lnTo>
                    <a:pt x="8" y="109"/>
                  </a:lnTo>
                  <a:lnTo>
                    <a:pt x="3" y="109"/>
                  </a:lnTo>
                  <a:lnTo>
                    <a:pt x="3" y="111"/>
                  </a:lnTo>
                  <a:lnTo>
                    <a:pt x="5" y="117"/>
                  </a:lnTo>
                  <a:lnTo>
                    <a:pt x="14" y="120"/>
                  </a:lnTo>
                  <a:lnTo>
                    <a:pt x="20" y="123"/>
                  </a:lnTo>
                  <a:lnTo>
                    <a:pt x="23" y="126"/>
                  </a:lnTo>
                  <a:lnTo>
                    <a:pt x="40" y="155"/>
                  </a:lnTo>
                  <a:lnTo>
                    <a:pt x="57" y="186"/>
                  </a:lnTo>
                  <a:lnTo>
                    <a:pt x="72" y="212"/>
                  </a:lnTo>
                  <a:lnTo>
                    <a:pt x="77" y="221"/>
                  </a:lnTo>
                  <a:lnTo>
                    <a:pt x="80" y="226"/>
                  </a:lnTo>
                  <a:lnTo>
                    <a:pt x="80" y="229"/>
                  </a:lnTo>
                  <a:lnTo>
                    <a:pt x="80" y="232"/>
                  </a:lnTo>
                  <a:lnTo>
                    <a:pt x="86" y="241"/>
                  </a:lnTo>
                  <a:lnTo>
                    <a:pt x="94" y="249"/>
                  </a:lnTo>
                  <a:lnTo>
                    <a:pt x="97" y="252"/>
                  </a:lnTo>
                  <a:lnTo>
                    <a:pt x="97" y="258"/>
                  </a:lnTo>
                  <a:lnTo>
                    <a:pt x="94" y="264"/>
                  </a:lnTo>
                  <a:lnTo>
                    <a:pt x="94" y="269"/>
                  </a:lnTo>
                  <a:lnTo>
                    <a:pt x="100" y="275"/>
                  </a:lnTo>
                  <a:lnTo>
                    <a:pt x="109" y="287"/>
                  </a:lnTo>
                  <a:lnTo>
                    <a:pt x="115" y="289"/>
                  </a:lnTo>
                  <a:lnTo>
                    <a:pt x="123" y="298"/>
                  </a:lnTo>
                  <a:lnTo>
                    <a:pt x="143" y="310"/>
                  </a:lnTo>
                  <a:lnTo>
                    <a:pt x="161" y="318"/>
                  </a:lnTo>
                  <a:lnTo>
                    <a:pt x="169" y="324"/>
                  </a:lnTo>
                  <a:lnTo>
                    <a:pt x="175" y="327"/>
                  </a:lnTo>
                  <a:lnTo>
                    <a:pt x="181" y="330"/>
                  </a:lnTo>
                  <a:lnTo>
                    <a:pt x="186" y="333"/>
                  </a:lnTo>
                  <a:lnTo>
                    <a:pt x="192" y="341"/>
                  </a:lnTo>
                  <a:lnTo>
                    <a:pt x="198" y="347"/>
                  </a:lnTo>
                  <a:lnTo>
                    <a:pt x="204" y="353"/>
                  </a:lnTo>
                  <a:lnTo>
                    <a:pt x="209" y="353"/>
                  </a:lnTo>
                  <a:lnTo>
                    <a:pt x="215" y="34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18" name="Freeform 721"/>
            <p:cNvSpPr>
              <a:spLocks/>
            </p:cNvSpPr>
            <p:nvPr/>
          </p:nvSpPr>
          <p:spPr bwMode="auto">
            <a:xfrm>
              <a:off x="1244600" y="3259138"/>
              <a:ext cx="14288" cy="14287"/>
            </a:xfrm>
            <a:custGeom>
              <a:avLst/>
              <a:gdLst>
                <a:gd name="T0" fmla="*/ 0 w 9"/>
                <a:gd name="T1" fmla="*/ 2147483647 h 9"/>
                <a:gd name="T2" fmla="*/ 2147483647 w 9"/>
                <a:gd name="T3" fmla="*/ 2147483647 h 9"/>
                <a:gd name="T4" fmla="*/ 2147483647 w 9"/>
                <a:gd name="T5" fmla="*/ 2147483647 h 9"/>
                <a:gd name="T6" fmla="*/ 2147483647 w 9"/>
                <a:gd name="T7" fmla="*/ 2147483647 h 9"/>
                <a:gd name="T8" fmla="*/ 2147483647 w 9"/>
                <a:gd name="T9" fmla="*/ 0 h 9"/>
                <a:gd name="T10" fmla="*/ 0 w 9"/>
                <a:gd name="T11" fmla="*/ 214748364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9"/>
                <a:gd name="T20" fmla="*/ 9 w 9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9">
                  <a:moveTo>
                    <a:pt x="0" y="3"/>
                  </a:moveTo>
                  <a:lnTo>
                    <a:pt x="3" y="9"/>
                  </a:lnTo>
                  <a:lnTo>
                    <a:pt x="3" y="6"/>
                  </a:lnTo>
                  <a:lnTo>
                    <a:pt x="9" y="9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19" name="Freeform 722"/>
            <p:cNvSpPr>
              <a:spLocks/>
            </p:cNvSpPr>
            <p:nvPr/>
          </p:nvSpPr>
          <p:spPr bwMode="auto">
            <a:xfrm>
              <a:off x="1276350" y="3246438"/>
              <a:ext cx="9525" cy="12700"/>
            </a:xfrm>
            <a:custGeom>
              <a:avLst/>
              <a:gdLst>
                <a:gd name="T0" fmla="*/ 2147483647 w 6"/>
                <a:gd name="T1" fmla="*/ 0 h 8"/>
                <a:gd name="T2" fmla="*/ 2147483647 w 6"/>
                <a:gd name="T3" fmla="*/ 2147483647 h 8"/>
                <a:gd name="T4" fmla="*/ 0 w 6"/>
                <a:gd name="T5" fmla="*/ 2147483647 h 8"/>
                <a:gd name="T6" fmla="*/ 2147483647 w 6"/>
                <a:gd name="T7" fmla="*/ 2147483647 h 8"/>
                <a:gd name="T8" fmla="*/ 2147483647 w 6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8"/>
                <a:gd name="T17" fmla="*/ 6 w 6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8">
                  <a:moveTo>
                    <a:pt x="3" y="0"/>
                  </a:moveTo>
                  <a:lnTo>
                    <a:pt x="3" y="5"/>
                  </a:lnTo>
                  <a:lnTo>
                    <a:pt x="0" y="8"/>
                  </a:lnTo>
                  <a:lnTo>
                    <a:pt x="6" y="5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20" name="Freeform 723"/>
            <p:cNvSpPr>
              <a:spLocks/>
            </p:cNvSpPr>
            <p:nvPr/>
          </p:nvSpPr>
          <p:spPr bwMode="auto">
            <a:xfrm>
              <a:off x="1184275" y="3016250"/>
              <a:ext cx="722313" cy="560388"/>
            </a:xfrm>
            <a:custGeom>
              <a:avLst/>
              <a:gdLst>
                <a:gd name="T0" fmla="*/ 2147483647 w 450"/>
                <a:gd name="T1" fmla="*/ 2147483647 h 350"/>
                <a:gd name="T2" fmla="*/ 2147483647 w 450"/>
                <a:gd name="T3" fmla="*/ 2147483647 h 350"/>
                <a:gd name="T4" fmla="*/ 2147483647 w 450"/>
                <a:gd name="T5" fmla="*/ 2147483647 h 350"/>
                <a:gd name="T6" fmla="*/ 2147483647 w 450"/>
                <a:gd name="T7" fmla="*/ 2147483647 h 350"/>
                <a:gd name="T8" fmla="*/ 2147483647 w 450"/>
                <a:gd name="T9" fmla="*/ 2147483647 h 350"/>
                <a:gd name="T10" fmla="*/ 2147483647 w 450"/>
                <a:gd name="T11" fmla="*/ 2147483647 h 350"/>
                <a:gd name="T12" fmla="*/ 2147483647 w 450"/>
                <a:gd name="T13" fmla="*/ 2147483647 h 350"/>
                <a:gd name="T14" fmla="*/ 2147483647 w 450"/>
                <a:gd name="T15" fmla="*/ 2147483647 h 350"/>
                <a:gd name="T16" fmla="*/ 2147483647 w 450"/>
                <a:gd name="T17" fmla="*/ 2147483647 h 350"/>
                <a:gd name="T18" fmla="*/ 2147483647 w 450"/>
                <a:gd name="T19" fmla="*/ 2147483647 h 350"/>
                <a:gd name="T20" fmla="*/ 2147483647 w 450"/>
                <a:gd name="T21" fmla="*/ 2147483647 h 350"/>
                <a:gd name="T22" fmla="*/ 2147483647 w 450"/>
                <a:gd name="T23" fmla="*/ 2147483647 h 350"/>
                <a:gd name="T24" fmla="*/ 2147483647 w 450"/>
                <a:gd name="T25" fmla="*/ 2147483647 h 350"/>
                <a:gd name="T26" fmla="*/ 2147483647 w 450"/>
                <a:gd name="T27" fmla="*/ 2147483647 h 350"/>
                <a:gd name="T28" fmla="*/ 2147483647 w 450"/>
                <a:gd name="T29" fmla="*/ 2147483647 h 350"/>
                <a:gd name="T30" fmla="*/ 2147483647 w 450"/>
                <a:gd name="T31" fmla="*/ 2147483647 h 350"/>
                <a:gd name="T32" fmla="*/ 2147483647 w 450"/>
                <a:gd name="T33" fmla="*/ 2147483647 h 350"/>
                <a:gd name="T34" fmla="*/ 2147483647 w 450"/>
                <a:gd name="T35" fmla="*/ 2147483647 h 350"/>
                <a:gd name="T36" fmla="*/ 0 w 450"/>
                <a:gd name="T37" fmla="*/ 2147483647 h 350"/>
                <a:gd name="T38" fmla="*/ 2147483647 w 450"/>
                <a:gd name="T39" fmla="*/ 2147483647 h 350"/>
                <a:gd name="T40" fmla="*/ 2147483647 w 450"/>
                <a:gd name="T41" fmla="*/ 2147483647 h 350"/>
                <a:gd name="T42" fmla="*/ 2147483647 w 450"/>
                <a:gd name="T43" fmla="*/ 2147483647 h 350"/>
                <a:gd name="T44" fmla="*/ 2147483647 w 450"/>
                <a:gd name="T45" fmla="*/ 2147483647 h 350"/>
                <a:gd name="T46" fmla="*/ 2147483647 w 450"/>
                <a:gd name="T47" fmla="*/ 2147483647 h 350"/>
                <a:gd name="T48" fmla="*/ 2147483647 w 450"/>
                <a:gd name="T49" fmla="*/ 2147483647 h 350"/>
                <a:gd name="T50" fmla="*/ 2147483647 w 450"/>
                <a:gd name="T51" fmla="*/ 2147483647 h 350"/>
                <a:gd name="T52" fmla="*/ 2147483647 w 450"/>
                <a:gd name="T53" fmla="*/ 2147483647 h 350"/>
                <a:gd name="T54" fmla="*/ 2147483647 w 450"/>
                <a:gd name="T55" fmla="*/ 2147483647 h 350"/>
                <a:gd name="T56" fmla="*/ 2147483647 w 450"/>
                <a:gd name="T57" fmla="*/ 2147483647 h 350"/>
                <a:gd name="T58" fmla="*/ 2147483647 w 450"/>
                <a:gd name="T59" fmla="*/ 2147483647 h 350"/>
                <a:gd name="T60" fmla="*/ 2147483647 w 450"/>
                <a:gd name="T61" fmla="*/ 2147483647 h 350"/>
                <a:gd name="T62" fmla="*/ 2147483647 w 450"/>
                <a:gd name="T63" fmla="*/ 2147483647 h 350"/>
                <a:gd name="T64" fmla="*/ 2147483647 w 450"/>
                <a:gd name="T65" fmla="*/ 2147483647 h 350"/>
                <a:gd name="T66" fmla="*/ 2147483647 w 450"/>
                <a:gd name="T67" fmla="*/ 2147483647 h 350"/>
                <a:gd name="T68" fmla="*/ 2147483647 w 450"/>
                <a:gd name="T69" fmla="*/ 2147483647 h 350"/>
                <a:gd name="T70" fmla="*/ 2147483647 w 450"/>
                <a:gd name="T71" fmla="*/ 2147483647 h 350"/>
                <a:gd name="T72" fmla="*/ 2147483647 w 450"/>
                <a:gd name="T73" fmla="*/ 2147483647 h 350"/>
                <a:gd name="T74" fmla="*/ 2147483647 w 450"/>
                <a:gd name="T75" fmla="*/ 2147483647 h 350"/>
                <a:gd name="T76" fmla="*/ 2147483647 w 450"/>
                <a:gd name="T77" fmla="*/ 2147483647 h 350"/>
                <a:gd name="T78" fmla="*/ 2147483647 w 450"/>
                <a:gd name="T79" fmla="*/ 2147483647 h 350"/>
                <a:gd name="T80" fmla="*/ 2147483647 w 450"/>
                <a:gd name="T81" fmla="*/ 2147483647 h 350"/>
                <a:gd name="T82" fmla="*/ 2147483647 w 450"/>
                <a:gd name="T83" fmla="*/ 2147483647 h 350"/>
                <a:gd name="T84" fmla="*/ 2147483647 w 450"/>
                <a:gd name="T85" fmla="*/ 2147483647 h 350"/>
                <a:gd name="T86" fmla="*/ 2147483647 w 450"/>
                <a:gd name="T87" fmla="*/ 2147483647 h 350"/>
                <a:gd name="T88" fmla="*/ 2147483647 w 450"/>
                <a:gd name="T89" fmla="*/ 2147483647 h 350"/>
                <a:gd name="T90" fmla="*/ 2147483647 w 450"/>
                <a:gd name="T91" fmla="*/ 2147483647 h 350"/>
                <a:gd name="T92" fmla="*/ 2147483647 w 450"/>
                <a:gd name="T93" fmla="*/ 2147483647 h 350"/>
                <a:gd name="T94" fmla="*/ 2147483647 w 450"/>
                <a:gd name="T95" fmla="*/ 2147483647 h 350"/>
                <a:gd name="T96" fmla="*/ 2147483647 w 450"/>
                <a:gd name="T97" fmla="*/ 2147483647 h 350"/>
                <a:gd name="T98" fmla="*/ 2147483647 w 450"/>
                <a:gd name="T99" fmla="*/ 2147483647 h 350"/>
                <a:gd name="T100" fmla="*/ 2147483647 w 450"/>
                <a:gd name="T101" fmla="*/ 2147483647 h 350"/>
                <a:gd name="T102" fmla="*/ 2147483647 w 450"/>
                <a:gd name="T103" fmla="*/ 2147483647 h 350"/>
                <a:gd name="T104" fmla="*/ 2147483647 w 450"/>
                <a:gd name="T105" fmla="*/ 2147483647 h 350"/>
                <a:gd name="T106" fmla="*/ 2147483647 w 450"/>
                <a:gd name="T107" fmla="*/ 2147483647 h 350"/>
                <a:gd name="T108" fmla="*/ 2147483647 w 450"/>
                <a:gd name="T109" fmla="*/ 2147483647 h 350"/>
                <a:gd name="T110" fmla="*/ 2147483647 w 450"/>
                <a:gd name="T111" fmla="*/ 2147483647 h 35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50"/>
                <a:gd name="T169" fmla="*/ 0 h 350"/>
                <a:gd name="T170" fmla="*/ 450 w 450"/>
                <a:gd name="T171" fmla="*/ 350 h 35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50" h="350">
                  <a:moveTo>
                    <a:pt x="341" y="339"/>
                  </a:moveTo>
                  <a:lnTo>
                    <a:pt x="347" y="322"/>
                  </a:lnTo>
                  <a:lnTo>
                    <a:pt x="373" y="319"/>
                  </a:lnTo>
                  <a:lnTo>
                    <a:pt x="373" y="310"/>
                  </a:lnTo>
                  <a:lnTo>
                    <a:pt x="364" y="307"/>
                  </a:lnTo>
                  <a:lnTo>
                    <a:pt x="350" y="296"/>
                  </a:lnTo>
                  <a:lnTo>
                    <a:pt x="364" y="296"/>
                  </a:lnTo>
                  <a:lnTo>
                    <a:pt x="364" y="284"/>
                  </a:lnTo>
                  <a:lnTo>
                    <a:pt x="405" y="281"/>
                  </a:lnTo>
                  <a:lnTo>
                    <a:pt x="413" y="270"/>
                  </a:lnTo>
                  <a:lnTo>
                    <a:pt x="425" y="276"/>
                  </a:lnTo>
                  <a:lnTo>
                    <a:pt x="428" y="270"/>
                  </a:lnTo>
                  <a:lnTo>
                    <a:pt x="430" y="261"/>
                  </a:lnTo>
                  <a:lnTo>
                    <a:pt x="433" y="256"/>
                  </a:lnTo>
                  <a:lnTo>
                    <a:pt x="430" y="253"/>
                  </a:lnTo>
                  <a:lnTo>
                    <a:pt x="433" y="247"/>
                  </a:lnTo>
                  <a:lnTo>
                    <a:pt x="433" y="238"/>
                  </a:lnTo>
                  <a:lnTo>
                    <a:pt x="445" y="233"/>
                  </a:lnTo>
                  <a:lnTo>
                    <a:pt x="448" y="227"/>
                  </a:lnTo>
                  <a:lnTo>
                    <a:pt x="450" y="221"/>
                  </a:lnTo>
                  <a:lnTo>
                    <a:pt x="448" y="213"/>
                  </a:lnTo>
                  <a:lnTo>
                    <a:pt x="445" y="213"/>
                  </a:lnTo>
                  <a:lnTo>
                    <a:pt x="442" y="213"/>
                  </a:lnTo>
                  <a:lnTo>
                    <a:pt x="439" y="215"/>
                  </a:lnTo>
                  <a:lnTo>
                    <a:pt x="436" y="215"/>
                  </a:lnTo>
                  <a:lnTo>
                    <a:pt x="430" y="213"/>
                  </a:lnTo>
                  <a:lnTo>
                    <a:pt x="419" y="213"/>
                  </a:lnTo>
                  <a:lnTo>
                    <a:pt x="419" y="215"/>
                  </a:lnTo>
                  <a:lnTo>
                    <a:pt x="416" y="215"/>
                  </a:lnTo>
                  <a:lnTo>
                    <a:pt x="399" y="218"/>
                  </a:lnTo>
                  <a:lnTo>
                    <a:pt x="390" y="221"/>
                  </a:lnTo>
                  <a:lnTo>
                    <a:pt x="387" y="227"/>
                  </a:lnTo>
                  <a:lnTo>
                    <a:pt x="384" y="236"/>
                  </a:lnTo>
                  <a:lnTo>
                    <a:pt x="384" y="241"/>
                  </a:lnTo>
                  <a:lnTo>
                    <a:pt x="382" y="244"/>
                  </a:lnTo>
                  <a:lnTo>
                    <a:pt x="379" y="247"/>
                  </a:lnTo>
                  <a:lnTo>
                    <a:pt x="376" y="253"/>
                  </a:lnTo>
                  <a:lnTo>
                    <a:pt x="373" y="259"/>
                  </a:lnTo>
                  <a:lnTo>
                    <a:pt x="373" y="261"/>
                  </a:lnTo>
                  <a:lnTo>
                    <a:pt x="364" y="267"/>
                  </a:lnTo>
                  <a:lnTo>
                    <a:pt x="361" y="267"/>
                  </a:lnTo>
                  <a:lnTo>
                    <a:pt x="364" y="270"/>
                  </a:lnTo>
                  <a:lnTo>
                    <a:pt x="361" y="273"/>
                  </a:lnTo>
                  <a:lnTo>
                    <a:pt x="356" y="273"/>
                  </a:lnTo>
                  <a:lnTo>
                    <a:pt x="359" y="270"/>
                  </a:lnTo>
                  <a:lnTo>
                    <a:pt x="359" y="267"/>
                  </a:lnTo>
                  <a:lnTo>
                    <a:pt x="353" y="267"/>
                  </a:lnTo>
                  <a:lnTo>
                    <a:pt x="341" y="270"/>
                  </a:lnTo>
                  <a:lnTo>
                    <a:pt x="336" y="273"/>
                  </a:lnTo>
                  <a:lnTo>
                    <a:pt x="324" y="276"/>
                  </a:lnTo>
                  <a:lnTo>
                    <a:pt x="316" y="279"/>
                  </a:lnTo>
                  <a:lnTo>
                    <a:pt x="304" y="276"/>
                  </a:lnTo>
                  <a:lnTo>
                    <a:pt x="304" y="270"/>
                  </a:lnTo>
                  <a:lnTo>
                    <a:pt x="295" y="267"/>
                  </a:lnTo>
                  <a:lnTo>
                    <a:pt x="287" y="264"/>
                  </a:lnTo>
                  <a:lnTo>
                    <a:pt x="281" y="253"/>
                  </a:lnTo>
                  <a:lnTo>
                    <a:pt x="272" y="233"/>
                  </a:lnTo>
                  <a:lnTo>
                    <a:pt x="270" y="221"/>
                  </a:lnTo>
                  <a:lnTo>
                    <a:pt x="272" y="213"/>
                  </a:lnTo>
                  <a:lnTo>
                    <a:pt x="267" y="201"/>
                  </a:lnTo>
                  <a:lnTo>
                    <a:pt x="270" y="190"/>
                  </a:lnTo>
                  <a:lnTo>
                    <a:pt x="272" y="167"/>
                  </a:lnTo>
                  <a:lnTo>
                    <a:pt x="275" y="155"/>
                  </a:lnTo>
                  <a:lnTo>
                    <a:pt x="278" y="149"/>
                  </a:lnTo>
                  <a:lnTo>
                    <a:pt x="281" y="144"/>
                  </a:lnTo>
                  <a:lnTo>
                    <a:pt x="287" y="138"/>
                  </a:lnTo>
                  <a:lnTo>
                    <a:pt x="290" y="132"/>
                  </a:lnTo>
                  <a:lnTo>
                    <a:pt x="264" y="124"/>
                  </a:lnTo>
                  <a:lnTo>
                    <a:pt x="255" y="109"/>
                  </a:lnTo>
                  <a:lnTo>
                    <a:pt x="258" y="98"/>
                  </a:lnTo>
                  <a:lnTo>
                    <a:pt x="250" y="86"/>
                  </a:lnTo>
                  <a:lnTo>
                    <a:pt x="247" y="69"/>
                  </a:lnTo>
                  <a:lnTo>
                    <a:pt x="238" y="55"/>
                  </a:lnTo>
                  <a:lnTo>
                    <a:pt x="218" y="58"/>
                  </a:lnTo>
                  <a:lnTo>
                    <a:pt x="204" y="69"/>
                  </a:lnTo>
                  <a:lnTo>
                    <a:pt x="189" y="60"/>
                  </a:lnTo>
                  <a:lnTo>
                    <a:pt x="186" y="37"/>
                  </a:lnTo>
                  <a:lnTo>
                    <a:pt x="178" y="32"/>
                  </a:lnTo>
                  <a:lnTo>
                    <a:pt x="169" y="20"/>
                  </a:lnTo>
                  <a:lnTo>
                    <a:pt x="143" y="17"/>
                  </a:lnTo>
                  <a:lnTo>
                    <a:pt x="138" y="26"/>
                  </a:lnTo>
                  <a:lnTo>
                    <a:pt x="89" y="26"/>
                  </a:lnTo>
                  <a:lnTo>
                    <a:pt x="40" y="0"/>
                  </a:lnTo>
                  <a:lnTo>
                    <a:pt x="0" y="3"/>
                  </a:lnTo>
                  <a:lnTo>
                    <a:pt x="3" y="14"/>
                  </a:lnTo>
                  <a:lnTo>
                    <a:pt x="0" y="20"/>
                  </a:lnTo>
                  <a:lnTo>
                    <a:pt x="3" y="23"/>
                  </a:lnTo>
                  <a:lnTo>
                    <a:pt x="3" y="26"/>
                  </a:lnTo>
                  <a:lnTo>
                    <a:pt x="3" y="35"/>
                  </a:lnTo>
                  <a:lnTo>
                    <a:pt x="0" y="43"/>
                  </a:lnTo>
                  <a:lnTo>
                    <a:pt x="3" y="46"/>
                  </a:lnTo>
                  <a:lnTo>
                    <a:pt x="3" y="49"/>
                  </a:lnTo>
                  <a:lnTo>
                    <a:pt x="3" y="55"/>
                  </a:lnTo>
                  <a:lnTo>
                    <a:pt x="11" y="60"/>
                  </a:lnTo>
                  <a:lnTo>
                    <a:pt x="17" y="69"/>
                  </a:lnTo>
                  <a:lnTo>
                    <a:pt x="20" y="78"/>
                  </a:lnTo>
                  <a:lnTo>
                    <a:pt x="17" y="86"/>
                  </a:lnTo>
                  <a:lnTo>
                    <a:pt x="20" y="92"/>
                  </a:lnTo>
                  <a:lnTo>
                    <a:pt x="17" y="95"/>
                  </a:lnTo>
                  <a:lnTo>
                    <a:pt x="14" y="92"/>
                  </a:lnTo>
                  <a:lnTo>
                    <a:pt x="11" y="92"/>
                  </a:lnTo>
                  <a:lnTo>
                    <a:pt x="3" y="92"/>
                  </a:lnTo>
                  <a:lnTo>
                    <a:pt x="0" y="95"/>
                  </a:lnTo>
                  <a:lnTo>
                    <a:pt x="6" y="98"/>
                  </a:lnTo>
                  <a:lnTo>
                    <a:pt x="11" y="98"/>
                  </a:lnTo>
                  <a:lnTo>
                    <a:pt x="8" y="103"/>
                  </a:lnTo>
                  <a:lnTo>
                    <a:pt x="17" y="109"/>
                  </a:lnTo>
                  <a:lnTo>
                    <a:pt x="26" y="106"/>
                  </a:lnTo>
                  <a:lnTo>
                    <a:pt x="28" y="115"/>
                  </a:lnTo>
                  <a:lnTo>
                    <a:pt x="34" y="118"/>
                  </a:lnTo>
                  <a:lnTo>
                    <a:pt x="40" y="124"/>
                  </a:lnTo>
                  <a:lnTo>
                    <a:pt x="37" y="135"/>
                  </a:lnTo>
                  <a:lnTo>
                    <a:pt x="34" y="147"/>
                  </a:lnTo>
                  <a:lnTo>
                    <a:pt x="34" y="155"/>
                  </a:lnTo>
                  <a:lnTo>
                    <a:pt x="40" y="152"/>
                  </a:lnTo>
                  <a:lnTo>
                    <a:pt x="46" y="161"/>
                  </a:lnTo>
                  <a:lnTo>
                    <a:pt x="51" y="167"/>
                  </a:lnTo>
                  <a:lnTo>
                    <a:pt x="60" y="172"/>
                  </a:lnTo>
                  <a:lnTo>
                    <a:pt x="66" y="187"/>
                  </a:lnTo>
                  <a:lnTo>
                    <a:pt x="66" y="181"/>
                  </a:lnTo>
                  <a:lnTo>
                    <a:pt x="69" y="181"/>
                  </a:lnTo>
                  <a:lnTo>
                    <a:pt x="74" y="178"/>
                  </a:lnTo>
                  <a:lnTo>
                    <a:pt x="72" y="172"/>
                  </a:lnTo>
                  <a:lnTo>
                    <a:pt x="72" y="167"/>
                  </a:lnTo>
                  <a:lnTo>
                    <a:pt x="66" y="164"/>
                  </a:lnTo>
                  <a:lnTo>
                    <a:pt x="63" y="167"/>
                  </a:lnTo>
                  <a:lnTo>
                    <a:pt x="66" y="161"/>
                  </a:lnTo>
                  <a:lnTo>
                    <a:pt x="63" y="161"/>
                  </a:lnTo>
                  <a:lnTo>
                    <a:pt x="60" y="161"/>
                  </a:lnTo>
                  <a:lnTo>
                    <a:pt x="57" y="152"/>
                  </a:lnTo>
                  <a:lnTo>
                    <a:pt x="57" y="132"/>
                  </a:lnTo>
                  <a:lnTo>
                    <a:pt x="51" y="126"/>
                  </a:lnTo>
                  <a:lnTo>
                    <a:pt x="51" y="118"/>
                  </a:lnTo>
                  <a:lnTo>
                    <a:pt x="46" y="109"/>
                  </a:lnTo>
                  <a:lnTo>
                    <a:pt x="46" y="103"/>
                  </a:lnTo>
                  <a:lnTo>
                    <a:pt x="43" y="92"/>
                  </a:lnTo>
                  <a:lnTo>
                    <a:pt x="43" y="81"/>
                  </a:lnTo>
                  <a:lnTo>
                    <a:pt x="40" y="72"/>
                  </a:lnTo>
                  <a:lnTo>
                    <a:pt x="37" y="72"/>
                  </a:lnTo>
                  <a:lnTo>
                    <a:pt x="34" y="69"/>
                  </a:lnTo>
                  <a:lnTo>
                    <a:pt x="34" y="66"/>
                  </a:lnTo>
                  <a:lnTo>
                    <a:pt x="31" y="60"/>
                  </a:lnTo>
                  <a:lnTo>
                    <a:pt x="28" y="55"/>
                  </a:lnTo>
                  <a:lnTo>
                    <a:pt x="28" y="52"/>
                  </a:lnTo>
                  <a:lnTo>
                    <a:pt x="26" y="49"/>
                  </a:lnTo>
                  <a:lnTo>
                    <a:pt x="23" y="43"/>
                  </a:lnTo>
                  <a:lnTo>
                    <a:pt x="26" y="32"/>
                  </a:lnTo>
                  <a:lnTo>
                    <a:pt x="28" y="23"/>
                  </a:lnTo>
                  <a:lnTo>
                    <a:pt x="34" y="14"/>
                  </a:lnTo>
                  <a:lnTo>
                    <a:pt x="37" y="17"/>
                  </a:lnTo>
                  <a:lnTo>
                    <a:pt x="40" y="20"/>
                  </a:lnTo>
                  <a:lnTo>
                    <a:pt x="43" y="20"/>
                  </a:lnTo>
                  <a:lnTo>
                    <a:pt x="49" y="23"/>
                  </a:lnTo>
                  <a:lnTo>
                    <a:pt x="54" y="26"/>
                  </a:lnTo>
                  <a:lnTo>
                    <a:pt x="54" y="29"/>
                  </a:lnTo>
                  <a:lnTo>
                    <a:pt x="54" y="32"/>
                  </a:lnTo>
                  <a:lnTo>
                    <a:pt x="54" y="37"/>
                  </a:lnTo>
                  <a:lnTo>
                    <a:pt x="54" y="43"/>
                  </a:lnTo>
                  <a:lnTo>
                    <a:pt x="54" y="49"/>
                  </a:lnTo>
                  <a:lnTo>
                    <a:pt x="54" y="60"/>
                  </a:lnTo>
                  <a:lnTo>
                    <a:pt x="57" y="69"/>
                  </a:lnTo>
                  <a:lnTo>
                    <a:pt x="63" y="81"/>
                  </a:lnTo>
                  <a:lnTo>
                    <a:pt x="69" y="89"/>
                  </a:lnTo>
                  <a:lnTo>
                    <a:pt x="72" y="89"/>
                  </a:lnTo>
                  <a:lnTo>
                    <a:pt x="74" y="89"/>
                  </a:lnTo>
                  <a:lnTo>
                    <a:pt x="77" y="89"/>
                  </a:lnTo>
                  <a:lnTo>
                    <a:pt x="77" y="92"/>
                  </a:lnTo>
                  <a:lnTo>
                    <a:pt x="74" y="98"/>
                  </a:lnTo>
                  <a:lnTo>
                    <a:pt x="74" y="103"/>
                  </a:lnTo>
                  <a:lnTo>
                    <a:pt x="77" y="103"/>
                  </a:lnTo>
                  <a:lnTo>
                    <a:pt x="80" y="106"/>
                  </a:lnTo>
                  <a:lnTo>
                    <a:pt x="83" y="109"/>
                  </a:lnTo>
                  <a:lnTo>
                    <a:pt x="86" y="112"/>
                  </a:lnTo>
                  <a:lnTo>
                    <a:pt x="89" y="115"/>
                  </a:lnTo>
                  <a:lnTo>
                    <a:pt x="89" y="121"/>
                  </a:lnTo>
                  <a:lnTo>
                    <a:pt x="89" y="126"/>
                  </a:lnTo>
                  <a:lnTo>
                    <a:pt x="86" y="135"/>
                  </a:lnTo>
                  <a:lnTo>
                    <a:pt x="92" y="138"/>
                  </a:lnTo>
                  <a:lnTo>
                    <a:pt x="95" y="141"/>
                  </a:lnTo>
                  <a:lnTo>
                    <a:pt x="100" y="147"/>
                  </a:lnTo>
                  <a:lnTo>
                    <a:pt x="109" y="158"/>
                  </a:lnTo>
                  <a:lnTo>
                    <a:pt x="117" y="167"/>
                  </a:lnTo>
                  <a:lnTo>
                    <a:pt x="123" y="175"/>
                  </a:lnTo>
                  <a:lnTo>
                    <a:pt x="123" y="181"/>
                  </a:lnTo>
                  <a:lnTo>
                    <a:pt x="129" y="187"/>
                  </a:lnTo>
                  <a:lnTo>
                    <a:pt x="132" y="192"/>
                  </a:lnTo>
                  <a:lnTo>
                    <a:pt x="135" y="195"/>
                  </a:lnTo>
                  <a:lnTo>
                    <a:pt x="135" y="201"/>
                  </a:lnTo>
                  <a:lnTo>
                    <a:pt x="132" y="207"/>
                  </a:lnTo>
                  <a:lnTo>
                    <a:pt x="138" y="213"/>
                  </a:lnTo>
                  <a:lnTo>
                    <a:pt x="138" y="218"/>
                  </a:lnTo>
                  <a:lnTo>
                    <a:pt x="138" y="224"/>
                  </a:lnTo>
                  <a:lnTo>
                    <a:pt x="135" y="230"/>
                  </a:lnTo>
                  <a:lnTo>
                    <a:pt x="132" y="230"/>
                  </a:lnTo>
                  <a:lnTo>
                    <a:pt x="132" y="233"/>
                  </a:lnTo>
                  <a:lnTo>
                    <a:pt x="132" y="236"/>
                  </a:lnTo>
                  <a:lnTo>
                    <a:pt x="129" y="236"/>
                  </a:lnTo>
                  <a:lnTo>
                    <a:pt x="126" y="236"/>
                  </a:lnTo>
                  <a:lnTo>
                    <a:pt x="126" y="238"/>
                  </a:lnTo>
                  <a:lnTo>
                    <a:pt x="132" y="250"/>
                  </a:lnTo>
                  <a:lnTo>
                    <a:pt x="138" y="259"/>
                  </a:lnTo>
                  <a:lnTo>
                    <a:pt x="143" y="261"/>
                  </a:lnTo>
                  <a:lnTo>
                    <a:pt x="146" y="264"/>
                  </a:lnTo>
                  <a:lnTo>
                    <a:pt x="149" y="267"/>
                  </a:lnTo>
                  <a:lnTo>
                    <a:pt x="155" y="273"/>
                  </a:lnTo>
                  <a:lnTo>
                    <a:pt x="161" y="276"/>
                  </a:lnTo>
                  <a:lnTo>
                    <a:pt x="166" y="279"/>
                  </a:lnTo>
                  <a:lnTo>
                    <a:pt x="175" y="281"/>
                  </a:lnTo>
                  <a:lnTo>
                    <a:pt x="181" y="284"/>
                  </a:lnTo>
                  <a:lnTo>
                    <a:pt x="184" y="284"/>
                  </a:lnTo>
                  <a:lnTo>
                    <a:pt x="195" y="296"/>
                  </a:lnTo>
                  <a:lnTo>
                    <a:pt x="201" y="299"/>
                  </a:lnTo>
                  <a:lnTo>
                    <a:pt x="204" y="302"/>
                  </a:lnTo>
                  <a:lnTo>
                    <a:pt x="206" y="302"/>
                  </a:lnTo>
                  <a:lnTo>
                    <a:pt x="209" y="302"/>
                  </a:lnTo>
                  <a:lnTo>
                    <a:pt x="221" y="307"/>
                  </a:lnTo>
                  <a:lnTo>
                    <a:pt x="224" y="307"/>
                  </a:lnTo>
                  <a:lnTo>
                    <a:pt x="229" y="310"/>
                  </a:lnTo>
                  <a:lnTo>
                    <a:pt x="235" y="316"/>
                  </a:lnTo>
                  <a:lnTo>
                    <a:pt x="238" y="316"/>
                  </a:lnTo>
                  <a:lnTo>
                    <a:pt x="244" y="319"/>
                  </a:lnTo>
                  <a:lnTo>
                    <a:pt x="250" y="325"/>
                  </a:lnTo>
                  <a:lnTo>
                    <a:pt x="255" y="325"/>
                  </a:lnTo>
                  <a:lnTo>
                    <a:pt x="261" y="327"/>
                  </a:lnTo>
                  <a:lnTo>
                    <a:pt x="264" y="327"/>
                  </a:lnTo>
                  <a:lnTo>
                    <a:pt x="270" y="330"/>
                  </a:lnTo>
                  <a:lnTo>
                    <a:pt x="278" y="325"/>
                  </a:lnTo>
                  <a:lnTo>
                    <a:pt x="290" y="322"/>
                  </a:lnTo>
                  <a:lnTo>
                    <a:pt x="298" y="316"/>
                  </a:lnTo>
                  <a:lnTo>
                    <a:pt x="304" y="316"/>
                  </a:lnTo>
                  <a:lnTo>
                    <a:pt x="307" y="319"/>
                  </a:lnTo>
                  <a:lnTo>
                    <a:pt x="313" y="322"/>
                  </a:lnTo>
                  <a:lnTo>
                    <a:pt x="321" y="327"/>
                  </a:lnTo>
                  <a:lnTo>
                    <a:pt x="336" y="350"/>
                  </a:lnTo>
                  <a:lnTo>
                    <a:pt x="341" y="33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21" name="Freeform 724"/>
            <p:cNvSpPr>
              <a:spLocks/>
            </p:cNvSpPr>
            <p:nvPr/>
          </p:nvSpPr>
          <p:spPr bwMode="auto">
            <a:xfrm>
              <a:off x="1276350" y="3217863"/>
              <a:ext cx="4763" cy="9525"/>
            </a:xfrm>
            <a:custGeom>
              <a:avLst/>
              <a:gdLst>
                <a:gd name="T0" fmla="*/ 2147483647 w 3"/>
                <a:gd name="T1" fmla="*/ 2147483647 h 6"/>
                <a:gd name="T2" fmla="*/ 0 w 3"/>
                <a:gd name="T3" fmla="*/ 0 h 6"/>
                <a:gd name="T4" fmla="*/ 0 w 3"/>
                <a:gd name="T5" fmla="*/ 2147483647 h 6"/>
                <a:gd name="T6" fmla="*/ 0 w 3"/>
                <a:gd name="T7" fmla="*/ 2147483647 h 6"/>
                <a:gd name="T8" fmla="*/ 2147483647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3" y="3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22" name="Freeform 725"/>
            <p:cNvSpPr>
              <a:spLocks/>
            </p:cNvSpPr>
            <p:nvPr/>
          </p:nvSpPr>
          <p:spPr bwMode="auto">
            <a:xfrm>
              <a:off x="1295400" y="3268663"/>
              <a:ext cx="4763" cy="9525"/>
            </a:xfrm>
            <a:custGeom>
              <a:avLst/>
              <a:gdLst>
                <a:gd name="T0" fmla="*/ 0 w 3"/>
                <a:gd name="T1" fmla="*/ 2147483647 h 6"/>
                <a:gd name="T2" fmla="*/ 2147483647 w 3"/>
                <a:gd name="T3" fmla="*/ 2147483647 h 6"/>
                <a:gd name="T4" fmla="*/ 2147483647 w 3"/>
                <a:gd name="T5" fmla="*/ 2147483647 h 6"/>
                <a:gd name="T6" fmla="*/ 0 w 3"/>
                <a:gd name="T7" fmla="*/ 0 h 6"/>
                <a:gd name="T8" fmla="*/ 0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0" y="3"/>
                  </a:moveTo>
                  <a:lnTo>
                    <a:pt x="3" y="6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23" name="Freeform 726"/>
            <p:cNvSpPr>
              <a:spLocks/>
            </p:cNvSpPr>
            <p:nvPr/>
          </p:nvSpPr>
          <p:spPr bwMode="auto">
            <a:xfrm>
              <a:off x="1728788" y="3471863"/>
              <a:ext cx="109537" cy="130175"/>
            </a:xfrm>
            <a:custGeom>
              <a:avLst/>
              <a:gdLst>
                <a:gd name="T0" fmla="*/ 2147483647 w 68"/>
                <a:gd name="T1" fmla="*/ 2147483647 h 81"/>
                <a:gd name="T2" fmla="*/ 2147483647 w 68"/>
                <a:gd name="T3" fmla="*/ 2147483647 h 81"/>
                <a:gd name="T4" fmla="*/ 2147483647 w 68"/>
                <a:gd name="T5" fmla="*/ 2147483647 h 81"/>
                <a:gd name="T6" fmla="*/ 2147483647 w 68"/>
                <a:gd name="T7" fmla="*/ 2147483647 h 81"/>
                <a:gd name="T8" fmla="*/ 2147483647 w 68"/>
                <a:gd name="T9" fmla="*/ 2147483647 h 81"/>
                <a:gd name="T10" fmla="*/ 2147483647 w 68"/>
                <a:gd name="T11" fmla="*/ 2147483647 h 81"/>
                <a:gd name="T12" fmla="*/ 2147483647 w 68"/>
                <a:gd name="T13" fmla="*/ 2147483647 h 81"/>
                <a:gd name="T14" fmla="*/ 2147483647 w 68"/>
                <a:gd name="T15" fmla="*/ 2147483647 h 81"/>
                <a:gd name="T16" fmla="*/ 2147483647 w 68"/>
                <a:gd name="T17" fmla="*/ 2147483647 h 81"/>
                <a:gd name="T18" fmla="*/ 2147483647 w 68"/>
                <a:gd name="T19" fmla="*/ 2147483647 h 81"/>
                <a:gd name="T20" fmla="*/ 2147483647 w 68"/>
                <a:gd name="T21" fmla="*/ 0 h 81"/>
                <a:gd name="T22" fmla="*/ 2147483647 w 68"/>
                <a:gd name="T23" fmla="*/ 2147483647 h 81"/>
                <a:gd name="T24" fmla="*/ 2147483647 w 68"/>
                <a:gd name="T25" fmla="*/ 2147483647 h 81"/>
                <a:gd name="T26" fmla="*/ 2147483647 w 68"/>
                <a:gd name="T27" fmla="*/ 2147483647 h 81"/>
                <a:gd name="T28" fmla="*/ 2147483647 w 68"/>
                <a:gd name="T29" fmla="*/ 2147483647 h 81"/>
                <a:gd name="T30" fmla="*/ 2147483647 w 68"/>
                <a:gd name="T31" fmla="*/ 2147483647 h 81"/>
                <a:gd name="T32" fmla="*/ 2147483647 w 68"/>
                <a:gd name="T33" fmla="*/ 2147483647 h 81"/>
                <a:gd name="T34" fmla="*/ 2147483647 w 68"/>
                <a:gd name="T35" fmla="*/ 2147483647 h 81"/>
                <a:gd name="T36" fmla="*/ 2147483647 w 68"/>
                <a:gd name="T37" fmla="*/ 2147483647 h 81"/>
                <a:gd name="T38" fmla="*/ 0 w 68"/>
                <a:gd name="T39" fmla="*/ 2147483647 h 81"/>
                <a:gd name="T40" fmla="*/ 0 w 68"/>
                <a:gd name="T41" fmla="*/ 2147483647 h 81"/>
                <a:gd name="T42" fmla="*/ 2147483647 w 68"/>
                <a:gd name="T43" fmla="*/ 2147483647 h 81"/>
                <a:gd name="T44" fmla="*/ 2147483647 w 68"/>
                <a:gd name="T45" fmla="*/ 2147483647 h 81"/>
                <a:gd name="T46" fmla="*/ 2147483647 w 68"/>
                <a:gd name="T47" fmla="*/ 2147483647 h 81"/>
                <a:gd name="T48" fmla="*/ 2147483647 w 68"/>
                <a:gd name="T49" fmla="*/ 2147483647 h 81"/>
                <a:gd name="T50" fmla="*/ 2147483647 w 68"/>
                <a:gd name="T51" fmla="*/ 2147483647 h 81"/>
                <a:gd name="T52" fmla="*/ 2147483647 w 68"/>
                <a:gd name="T53" fmla="*/ 2147483647 h 81"/>
                <a:gd name="T54" fmla="*/ 2147483647 w 68"/>
                <a:gd name="T55" fmla="*/ 2147483647 h 81"/>
                <a:gd name="T56" fmla="*/ 2147483647 w 68"/>
                <a:gd name="T57" fmla="*/ 2147483647 h 8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68"/>
                <a:gd name="T88" fmla="*/ 0 h 81"/>
                <a:gd name="T89" fmla="*/ 68 w 68"/>
                <a:gd name="T90" fmla="*/ 81 h 81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68" h="81">
                  <a:moveTo>
                    <a:pt x="31" y="81"/>
                  </a:moveTo>
                  <a:lnTo>
                    <a:pt x="40" y="75"/>
                  </a:lnTo>
                  <a:lnTo>
                    <a:pt x="43" y="66"/>
                  </a:lnTo>
                  <a:lnTo>
                    <a:pt x="48" y="55"/>
                  </a:lnTo>
                  <a:lnTo>
                    <a:pt x="68" y="41"/>
                  </a:lnTo>
                  <a:lnTo>
                    <a:pt x="66" y="41"/>
                  </a:lnTo>
                  <a:lnTo>
                    <a:pt x="60" y="41"/>
                  </a:lnTo>
                  <a:lnTo>
                    <a:pt x="51" y="41"/>
                  </a:lnTo>
                  <a:lnTo>
                    <a:pt x="60" y="0"/>
                  </a:lnTo>
                  <a:lnTo>
                    <a:pt x="28" y="3"/>
                  </a:lnTo>
                  <a:lnTo>
                    <a:pt x="28" y="15"/>
                  </a:lnTo>
                  <a:lnTo>
                    <a:pt x="20" y="15"/>
                  </a:lnTo>
                  <a:lnTo>
                    <a:pt x="28" y="20"/>
                  </a:lnTo>
                  <a:lnTo>
                    <a:pt x="37" y="26"/>
                  </a:lnTo>
                  <a:lnTo>
                    <a:pt x="37" y="38"/>
                  </a:lnTo>
                  <a:lnTo>
                    <a:pt x="11" y="41"/>
                  </a:lnTo>
                  <a:lnTo>
                    <a:pt x="5" y="55"/>
                  </a:lnTo>
                  <a:lnTo>
                    <a:pt x="0" y="69"/>
                  </a:lnTo>
                  <a:lnTo>
                    <a:pt x="5" y="72"/>
                  </a:lnTo>
                  <a:lnTo>
                    <a:pt x="14" y="78"/>
                  </a:lnTo>
                  <a:lnTo>
                    <a:pt x="22" y="78"/>
                  </a:lnTo>
                  <a:lnTo>
                    <a:pt x="28" y="78"/>
                  </a:lnTo>
                  <a:lnTo>
                    <a:pt x="31" y="8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24" name="Freeform 727"/>
            <p:cNvSpPr>
              <a:spLocks/>
            </p:cNvSpPr>
            <p:nvPr/>
          </p:nvSpPr>
          <p:spPr bwMode="auto">
            <a:xfrm>
              <a:off x="1782763" y="3581400"/>
              <a:ext cx="65087" cy="42863"/>
            </a:xfrm>
            <a:custGeom>
              <a:avLst/>
              <a:gdLst>
                <a:gd name="T0" fmla="*/ 2147483647 w 40"/>
                <a:gd name="T1" fmla="*/ 2147483647 h 26"/>
                <a:gd name="T2" fmla="*/ 2147483647 w 40"/>
                <a:gd name="T3" fmla="*/ 2147483647 h 26"/>
                <a:gd name="T4" fmla="*/ 2147483647 w 40"/>
                <a:gd name="T5" fmla="*/ 2147483647 h 26"/>
                <a:gd name="T6" fmla="*/ 2147483647 w 40"/>
                <a:gd name="T7" fmla="*/ 2147483647 h 26"/>
                <a:gd name="T8" fmla="*/ 2147483647 w 40"/>
                <a:gd name="T9" fmla="*/ 2147483647 h 26"/>
                <a:gd name="T10" fmla="*/ 2147483647 w 40"/>
                <a:gd name="T11" fmla="*/ 2147483647 h 26"/>
                <a:gd name="T12" fmla="*/ 2147483647 w 40"/>
                <a:gd name="T13" fmla="*/ 2147483647 h 26"/>
                <a:gd name="T14" fmla="*/ 2147483647 w 40"/>
                <a:gd name="T15" fmla="*/ 2147483647 h 26"/>
                <a:gd name="T16" fmla="*/ 2147483647 w 40"/>
                <a:gd name="T17" fmla="*/ 2147483647 h 26"/>
                <a:gd name="T18" fmla="*/ 2147483647 w 40"/>
                <a:gd name="T19" fmla="*/ 2147483647 h 26"/>
                <a:gd name="T20" fmla="*/ 2147483647 w 40"/>
                <a:gd name="T21" fmla="*/ 0 h 26"/>
                <a:gd name="T22" fmla="*/ 2147483647 w 40"/>
                <a:gd name="T23" fmla="*/ 2147483647 h 26"/>
                <a:gd name="T24" fmla="*/ 0 w 40"/>
                <a:gd name="T25" fmla="*/ 2147483647 h 26"/>
                <a:gd name="T26" fmla="*/ 0 w 40"/>
                <a:gd name="T27" fmla="*/ 2147483647 h 26"/>
                <a:gd name="T28" fmla="*/ 2147483647 w 40"/>
                <a:gd name="T29" fmla="*/ 2147483647 h 26"/>
                <a:gd name="T30" fmla="*/ 2147483647 w 40"/>
                <a:gd name="T31" fmla="*/ 2147483647 h 26"/>
                <a:gd name="T32" fmla="*/ 2147483647 w 40"/>
                <a:gd name="T33" fmla="*/ 2147483647 h 26"/>
                <a:gd name="T34" fmla="*/ 2147483647 w 40"/>
                <a:gd name="T35" fmla="*/ 2147483647 h 26"/>
                <a:gd name="T36" fmla="*/ 2147483647 w 40"/>
                <a:gd name="T37" fmla="*/ 2147483647 h 26"/>
                <a:gd name="T38" fmla="*/ 2147483647 w 40"/>
                <a:gd name="T39" fmla="*/ 2147483647 h 26"/>
                <a:gd name="T40" fmla="*/ 2147483647 w 40"/>
                <a:gd name="T41" fmla="*/ 2147483647 h 2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40"/>
                <a:gd name="T64" fmla="*/ 0 h 26"/>
                <a:gd name="T65" fmla="*/ 40 w 40"/>
                <a:gd name="T66" fmla="*/ 26 h 2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40" h="26">
                  <a:moveTo>
                    <a:pt x="26" y="23"/>
                  </a:moveTo>
                  <a:lnTo>
                    <a:pt x="26" y="23"/>
                  </a:lnTo>
                  <a:lnTo>
                    <a:pt x="32" y="26"/>
                  </a:lnTo>
                  <a:lnTo>
                    <a:pt x="34" y="26"/>
                  </a:lnTo>
                  <a:lnTo>
                    <a:pt x="37" y="23"/>
                  </a:lnTo>
                  <a:lnTo>
                    <a:pt x="40" y="15"/>
                  </a:lnTo>
                  <a:lnTo>
                    <a:pt x="37" y="9"/>
                  </a:lnTo>
                  <a:lnTo>
                    <a:pt x="26" y="12"/>
                  </a:lnTo>
                  <a:lnTo>
                    <a:pt x="11" y="0"/>
                  </a:lnTo>
                  <a:lnTo>
                    <a:pt x="6" y="6"/>
                  </a:lnTo>
                  <a:lnTo>
                    <a:pt x="0" y="15"/>
                  </a:lnTo>
                  <a:lnTo>
                    <a:pt x="9" y="17"/>
                  </a:lnTo>
                  <a:lnTo>
                    <a:pt x="14" y="20"/>
                  </a:lnTo>
                  <a:lnTo>
                    <a:pt x="20" y="23"/>
                  </a:lnTo>
                  <a:lnTo>
                    <a:pt x="26" y="2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25" name="Freeform 728"/>
            <p:cNvSpPr>
              <a:spLocks/>
            </p:cNvSpPr>
            <p:nvPr/>
          </p:nvSpPr>
          <p:spPr bwMode="auto">
            <a:xfrm>
              <a:off x="2478088" y="5383213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0 w 1"/>
                <a:gd name="T5" fmla="*/ 0 h 1"/>
                <a:gd name="T6" fmla="*/ 0 w 1"/>
                <a:gd name="T7" fmla="*/ 0 h 1"/>
                <a:gd name="T8" fmla="*/ 0 w 1"/>
                <a:gd name="T9" fmla="*/ 0 h 1"/>
                <a:gd name="T10" fmla="*/ 0 w 1"/>
                <a:gd name="T11" fmla="*/ 0 h 1"/>
                <a:gd name="T12" fmla="*/ 0 w 1"/>
                <a:gd name="T13" fmla="*/ 0 h 1"/>
                <a:gd name="T14" fmla="*/ 0 w 1"/>
                <a:gd name="T15" fmla="*/ 0 h 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"/>
                <a:gd name="T25" fmla="*/ 0 h 1"/>
                <a:gd name="T26" fmla="*/ 1 w 1"/>
                <a:gd name="T27" fmla="*/ 1 h 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" h="1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26" name="Freeform 729"/>
            <p:cNvSpPr>
              <a:spLocks/>
            </p:cNvSpPr>
            <p:nvPr/>
          </p:nvSpPr>
          <p:spPr bwMode="auto">
            <a:xfrm>
              <a:off x="323850" y="2354263"/>
              <a:ext cx="101600" cy="36512"/>
            </a:xfrm>
            <a:custGeom>
              <a:avLst/>
              <a:gdLst>
                <a:gd name="T0" fmla="*/ 2147483647 w 63"/>
                <a:gd name="T1" fmla="*/ 2147483647 h 23"/>
                <a:gd name="T2" fmla="*/ 2147483647 w 63"/>
                <a:gd name="T3" fmla="*/ 2147483647 h 23"/>
                <a:gd name="T4" fmla="*/ 2147483647 w 63"/>
                <a:gd name="T5" fmla="*/ 2147483647 h 23"/>
                <a:gd name="T6" fmla="*/ 2147483647 w 63"/>
                <a:gd name="T7" fmla="*/ 2147483647 h 23"/>
                <a:gd name="T8" fmla="*/ 2147483647 w 63"/>
                <a:gd name="T9" fmla="*/ 2147483647 h 23"/>
                <a:gd name="T10" fmla="*/ 2147483647 w 63"/>
                <a:gd name="T11" fmla="*/ 2147483647 h 23"/>
                <a:gd name="T12" fmla="*/ 2147483647 w 63"/>
                <a:gd name="T13" fmla="*/ 2147483647 h 23"/>
                <a:gd name="T14" fmla="*/ 2147483647 w 63"/>
                <a:gd name="T15" fmla="*/ 0 h 23"/>
                <a:gd name="T16" fmla="*/ 2147483647 w 63"/>
                <a:gd name="T17" fmla="*/ 2147483647 h 23"/>
                <a:gd name="T18" fmla="*/ 2147483647 w 63"/>
                <a:gd name="T19" fmla="*/ 0 h 23"/>
                <a:gd name="T20" fmla="*/ 2147483647 w 63"/>
                <a:gd name="T21" fmla="*/ 2147483647 h 23"/>
                <a:gd name="T22" fmla="*/ 2147483647 w 63"/>
                <a:gd name="T23" fmla="*/ 2147483647 h 23"/>
                <a:gd name="T24" fmla="*/ 2147483647 w 63"/>
                <a:gd name="T25" fmla="*/ 2147483647 h 23"/>
                <a:gd name="T26" fmla="*/ 2147483647 w 63"/>
                <a:gd name="T27" fmla="*/ 2147483647 h 23"/>
                <a:gd name="T28" fmla="*/ 2147483647 w 63"/>
                <a:gd name="T29" fmla="*/ 2147483647 h 23"/>
                <a:gd name="T30" fmla="*/ 2147483647 w 63"/>
                <a:gd name="T31" fmla="*/ 2147483647 h 23"/>
                <a:gd name="T32" fmla="*/ 2147483647 w 63"/>
                <a:gd name="T33" fmla="*/ 2147483647 h 23"/>
                <a:gd name="T34" fmla="*/ 2147483647 w 63"/>
                <a:gd name="T35" fmla="*/ 2147483647 h 23"/>
                <a:gd name="T36" fmla="*/ 2147483647 w 63"/>
                <a:gd name="T37" fmla="*/ 2147483647 h 23"/>
                <a:gd name="T38" fmla="*/ 0 w 63"/>
                <a:gd name="T39" fmla="*/ 2147483647 h 23"/>
                <a:gd name="T40" fmla="*/ 2147483647 w 63"/>
                <a:gd name="T41" fmla="*/ 2147483647 h 23"/>
                <a:gd name="T42" fmla="*/ 2147483647 w 63"/>
                <a:gd name="T43" fmla="*/ 2147483647 h 23"/>
                <a:gd name="T44" fmla="*/ 2147483647 w 63"/>
                <a:gd name="T45" fmla="*/ 2147483647 h 23"/>
                <a:gd name="T46" fmla="*/ 2147483647 w 63"/>
                <a:gd name="T47" fmla="*/ 2147483647 h 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63"/>
                <a:gd name="T73" fmla="*/ 0 h 23"/>
                <a:gd name="T74" fmla="*/ 63 w 63"/>
                <a:gd name="T75" fmla="*/ 23 h 23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63" h="23">
                  <a:moveTo>
                    <a:pt x="26" y="17"/>
                  </a:moveTo>
                  <a:lnTo>
                    <a:pt x="37" y="14"/>
                  </a:lnTo>
                  <a:lnTo>
                    <a:pt x="43" y="14"/>
                  </a:lnTo>
                  <a:lnTo>
                    <a:pt x="52" y="11"/>
                  </a:lnTo>
                  <a:lnTo>
                    <a:pt x="55" y="5"/>
                  </a:lnTo>
                  <a:lnTo>
                    <a:pt x="57" y="8"/>
                  </a:lnTo>
                  <a:lnTo>
                    <a:pt x="63" y="5"/>
                  </a:lnTo>
                  <a:lnTo>
                    <a:pt x="60" y="0"/>
                  </a:lnTo>
                  <a:lnTo>
                    <a:pt x="57" y="3"/>
                  </a:lnTo>
                  <a:lnTo>
                    <a:pt x="57" y="0"/>
                  </a:lnTo>
                  <a:lnTo>
                    <a:pt x="52" y="3"/>
                  </a:lnTo>
                  <a:lnTo>
                    <a:pt x="49" y="3"/>
                  </a:lnTo>
                  <a:lnTo>
                    <a:pt x="46" y="8"/>
                  </a:lnTo>
                  <a:lnTo>
                    <a:pt x="37" y="11"/>
                  </a:lnTo>
                  <a:lnTo>
                    <a:pt x="29" y="14"/>
                  </a:lnTo>
                  <a:lnTo>
                    <a:pt x="26" y="11"/>
                  </a:lnTo>
                  <a:lnTo>
                    <a:pt x="17" y="14"/>
                  </a:lnTo>
                  <a:lnTo>
                    <a:pt x="14" y="17"/>
                  </a:lnTo>
                  <a:lnTo>
                    <a:pt x="11" y="17"/>
                  </a:lnTo>
                  <a:lnTo>
                    <a:pt x="0" y="23"/>
                  </a:lnTo>
                  <a:lnTo>
                    <a:pt x="11" y="20"/>
                  </a:lnTo>
                  <a:lnTo>
                    <a:pt x="20" y="17"/>
                  </a:lnTo>
                  <a:lnTo>
                    <a:pt x="23" y="14"/>
                  </a:lnTo>
                  <a:lnTo>
                    <a:pt x="26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27" name="Freihandform 3"/>
            <p:cNvSpPr>
              <a:spLocks/>
            </p:cNvSpPr>
            <p:nvPr/>
          </p:nvSpPr>
          <p:spPr bwMode="auto">
            <a:xfrm>
              <a:off x="7427913" y="2684463"/>
              <a:ext cx="142875" cy="166687"/>
            </a:xfrm>
            <a:custGeom>
              <a:avLst/>
              <a:gdLst>
                <a:gd name="T0" fmla="*/ 0 w 142875"/>
                <a:gd name="T1" fmla="*/ 97631 h 166687"/>
                <a:gd name="T2" fmla="*/ 40481 w 142875"/>
                <a:gd name="T3" fmla="*/ 47625 h 166687"/>
                <a:gd name="T4" fmla="*/ 40481 w 142875"/>
                <a:gd name="T5" fmla="*/ 35719 h 166687"/>
                <a:gd name="T6" fmla="*/ 80962 w 142875"/>
                <a:gd name="T7" fmla="*/ 52387 h 166687"/>
                <a:gd name="T8" fmla="*/ 71437 w 142875"/>
                <a:gd name="T9" fmla="*/ 30956 h 166687"/>
                <a:gd name="T10" fmla="*/ 85725 w 142875"/>
                <a:gd name="T11" fmla="*/ 26194 h 166687"/>
                <a:gd name="T12" fmla="*/ 95250 w 142875"/>
                <a:gd name="T13" fmla="*/ 11906 h 166687"/>
                <a:gd name="T14" fmla="*/ 95250 w 142875"/>
                <a:gd name="T15" fmla="*/ 0 h 166687"/>
                <a:gd name="T16" fmla="*/ 114300 w 142875"/>
                <a:gd name="T17" fmla="*/ 7144 h 166687"/>
                <a:gd name="T18" fmla="*/ 126206 w 142875"/>
                <a:gd name="T19" fmla="*/ 0 h 166687"/>
                <a:gd name="T20" fmla="*/ 142875 w 142875"/>
                <a:gd name="T21" fmla="*/ 9525 h 166687"/>
                <a:gd name="T22" fmla="*/ 111919 w 142875"/>
                <a:gd name="T23" fmla="*/ 40481 h 166687"/>
                <a:gd name="T24" fmla="*/ 128587 w 142875"/>
                <a:gd name="T25" fmla="*/ 66675 h 166687"/>
                <a:gd name="T26" fmla="*/ 104775 w 142875"/>
                <a:gd name="T27" fmla="*/ 92869 h 166687"/>
                <a:gd name="T28" fmla="*/ 83344 w 142875"/>
                <a:gd name="T29" fmla="*/ 95250 h 166687"/>
                <a:gd name="T30" fmla="*/ 88106 w 142875"/>
                <a:gd name="T31" fmla="*/ 114300 h 166687"/>
                <a:gd name="T32" fmla="*/ 119062 w 142875"/>
                <a:gd name="T33" fmla="*/ 142875 h 166687"/>
                <a:gd name="T34" fmla="*/ 104775 w 142875"/>
                <a:gd name="T35" fmla="*/ 152400 h 166687"/>
                <a:gd name="T36" fmla="*/ 88106 w 142875"/>
                <a:gd name="T37" fmla="*/ 166687 h 166687"/>
                <a:gd name="T38" fmla="*/ 66675 w 142875"/>
                <a:gd name="T39" fmla="*/ 161925 h 166687"/>
                <a:gd name="T40" fmla="*/ 45244 w 142875"/>
                <a:gd name="T41" fmla="*/ 157162 h 166687"/>
                <a:gd name="T42" fmla="*/ 40481 w 142875"/>
                <a:gd name="T43" fmla="*/ 145256 h 166687"/>
                <a:gd name="T44" fmla="*/ 52387 w 142875"/>
                <a:gd name="T45" fmla="*/ 135731 h 166687"/>
                <a:gd name="T46" fmla="*/ 0 w 142875"/>
                <a:gd name="T47" fmla="*/ 97631 h 166687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42875"/>
                <a:gd name="T73" fmla="*/ 0 h 166687"/>
                <a:gd name="T74" fmla="*/ 142875 w 142875"/>
                <a:gd name="T75" fmla="*/ 166687 h 166687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42875" h="166687">
                  <a:moveTo>
                    <a:pt x="0" y="97631"/>
                  </a:moveTo>
                  <a:lnTo>
                    <a:pt x="40481" y="47625"/>
                  </a:lnTo>
                  <a:lnTo>
                    <a:pt x="40481" y="35719"/>
                  </a:lnTo>
                  <a:lnTo>
                    <a:pt x="80962" y="52387"/>
                  </a:lnTo>
                  <a:lnTo>
                    <a:pt x="71437" y="30956"/>
                  </a:lnTo>
                  <a:lnTo>
                    <a:pt x="85725" y="26194"/>
                  </a:lnTo>
                  <a:lnTo>
                    <a:pt x="95250" y="11906"/>
                  </a:lnTo>
                  <a:lnTo>
                    <a:pt x="95250" y="0"/>
                  </a:lnTo>
                  <a:lnTo>
                    <a:pt x="114300" y="7144"/>
                  </a:lnTo>
                  <a:lnTo>
                    <a:pt x="126206" y="0"/>
                  </a:lnTo>
                  <a:lnTo>
                    <a:pt x="142875" y="9525"/>
                  </a:lnTo>
                  <a:lnTo>
                    <a:pt x="111919" y="40481"/>
                  </a:lnTo>
                  <a:lnTo>
                    <a:pt x="128587" y="66675"/>
                  </a:lnTo>
                  <a:lnTo>
                    <a:pt x="104775" y="92869"/>
                  </a:lnTo>
                  <a:lnTo>
                    <a:pt x="83344" y="95250"/>
                  </a:lnTo>
                  <a:lnTo>
                    <a:pt x="88106" y="114300"/>
                  </a:lnTo>
                  <a:lnTo>
                    <a:pt x="119062" y="142875"/>
                  </a:lnTo>
                  <a:lnTo>
                    <a:pt x="104775" y="152400"/>
                  </a:lnTo>
                  <a:lnTo>
                    <a:pt x="88106" y="166687"/>
                  </a:lnTo>
                  <a:lnTo>
                    <a:pt x="66675" y="161925"/>
                  </a:lnTo>
                  <a:lnTo>
                    <a:pt x="45244" y="157162"/>
                  </a:lnTo>
                  <a:lnTo>
                    <a:pt x="40481" y="145256"/>
                  </a:lnTo>
                  <a:lnTo>
                    <a:pt x="52387" y="135731"/>
                  </a:lnTo>
                  <a:lnTo>
                    <a:pt x="0" y="9763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0" tIns="0" rIns="0" bIns="0"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</p:grpSp>
      <p:sp>
        <p:nvSpPr>
          <p:cNvPr id="747" name="Rectangle 2"/>
          <p:cNvSpPr>
            <a:spLocks noChangeArrowheads="1"/>
          </p:cNvSpPr>
          <p:nvPr/>
        </p:nvSpPr>
        <p:spPr bwMode="gray">
          <a:xfrm>
            <a:off x="376509" y="244920"/>
            <a:ext cx="11917455" cy="11895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T-SYSTEM</a:t>
            </a:r>
            <a:r>
              <a:rPr lang="hu-HU" sz="2800" dirty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S</a:t>
            </a:r>
            <a:r>
              <a:rPr lang="en-US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 INTERNATIONAL </a:t>
            </a:r>
            <a:endParaRPr lang="en-US" sz="2800" dirty="0">
              <a:solidFill>
                <a:srgbClr val="E20074"/>
              </a:solidFill>
              <a:latin typeface="+mj-lt"/>
              <a:ea typeface="MS PGothic" pitchFamily="34" charset="-128"/>
              <a:cs typeface="Arial" charset="0"/>
            </a:endParaRPr>
          </a:p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spc="-5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D</a:t>
            </a:r>
            <a:r>
              <a:rPr lang="hu-HU" sz="2800" spc="-5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EUTSCHE TELEKOM</a:t>
            </a:r>
            <a:r>
              <a:rPr lang="en-US" sz="2800" spc="-5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’S </a:t>
            </a:r>
            <a:r>
              <a:rPr lang="en-US" sz="2800" spc="-50" dirty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SUBSIDIARY FOR MAJOR </a:t>
            </a:r>
            <a:r>
              <a:rPr lang="en-US" sz="2800" spc="-5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CORPORATIONS</a:t>
            </a:r>
            <a:r>
              <a:rPr lang="en-US" sz="2800" dirty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/>
            </a:r>
            <a:br>
              <a:rPr lang="en-US" sz="2800" dirty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</a:br>
            <a:r>
              <a:rPr lang="en-US" sz="2800" dirty="0">
                <a:solidFill>
                  <a:srgbClr val="E20074"/>
                </a:solidFill>
                <a:ea typeface="MS PGothic" pitchFamily="34" charset="-128"/>
                <a:cs typeface="Arial" charset="0"/>
              </a:rPr>
              <a:t>A GLOBAL PLAYER WITH GLOBAL RESOURCES</a:t>
            </a:r>
            <a:endParaRPr lang="de-DE" sz="2800" dirty="0">
              <a:solidFill>
                <a:srgbClr val="E20074"/>
              </a:solidFill>
              <a:ea typeface="MS PGothic" pitchFamily="34" charset="-128"/>
              <a:cs typeface="Arial" charset="0"/>
            </a:endParaRPr>
          </a:p>
        </p:txBody>
      </p:sp>
      <p:grpSp>
        <p:nvGrpSpPr>
          <p:cNvPr id="837" name="Group 836"/>
          <p:cNvGrpSpPr/>
          <p:nvPr/>
        </p:nvGrpSpPr>
        <p:grpSpPr>
          <a:xfrm>
            <a:off x="403727" y="2764576"/>
            <a:ext cx="10706275" cy="2959579"/>
            <a:chOff x="320400" y="2925763"/>
            <a:chExt cx="8496575" cy="3132137"/>
          </a:xfrm>
        </p:grpSpPr>
        <p:grpSp>
          <p:nvGrpSpPr>
            <p:cNvPr id="836" name="Group 835"/>
            <p:cNvGrpSpPr/>
            <p:nvPr/>
          </p:nvGrpSpPr>
          <p:grpSpPr>
            <a:xfrm>
              <a:off x="320400" y="2925763"/>
              <a:ext cx="8496575" cy="3132137"/>
              <a:chOff x="320400" y="2925763"/>
              <a:chExt cx="8496575" cy="3132137"/>
            </a:xfrm>
          </p:grpSpPr>
          <p:grpSp>
            <p:nvGrpSpPr>
              <p:cNvPr id="818" name="Group 817"/>
              <p:cNvGrpSpPr/>
              <p:nvPr/>
            </p:nvGrpSpPr>
            <p:grpSpPr>
              <a:xfrm>
                <a:off x="320400" y="2925763"/>
                <a:ext cx="8496575" cy="3132137"/>
                <a:chOff x="320400" y="2925763"/>
                <a:chExt cx="8496575" cy="3132137"/>
              </a:xfrm>
            </p:grpSpPr>
            <p:grpSp>
              <p:nvGrpSpPr>
                <p:cNvPr id="819" name="Group 818"/>
                <p:cNvGrpSpPr/>
                <p:nvPr/>
              </p:nvGrpSpPr>
              <p:grpSpPr>
                <a:xfrm>
                  <a:off x="320400" y="2925763"/>
                  <a:ext cx="8496575" cy="3132137"/>
                  <a:chOff x="320400" y="2925763"/>
                  <a:chExt cx="8496575" cy="3132137"/>
                </a:xfrm>
              </p:grpSpPr>
              <p:grpSp>
                <p:nvGrpSpPr>
                  <p:cNvPr id="821" name="Group 820"/>
                  <p:cNvGrpSpPr/>
                  <p:nvPr/>
                </p:nvGrpSpPr>
                <p:grpSpPr>
                  <a:xfrm>
                    <a:off x="320400" y="2925763"/>
                    <a:ext cx="8496575" cy="3132137"/>
                    <a:chOff x="320400" y="2925763"/>
                    <a:chExt cx="8496575" cy="3132137"/>
                  </a:xfrm>
                </p:grpSpPr>
                <p:sp>
                  <p:nvSpPr>
                    <p:cNvPr id="823" name="Rechteck 10"/>
                    <p:cNvSpPr/>
                    <p:nvPr/>
                  </p:nvSpPr>
                  <p:spPr bwMode="auto">
                    <a:xfrm>
                      <a:off x="320400" y="2925763"/>
                      <a:ext cx="2555875" cy="1439862"/>
                    </a:xfrm>
                    <a:prstGeom prst="rect">
                      <a:avLst/>
                    </a:prstGeom>
                    <a:solidFill>
                      <a:srgbClr val="E20074"/>
                    </a:solidFill>
                  </p:spPr>
                  <p:txBody>
                    <a:bodyPr/>
                    <a:lstStyle/>
                    <a:p>
                      <a:pPr marL="288000" lvl="1" defTabSz="914400" fontAlgn="auto">
                        <a:lnSpc>
                          <a:spcPct val="100000"/>
                        </a:lnSpc>
                        <a:spcBef>
                          <a:spcPts val="420"/>
                        </a:spcBef>
                        <a:spcAft>
                          <a:spcPts val="300"/>
                        </a:spcAft>
                        <a:buClr>
                          <a:srgbClr val="646464"/>
                        </a:buClr>
                        <a:buSzPct val="75000"/>
                        <a:buFontTx/>
                        <a:buNone/>
                        <a:defRPr/>
                      </a:pPr>
                      <a:endParaRPr lang="en-US" kern="0" cap="all">
                        <a:solidFill>
                          <a:srgbClr val="FFFFFF"/>
                        </a:solidFill>
                        <a:latin typeface="Tele-GroteskEEFet" pitchFamily="2" charset="0"/>
                      </a:endParaRPr>
                    </a:p>
                  </p:txBody>
                </p:sp>
                <p:sp>
                  <p:nvSpPr>
                    <p:cNvPr id="824" name="Rectangle 108"/>
                    <p:cNvSpPr>
                      <a:spLocks noChangeArrowheads="1"/>
                    </p:cNvSpPr>
                    <p:nvPr>
                      <p:custDataLst>
                        <p:tags r:id="rId4"/>
                      </p:custDataLst>
                    </p:nvPr>
                  </p:nvSpPr>
                  <p:spPr bwMode="gray">
                    <a:xfrm>
                      <a:off x="320400" y="2925763"/>
                      <a:ext cx="2476500" cy="92233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lIns="108000" tIns="72000" rIns="0" bIns="46800"/>
                    <a:lstStyle/>
                    <a:p>
                      <a:pPr marL="0" lvl="1" algn="l" defTabSz="901700" eaLnBrk="0" fontAlgn="auto" hangingPunct="0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FontTx/>
                        <a:buNone/>
                        <a:defRPr/>
                      </a:pPr>
                      <a:r>
                        <a:rPr lang="en-US" sz="2400" kern="0" dirty="0" smtClean="0">
                          <a:solidFill>
                            <a:srgbClr val="FFFFFF"/>
                          </a:solidFill>
                          <a:latin typeface="+mj-lt"/>
                        </a:rPr>
                        <a:t>INTERNATIONAL</a:t>
                      </a:r>
                      <a:br>
                        <a:rPr lang="en-US" sz="2400" kern="0" dirty="0" smtClean="0">
                          <a:solidFill>
                            <a:srgbClr val="FFFFFF"/>
                          </a:solidFill>
                          <a:latin typeface="+mj-lt"/>
                        </a:rPr>
                      </a:br>
                      <a:r>
                        <a:rPr lang="en-US" sz="2400" kern="0" dirty="0" smtClean="0">
                          <a:solidFill>
                            <a:srgbClr val="FFFFFF"/>
                          </a:solidFill>
                          <a:latin typeface="+mj-lt"/>
                        </a:rPr>
                        <a:t>PRESENCE</a:t>
                      </a:r>
                      <a:endParaRPr lang="en-US" sz="1400" kern="0" dirty="0">
                        <a:solidFill>
                          <a:srgbClr val="FFFFFF"/>
                        </a:solidFill>
                        <a:latin typeface="+mj-lt"/>
                      </a:endParaRPr>
                    </a:p>
                  </p:txBody>
                </p:sp>
                <p:sp>
                  <p:nvSpPr>
                    <p:cNvPr id="825" name="Rechteck 13"/>
                    <p:cNvSpPr/>
                    <p:nvPr/>
                  </p:nvSpPr>
                  <p:spPr bwMode="auto">
                    <a:xfrm>
                      <a:off x="320400" y="4618038"/>
                      <a:ext cx="2555875" cy="1439862"/>
                    </a:xfrm>
                    <a:prstGeom prst="rect">
                      <a:avLst/>
                    </a:prstGeom>
                    <a:solidFill>
                      <a:srgbClr val="E20074"/>
                    </a:solidFill>
                  </p:spPr>
                  <p:txBody>
                    <a:bodyPr/>
                    <a:lstStyle/>
                    <a:p>
                      <a:pPr marL="288000" lvl="1" defTabSz="914400" fontAlgn="auto">
                        <a:lnSpc>
                          <a:spcPct val="100000"/>
                        </a:lnSpc>
                        <a:spcBef>
                          <a:spcPts val="420"/>
                        </a:spcBef>
                        <a:spcAft>
                          <a:spcPts val="300"/>
                        </a:spcAft>
                        <a:buClr>
                          <a:srgbClr val="646464"/>
                        </a:buClr>
                        <a:buSzPct val="75000"/>
                        <a:buFontTx/>
                        <a:buNone/>
                        <a:defRPr/>
                      </a:pPr>
                      <a:endParaRPr lang="en-US" kern="0" cap="all">
                        <a:solidFill>
                          <a:srgbClr val="FFFFFF"/>
                        </a:solidFill>
                        <a:latin typeface="Tele-GroteskEEFet" pitchFamily="2" charset="0"/>
                      </a:endParaRPr>
                    </a:p>
                  </p:txBody>
                </p:sp>
                <p:sp>
                  <p:nvSpPr>
                    <p:cNvPr id="826" name="Rectangle 108"/>
                    <p:cNvSpPr>
                      <a:spLocks noChangeArrowheads="1"/>
                    </p:cNvSpPr>
                    <p:nvPr>
                      <p:custDataLst>
                        <p:tags r:id="rId5"/>
                      </p:custDataLst>
                    </p:nvPr>
                  </p:nvSpPr>
                  <p:spPr bwMode="gray">
                    <a:xfrm>
                      <a:off x="320400" y="4618038"/>
                      <a:ext cx="2495550" cy="44132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lIns="108000" tIns="36000" rIns="180000" bIns="46800"/>
                    <a:lstStyle/>
                    <a:p>
                      <a:pPr marL="0" lvl="1" algn="l" defTabSz="901700" eaLnBrk="0" fontAlgn="auto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FontTx/>
                        <a:buNone/>
                        <a:defRPr/>
                      </a:pPr>
                      <a:r>
                        <a:rPr lang="en-US" sz="2400" kern="0" dirty="0">
                          <a:solidFill>
                            <a:srgbClr val="FFFFFF"/>
                          </a:solidFill>
                          <a:latin typeface="+mj-lt"/>
                        </a:rPr>
                        <a:t>FOCUS</a:t>
                      </a:r>
                    </a:p>
                  </p:txBody>
                </p:sp>
                <p:sp>
                  <p:nvSpPr>
                    <p:cNvPr id="827" name="Rechteck 16"/>
                    <p:cNvSpPr/>
                    <p:nvPr/>
                  </p:nvSpPr>
                  <p:spPr bwMode="auto">
                    <a:xfrm>
                      <a:off x="6261100" y="2925763"/>
                      <a:ext cx="2555875" cy="1439862"/>
                    </a:xfrm>
                    <a:prstGeom prst="rect">
                      <a:avLst/>
                    </a:prstGeom>
                    <a:solidFill>
                      <a:srgbClr val="E20074"/>
                    </a:solidFill>
                  </p:spPr>
                  <p:txBody>
                    <a:bodyPr/>
                    <a:lstStyle/>
                    <a:p>
                      <a:pPr marL="288000" lvl="1" defTabSz="914400" fontAlgn="auto">
                        <a:lnSpc>
                          <a:spcPct val="100000"/>
                        </a:lnSpc>
                        <a:spcBef>
                          <a:spcPts val="420"/>
                        </a:spcBef>
                        <a:spcAft>
                          <a:spcPts val="300"/>
                        </a:spcAft>
                        <a:buClr>
                          <a:srgbClr val="646464"/>
                        </a:buClr>
                        <a:buSzPct val="75000"/>
                        <a:buFontTx/>
                        <a:buNone/>
                        <a:defRPr/>
                      </a:pPr>
                      <a:endParaRPr lang="en-US" kern="0" cap="all">
                        <a:solidFill>
                          <a:srgbClr val="FFFFFF"/>
                        </a:solidFill>
                        <a:latin typeface="Tele-GroteskEEFet" pitchFamily="2" charset="0"/>
                      </a:endParaRPr>
                    </a:p>
                  </p:txBody>
                </p:sp>
                <p:sp>
                  <p:nvSpPr>
                    <p:cNvPr id="828" name="Rectangle 108"/>
                    <p:cNvSpPr>
                      <a:spLocks noChangeArrowheads="1"/>
                    </p:cNvSpPr>
                    <p:nvPr>
                      <p:custDataLst>
                        <p:tags r:id="rId6"/>
                      </p:custDataLst>
                    </p:nvPr>
                  </p:nvSpPr>
                  <p:spPr bwMode="gray">
                    <a:xfrm>
                      <a:off x="6261100" y="2925763"/>
                      <a:ext cx="2268538" cy="45402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lIns="108000" tIns="36000" rIns="0" bIns="46800"/>
                    <a:lstStyle/>
                    <a:p>
                      <a:pPr marL="0" lvl="1" algn="l" defTabSz="901700" eaLnBrk="0" fontAlgn="auto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FontTx/>
                        <a:buNone/>
                        <a:defRPr/>
                      </a:pPr>
                      <a:r>
                        <a:rPr lang="en-US" sz="2400" kern="0" dirty="0">
                          <a:solidFill>
                            <a:srgbClr val="FFFFFF"/>
                          </a:solidFill>
                          <a:latin typeface="+mj-lt"/>
                        </a:rPr>
                        <a:t>REVENUE</a:t>
                      </a:r>
                    </a:p>
                  </p:txBody>
                </p:sp>
                <p:sp>
                  <p:nvSpPr>
                    <p:cNvPr id="829" name="Rechteck 19"/>
                    <p:cNvSpPr/>
                    <p:nvPr/>
                  </p:nvSpPr>
                  <p:spPr bwMode="auto">
                    <a:xfrm>
                      <a:off x="6261100" y="4618038"/>
                      <a:ext cx="2555875" cy="1439862"/>
                    </a:xfrm>
                    <a:prstGeom prst="rect">
                      <a:avLst/>
                    </a:prstGeom>
                    <a:solidFill>
                      <a:srgbClr val="E20074"/>
                    </a:solidFill>
                  </p:spPr>
                  <p:txBody>
                    <a:bodyPr/>
                    <a:lstStyle/>
                    <a:p>
                      <a:pPr marL="288000" lvl="1" defTabSz="914400" fontAlgn="auto">
                        <a:lnSpc>
                          <a:spcPct val="100000"/>
                        </a:lnSpc>
                        <a:spcBef>
                          <a:spcPts val="420"/>
                        </a:spcBef>
                        <a:spcAft>
                          <a:spcPts val="300"/>
                        </a:spcAft>
                        <a:buClr>
                          <a:srgbClr val="646464"/>
                        </a:buClr>
                        <a:buSzPct val="75000"/>
                        <a:buFontTx/>
                        <a:buNone/>
                        <a:defRPr/>
                      </a:pPr>
                      <a:endParaRPr lang="en-US" kern="0" cap="all">
                        <a:solidFill>
                          <a:srgbClr val="FFFFFF"/>
                        </a:solidFill>
                        <a:latin typeface="Tele-GroteskEEFet" pitchFamily="2" charset="0"/>
                      </a:endParaRPr>
                    </a:p>
                  </p:txBody>
                </p:sp>
                <p:sp>
                  <p:nvSpPr>
                    <p:cNvPr id="830" name="Rectangle 108"/>
                    <p:cNvSpPr>
                      <a:spLocks noChangeArrowheads="1"/>
                    </p:cNvSpPr>
                    <p:nvPr>
                      <p:custDataLst>
                        <p:tags r:id="rId7"/>
                      </p:custDataLst>
                    </p:nvPr>
                  </p:nvSpPr>
                  <p:spPr bwMode="gray">
                    <a:xfrm>
                      <a:off x="6261100" y="4618038"/>
                      <a:ext cx="2447925" cy="54292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lIns="108000" tIns="36000" rIns="0" bIns="46800"/>
                    <a:lstStyle/>
                    <a:p>
                      <a:pPr marL="0" lvl="1" algn="l" defTabSz="901700" eaLnBrk="0" fontAlgn="auto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FontTx/>
                        <a:buNone/>
                        <a:defRPr/>
                      </a:pPr>
                      <a:r>
                        <a:rPr lang="en-US" sz="2400" kern="0" dirty="0">
                          <a:solidFill>
                            <a:srgbClr val="FFFFFF"/>
                          </a:solidFill>
                          <a:latin typeface="+mj-lt"/>
                        </a:rPr>
                        <a:t>EMPLOYEES</a:t>
                      </a:r>
                    </a:p>
                  </p:txBody>
                </p:sp>
                <p:sp>
                  <p:nvSpPr>
                    <p:cNvPr id="831" name="Rechteck 22"/>
                    <p:cNvSpPr/>
                    <p:nvPr/>
                  </p:nvSpPr>
                  <p:spPr bwMode="auto">
                    <a:xfrm>
                      <a:off x="3052763" y="4041775"/>
                      <a:ext cx="3062287" cy="2016125"/>
                    </a:xfrm>
                    <a:prstGeom prst="rect">
                      <a:avLst/>
                    </a:prstGeom>
                    <a:solidFill>
                      <a:srgbClr val="E20074"/>
                    </a:solidFill>
                  </p:spPr>
                  <p:txBody>
                    <a:bodyPr/>
                    <a:lstStyle/>
                    <a:p>
                      <a:pPr marL="288000" lvl="1" defTabSz="914400" fontAlgn="auto">
                        <a:lnSpc>
                          <a:spcPct val="100000"/>
                        </a:lnSpc>
                        <a:spcBef>
                          <a:spcPts val="420"/>
                        </a:spcBef>
                        <a:spcAft>
                          <a:spcPts val="300"/>
                        </a:spcAft>
                        <a:buClr>
                          <a:srgbClr val="646464"/>
                        </a:buClr>
                        <a:buSzPct val="75000"/>
                        <a:buFontTx/>
                        <a:buNone/>
                        <a:defRPr/>
                      </a:pPr>
                      <a:endParaRPr lang="en-US" kern="0" cap="all">
                        <a:solidFill>
                          <a:srgbClr val="FFFFFF"/>
                        </a:solidFill>
                        <a:latin typeface="Tele-GroteskEEFet" pitchFamily="2" charset="0"/>
                      </a:endParaRPr>
                    </a:p>
                  </p:txBody>
                </p:sp>
                <p:sp>
                  <p:nvSpPr>
                    <p:cNvPr id="832" name="Rectangle 108"/>
                    <p:cNvSpPr>
                      <a:spLocks noChangeArrowheads="1"/>
                    </p:cNvSpPr>
                    <p:nvPr>
                      <p:custDataLst>
                        <p:tags r:id="rId8"/>
                      </p:custDataLst>
                    </p:nvPr>
                  </p:nvSpPr>
                  <p:spPr bwMode="gray">
                    <a:xfrm>
                      <a:off x="3144838" y="4041775"/>
                      <a:ext cx="2774950" cy="514350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lIns="108000" tIns="36000" rIns="0" bIns="46800"/>
                    <a:lstStyle/>
                    <a:p>
                      <a:pPr marL="0" lvl="1" algn="l" defTabSz="901700" ea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FontTx/>
                        <a:buNone/>
                      </a:pPr>
                      <a:r>
                        <a:rPr lang="en-US" sz="2400" kern="0" dirty="0">
                          <a:solidFill>
                            <a:srgbClr val="FFFFFF"/>
                          </a:solidFill>
                          <a:latin typeface="+mj-lt"/>
                        </a:rPr>
                        <a:t>MARKET POSITION</a:t>
                      </a:r>
                    </a:p>
                  </p:txBody>
                </p:sp>
                <p:sp>
                  <p:nvSpPr>
                    <p:cNvPr id="833" name="Rectangle 108"/>
                    <p:cNvSpPr>
                      <a:spLocks noChangeArrowheads="1"/>
                    </p:cNvSpPr>
                    <p:nvPr>
                      <p:custDataLst>
                        <p:tags r:id="rId9"/>
                      </p:custDataLst>
                    </p:nvPr>
                  </p:nvSpPr>
                  <p:spPr bwMode="gray">
                    <a:xfrm>
                      <a:off x="320400" y="5040313"/>
                      <a:ext cx="2495550" cy="92233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lIns="108000" tIns="36000" rIns="180000" bIns="46800"/>
                    <a:lstStyle/>
                    <a:p>
                      <a:pPr marL="0" lvl="1" algn="l" defTabSz="901700" eaLnBrk="0" fontAlgn="auto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FontTx/>
                        <a:buNone/>
                        <a:defRPr/>
                      </a:pPr>
                      <a:r>
                        <a:rPr lang="en-US" sz="1400" kern="0" cap="all" dirty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Large corporations, </a:t>
                      </a:r>
                      <a:r>
                        <a:rPr lang="hu-HU" sz="14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/>
                      </a:r>
                      <a:br>
                        <a:rPr lang="hu-HU" sz="14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</a:br>
                      <a:r>
                        <a:rPr lang="en-US" sz="14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multi-national </a:t>
                      </a:r>
                      <a:r>
                        <a:rPr lang="en-US" sz="1400" kern="0" cap="all" dirty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companies, </a:t>
                      </a:r>
                      <a:r>
                        <a:rPr lang="en-US" sz="14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public sector </a:t>
                      </a:r>
                      <a:r>
                        <a:rPr lang="en-US" sz="1400" kern="0" cap="all" dirty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and healthcare organizations</a:t>
                      </a:r>
                    </a:p>
                  </p:txBody>
                </p:sp>
                <p:sp>
                  <p:nvSpPr>
                    <p:cNvPr id="834" name="Rectangle 108"/>
                    <p:cNvSpPr>
                      <a:spLocks noChangeArrowheads="1"/>
                    </p:cNvSpPr>
                    <p:nvPr>
                      <p:custDataLst>
                        <p:tags r:id="rId10"/>
                      </p:custDataLst>
                    </p:nvPr>
                  </p:nvSpPr>
                  <p:spPr bwMode="gray">
                    <a:xfrm>
                      <a:off x="6261100" y="3344863"/>
                      <a:ext cx="2268538" cy="92233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lIns="108000" tIns="36000" rIns="0" bIns="46800"/>
                    <a:lstStyle/>
                    <a:p>
                      <a:pPr marL="0" lvl="1" algn="l" defTabSz="901700" eaLnBrk="0" fontAlgn="auto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FontTx/>
                        <a:buNone/>
                        <a:defRPr/>
                      </a:pPr>
                      <a:r>
                        <a:rPr lang="en-US" sz="14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€</a:t>
                      </a:r>
                      <a:r>
                        <a:rPr lang="hu-HU" sz="14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7,9</a:t>
                      </a:r>
                      <a:r>
                        <a:rPr lang="en-US" sz="1400" kern="0" cap="all" dirty="0" smtClean="0">
                          <a:solidFill>
                            <a:schemeClr val="bg1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 </a:t>
                      </a:r>
                      <a:r>
                        <a:rPr lang="en-US" sz="14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billion*</a:t>
                      </a:r>
                    </a:p>
                    <a:p>
                      <a:pPr marL="0" lvl="1" defTabSz="901700" eaLnBrk="0" fontAlgn="auto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FontTx/>
                        <a:buNone/>
                        <a:defRPr/>
                      </a:pPr>
                      <a:endParaRPr lang="en-US" sz="1400" kern="0" cap="all" dirty="0" smtClean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endParaRPr>
                    </a:p>
                    <a:p>
                      <a:pPr marL="0" lvl="1" algn="l" defTabSz="901700" eaLnBrk="0" fontAlgn="auto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defRPr/>
                      </a:pPr>
                      <a:r>
                        <a:rPr lang="en-US" sz="14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/>
                      </a:r>
                      <a:br>
                        <a:rPr lang="en-US" sz="14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</a:br>
                      <a:r>
                        <a:rPr lang="en-US" sz="10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*201</a:t>
                      </a:r>
                      <a:r>
                        <a:rPr lang="hu-HU" sz="10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6</a:t>
                      </a:r>
                      <a:r>
                        <a:rPr lang="en-US" sz="10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 figures</a:t>
                      </a:r>
                    </a:p>
                    <a:p>
                      <a:pPr marL="0" lvl="1" defTabSz="901700" eaLnBrk="0" fontAlgn="auto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FontTx/>
                        <a:buNone/>
                        <a:defRPr/>
                      </a:pPr>
                      <a:endParaRPr lang="en-US" sz="1400" kern="0" cap="all" dirty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endParaRPr>
                    </a:p>
                  </p:txBody>
                </p:sp>
                <p:sp>
                  <p:nvSpPr>
                    <p:cNvPr id="835" name="Rectangle 108"/>
                    <p:cNvSpPr>
                      <a:spLocks noChangeArrowheads="1"/>
                    </p:cNvSpPr>
                    <p:nvPr>
                      <p:custDataLst>
                        <p:tags r:id="rId11"/>
                      </p:custDataLst>
                    </p:nvPr>
                  </p:nvSpPr>
                  <p:spPr bwMode="gray">
                    <a:xfrm>
                      <a:off x="6261100" y="5040314"/>
                      <a:ext cx="2447925" cy="760412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lIns="108000" tIns="36000" rIns="0" bIns="46800"/>
                    <a:lstStyle/>
                    <a:p>
                      <a:pPr marL="0" lvl="1" algn="l" defTabSz="901700" eaLnBrk="0" fontAlgn="auto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FontTx/>
                        <a:buNone/>
                        <a:defRPr/>
                      </a:pPr>
                      <a:r>
                        <a:rPr lang="en-US" sz="1400" kern="0" cap="all" dirty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Approx. </a:t>
                      </a:r>
                      <a:r>
                        <a:rPr lang="hu-HU" sz="14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43 </a:t>
                      </a:r>
                      <a:r>
                        <a:rPr lang="hu-HU" sz="1400" kern="0" cap="all" dirty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0</a:t>
                      </a:r>
                      <a:r>
                        <a:rPr lang="hu-HU" sz="14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00*</a:t>
                      </a:r>
                      <a:r>
                        <a:rPr lang="en-US" sz="1400" kern="0" cap="all" dirty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/>
                      </a:r>
                      <a:br>
                        <a:rPr lang="en-US" sz="1400" kern="0" cap="all" dirty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</a:br>
                      <a:endParaRPr lang="en-US" sz="1000" kern="0" cap="all" dirty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endParaRPr>
                    </a:p>
                  </p:txBody>
                </p:sp>
              </p:grpSp>
              <p:sp>
                <p:nvSpPr>
                  <p:cNvPr id="822" name="Rectangle 108"/>
                  <p:cNvSpPr>
                    <a:spLocks noChangeArrowheads="1"/>
                  </p:cNvSpPr>
                  <p:nvPr>
                    <p:custDataLst>
                      <p:tags r:id="rId3"/>
                    </p:custDataLst>
                  </p:nvPr>
                </p:nvSpPr>
                <p:spPr bwMode="gray">
                  <a:xfrm>
                    <a:off x="3519438" y="4464050"/>
                    <a:ext cx="2551162" cy="159385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lIns="36000" tIns="36000" rIns="0" bIns="46800"/>
                  <a:lstStyle/>
                  <a:p>
                    <a:pPr marL="0" lvl="1" defTabSz="901700" eaLnBrk="0" hangingPunct="0">
                      <a:spcBef>
                        <a:spcPct val="0"/>
                      </a:spcBef>
                      <a:spcAft>
                        <a:spcPts val="600"/>
                      </a:spcAft>
                      <a:tabLst>
                        <a:tab pos="542925" algn="l"/>
                      </a:tabLst>
                    </a:pPr>
                    <a:r>
                      <a:rPr lang="en-GB" sz="1400" cap="all" spc="-50" dirty="0" smtClean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Information &amp;</a:t>
                    </a:r>
                    <a:r>
                      <a:rPr lang="hu-HU" sz="1400" cap="all" spc="-50" dirty="0" smtClean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 </a:t>
                    </a:r>
                    <a:r>
                      <a:rPr lang="en-GB" sz="1400" cap="all" spc="-50" dirty="0" smtClean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Communication </a:t>
                    </a:r>
                    <a:r>
                      <a:rPr lang="en-GB" sz="1400" cap="all" spc="-50" dirty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Technology</a:t>
                    </a:r>
                    <a:r>
                      <a:rPr lang="en-US" sz="1400" cap="all" spc="-50" dirty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 provider </a:t>
                    </a:r>
                    <a:r>
                      <a:rPr lang="en-US" sz="1400" cap="all" spc="-50" dirty="0" smtClean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in</a:t>
                    </a:r>
                    <a:r>
                      <a:rPr lang="hu-HU" sz="1400" cap="all" spc="-50" dirty="0" smtClean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 </a:t>
                    </a:r>
                    <a:r>
                      <a:rPr lang="en-US" sz="1400" cap="all" spc="-50" dirty="0" smtClean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Germany</a:t>
                    </a:r>
                    <a:endParaRPr lang="en-US" sz="1400" cap="all" spc="-50" dirty="0">
                      <a:solidFill>
                        <a:srgbClr val="FFFFFF"/>
                      </a:solidFill>
                      <a:latin typeface="Tele-GroteskFet" pitchFamily="2" charset="0"/>
                      <a:ea typeface="Tele-GroteskFet" pitchFamily="2" charset="0"/>
                      <a:cs typeface="Tele-GroteskFet" pitchFamily="2" charset="0"/>
                    </a:endParaRPr>
                  </a:p>
                  <a:p>
                    <a:pPr marL="0" lvl="1" algn="l" defTabSz="901700" eaLnBrk="0" hangingPunct="0">
                      <a:lnSpc>
                        <a:spcPct val="100000"/>
                      </a:lnSpc>
                      <a:spcBef>
                        <a:spcPct val="0"/>
                      </a:spcBef>
                      <a:buClrTx/>
                      <a:buFontTx/>
                      <a:buNone/>
                      <a:tabLst>
                        <a:tab pos="542925" algn="l"/>
                      </a:tabLst>
                    </a:pPr>
                    <a:r>
                      <a:rPr lang="en-US" sz="1400" cap="all" dirty="0" smtClean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Project </a:t>
                    </a:r>
                    <a:r>
                      <a:rPr lang="en-US" sz="1400" cap="all" dirty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Services in </a:t>
                    </a:r>
                    <a:r>
                      <a:rPr lang="en-US" sz="1400" cap="all" dirty="0" smtClean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Germany</a:t>
                    </a:r>
                    <a:endParaRPr lang="en-US" sz="1400" cap="all" dirty="0">
                      <a:solidFill>
                        <a:srgbClr val="FFFFFF"/>
                      </a:solidFill>
                      <a:latin typeface="Tele-GroteskFet" pitchFamily="2" charset="0"/>
                      <a:ea typeface="Tele-GroteskFet" pitchFamily="2" charset="0"/>
                      <a:cs typeface="Tele-GroteskFet" pitchFamily="2" charset="0"/>
                    </a:endParaRPr>
                  </a:p>
                  <a:p>
                    <a:pPr marL="0" lvl="1" algn="l" defTabSz="901700" ea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ts val="600"/>
                      </a:spcAft>
                      <a:buClrTx/>
                      <a:buFontTx/>
                      <a:buNone/>
                      <a:tabLst>
                        <a:tab pos="542925" algn="l"/>
                      </a:tabLst>
                    </a:pPr>
                    <a:endParaRPr lang="hu-HU" sz="1400" cap="all" dirty="0">
                      <a:solidFill>
                        <a:srgbClr val="FFFFFF"/>
                      </a:solidFill>
                      <a:latin typeface="Tele-GroteskFet" pitchFamily="2" charset="0"/>
                      <a:ea typeface="Tele-GroteskFet" pitchFamily="2" charset="0"/>
                      <a:cs typeface="Tele-GroteskFet" pitchFamily="2" charset="0"/>
                    </a:endParaRPr>
                  </a:p>
                  <a:p>
                    <a:pPr marL="0" lvl="1" algn="l" defTabSz="901700" ea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ts val="600"/>
                      </a:spcAft>
                      <a:buClrTx/>
                      <a:buFontTx/>
                      <a:buNone/>
                      <a:tabLst>
                        <a:tab pos="542925" algn="l"/>
                      </a:tabLst>
                    </a:pPr>
                    <a:r>
                      <a:rPr lang="en-GB" sz="1400" cap="all" dirty="0" smtClean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Manufacturing in </a:t>
                    </a:r>
                    <a:r>
                      <a:rPr lang="en-GB" sz="1400" cap="all" dirty="0" smtClean="0">
                        <a:solidFill>
                          <a:schemeClr val="bg1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Europe, middle east, Africa</a:t>
                    </a:r>
                    <a:endParaRPr lang="en-GB" sz="1400" cap="all" dirty="0">
                      <a:solidFill>
                        <a:schemeClr val="bg1"/>
                      </a:solidFill>
                      <a:latin typeface="Tele-GroteskFet" pitchFamily="2" charset="0"/>
                      <a:ea typeface="Tele-GroteskFet" pitchFamily="2" charset="0"/>
                      <a:cs typeface="Tele-GroteskFet" pitchFamily="2" charset="0"/>
                    </a:endParaRPr>
                  </a:p>
                </p:txBody>
              </p:sp>
            </p:grpSp>
            <p:sp>
              <p:nvSpPr>
                <p:cNvPr id="820" name="Rectangle 108"/>
                <p:cNvSpPr>
                  <a:spLocks noChangeArrowheads="1"/>
                </p:cNvSpPr>
                <p:nvPr>
                  <p:custDataLst>
                    <p:tags r:id="rId2"/>
                  </p:custDataLst>
                </p:nvPr>
              </p:nvSpPr>
              <p:spPr bwMode="gray">
                <a:xfrm>
                  <a:off x="323850" y="3640138"/>
                  <a:ext cx="2476500" cy="9223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108000" tIns="72000" rIns="0" bIns="46800"/>
                <a:lstStyle/>
                <a:p>
                  <a:pPr marL="0" lvl="1" algn="l" defTabSz="901700" eaLnBrk="0" fontAlgn="auto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400"/>
                    </a:spcAft>
                    <a:buClrTx/>
                    <a:buFontTx/>
                    <a:buNone/>
                    <a:defRPr/>
                  </a:pPr>
                  <a:r>
                    <a:rPr lang="en-US" sz="1400" kern="0" cap="all" dirty="0">
                      <a:solidFill>
                        <a:srgbClr val="FFFFFF"/>
                      </a:solidFill>
                      <a:latin typeface="Tele-GroteskFet" pitchFamily="2" charset="0"/>
                      <a:ea typeface="Tele-GroteskFet" pitchFamily="2" charset="0"/>
                      <a:cs typeface="Tele-GroteskFet" pitchFamily="2" charset="0"/>
                    </a:rPr>
                    <a:t>Offices in over 20 countries, global delivery capability</a:t>
                  </a:r>
                </a:p>
              </p:txBody>
            </p:sp>
          </p:grpSp>
          <p:sp>
            <p:nvSpPr>
              <p:cNvPr id="740" name="Rectangle 108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gray">
              <a:xfrm>
                <a:off x="3011562" y="4464050"/>
                <a:ext cx="549201" cy="13636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108000" tIns="36000" rIns="0" bIns="46800"/>
              <a:lstStyle/>
              <a:p>
                <a:pPr marL="0" lvl="1" defTabSz="901700" ea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600"/>
                  </a:spcAft>
                  <a:buClrTx/>
                  <a:buFontTx/>
                  <a:buNone/>
                  <a:tabLst>
                    <a:tab pos="542925" algn="l"/>
                  </a:tabLst>
                </a:pPr>
                <a:r>
                  <a:rPr lang="en-US" sz="1400" cap="all" dirty="0" smtClean="0">
                    <a:solidFill>
                      <a:schemeClr val="bg1"/>
                    </a:solidFill>
                    <a:latin typeface="Tele-GroteskFet" pitchFamily="2" charset="0"/>
                    <a:ea typeface="Tele-GroteskFet" pitchFamily="2" charset="0"/>
                    <a:cs typeface="Tele-GroteskFet" pitchFamily="2" charset="0"/>
                  </a:rPr>
                  <a:t>No. 1</a:t>
                </a:r>
                <a:br>
                  <a:rPr lang="en-US" sz="1400" cap="all" dirty="0" smtClean="0">
                    <a:solidFill>
                      <a:schemeClr val="bg1"/>
                    </a:solidFill>
                    <a:latin typeface="Tele-GroteskFet" pitchFamily="2" charset="0"/>
                    <a:ea typeface="Tele-GroteskFet" pitchFamily="2" charset="0"/>
                    <a:cs typeface="Tele-GroteskFet" pitchFamily="2" charset="0"/>
                  </a:rPr>
                </a:br>
                <a:r>
                  <a:rPr lang="en-US" sz="1400" cap="all" dirty="0" smtClean="0">
                    <a:solidFill>
                      <a:schemeClr val="bg1"/>
                    </a:solidFill>
                    <a:latin typeface="Tele-GroteskFet" pitchFamily="2" charset="0"/>
                    <a:ea typeface="Tele-GroteskFet" pitchFamily="2" charset="0"/>
                    <a:cs typeface="Tele-GroteskFet" pitchFamily="2" charset="0"/>
                  </a:rPr>
                  <a:t> </a:t>
                </a:r>
                <a:endParaRPr lang="en-US" sz="1400" cap="all" dirty="0">
                  <a:solidFill>
                    <a:schemeClr val="bg1"/>
                  </a:solidFill>
                  <a:latin typeface="Tele-GroteskFet" pitchFamily="2" charset="0"/>
                  <a:ea typeface="Tele-GroteskFet" pitchFamily="2" charset="0"/>
                  <a:cs typeface="Tele-GroteskFet" pitchFamily="2" charset="0"/>
                </a:endParaRPr>
              </a:p>
              <a:p>
                <a:pPr marL="0" lvl="1" defTabSz="901700" ea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600"/>
                  </a:spcAft>
                  <a:buClrTx/>
                  <a:buFontTx/>
                  <a:buNone/>
                  <a:tabLst>
                    <a:tab pos="542925" algn="l"/>
                  </a:tabLst>
                </a:pPr>
                <a:r>
                  <a:rPr lang="en-US" sz="1400" cap="all" dirty="0" smtClean="0">
                    <a:solidFill>
                      <a:schemeClr val="bg1"/>
                    </a:solidFill>
                    <a:latin typeface="Tele-GroteskFet" pitchFamily="2" charset="0"/>
                    <a:ea typeface="Tele-GroteskFet" pitchFamily="2" charset="0"/>
                    <a:cs typeface="Tele-GroteskFet" pitchFamily="2" charset="0"/>
                  </a:rPr>
                  <a:t>No. 2</a:t>
                </a:r>
                <a:r>
                  <a:rPr lang="en-US" sz="1400" cap="all" dirty="0">
                    <a:solidFill>
                      <a:schemeClr val="bg1"/>
                    </a:solidFill>
                    <a:latin typeface="Tele-GroteskFet" pitchFamily="2" charset="0"/>
                    <a:ea typeface="Tele-GroteskFet" pitchFamily="2" charset="0"/>
                    <a:cs typeface="Tele-GroteskFet" pitchFamily="2" charset="0"/>
                  </a:rPr>
                  <a:t/>
                </a:r>
                <a:br>
                  <a:rPr lang="en-US" sz="1400" cap="all" dirty="0">
                    <a:solidFill>
                      <a:schemeClr val="bg1"/>
                    </a:solidFill>
                    <a:latin typeface="Tele-GroteskFet" pitchFamily="2" charset="0"/>
                    <a:ea typeface="Tele-GroteskFet" pitchFamily="2" charset="0"/>
                    <a:cs typeface="Tele-GroteskFet" pitchFamily="2" charset="0"/>
                  </a:rPr>
                </a:br>
                <a:endParaRPr lang="en-US" sz="1400" cap="all" dirty="0">
                  <a:solidFill>
                    <a:schemeClr val="bg1"/>
                  </a:solidFill>
                  <a:latin typeface="Tele-GroteskFet" pitchFamily="2" charset="0"/>
                  <a:ea typeface="Tele-GroteskFet" pitchFamily="2" charset="0"/>
                  <a:cs typeface="Tele-GroteskFet" pitchFamily="2" charset="0"/>
                </a:endParaRPr>
              </a:p>
              <a:p>
                <a:pPr marL="0" lvl="1" defTabSz="901700" ea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600"/>
                  </a:spcAft>
                  <a:buClrTx/>
                  <a:buFontTx/>
                  <a:buNone/>
                  <a:tabLst>
                    <a:tab pos="542925" algn="l"/>
                  </a:tabLst>
                </a:pPr>
                <a:r>
                  <a:rPr lang="en-US" sz="1400" cap="all" dirty="0" smtClean="0">
                    <a:solidFill>
                      <a:schemeClr val="bg1"/>
                    </a:solidFill>
                    <a:latin typeface="Tele-GroteskFet" pitchFamily="2" charset="0"/>
                    <a:ea typeface="Tele-GroteskFet" pitchFamily="2" charset="0"/>
                    <a:cs typeface="Tele-GroteskFet" pitchFamily="2" charset="0"/>
                  </a:rPr>
                  <a:t>No. </a:t>
                </a:r>
                <a:r>
                  <a:rPr lang="hu-HU" sz="1400" cap="all" dirty="0" smtClean="0">
                    <a:solidFill>
                      <a:schemeClr val="bg1"/>
                    </a:solidFill>
                    <a:latin typeface="Tele-GroteskFet" pitchFamily="2" charset="0"/>
                    <a:ea typeface="Tele-GroteskFet" pitchFamily="2" charset="0"/>
                    <a:cs typeface="Tele-GroteskFet" pitchFamily="2" charset="0"/>
                  </a:rPr>
                  <a:t>2</a:t>
                </a:r>
                <a:endParaRPr lang="en-US" sz="1400" cap="all" dirty="0">
                  <a:solidFill>
                    <a:schemeClr val="bg1"/>
                  </a:solidFill>
                  <a:latin typeface="Tele-GroteskFet" pitchFamily="2" charset="0"/>
                  <a:ea typeface="Tele-GroteskFet" pitchFamily="2" charset="0"/>
                  <a:cs typeface="Tele-GroteskFet" pitchFamily="2" charset="0"/>
                </a:endParaRPr>
              </a:p>
            </p:txBody>
          </p:sp>
        </p:grpSp>
        <p:sp>
          <p:nvSpPr>
            <p:cNvPr id="737" name="Rechteck 21"/>
            <p:cNvSpPr/>
            <p:nvPr/>
          </p:nvSpPr>
          <p:spPr>
            <a:xfrm>
              <a:off x="6271486" y="5734050"/>
              <a:ext cx="757186" cy="2605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lvl="1" defTabSz="901700" eaLnBrk="0" fontAlgn="auto" hangingPunct="0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Tx/>
                <a:buFontTx/>
                <a:buNone/>
                <a:defRPr/>
              </a:pPr>
              <a:r>
                <a:rPr lang="en-US" sz="1000" kern="0" cap="all" dirty="0">
                  <a:solidFill>
                    <a:schemeClr val="bg1"/>
                  </a:solidFill>
                  <a:latin typeface="Tele-GroteskEEFet" pitchFamily="2" charset="0"/>
                </a:rPr>
                <a:t>*</a:t>
              </a:r>
              <a:r>
                <a:rPr lang="en-US" sz="1000" kern="0" cap="all" dirty="0" smtClean="0">
                  <a:solidFill>
                    <a:schemeClr val="bg1"/>
                  </a:solidFill>
                  <a:latin typeface="Tele-GroteskEEFet" pitchFamily="2" charset="0"/>
                </a:rPr>
                <a:t>201</a:t>
              </a:r>
              <a:r>
                <a:rPr lang="hu-HU" sz="1000" kern="0" cap="all" dirty="0" smtClean="0">
                  <a:solidFill>
                    <a:schemeClr val="bg1"/>
                  </a:solidFill>
                  <a:latin typeface="Tele-GroteskEEFet" pitchFamily="2" charset="0"/>
                </a:rPr>
                <a:t>6</a:t>
              </a:r>
              <a:r>
                <a:rPr lang="en-US" sz="1000" kern="0" cap="all" dirty="0" smtClean="0">
                  <a:solidFill>
                    <a:schemeClr val="bg1"/>
                  </a:solidFill>
                  <a:latin typeface="Tele-GroteskEEFet" pitchFamily="2" charset="0"/>
                </a:rPr>
                <a:t> </a:t>
              </a:r>
              <a:r>
                <a:rPr lang="en-US" sz="1000" kern="0" cap="all" dirty="0">
                  <a:solidFill>
                    <a:schemeClr val="bg1"/>
                  </a:solidFill>
                  <a:latin typeface="Tele-GroteskEEFet" pitchFamily="2" charset="0"/>
                </a:rPr>
                <a:t>figur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83671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WLpwNIJkmwZ52lulm0t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WLpwNIJkmwZ52lulm0t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WLpwNIJkmwZ52lulm0t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WLpwNIJkmwZ52lulm0t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WLpwNIJkmwZ52lulm0t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hV4.AsmkKmfgwKW5PZX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.CRi5Y70UECBG4_VZwgY8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IGhRurtBlkmMnVu_eA54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cPPLkeOpqU.m4WuhZgQng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rchWB7NUmAPBjhxDRfh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qXsYKvMxrE._Es_EOHlXo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y81Qv0ZO5UqOGqyPb1oGL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vgb2iKAXs0y1jyaHPOj3v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mODR7Cx7y0COoEDPfivLL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5iYPfvcLakuqsseiqabAd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vHPXDlikwEC5J6YMHs.Fl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PRsyKbqCH06mmCZtP2zmk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zO2scRlUm3uM.dwHaXg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gudK00UmgoNKM_7lKZ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4gjeqWg0ygQO4H4f3Fw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4gjeqWg0ygQO4H4f3Fw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gudK00UmgoNKM_7lKZ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ZxDF.EBEOwIKMULsW0Y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RYAa6a7kaDUAXV7FyIP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GzyjGWl0K.WWxf3qKAP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D0V8Pu2E.9x7b1RYRr.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k.JfWbgkqBZAtIq43uE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r2bHUbLp.EGw_OsgJMcr5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15F544oEqf9AyfoCb4N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Blpfu0dU.N9XaOxJiCR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EjBnslw0KTT8OkR612B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1vgu_k9k._jTfClQ9Kl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GspSgYCk2DCN7.0dgPA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YgnjXIn0uja75FrBcjH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IL5YSLDUa_VxoJs8Wpm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HyCWKy.kGOza.oSDan2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RIhYEiVk6hknQJ3AmK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qWvEB4Tka0J13yOaczV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gwJJXqDUGxQtdjieAnv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ezp1ot_kmRHk0MD3G3.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aHv8gRYEi4W2BTF_QIE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ijxZUGpEuryzG3Rzd76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zvhvpIYkawMzRaGaXaN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0cs7nG0k27QxfWopI7s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LWHPZn8fUS2pU52L2n6J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60rTyyfUK0eBC2FzgS6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HmNPg4wkGdtvY8P20fg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Pbs1BkhkeOpYmepcFYx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Mxcyk3UC597fJ_rjkr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GTyCQaJ0e5Wxwv67qjW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ibJPV1z0Sf2TM4JMY_G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RIhYEiVk6hknQJ3AmKi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3ZhmKLF0O2YE5Zk00d7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IjZbAKZUSi8_vyqQurc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jQwj1CO4U6t_k5BvXVAw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3PN4v8bCEa8KLSS5tvgT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BZW.wxoEST0Mb5rCQKK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hhgxxtOUmqoeVjzZlIv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sXAXGrkEyinmexum8Ez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vutSsbDEmDiGlZlUXr6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nFFjTZ7kC_xKs7hAcCc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99JR15T0qX0yp9vNBXk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18IrN08pUCi8ovzS8lok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3HnHGKKakWjzUJFfcPj6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RicCcuLkeGipnz4c3f0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2t1BTxzlEuPzPNdB2Zgz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XeO0VKUmVp3AY.E_oa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q_9_OAtEuMDCyHEPQRh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.9VqGS4E2rxrkv.ITKu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VPjJDX0ukdy.PKj6m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ml6a7FC0upHCpGvawxP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G_0pmhRRUKxtGMKIkZ9g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NMPS_r7U6h08gSZt2VQ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X9Z7fxo0elkfLiqnHVn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02r6njNEGQ8Hg5_bLuJ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m._JhU5EKfhaL2d0d4B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s8vr8ApECR8NmhqsnCl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kctZWOn0fEChsKVPZqaUA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jDhSgLy0601C_WCq3TC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4gjeqWg0ygQO4H4f3Fw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heme/theme1.xml><?xml version="1.0" encoding="utf-8"?>
<a:theme xmlns:a="http://schemas.openxmlformats.org/drawingml/2006/main" name="Telekom 16:9 2016 EN">
  <a:themeElements>
    <a:clrScheme name="Telekom screen colors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lIns="72000" tIns="0" rIns="72000" bIns="36000" rtlCol="0" anchor="ctr"/>
      <a:lstStyle>
        <a:defPPr indent="3175" algn="ctr" defTabSz="457293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rgbClr val="E20074"/>
          </a:buClr>
          <a:buSzPct val="75000"/>
          <a:defRPr sz="1800" dirty="0" err="1" smtClean="0">
            <a:cs typeface="Arial" charset="0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  <a:ln w="19050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noAutofit/>
      </a:bodyPr>
      <a:lstStyle>
        <a:defPPr marL="0" indent="0">
          <a:buNone/>
          <a:defRPr sz="1800" dirty="0" err="1" smtClean="0"/>
        </a:defPPr>
      </a:lstStyle>
    </a:txDef>
  </a:objectDefaults>
  <a:extraClrSchemeLst>
    <a:extraClrScheme>
      <a:clrScheme name="Telekom screen colors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T_MASTER_16-9_EN_20161118" id="{988561D7-E1CF-44CF-B77A-D58001B57885}" vid="{DFDB66BC-47E0-4C43-B872-835F8862F30C}"/>
    </a:ext>
  </a:extLst>
</a:theme>
</file>

<file path=ppt/theme/theme2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0ECBDF25A07374AAA08F73D3C96845A" ma:contentTypeVersion="0" ma:contentTypeDescription="Create a new document." ma:contentTypeScope="" ma:versionID="bfddc12633ad9e9f7e2ee14adde04247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97533D8-B8AD-4D67-B87F-3406D906F55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742EC240-8203-472B-8396-D3180A893967}">
  <ds:schemaRefs>
    <ds:schemaRef ds:uri="http://purl.org/dc/dcmitype/"/>
    <ds:schemaRef ds:uri="http://schemas.microsoft.com/office/2006/documentManagement/types"/>
    <ds:schemaRef ds:uri="http://purl.org/dc/elements/1.1/"/>
    <ds:schemaRef ds:uri="http://www.w3.org/XML/1998/namespace"/>
    <ds:schemaRef ds:uri="http://purl.org/dc/terms/"/>
    <ds:schemaRef ds:uri="http://schemas.openxmlformats.org/package/2006/metadata/core-properties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F8E43EFC-10A2-486F-B205-57B6EEC0A5C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_MASTER_16-9_EN_20161201</Template>
  <TotalTime>0</TotalTime>
  <Words>1311</Words>
  <Application>Microsoft Office PowerPoint</Application>
  <PresentationFormat>Egyéni</PresentationFormat>
  <Paragraphs>438</Paragraphs>
  <Slides>24</Slides>
  <Notes>19</Notes>
  <HiddenSlides>0</HiddenSlides>
  <MMClips>0</MMClips>
  <ScaleCrop>false</ScaleCrop>
  <HeadingPairs>
    <vt:vector size="6" baseType="variant">
      <vt:variant>
        <vt:lpstr>Téma</vt:lpstr>
      </vt:variant>
      <vt:variant>
        <vt:i4>1</vt:i4>
      </vt:variant>
      <vt:variant>
        <vt:lpstr>Beágyazott OLE kiszolgálók</vt:lpstr>
      </vt:variant>
      <vt:variant>
        <vt:i4>3</vt:i4>
      </vt:variant>
      <vt:variant>
        <vt:lpstr>Diacímek</vt:lpstr>
      </vt:variant>
      <vt:variant>
        <vt:i4>24</vt:i4>
      </vt:variant>
    </vt:vector>
  </HeadingPairs>
  <TitlesOfParts>
    <vt:vector size="28" baseType="lpstr">
      <vt:lpstr>Telekom 16:9 2016 EN</vt:lpstr>
      <vt:lpstr>think-cell Folie</vt:lpstr>
      <vt:lpstr>think-cell Slide</vt:lpstr>
      <vt:lpstr>Image</vt:lpstr>
      <vt:lpstr>IT SERVICES HUNGARY PROJECT MANAGEMENT 1</vt:lpstr>
      <vt:lpstr>PowerPoint bemutató</vt:lpstr>
      <vt:lpstr>PowerPoint bemutató</vt:lpstr>
      <vt:lpstr>PowerPoint bemutató</vt:lpstr>
      <vt:lpstr>PowerPoint bemutató</vt:lpstr>
      <vt:lpstr>PowerPoint bemutató</vt:lpstr>
      <vt:lpstr> IT Services Hungary Company introduction</vt:lpstr>
      <vt:lpstr>PowerPoint bemutató</vt:lpstr>
      <vt:lpstr>PowerPoint bemutató</vt:lpstr>
      <vt:lpstr>T-SYSTEMS WORLDWIDE PRESENCE* Outside Europe </vt:lpstr>
      <vt:lpstr>T-SYSTEMS PRESENCE IN EUROPE* OUTSIDE GERMANY</vt:lpstr>
      <vt:lpstr>PowerPoint bemutató</vt:lpstr>
      <vt:lpstr>ABOUT US IT SERVICES HUNGARY</vt:lpstr>
      <vt:lpstr>PowerPoint bemutató</vt:lpstr>
      <vt:lpstr>PowerPoint bemutató</vt:lpstr>
      <vt:lpstr>ABOUT IT SERVICES HUNGARY</vt:lpstr>
      <vt:lpstr>ITSH HR FACTS</vt:lpstr>
      <vt:lpstr>ABOUT OUR COMPANY</vt:lpstr>
      <vt:lpstr>PowerPoint bemutató</vt:lpstr>
      <vt:lpstr>ITSH LOCATIONS UNIVERSITY Partnerships</vt:lpstr>
      <vt:lpstr>ORGANIZATION STRUCTURE</vt:lpstr>
      <vt:lpstr>PowerPoint bemutató</vt:lpstr>
      <vt:lpstr>Thank you!  Questions?</vt:lpstr>
      <vt:lpstr>THANK YOU!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12-02T13:42:48Z</dcterms:created>
  <dcterms:modified xsi:type="dcterms:W3CDTF">2018-09-11T13:30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0ECBDF25A07374AAA08F73D3C96845A</vt:lpwstr>
  </property>
</Properties>
</file>